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tags/tag9.xml" ContentType="application/vnd.openxmlformats-officedocument.presentationml.tags+xml"/>
  <Override PartName="/ppt/notesSlides/notesSlide27.xml" ContentType="application/vnd.openxmlformats-officedocument.presentationml.notesSlide+xml"/>
  <Override PartName="/ppt/tags/tag1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1.xml" ContentType="application/vnd.openxmlformats-officedocument.presentationml.tags+xml"/>
  <Override PartName="/ppt/notesSlides/notesSlide34.xml" ContentType="application/vnd.openxmlformats-officedocument.presentationml.notesSlide+xml"/>
  <Override PartName="/ppt/tags/tag12.xml" ContentType="application/vnd.openxmlformats-officedocument.presentationml.tags+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4.xml" ContentType="application/vnd.openxmlformats-officedocument.presentationml.tags+xml"/>
  <Override PartName="/ppt/notesSlides/notesSlide42.xml" ContentType="application/vnd.openxmlformats-officedocument.presentationml.notesSlide+xml"/>
  <Override PartName="/ppt/tags/tag1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0.xml" ContentType="application/vnd.openxmlformats-officedocument.presentationml.tags+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2" r:id="rId4"/>
    <p:sldMasterId id="2147483873" r:id="rId5"/>
    <p:sldMasterId id="2147483902" r:id="rId6"/>
  </p:sldMasterIdLst>
  <p:notesMasterIdLst>
    <p:notesMasterId r:id="rId69"/>
  </p:notesMasterIdLst>
  <p:sldIdLst>
    <p:sldId id="2147483331" r:id="rId7"/>
    <p:sldId id="354" r:id="rId8"/>
    <p:sldId id="2147483363" r:id="rId9"/>
    <p:sldId id="329" r:id="rId10"/>
    <p:sldId id="352" r:id="rId11"/>
    <p:sldId id="277" r:id="rId12"/>
    <p:sldId id="353" r:id="rId13"/>
    <p:sldId id="425" r:id="rId14"/>
    <p:sldId id="394" r:id="rId15"/>
    <p:sldId id="350" r:id="rId16"/>
    <p:sldId id="284" r:id="rId17"/>
    <p:sldId id="347" r:id="rId18"/>
    <p:sldId id="2147482765" r:id="rId19"/>
    <p:sldId id="299" r:id="rId20"/>
    <p:sldId id="330" r:id="rId21"/>
    <p:sldId id="345" r:id="rId22"/>
    <p:sldId id="367" r:id="rId23"/>
    <p:sldId id="392" r:id="rId24"/>
    <p:sldId id="333" r:id="rId25"/>
    <p:sldId id="262" r:id="rId26"/>
    <p:sldId id="261" r:id="rId27"/>
    <p:sldId id="429" r:id="rId28"/>
    <p:sldId id="2147483646" r:id="rId29"/>
    <p:sldId id="334" r:id="rId30"/>
    <p:sldId id="288" r:id="rId31"/>
    <p:sldId id="270" r:id="rId32"/>
    <p:sldId id="397" r:id="rId33"/>
    <p:sldId id="339" r:id="rId34"/>
    <p:sldId id="2147483641" r:id="rId35"/>
    <p:sldId id="279" r:id="rId36"/>
    <p:sldId id="259" r:id="rId37"/>
    <p:sldId id="269" r:id="rId38"/>
    <p:sldId id="306" r:id="rId39"/>
    <p:sldId id="359" r:id="rId40"/>
    <p:sldId id="257" r:id="rId41"/>
    <p:sldId id="428" r:id="rId42"/>
    <p:sldId id="346" r:id="rId43"/>
    <p:sldId id="263" r:id="rId44"/>
    <p:sldId id="265" r:id="rId45"/>
    <p:sldId id="258" r:id="rId46"/>
    <p:sldId id="264" r:id="rId47"/>
    <p:sldId id="2147481745" r:id="rId48"/>
    <p:sldId id="361" r:id="rId49"/>
    <p:sldId id="274" r:id="rId50"/>
    <p:sldId id="289" r:id="rId51"/>
    <p:sldId id="2147483640" r:id="rId52"/>
    <p:sldId id="256" r:id="rId53"/>
    <p:sldId id="318" r:id="rId54"/>
    <p:sldId id="2147483647" r:id="rId55"/>
    <p:sldId id="267" r:id="rId56"/>
    <p:sldId id="276" r:id="rId57"/>
    <p:sldId id="275" r:id="rId58"/>
    <p:sldId id="268" r:id="rId59"/>
    <p:sldId id="271" r:id="rId60"/>
    <p:sldId id="272" r:id="rId61"/>
    <p:sldId id="2147483367" r:id="rId62"/>
    <p:sldId id="260" r:id="rId63"/>
    <p:sldId id="2147483359" r:id="rId64"/>
    <p:sldId id="351" r:id="rId65"/>
    <p:sldId id="358" r:id="rId66"/>
    <p:sldId id="2147483642" r:id="rId67"/>
    <p:sldId id="8886" r:id="rId68"/>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742823BE-A397-49D9-B7AA-59215CFBAD37}">
          <p14:sldIdLst>
            <p14:sldId id="2147483331"/>
            <p14:sldId id="354"/>
          </p14:sldIdLst>
        </p14:section>
        <p14:section name="What's New" id="{ECCE6489-B7B4-4470-9039-67C86F815709}">
          <p14:sldIdLst>
            <p14:sldId id="2147483363"/>
            <p14:sldId id="329"/>
            <p14:sldId id="352"/>
            <p14:sldId id="277"/>
            <p14:sldId id="353"/>
            <p14:sldId id="425"/>
            <p14:sldId id="394"/>
            <p14:sldId id="350"/>
            <p14:sldId id="284"/>
            <p14:sldId id="347"/>
          </p14:sldIdLst>
        </p14:section>
        <p14:section name="Orchestration" id="{9319E045-D2E9-4CE5-99C8-0338E0AB1B0E}">
          <p14:sldIdLst>
            <p14:sldId id="2147482765"/>
            <p14:sldId id="299"/>
            <p14:sldId id="330"/>
            <p14:sldId id="345"/>
            <p14:sldId id="367"/>
          </p14:sldIdLst>
        </p14:section>
        <p14:section name="Cloud &amp; AI Infra - CSA" id="{C4C92414-68B7-46B1-8F5A-94443197A53F}">
          <p14:sldIdLst>
            <p14:sldId id="392"/>
            <p14:sldId id="333"/>
            <p14:sldId id="262"/>
            <p14:sldId id="261"/>
            <p14:sldId id="429"/>
            <p14:sldId id="2147483646"/>
            <p14:sldId id="334"/>
            <p14:sldId id="288"/>
            <p14:sldId id="270"/>
          </p14:sldIdLst>
        </p14:section>
        <p14:section name="Cloud &amp; AI Apps - CSA" id="{CA5D31E3-E95C-4DBD-A3EC-664D3247C3AA}">
          <p14:sldIdLst>
            <p14:sldId id="397"/>
            <p14:sldId id="339"/>
            <p14:sldId id="2147483641"/>
            <p14:sldId id="279"/>
            <p14:sldId id="259"/>
            <p14:sldId id="269"/>
            <p14:sldId id="306"/>
            <p14:sldId id="359"/>
            <p14:sldId id="257"/>
          </p14:sldIdLst>
        </p14:section>
        <p14:section name="Cloud &amp; AI Data - CSA" id="{FD40E49C-6351-4D6D-BFE8-12AB988F7022}">
          <p14:sldIdLst>
            <p14:sldId id="428"/>
            <p14:sldId id="346"/>
            <p14:sldId id="263"/>
            <p14:sldId id="265"/>
            <p14:sldId id="258"/>
            <p14:sldId id="264"/>
            <p14:sldId id="2147481745"/>
            <p14:sldId id="361"/>
            <p14:sldId id="274"/>
          </p14:sldIdLst>
        </p14:section>
        <p14:section name="Cloud &amp; AI - CSA - Classic Accounts" id="{AE09E9DC-71B2-4A48-BD2A-E74C0DA4965D}">
          <p14:sldIdLst>
            <p14:sldId id="289"/>
            <p14:sldId id="2147483640"/>
            <p14:sldId id="256"/>
            <p14:sldId id="318"/>
            <p14:sldId id="2147483647"/>
            <p14:sldId id="267"/>
            <p14:sldId id="276"/>
          </p14:sldIdLst>
        </p14:section>
        <p14:section name="Cloud &amp; AI Global Solutions CSA" id="{65EF7E8F-7231-4DE4-90F6-FC4EF55D9E93}">
          <p14:sldIdLst>
            <p14:sldId id="275"/>
            <p14:sldId id="268"/>
            <p14:sldId id="271"/>
            <p14:sldId id="272"/>
          </p14:sldIdLst>
        </p14:section>
        <p14:section name="30-60-90 Day Actions" id="{9286D076-5A2F-4123-85D1-A7A7833AD955}">
          <p14:sldIdLst>
            <p14:sldId id="2147483367"/>
            <p14:sldId id="260"/>
            <p14:sldId id="2147483359"/>
          </p14:sldIdLst>
        </p14:section>
        <p14:section name="Skilling &amp; Community" id="{70293B89-0BB6-40EC-A6E7-72B8F42E69B5}">
          <p14:sldIdLst>
            <p14:sldId id="351"/>
            <p14:sldId id="358"/>
          </p14:sldIdLst>
        </p14:section>
        <p14:section name="Glossary &amp; Resources" id="{19E341ED-A99A-43D8-A27D-6CBB226376CA}">
          <p14:sldIdLst>
            <p14:sldId id="2147483642"/>
            <p14:sldId id="888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E39FF0C-31CB-A6DA-1DD8-EB4BC4609E73}" name="Stephen Helwig" initials="SH" userId="S::stephel@microsoft.com::dea85ca1-b42f-4346-9d6e-8309234ce44b" providerId="AD"/>
  <p188:author id="{F8DC840F-E539-11BC-ED88-F9935928A7E9}" name="Lorena Paglia" initials="LP" userId="S::lopaglia@microsoft.com::e2fc5e00-1091-46dc-9655-17bca70c7077" providerId="AD"/>
  <p188:author id="{343CE81A-16F5-038F-A166-94233794C052}" name="Jade Dawber" initials="JD" userId="S::jadedawber@microsoft.com::b29e1592-40b4-4b52-a0a5-9397b81626d3" providerId="AD"/>
  <p188:author id="{E966C065-D9DD-0AFF-33ED-7FD6A69BBBB2}" name="Sapna Jeswani" initials="" userId="S::sapnaj@microsoft.com::87f50080-4918-4eb5-b09a-e3a04ec50e1b" providerId="AD"/>
  <p188:author id="{1299A66E-DEF8-6DB6-B213-E54FB8E479D4}" name="Geetha Ramachandran" initials="GR" userId="S::geethar@microsoft.com::4f26643f-ad25-4d56-af30-58267f309519" providerId="AD"/>
  <p188:author id="{70733291-9D02-B1F0-39A7-B2ED49402CD2}" name="David Chou" initials="DC" userId="S::dachou@microsoft.com::60557493-e116-4b26-b8b9-1f0646be66e4" providerId="AD"/>
  <p188:author id="{55B4C1A2-552B-C055-801D-F4F23280DDF1}" name="Pradeep Raman" initials="PR" userId="S::praman@microsoft.com::14bd771c-c8b6-4e7e-aacc-3c8e5be550e3" providerId="AD"/>
  <p188:author id="{32E5FEAF-703B-5135-FB4F-3BAF5E9153C5}" name="Purna Gathani" initials="PG" userId="S::purnag@microsoft.com::4b825fe5-f9ea-4925-a311-4d8dca048e22" providerId="AD"/>
  <p188:author id="{9F5F81C7-B821-0ADC-739B-1B9904D9396B}" name="Thorsten Gajek" initials="TG" userId="S::tgajek@microsoft.com::454145eb-e232-4413-aef4-8983c39b07f0" providerId="AD"/>
  <p188:author id="{46FBB9C8-623A-6987-EC03-D97228856B11}" name="Oyinkansola Oni" initials="OO" userId="S::ooni@microsoft.com::b69fffe8-a94d-4385-9aa6-ddafe1d80f06" providerId="AD"/>
  <p188:author id="{FC4E11D6-998D-56E5-25B2-7CC5A572CF4B}" name="Samantha Wilder" initials="SW" userId="S::sawilder@microsoft.com::e40e45df-eb16-49e8-8998-41e873f27a90" providerId="AD"/>
  <p188:author id="{FEDC93E4-20E7-23AD-4453-0639A9B09155}" name="Praveen Gururaja" initials="PG" userId="S::pguru@microsoft.com::d0bd9ac3-a223-4673-b177-93c557624e85" providerId="AD"/>
  <p188:author id="{5B4C92EA-852F-014F-6373-9B324FCF08CA}" name="Ili Montnor" initials="IM" userId="S::imontnor@microsoft.com::95c8a45e-ccf2-4f0a-92e7-9ce90c629184" providerId="AD"/>
  <p188:author id="{68033DF1-4AB0-F2A9-224E-1F7511B5663F}" name="Florence Chu" initials="" userId="S::flchu@microsoft.com::1e101337-2eba-4df8-a627-26a8bd445301" providerId="AD"/>
  <p188:author id="{825A5EF2-E2D1-8F4F-B27F-E7392288CC83}" name="Anoop Iyer" initials="AI" userId="S::anoopi@microsoft.com::6fa5cf4d-9bd7-4282-8734-0914ac88622e" providerId="AD"/>
  <p188:author id="{3395AEFC-B37C-9685-64CD-0EB5A1BCA5D5}" name="Kris Pipeleers" initials="KP" userId="S::krispi@microsoft.com::7aad4618-5c19-4c39-b68d-1cbbcc78f732" providerId="AD"/>
  <p188:author id="{1FCEE7FF-335D-D49F-92FD-54D50E534D37}" name="Senthuran Sivananthan" initials="" userId="S::sesivan@microsoft.com::464e806f-7bc9-4bcc-9bd2-52fb467416b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8661C5"/>
    <a:srgbClr val="C5B4E3"/>
    <a:srgbClr val="D9A6FF"/>
    <a:srgbClr val="9DD6C9"/>
    <a:srgbClr val="A58AD4"/>
    <a:srgbClr val="69B4E3"/>
    <a:srgbClr val="ECF5FA"/>
    <a:srgbClr val="F8F8F8"/>
    <a:srgbClr val="109F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D711DF-AA79-4B5D-8D6F-978CA9EF35EA}" v="5" dt="2025-07-17T16:13:22.920"/>
    <p1510:client id="{7A413648-CDF2-30A8-A1D6-BA471DB9E85C}" v="176" dt="2025-07-17T16:11:39.327"/>
    <p1510:client id="{B65DFF9E-8834-578D-4510-5F95C0B917BB}" v="51" dt="2025-07-17T16:19:01.138"/>
    <p1510:client id="{F49CD46D-38C5-E13F-1C46-F066280132B5}" v="5" dt="2025-07-17T17:07:22.499"/>
  </p1510:revLst>
</p1510:revInfo>
</file>

<file path=ppt/tableStyles.xml><?xml version="1.0" encoding="utf-8"?>
<a:tblStyleLst xmlns:a="http://schemas.openxmlformats.org/drawingml/2006/main" def="{5C22544A-7EE6-4342-B048-85BDC9FD1C3A}">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gs" Target="tags/tag1.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8/10/relationships/authors" Target="authors.xml"/><Relationship Id="rId7" Type="http://schemas.openxmlformats.org/officeDocument/2006/relationships/slide" Target="slides/slide1.xml"/><Relationship Id="rId7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073529-08CA-44EC-BE9D-21A82C806902}" type="datetimeFigureOut">
              <a:rPr lang="en-US" smtClean="0"/>
              <a:t>9/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AEE4FD-A653-41A1-BD7D-47F0C993E455}" type="slidenum">
              <a:rPr lang="en-US" smtClean="0"/>
              <a:t>‹#›</a:t>
            </a:fld>
            <a:endParaRPr lang="en-US"/>
          </a:p>
        </p:txBody>
      </p:sp>
    </p:spTree>
    <p:extLst>
      <p:ext uri="{BB962C8B-B14F-4D97-AF65-F5344CB8AC3E}">
        <p14:creationId xmlns:p14="http://schemas.microsoft.com/office/powerpoint/2010/main" val="41929355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icrosoft.sharepoint.com/sites/ExecutionExcellence/SitePages/FY26-CSU-KPI-Priorities.aspx?xsdata=MDV8MDJ8fGZmYzdkMzQwYjA5YTRhMWZlMTMyMDhkZGFkMDA3ODJifDcyZjk4OGJmODZmMTQxYWY5MWFiMmQ3Y2QwMTFkYjQ3fDB8MHw2Mzg4NTY5Mzk2ODQyMjUzMzB8VW5rbm93bnxWR1ZoYlhOVFpXTjFjbWwwZVZObGNuWnBZMlY4ZXlKRFFTSTZJbFJsWVcxelgwRlVVRk5sY25acFkyVmZVMUJQVEU5R0lpd2lWaUk2SWpBdU1DNHdNREF3SWl3aVVDSTZJbGRwYmpNeUlpd2lRVTRpT2lKUGRHaGxjaUlzSWxkVUlqb3hNWDA9fDF8TDJOb1lYUnpMekU1T20xbFpYUnBibWRmV2tkT2EwNXRXbXRhVkUxMFdrUlNiRnBUTURCT2FrMHlURmRKTWsxdFVYUmFiVWt4VG0xRmVGcFhTbTFOUkVGM1FIUm9jbVZoWkM1Mk1pOXRaWE56WVdkbGN5OHhOelV3TURrM01UWTNOVGMyfDg1YjA5OWJlYTQ3MzRkY2RlMTMyMDhkZGFkMDA3ODJifGQxYWNmYzE1YjIzZDQ4YjI5ODRhYjJhMGU1NmIyMjc4&amp;sdata=SlRuSW1FN3BqK0w0ZDlJK2R2dDRGVC80Wkc4akJVNzJIQ0Y4Y3FLa3VSQT0%3D&amp;ovuser=72f988bf-86f1-41af-91ab-2d7cd011db47%2Ctgajek%40microsoft.com&amp;OR=Teams-HL&amp;CT=1750183390641&amp;clickparams=eyJBcHBOYW1lIjoiVGVhbXMtRGVza3RvcCIsIkFwcFZlcnNpb24iOiI0OS8yNTA2MDIwNjYxMiIsIkhhc0ZlZGVyYXRlZFVzZXIiOmZhbHNlfQ%3D%3D"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AEE4FD-A653-41A1-BD7D-47F0C993E455}" type="slidenum">
              <a:rPr lang="en-US" smtClean="0"/>
              <a:t>1</a:t>
            </a:fld>
            <a:endParaRPr lang="en-US"/>
          </a:p>
        </p:txBody>
      </p:sp>
    </p:spTree>
    <p:extLst>
      <p:ext uri="{BB962C8B-B14F-4D97-AF65-F5344CB8AC3E}">
        <p14:creationId xmlns:p14="http://schemas.microsoft.com/office/powerpoint/2010/main" val="4230524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01DF8-84D0-175D-04F2-A7080237B7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96AFD9-381F-1466-C72D-030DD35D6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32C5F1-27AF-23EE-319E-D65FA4334F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4BDF99-D504-2359-9FBE-577808ECD7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DB9F9F-F277-41C0-BC38-498B54BAA1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7703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46FF8-79B1-D1F4-AD53-CC3586E3FD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18AC82-86D5-FB5D-3AD0-FE343FBE3D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AFA50F-D62E-6FE3-BC0C-BB26615E7C1F}"/>
              </a:ext>
            </a:extLst>
          </p:cNvPr>
          <p:cNvSpPr>
            <a:spLocks noGrp="1"/>
          </p:cNvSpPr>
          <p:nvPr>
            <p:ph type="body" idx="1"/>
          </p:nvPr>
        </p:nvSpPr>
        <p:spPr/>
        <p:txBody>
          <a:bodyPr/>
          <a:lstStyle/>
          <a:p>
            <a:pPr defTabSz="950189">
              <a:spcBef>
                <a:spcPct val="0"/>
              </a:spcBef>
              <a:spcAft>
                <a:spcPct val="0"/>
              </a:spcAft>
            </a:pPr>
            <a:endParaRPr lang="en-US" b="1"/>
          </a:p>
          <a:p>
            <a:pPr defTabSz="950189">
              <a:spcBef>
                <a:spcPct val="0"/>
              </a:spcBef>
              <a:spcAft>
                <a:spcPct val="0"/>
              </a:spcAft>
            </a:pPr>
            <a:endParaRPr lang="en-US" b="0"/>
          </a:p>
          <a:p>
            <a:pPr defTabSz="950189">
              <a:spcBef>
                <a:spcPct val="0"/>
              </a:spcBef>
              <a:spcAft>
                <a:spcPct val="0"/>
              </a:spcAft>
            </a:pPr>
            <a:endParaRPr lang="en-US" b="0"/>
          </a:p>
        </p:txBody>
      </p:sp>
      <p:sp>
        <p:nvSpPr>
          <p:cNvPr id="4" name="Header Placeholder 3">
            <a:extLst>
              <a:ext uri="{FF2B5EF4-FFF2-40B4-BE49-F238E27FC236}">
                <a16:creationId xmlns:a16="http://schemas.microsoft.com/office/drawing/2014/main" id="{DBAD611A-DA7D-A5CE-1F2F-F13D8D868311}"/>
              </a:ext>
            </a:extLst>
          </p:cNvPr>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897AED9-2F20-9EAA-A41E-189956FC7433}"/>
              </a:ext>
            </a:extLst>
          </p:cNvPr>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3120ED2-0CE2-BDC2-D29E-1C6D4CA260F8}"/>
              </a:ext>
            </a:extLst>
          </p:cNvPr>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18/2025 6: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36FDBCD-9DDC-3523-CC37-595363D39A08}"/>
              </a:ext>
            </a:extLst>
          </p:cNvPr>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2248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Y26 CSU Leader KPIs : </a:t>
            </a:r>
            <a:r>
              <a:rPr lang="en-US">
                <a:hlinkClick r:id="rId3"/>
              </a:rPr>
              <a:t>FY26 CSU Leader Priority KPI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3478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5D1BB-94F2-C9C9-7AF1-24157EE3EA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A5092-D47E-28B5-1F00-73980ED467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4ECED6-865C-DD0B-B7FE-2EFBF94DB89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3ACE61E-718D-DEAC-C6BD-A79A3E4E3F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BE148-5FF1-4034-B0D2-A596C25006C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2033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11C5D-568B-EC2A-0DB2-D4DACACAD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AC70D9-CC01-3C14-18B5-26E72250EC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1A1E4-E58B-A099-5B5E-010D6C5ADA69}"/>
              </a:ext>
            </a:extLst>
          </p:cNvPr>
          <p:cNvSpPr>
            <a:spLocks noGrp="1"/>
          </p:cNvSpPr>
          <p:nvPr>
            <p:ph type="body" idx="1"/>
          </p:nvPr>
        </p:nvSpPr>
        <p:spPr/>
        <p:txBody>
          <a:bodyPr/>
          <a:lstStyle/>
          <a:p>
            <a:pPr marL="0" marR="0" lvl="0" indent="0" algn="l" defTabSz="914400">
              <a:lnSpc>
                <a:spcPct val="100000"/>
              </a:lnSpc>
              <a:spcBef>
                <a:spcPts val="0"/>
              </a:spcBef>
              <a:spcAft>
                <a:spcPts val="0"/>
              </a:spcAft>
              <a:buNone/>
              <a:tabLst/>
              <a:defRPr/>
            </a:pPr>
            <a:endParaRPr lang="en-US"/>
          </a:p>
        </p:txBody>
      </p:sp>
      <p:sp>
        <p:nvSpPr>
          <p:cNvPr id="4" name="Slide Number Placeholder 3">
            <a:extLst>
              <a:ext uri="{FF2B5EF4-FFF2-40B4-BE49-F238E27FC236}">
                <a16:creationId xmlns:a16="http://schemas.microsoft.com/office/drawing/2014/main" id="{7B102C61-D856-6D9C-B86E-BD9DDC51AD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BE148-5FF1-4034-B0D2-A596C25006C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58399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1B307-F79C-413A-541F-FE316B513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793DCA-F8F4-0446-D188-048B6B395D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624AE4-76F1-3CDD-B277-7A4F4E5ACB61}"/>
              </a:ext>
            </a:extLst>
          </p:cNvPr>
          <p:cNvSpPr>
            <a:spLocks noGrp="1"/>
          </p:cNvSpPr>
          <p:nvPr>
            <p:ph type="body" idx="1"/>
          </p:nvPr>
        </p:nvSpPr>
        <p:spPr/>
        <p:txBody>
          <a:bodyPr/>
          <a:lstStyle/>
          <a:p>
            <a:pPr marL="0" marR="0" lvl="0" indent="0" algn="l" defTabSz="914400">
              <a:lnSpc>
                <a:spcPct val="100000"/>
              </a:lnSpc>
              <a:spcBef>
                <a:spcPts val="0"/>
              </a:spcBef>
              <a:spcAft>
                <a:spcPts val="0"/>
              </a:spcAft>
              <a:buNone/>
              <a:tabLst/>
              <a:defRPr/>
            </a:pPr>
            <a:endParaRPr lang="en-US"/>
          </a:p>
        </p:txBody>
      </p:sp>
      <p:sp>
        <p:nvSpPr>
          <p:cNvPr id="4" name="Slide Number Placeholder 3">
            <a:extLst>
              <a:ext uri="{FF2B5EF4-FFF2-40B4-BE49-F238E27FC236}">
                <a16:creationId xmlns:a16="http://schemas.microsoft.com/office/drawing/2014/main" id="{85709184-5037-D85E-1F24-F6A90C50F7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BE148-5FF1-4034-B0D2-A596C25006C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26602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8408C-15EB-9F65-9664-9462C8D31F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3B2876-53A4-E53B-B261-3D706ED9A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61985F-90D2-929B-8BCA-11E5B2F11F1D}"/>
              </a:ext>
            </a:extLst>
          </p:cNvPr>
          <p:cNvSpPr>
            <a:spLocks noGrp="1"/>
          </p:cNvSpPr>
          <p:nvPr>
            <p:ph type="body" idx="1"/>
          </p:nvPr>
        </p:nvSpPr>
        <p:spPr/>
        <p:txBody>
          <a:bodyPr/>
          <a:lstStyle/>
          <a:p>
            <a:pPr marL="0" marR="0" lvl="0" indent="0" algn="l" defTabSz="914400">
              <a:lnSpc>
                <a:spcPct val="100000"/>
              </a:lnSpc>
              <a:spcBef>
                <a:spcPts val="0"/>
              </a:spcBef>
              <a:spcAft>
                <a:spcPts val="0"/>
              </a:spcAft>
              <a:buNone/>
              <a:tabLst/>
              <a:defRPr/>
            </a:pPr>
            <a:endParaRPr lang="en-US"/>
          </a:p>
        </p:txBody>
      </p:sp>
      <p:sp>
        <p:nvSpPr>
          <p:cNvPr id="4" name="Slide Number Placeholder 3">
            <a:extLst>
              <a:ext uri="{FF2B5EF4-FFF2-40B4-BE49-F238E27FC236}">
                <a16:creationId xmlns:a16="http://schemas.microsoft.com/office/drawing/2014/main" id="{2C370635-7B52-8C1D-9C0F-77A8DBAA4D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BE148-5FF1-4034-B0D2-A596C25006C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7717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4F04A-5A28-4AA8-82FF-DCE43571C4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98782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717C9-001F-CB83-3678-AF991BE543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FC54B7-71DA-94F0-1BAB-9170AFEB3F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3F5067-B906-144B-0189-F92F38D9E2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311162-B985-890A-EF11-EF8E9233DE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23236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D56C4-A84C-E45D-1CFA-873584B8F2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4483F1-4D85-AB0E-9448-44FBC546A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10D2D6-E0A5-947B-5EA4-3378E4B96FC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8B458C-6288-B620-B27C-BBB03AD3AC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506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6E1C2-83E2-5340-C3C8-7E9017DA59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9DFABB-52BC-F52F-653E-1BBBF84576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B63EF0-5FE9-27D3-E92A-E13803F6941F}"/>
              </a:ext>
            </a:extLst>
          </p:cNvPr>
          <p:cNvSpPr>
            <a:spLocks noGrp="1"/>
          </p:cNvSpPr>
          <p:nvPr>
            <p:ph type="body" idx="1"/>
          </p:nvPr>
        </p:nvSpPr>
        <p:spPr/>
        <p:txBody>
          <a:bodyPr/>
          <a:lstStyle/>
          <a:p>
            <a:pPr marL="0" marR="0" indent="0" algn="l" rtl="0" eaLnBrk="1" fontAlgn="auto" latinLnBrk="0" hangingPunct="1">
              <a:spcBef>
                <a:spcPts val="0"/>
              </a:spcBef>
              <a:spcAft>
                <a:spcPts val="0"/>
              </a:spcAft>
            </a:pPr>
            <a:endParaRPr lang="en-US" sz="1800" b="1" i="0" u="none" strike="noStrike" kern="1200">
              <a:solidFill>
                <a:srgbClr val="FFFFFF"/>
              </a:solidFill>
              <a:effectLst/>
              <a:latin typeface="Segoe Sans Text" pitchFamily="2" charset="0"/>
            </a:endParaRPr>
          </a:p>
          <a:p>
            <a:endParaRPr lang="en-US"/>
          </a:p>
        </p:txBody>
      </p:sp>
      <p:sp>
        <p:nvSpPr>
          <p:cNvPr id="4" name="Slide Number Placeholder 3">
            <a:extLst>
              <a:ext uri="{FF2B5EF4-FFF2-40B4-BE49-F238E27FC236}">
                <a16:creationId xmlns:a16="http://schemas.microsoft.com/office/drawing/2014/main" id="{9B329AC9-CCF8-5075-D372-BBD06D7C55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8D54C-237E-4ABD-8C67-5D6A466D25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00530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0202E-A8CC-7B8C-C6EC-F4F724C795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F99A82-6BE2-7B33-C96F-B5835F5F87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69C6C6-E0A9-8403-E3F4-4968D8A6F2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0249BA-C751-FD03-E58E-AFDBFB1AC6A5}"/>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9ECE92A-F679-47E9-BAF0-C3334D2D716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5B6BEC3-67AF-746F-15B1-280AB66606D9}"/>
              </a:ext>
            </a:extLst>
          </p:cNvPr>
          <p:cNvSpPr>
            <a:spLocks noGrp="1"/>
          </p:cNvSpPr>
          <p:nvPr>
            <p:ph type="ftr" sz="quarter" idx="4"/>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38483880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63078-759B-AEAC-3485-7E9A6C836A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0EAD7-4EFD-3089-DA84-DAC5565C5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33E4CF-E599-350C-D26A-165BE991D4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3A9D98-C2B2-4BE1-FFCF-CC268AD83D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EE4FD-A653-41A1-BD7D-47F0C993E4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9925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4AA23-7B82-22BB-C073-2DECC7D437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2F65B5-C51B-7FA0-EF3E-5EC4B4D26C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47B0B7-DECD-5F5F-1AA4-D7330971B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B65651-BA4D-907A-A9E2-690CEC9587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7112F-0E57-43B1-BED6-AA8E0BC401B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9593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CA7DF-F782-C520-D728-1FBCE110D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7ABFA9-EBE3-1B10-4E2D-7DF1F6D380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08232-D123-81A8-156B-871CE1D1C3F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653EF12-C091-A78A-B6C6-2D293A9B31FA}"/>
              </a:ext>
            </a:extLst>
          </p:cNvPr>
          <p:cNvSpPr>
            <a:spLocks noGrp="1"/>
          </p:cNvSpPr>
          <p:nvPr>
            <p:ph type="hdr" sz="quarter" idx="10"/>
          </p:nvPr>
        </p:nvSpPr>
        <p:spPr/>
        <p:txBody>
          <a:bodyPr/>
          <a:lstStyle/>
          <a:p>
            <a:pPr marL="0" marR="0" lvl="0" indent="0" algn="l" defTabSz="138885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4F1D1E3-9127-ED1C-C507-EB3E9CC9C7CF}"/>
              </a:ext>
            </a:extLst>
          </p:cNvPr>
          <p:cNvSpPr>
            <a:spLocks noGrp="1"/>
          </p:cNvSpPr>
          <p:nvPr>
            <p:ph type="ftr" sz="quarter" idx="11"/>
          </p:nvPr>
        </p:nvSpPr>
        <p:spPr/>
        <p:txBody>
          <a:bodyPr/>
          <a:lstStyle/>
          <a:p>
            <a:pPr marL="0" marR="0" lvl="0" indent="0" algn="l" defTabSz="1413307"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609DE58-BCAE-AF0F-EFEB-EEEFBC557B6B}"/>
              </a:ext>
            </a:extLst>
          </p:cNvPr>
          <p:cNvSpPr>
            <a:spLocks noGrp="1"/>
          </p:cNvSpPr>
          <p:nvPr>
            <p:ph type="dt" idx="12"/>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72A4F6B4-A631-4FEA-8449-AA34D650416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9/18/2025 6:5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A93BC74E-C65F-4BAC-94AA-3F237BE4D1DE}"/>
              </a:ext>
            </a:extLst>
          </p:cNvPr>
          <p:cNvSpPr>
            <a:spLocks noGrp="1"/>
          </p:cNvSpPr>
          <p:nvPr>
            <p:ph type="sldNum" sz="quarter" idx="13"/>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3301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8FBD1-51D2-9427-A6A7-137414211A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7F8FD7-631F-08C9-B15C-5166796936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91A15E-3139-3226-BDA1-D2F021449A4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D190EE-2E5A-BEC7-C33B-1D6FE1A05BF2}"/>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1879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10974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49CBD-A431-E885-C7A0-66F7EF1D92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D50D44-5E5D-D3C5-1BE7-FBE7EC67FA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EBEA3C-8A71-FEAA-3CB2-E325F9F241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72C4A30-875C-65AA-3493-614A360486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7394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EE571-D136-7231-783A-0F24707871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08E07-6DFB-3276-6BE7-914C5FA4EB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10ED30-FFED-AB71-ACCE-24B515CCCE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60211D-4771-DF76-4F88-461BBFBA1D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929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A5EBF-F318-B881-717B-AFAA0DEF5D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3D22CB-43FB-0C0F-7FDB-4158A6661A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A6E4E-EDE9-5402-9129-D8E23653A3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627B23-9602-72EB-C92A-AD3E455D0B8A}"/>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9ECE92A-F679-47E9-BAF0-C3334D2D716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1CC0AC2-3C25-E6DE-5499-D48469828E0B}"/>
              </a:ext>
            </a:extLst>
          </p:cNvPr>
          <p:cNvSpPr>
            <a:spLocks noGrp="1"/>
          </p:cNvSpPr>
          <p:nvPr>
            <p:ph type="ftr" sz="quarter" idx="4"/>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2360400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00F3B-D47D-F5EA-39EA-D2F023ED9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BD6892-8FB0-BF24-A338-B57E702B73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2D9658-27DA-BC0E-D4AE-A63509A669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2142EB-30FC-5CBE-0758-3D87C871D1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EE4FD-A653-41A1-BD7D-47F0C993E4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0321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A9550-DB7F-AAA2-29BB-1DC01C3FE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E9228-9750-F923-5306-51DD05755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BC23F9-3DE2-8E7F-8CB1-B1A786C0F423}"/>
              </a:ext>
            </a:extLst>
          </p:cNvPr>
          <p:cNvSpPr>
            <a:spLocks noGrp="1"/>
          </p:cNvSpPr>
          <p:nvPr>
            <p:ph type="body" idx="1"/>
          </p:nvPr>
        </p:nvSpPr>
        <p:spPr/>
        <p:txBody>
          <a:bodyPr/>
          <a:lstStyle/>
          <a:p>
            <a:pPr defTabSz="932472">
              <a:lnSpc>
                <a:spcPct val="107000"/>
              </a:lnSpc>
              <a:spcAft>
                <a:spcPts val="800"/>
              </a:spcAft>
              <a:defRPr/>
            </a:pPr>
            <a:r>
              <a:rPr lang="en-US" b="1"/>
              <a:t>Main Point: </a:t>
            </a:r>
            <a:r>
              <a:rPr lang="en-US" b="0"/>
              <a:t>Summary of changes and benefits for </a:t>
            </a:r>
            <a:r>
              <a:rPr lang="en-US" b="0" err="1"/>
              <a:t>xyz</a:t>
            </a:r>
            <a:endParaRPr lang="en-US" b="0">
              <a:cs typeface="Calibri"/>
            </a:endParaRPr>
          </a:p>
        </p:txBody>
      </p:sp>
      <p:sp>
        <p:nvSpPr>
          <p:cNvPr id="4" name="Slide Number Placeholder 3">
            <a:extLst>
              <a:ext uri="{FF2B5EF4-FFF2-40B4-BE49-F238E27FC236}">
                <a16:creationId xmlns:a16="http://schemas.microsoft.com/office/drawing/2014/main" id="{3105CB2F-27D1-D446-901C-4BECF2C4B19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8063B3-F5D3-4109-8904-AA1AFBE9F8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17663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0C295-E3CA-B969-CB80-C3125593EA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BF11FE-2088-3683-2FA2-8959EDE792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E180BB-80E0-EC77-21DE-E8AFB7FB9A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2E5F00-C8E2-77C4-1687-5F14FC01F9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7112F-0E57-43B1-BED6-AA8E0BC401B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74006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B10C3-9C90-1857-AB88-44DC284990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3254F0-AB67-48AC-2CCB-43F8B6D84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CC4028-FC4E-96A6-613B-C0FF9C23E8F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16C7EC2-7695-0237-0B28-90558D0B8241}"/>
              </a:ext>
            </a:extLst>
          </p:cNvPr>
          <p:cNvSpPr>
            <a:spLocks noGrp="1"/>
          </p:cNvSpPr>
          <p:nvPr>
            <p:ph type="hdr" sz="quarter" idx="10"/>
          </p:nvPr>
        </p:nvSpPr>
        <p:spPr/>
        <p:txBody>
          <a:bodyPr/>
          <a:lstStyle/>
          <a:p>
            <a:pPr marL="0" marR="0" lvl="0" indent="0" algn="l" defTabSz="138885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6000CFC-C691-5AF4-1879-85C11508C786}"/>
              </a:ext>
            </a:extLst>
          </p:cNvPr>
          <p:cNvSpPr>
            <a:spLocks noGrp="1"/>
          </p:cNvSpPr>
          <p:nvPr>
            <p:ph type="ftr" sz="quarter" idx="11"/>
          </p:nvPr>
        </p:nvSpPr>
        <p:spPr/>
        <p:txBody>
          <a:bodyPr/>
          <a:lstStyle/>
          <a:p>
            <a:pPr marL="0" marR="0" lvl="0" indent="0" algn="l" defTabSz="1413307"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A9D591C-3A0C-77F5-E27A-3C7D463C7F17}"/>
              </a:ext>
            </a:extLst>
          </p:cNvPr>
          <p:cNvSpPr>
            <a:spLocks noGrp="1"/>
          </p:cNvSpPr>
          <p:nvPr>
            <p:ph type="dt" idx="12"/>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72A4F6B4-A631-4FEA-8449-AA34D650416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9/18/2025 6:5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59C2EF6-607A-D0D8-AEC7-C9480154EEFB}"/>
              </a:ext>
            </a:extLst>
          </p:cNvPr>
          <p:cNvSpPr>
            <a:spLocks noGrp="1"/>
          </p:cNvSpPr>
          <p:nvPr>
            <p:ph type="sldNum" sz="quarter" idx="13"/>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173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FBDCE9-E2FD-0B55-FBE4-5F7E1724C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4359EC-0AEE-E4A5-0BB2-DE13FB1A08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E1ABAD-2E74-59C2-AE90-25ADA86B25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F4364F"/>
                </a:solidFill>
                <a:effectLst/>
                <a:uLnTx/>
                <a:uFillTx/>
                <a:latin typeface="Segoe UI"/>
                <a:ea typeface="+mn-ea"/>
                <a:cs typeface="+mn-cs"/>
              </a:rPr>
              <a:t>Land GitHub Copilot with every Developer</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F4364F"/>
                </a:solidFill>
                <a:effectLst/>
                <a:uLnTx/>
                <a:uFillTx/>
                <a:latin typeface="Segoe UI"/>
                <a:ea typeface="+mn-ea"/>
                <a:cs typeface="+mn-cs"/>
              </a:rPr>
              <a:t>Drive Agentic DevOps with GitHub Enterprise 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4364F"/>
                </a:solidFill>
                <a:effectLst/>
                <a:uLnTx/>
                <a:uFillTx/>
                <a:latin typeface="Segoe UI"/>
                <a:ea typeface="+mn-ea"/>
                <a:cs typeface="+mn-cs"/>
              </a:rPr>
              <a:t>GitHub &amp; Azure Connected Dev Experience</a:t>
            </a:r>
          </a:p>
          <a:p>
            <a:endParaRPr lang="en-US"/>
          </a:p>
        </p:txBody>
      </p:sp>
      <p:sp>
        <p:nvSpPr>
          <p:cNvPr id="4" name="Slide Number Placeholder 3">
            <a:extLst>
              <a:ext uri="{FF2B5EF4-FFF2-40B4-BE49-F238E27FC236}">
                <a16:creationId xmlns:a16="http://schemas.microsoft.com/office/drawing/2014/main" id="{1EC2C4FB-E9CD-9551-2D10-E442B4DA8D6A}"/>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2381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34914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A44B7-C66E-2A5E-3EBB-AD4D6BD611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23B4B-705F-D6CF-2CEF-A9F3CD801C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74E8E-F0CA-BA20-EC2C-30EC4A885A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807DB63-A29E-9D8F-E7F9-815C81293D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020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7D1C6-FAA8-F9F9-CA0B-261FEFC5B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8EBF8C-B8A6-9FBC-86BF-030C6D3ADF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8A05C1-56D6-8FCA-A529-4FA4F0BF9B4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BE37D2-1347-5A3D-3520-A8FFADA3A0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5909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7E1BB-CB2A-BC73-CBFA-BB11172973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D5B7B-B5CC-7E3C-EB88-81F12774CB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004C3F-C49E-5020-EA83-1797ACCE6F6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378718-0D2B-73E2-8CA0-797CDE9D0D3A}"/>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9ECE92A-F679-47E9-BAF0-C3334D2D716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1901E48-B509-99FC-2181-F6BDDF604AF4}"/>
              </a:ext>
            </a:extLst>
          </p:cNvPr>
          <p:cNvSpPr>
            <a:spLocks noGrp="1"/>
          </p:cNvSpPr>
          <p:nvPr>
            <p:ph type="ftr" sz="quarter" idx="4"/>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1827381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934FF-3F73-DCEA-30F0-B23632FA2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C36141-48CB-1302-0BAD-1861C7EA3C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DD56D4-D503-892C-4EF0-63076E0E31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EF55346-1E20-B797-7EA2-E844F7C1FCE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EE4FD-A653-41A1-BD7D-47F0C993E4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90584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0D5AB-6BB6-BE6C-0DC5-F145896773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59A26C-B852-11F2-3995-7D11E65AEC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F0F83D-B418-C39A-9DD3-853C4B313C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977764-5678-74B9-0894-A1CDABC3C3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7112F-0E57-43B1-BED6-AA8E0BC401B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97535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0DA1-AE4A-E306-10AB-7281D28FE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E17F50-D0B7-A301-1A63-86F1C761F3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2432F2-28B3-CB53-AFC6-655984E25D2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9001438-822F-B52B-8C9D-D916D084978D}"/>
              </a:ext>
            </a:extLst>
          </p:cNvPr>
          <p:cNvSpPr>
            <a:spLocks noGrp="1"/>
          </p:cNvSpPr>
          <p:nvPr>
            <p:ph type="hdr" sz="quarter" idx="10"/>
          </p:nvPr>
        </p:nvSpPr>
        <p:spPr/>
        <p:txBody>
          <a:bodyPr/>
          <a:lstStyle/>
          <a:p>
            <a:pPr marL="0" marR="0" lvl="0" indent="0" algn="l" defTabSz="138885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034EA5-6720-7482-6793-57C2A1F3B49E}"/>
              </a:ext>
            </a:extLst>
          </p:cNvPr>
          <p:cNvSpPr>
            <a:spLocks noGrp="1"/>
          </p:cNvSpPr>
          <p:nvPr>
            <p:ph type="ftr" sz="quarter" idx="11"/>
          </p:nvPr>
        </p:nvSpPr>
        <p:spPr/>
        <p:txBody>
          <a:bodyPr/>
          <a:lstStyle/>
          <a:p>
            <a:pPr marL="0" marR="0" lvl="0" indent="0" algn="l" defTabSz="1413307"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D3229A1-E203-8DCC-A1CB-D3FB96D1E6F6}"/>
              </a:ext>
            </a:extLst>
          </p:cNvPr>
          <p:cNvSpPr>
            <a:spLocks noGrp="1"/>
          </p:cNvSpPr>
          <p:nvPr>
            <p:ph type="dt" idx="12"/>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72A4F6B4-A631-4FEA-8449-AA34D650416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9/18/2025 6:5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9518F23-36C4-31D0-CC33-835B83C719F4}"/>
              </a:ext>
            </a:extLst>
          </p:cNvPr>
          <p:cNvSpPr>
            <a:spLocks noGrp="1"/>
          </p:cNvSpPr>
          <p:nvPr>
            <p:ph type="sldNum" sz="quarter" idx="13"/>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219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13234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688DE-DC43-F52F-87D3-405D95C6E6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B9F678-9A8B-04E1-8771-21BDB57CAB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E067D3-D6F0-5C20-C28F-2BB8D1B3D8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626F20-1338-7593-309B-299F9D433716}"/>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0469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231476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697AB-DFB0-BA10-4DED-2D6AA329D6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6E4799-3C98-E3EA-1A0C-BAF7B2CCC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CE7AAB-670C-FC9B-C110-D88647DA0F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64D281-FEFC-7F87-B294-02A96FDD66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3302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61202-C619-F12E-D806-B9F157D31D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75BCEA-1A65-716A-21C5-47360BDC50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28FC5E-A51A-B22D-40E0-75F2BDD5FB8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8535815-3AEB-BA7F-A7FD-783D3A669BAF}"/>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9ECE92A-F679-47E9-BAF0-C3334D2D716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3B2CB9-9CA2-882A-76D6-E98744788B2B}"/>
              </a:ext>
            </a:extLst>
          </p:cNvPr>
          <p:cNvSpPr>
            <a:spLocks noGrp="1"/>
          </p:cNvSpPr>
          <p:nvPr>
            <p:ph type="ftr" sz="quarter" idx="4"/>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6630284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0B4CE-C1A3-D97C-3283-4E4F139064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799A90-29E2-9F39-BFB4-AC334A564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D1CD73-0F5F-4851-75A3-A5A65C72037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81BDF0-F47D-9D99-07E5-274CA5F5C5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EE4FD-A653-41A1-BD7D-47F0C993E4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855180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170CB-FA22-AF72-54FE-3A739EC843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78FD5-9E63-862C-ADE8-16F6655B8C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709316-BDE4-9399-F3CE-CD1D959DB4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C04B672-7989-6DB1-D295-7B79EDBACF7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7112F-0E57-43B1-BED6-AA8E0BC401B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29467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8CEA-6ECD-BA55-D7FE-B22A4C869E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A59122-4B75-7515-F0CD-82DCC341E9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7608BD-B2E0-17D6-2355-206BEABD0EC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80999E0-70D1-E185-E331-4184D0DC44F3}"/>
              </a:ext>
            </a:extLst>
          </p:cNvPr>
          <p:cNvSpPr>
            <a:spLocks noGrp="1"/>
          </p:cNvSpPr>
          <p:nvPr>
            <p:ph type="hdr" sz="quarter" idx="10"/>
          </p:nvPr>
        </p:nvSpPr>
        <p:spPr/>
        <p:txBody>
          <a:bodyPr/>
          <a:lstStyle/>
          <a:p>
            <a:pPr marL="0" marR="0" lvl="0" indent="0" algn="l" defTabSz="138885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BD7FCCA-3586-6792-2193-08901D39964C}"/>
              </a:ext>
            </a:extLst>
          </p:cNvPr>
          <p:cNvSpPr>
            <a:spLocks noGrp="1"/>
          </p:cNvSpPr>
          <p:nvPr>
            <p:ph type="ftr" sz="quarter" idx="11"/>
          </p:nvPr>
        </p:nvSpPr>
        <p:spPr/>
        <p:txBody>
          <a:bodyPr/>
          <a:lstStyle/>
          <a:p>
            <a:pPr marL="0" marR="0" lvl="0" indent="0" algn="l" defTabSz="1413307"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3EB1E3A-0687-E8A6-A177-6B94E67142F9}"/>
              </a:ext>
            </a:extLst>
          </p:cNvPr>
          <p:cNvSpPr>
            <a:spLocks noGrp="1"/>
          </p:cNvSpPr>
          <p:nvPr>
            <p:ph type="dt" idx="12"/>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72A4F6B4-A631-4FEA-8449-AA34D650416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9/18/2025 6:5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467ECC8-56CB-B0FD-F045-821572B585F4}"/>
              </a:ext>
            </a:extLst>
          </p:cNvPr>
          <p:cNvSpPr>
            <a:spLocks noGrp="1"/>
          </p:cNvSpPr>
          <p:nvPr>
            <p:ph type="sldNum" sz="quarter" idx="13"/>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386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504A4-D3FD-0B07-D013-7D2A89FB7C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53A665-9DEE-2867-3DB0-390E96FF7A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37103E-76FF-D349-1033-68AE7A7D7F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AFC268-81A5-C8A4-3C57-92F3C1C3D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4617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1AC13-A7EA-96B4-8A9E-31CBD92C1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AD8478-E567-7FD7-8760-107BAF1443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704B95-3025-4F8D-9DA5-43DAFEAD06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196917-79CA-D7F7-29BF-6366918A29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A7112F-0E57-43B1-BED6-AA8E0BC401B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789074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1B2EB-CFA7-6222-D000-416F3A9505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F79DE1-F8DA-094D-729D-2CF7391421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E14340-5664-C9E0-D7A7-E9B11841C6E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44230F-0269-3289-A719-EC6A98440242}"/>
              </a:ext>
            </a:extLst>
          </p:cNvPr>
          <p:cNvSpPr>
            <a:spLocks noGrp="1"/>
          </p:cNvSpPr>
          <p:nvPr>
            <p:ph type="hdr" sz="quarter" idx="10"/>
          </p:nvPr>
        </p:nvSpPr>
        <p:spPr/>
        <p:txBody>
          <a:bodyPr/>
          <a:lstStyle/>
          <a:p>
            <a:pPr marL="0" marR="0" lvl="0" indent="0" algn="l" defTabSz="138885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C7A59C0-73A2-EFED-1F15-85198CC96200}"/>
              </a:ext>
            </a:extLst>
          </p:cNvPr>
          <p:cNvSpPr>
            <a:spLocks noGrp="1"/>
          </p:cNvSpPr>
          <p:nvPr>
            <p:ph type="ftr" sz="quarter" idx="11"/>
          </p:nvPr>
        </p:nvSpPr>
        <p:spPr/>
        <p:txBody>
          <a:bodyPr/>
          <a:lstStyle/>
          <a:p>
            <a:pPr marL="0" marR="0" lvl="0" indent="0" algn="l" defTabSz="1413307"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CF5D221-7904-F6AC-B227-F47C032B0BB1}"/>
              </a:ext>
            </a:extLst>
          </p:cNvPr>
          <p:cNvSpPr>
            <a:spLocks noGrp="1"/>
          </p:cNvSpPr>
          <p:nvPr>
            <p:ph type="dt" idx="12"/>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72A4F6B4-A631-4FEA-8449-AA34D650416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9/18/2025 6:5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AB6AD7B-A120-04A5-50BC-5676D213FEA7}"/>
              </a:ext>
            </a:extLst>
          </p:cNvPr>
          <p:cNvSpPr>
            <a:spLocks noGrp="1"/>
          </p:cNvSpPr>
          <p:nvPr>
            <p:ph type="sldNum" sz="quarter" idx="13"/>
          </p:nvPr>
        </p:nvSpPr>
        <p:spPr/>
        <p:txBody>
          <a:bodyPr/>
          <a:lstStyle/>
          <a:p>
            <a:pPr marL="0" marR="0" lvl="0" indent="0" algn="r" defTabSz="13888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388853"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7057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09ABB-3B94-0A14-F49B-7F5CC616B9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A344D5-C1DA-33AA-05A0-8139FE7375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D18A08-30C2-AAE0-628E-5B83F81443F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0F5AC7-1371-3E28-F3E3-E317EF377D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B03A12-5B37-4C40-AA20-0D1A9408F0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0270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2829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FF6F8D-03AC-49C1-867A-92647FA71A5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22189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6D4C26-A7E3-651A-3331-F977B35848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BEC80C-53E4-B595-F968-172FCDD96E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C22EB7-4ED9-98F0-E835-8EB61C0328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E2DF78-6301-5606-98FE-520D107756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721D8-C58F-44D6-94E7-8262D2568A5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7062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CE92A-F679-47E9-BAF0-C3334D2D71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EC0DAAC-09D3-4D5E-84B4-EEA6568C7815}"/>
              </a:ext>
            </a:extLst>
          </p:cNvPr>
          <p:cNvSpPr>
            <a:spLocks noGrp="1"/>
          </p:cNvSpPr>
          <p:nvPr>
            <p:ph type="ftr" sz="quarter" idx="4"/>
          </p:nvPr>
        </p:nvSpPr>
        <p:spPr/>
        <p:txBody>
          <a:bodyPr/>
          <a:lstStyle/>
          <a:p>
            <a:r>
              <a:rPr lang="en-IN"/>
              <a:t>Microsoft Confidential</a:t>
            </a:r>
          </a:p>
        </p:txBody>
      </p:sp>
    </p:spTree>
    <p:extLst>
      <p:ext uri="{BB962C8B-B14F-4D97-AF65-F5344CB8AC3E}">
        <p14:creationId xmlns:p14="http://schemas.microsoft.com/office/powerpoint/2010/main" val="2977524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EEA9C-5F1C-4DDC-9083-D416FF5DA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51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05C87-7997-0AB8-43C4-7716DFE8F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9090F9-06F3-9430-6B9E-4628273802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3F3464-A658-163A-EB84-4ED8724EBC3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AFA959C-809D-EEFA-EC60-51869569226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C967B410-79C9-F8C8-0F22-6C046569637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CB50C7C-121C-E587-B8D8-7A020B1A9D2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5 6:5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EC7FE892-F435-2D64-EAA9-7098D091E68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59674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BDB30-6852-BACB-6EE1-B121155F86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769F04-0743-9BB3-1FB1-0D3A663B97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DE3AD-5AA6-9AB5-77E4-A15609116E20}"/>
              </a:ext>
            </a:extLst>
          </p:cNvPr>
          <p:cNvSpPr>
            <a:spLocks noGrp="1"/>
          </p:cNvSpPr>
          <p:nvPr>
            <p:ph type="body" idx="1"/>
          </p:nvPr>
        </p:nvSpPr>
        <p:spPr/>
        <p:txBody>
          <a:bodyPr/>
          <a:lstStyle/>
          <a:p>
            <a:pPr marL="0" indent="0">
              <a:buFont typeface="Arial" panose="020B0604020202020204" pitchFamily="34" charset="0"/>
              <a:buNone/>
            </a:pPr>
            <a:endParaRPr lang="en-US" b="0" i="0">
              <a:solidFill>
                <a:srgbClr val="FFFFFF"/>
              </a:solidFill>
              <a:effectLst/>
              <a:latin typeface="SegoeUIVariable"/>
            </a:endParaRPr>
          </a:p>
          <a:p>
            <a:br>
              <a:rPr lang="en-US" b="0" i="0">
                <a:solidFill>
                  <a:srgbClr val="FFFFFF"/>
                </a:solidFill>
                <a:effectLst/>
                <a:latin typeface="SegoeUIVariable"/>
              </a:rPr>
            </a:br>
            <a:br>
              <a:rPr lang="en-US" b="0" i="0">
                <a:solidFill>
                  <a:srgbClr val="FFFFFF"/>
                </a:solidFill>
                <a:effectLst/>
                <a:latin typeface="SegoeUIVariable"/>
              </a:rPr>
            </a:br>
            <a:endParaRPr lang="en-US" b="0" i="0">
              <a:solidFill>
                <a:srgbClr val="FFFFFF"/>
              </a:solidFill>
              <a:effectLst/>
              <a:latin typeface="SegoeUIVariable"/>
            </a:endParaRPr>
          </a:p>
        </p:txBody>
      </p:sp>
      <p:sp>
        <p:nvSpPr>
          <p:cNvPr id="4" name="Slide Number Placeholder 3">
            <a:extLst>
              <a:ext uri="{FF2B5EF4-FFF2-40B4-BE49-F238E27FC236}">
                <a16:creationId xmlns:a16="http://schemas.microsoft.com/office/drawing/2014/main" id="{529BD12B-91AB-FBBB-F4B1-BF59EFBDF6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7EFF4-51FF-486A-9D7C-1B652F986D4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2322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AA40F-CABA-E31D-F3F8-0609D1EFF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17D2DE-5A45-DC2C-D751-D5F1682BCB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4840B5-6A73-E7FA-4694-36523062CA8B}"/>
              </a:ext>
            </a:extLst>
          </p:cNvPr>
          <p:cNvSpPr>
            <a:spLocks noGrp="1"/>
          </p:cNvSpPr>
          <p:nvPr>
            <p:ph type="body" idx="1"/>
          </p:nvPr>
        </p:nvSpPr>
        <p:spPr/>
        <p:txBody>
          <a:bodyPr/>
          <a:lstStyle/>
          <a:p>
            <a:pPr marL="0" indent="0">
              <a:buFont typeface="Arial" panose="020B0604020202020204" pitchFamily="34" charset="0"/>
              <a:buNone/>
            </a:pPr>
            <a:endParaRPr lang="en-US" b="0" i="0">
              <a:solidFill>
                <a:srgbClr val="FFFFFF"/>
              </a:solidFill>
              <a:effectLst/>
              <a:latin typeface="SegoeUIVariable"/>
            </a:endParaRPr>
          </a:p>
          <a:p>
            <a:br>
              <a:rPr lang="en-US" b="0" i="0">
                <a:solidFill>
                  <a:srgbClr val="FFFFFF"/>
                </a:solidFill>
                <a:effectLst/>
                <a:latin typeface="SegoeUIVariable"/>
              </a:rPr>
            </a:br>
            <a:br>
              <a:rPr lang="en-US" b="0" i="0">
                <a:solidFill>
                  <a:srgbClr val="FFFFFF"/>
                </a:solidFill>
                <a:effectLst/>
                <a:latin typeface="SegoeUIVariable"/>
              </a:rPr>
            </a:br>
            <a:endParaRPr lang="en-US" b="0" i="0">
              <a:solidFill>
                <a:srgbClr val="FFFFFF"/>
              </a:solidFill>
              <a:effectLst/>
              <a:latin typeface="SegoeUIVariable"/>
            </a:endParaRPr>
          </a:p>
        </p:txBody>
      </p:sp>
      <p:sp>
        <p:nvSpPr>
          <p:cNvPr id="4" name="Slide Number Placeholder 3">
            <a:extLst>
              <a:ext uri="{FF2B5EF4-FFF2-40B4-BE49-F238E27FC236}">
                <a16:creationId xmlns:a16="http://schemas.microsoft.com/office/drawing/2014/main" id="{4938B3AE-F4D1-639F-E9D1-38A59575D7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7EFF4-51FF-486A-9D7C-1B652F986D4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80995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4.svg"/><Relationship Id="rId7"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image" Target="../media/image6.emf"/><Relationship Id="rId1" Type="http://schemas.openxmlformats.org/officeDocument/2006/relationships/slideMaster" Target="../slideMasters/slideMaster2.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F27C778-1488-FD80-B9C2-898BD5B382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061" t="9459" r="7061" b="9459"/>
          <a:stretch/>
        </p:blipFill>
        <p:spPr>
          <a:xfrm>
            <a:off x="0" y="1"/>
            <a:ext cx="12192000" cy="6858000"/>
          </a:xfrm>
          <a:prstGeom prst="rect">
            <a:avLst/>
          </a:prstGeom>
        </p:spPr>
      </p:pic>
      <p:pic>
        <p:nvPicPr>
          <p:cNvPr id="4" name="Graphic 3">
            <a:extLst>
              <a:ext uri="{FF2B5EF4-FFF2-40B4-BE49-F238E27FC236}">
                <a16:creationId xmlns:a16="http://schemas.microsoft.com/office/drawing/2014/main" id="{372F3E58-8238-F351-C44F-4143411F4531}"/>
              </a:ext>
            </a:extLst>
          </p:cNvPr>
          <p:cNvPicPr>
            <a:picLocks noChangeAspect="1"/>
          </p:cNvPicPr>
          <p:nvPr userDrawn="1"/>
        </p:nvPicPr>
        <p:blipFill>
          <a:blip r:embed="rId4">
            <a:alphaModFix amt="40000"/>
            <a:extLst>
              <a:ext uri="{96DAC541-7B7A-43D3-8B79-37D633B846F1}">
                <asvg:svgBlip xmlns:asvg="http://schemas.microsoft.com/office/drawing/2016/SVG/main" r:embed="rId5"/>
              </a:ext>
            </a:extLst>
          </a:blip>
          <a:srcRect r="3226" b="30326"/>
          <a:stretch/>
        </p:blipFill>
        <p:spPr>
          <a:xfrm flipH="1">
            <a:off x="0" y="1727807"/>
            <a:ext cx="12192000" cy="5130193"/>
          </a:xfrm>
          <a:prstGeom prst="rect">
            <a:avLst/>
          </a:prstGeom>
        </p:spPr>
      </p:pic>
      <p:pic>
        <p:nvPicPr>
          <p:cNvPr id="5" name="Graphic 4">
            <a:extLst>
              <a:ext uri="{FF2B5EF4-FFF2-40B4-BE49-F238E27FC236}">
                <a16:creationId xmlns:a16="http://schemas.microsoft.com/office/drawing/2014/main" id="{509E60CC-4772-1FFF-D79F-DDD494809C6C}"/>
              </a:ext>
            </a:extLst>
          </p:cNvPr>
          <p:cNvPicPr>
            <a:picLocks noChangeAspect="1"/>
          </p:cNvPicPr>
          <p:nvPr userDrawn="1"/>
        </p:nvPicPr>
        <p:blipFill>
          <a:blip r:embed="rId4">
            <a:alphaModFix amt="40000"/>
            <a:extLst>
              <a:ext uri="{96DAC541-7B7A-43D3-8B79-37D633B846F1}">
                <asvg:svgBlip xmlns:asvg="http://schemas.microsoft.com/office/drawing/2016/SVG/main" r:embed="rId5"/>
              </a:ext>
            </a:extLst>
          </a:blip>
          <a:srcRect r="3226" b="30326"/>
          <a:stretch/>
        </p:blipFill>
        <p:spPr>
          <a:xfrm flipV="1">
            <a:off x="0" y="0"/>
            <a:ext cx="12192000" cy="5130193"/>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nchor="ctr"/>
          <a:lstStyle>
            <a:lvl1pPr>
              <a:defRPr sz="800">
                <a:solidFill>
                  <a:schemeClr val="bg1"/>
                </a:solidFill>
              </a:defRPr>
            </a:lvl1pPr>
          </a:lstStyle>
          <a:p>
            <a:r>
              <a:rPr lang="en-US"/>
              <a:t>© 2025 Microsoft. All rights reserved. Internal Microsoft use only.</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9" name="Group 8">
            <a:extLst>
              <a:ext uri="{FF2B5EF4-FFF2-40B4-BE49-F238E27FC236}">
                <a16:creationId xmlns:a16="http://schemas.microsoft.com/office/drawing/2014/main" id="{7364B028-D9B7-9485-B62D-82D9B141DF3D}"/>
              </a:ext>
            </a:extLst>
          </p:cNvPr>
          <p:cNvGrpSpPr/>
          <p:nvPr userDrawn="1"/>
        </p:nvGrpSpPr>
        <p:grpSpPr>
          <a:xfrm>
            <a:off x="584200" y="501051"/>
            <a:ext cx="2865763" cy="461326"/>
            <a:chOff x="584200" y="501051"/>
            <a:chExt cx="2865763" cy="461326"/>
          </a:xfrm>
        </p:grpSpPr>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7"/>
            <a:stretch>
              <a:fillRect/>
            </a:stretch>
          </p:blipFill>
          <p:spPr>
            <a:xfrm>
              <a:off x="225500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mj-lt"/>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1451015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28F1A-9257-C6E3-2EEF-A00BF266EFAD}"/>
              </a:ext>
            </a:extLst>
          </p:cNvPr>
          <p:cNvSpPr>
            <a:spLocks noGrp="1"/>
          </p:cNvSpPr>
          <p:nvPr>
            <p:ph type="title"/>
          </p:nvPr>
        </p:nvSpPr>
        <p:spPr/>
        <p:txBody>
          <a:bodyPr/>
          <a:lstStyle/>
          <a:p>
            <a:r>
              <a:rPr lang="en-US"/>
              <a:t>Click to edit Master title style</a:t>
            </a:r>
          </a:p>
        </p:txBody>
      </p:sp>
      <p:pic>
        <p:nvPicPr>
          <p:cNvPr id="4" name="Graphic 3">
            <a:extLst>
              <a:ext uri="{FF2B5EF4-FFF2-40B4-BE49-F238E27FC236}">
                <a16:creationId xmlns:a16="http://schemas.microsoft.com/office/drawing/2014/main" id="{CD9375C5-D3F6-6F64-1D3C-59E8C18A4997}"/>
              </a:ext>
            </a:extLst>
          </p:cNvPr>
          <p:cNvPicPr>
            <a:picLocks noChangeAspect="1"/>
          </p:cNvPicPr>
          <p:nvPr userDrawn="1"/>
        </p:nvPicPr>
        <p:blipFill rotWithShape="1">
          <a:blip r:embed="rId2">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5" name="Rectangle: Top Corners Rounded 4">
            <a:extLst>
              <a:ext uri="{FF2B5EF4-FFF2-40B4-BE49-F238E27FC236}">
                <a16:creationId xmlns:a16="http://schemas.microsoft.com/office/drawing/2014/main" id="{C5223C6B-5689-5C20-8176-629DC8888F66}"/>
              </a:ext>
            </a:extLst>
          </p:cNvPr>
          <p:cNvSpPr/>
          <p:nvPr userDrawn="1"/>
        </p:nvSpPr>
        <p:spPr bwMode="auto">
          <a:xfrm rot="5400000">
            <a:off x="5704887" y="-4377529"/>
            <a:ext cx="782228" cy="12192001"/>
          </a:xfrm>
          <a:prstGeom prst="round2SameRect">
            <a:avLst>
              <a:gd name="adj1" fmla="val 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6" name="Freeform: Shape 5">
            <a:extLst>
              <a:ext uri="{FF2B5EF4-FFF2-40B4-BE49-F238E27FC236}">
                <a16:creationId xmlns:a16="http://schemas.microsoft.com/office/drawing/2014/main" id="{FA910BE4-C44C-9FFA-FC05-79F1CF3BC765}"/>
              </a:ext>
            </a:extLst>
          </p:cNvPr>
          <p:cNvSpPr/>
          <p:nvPr userDrawn="1"/>
        </p:nvSpPr>
        <p:spPr>
          <a:xfrm>
            <a:off x="588963" y="1145426"/>
            <a:ext cx="11017250" cy="5464924"/>
          </a:xfrm>
          <a:custGeom>
            <a:avLst/>
            <a:gdLst>
              <a:gd name="connsiteX0" fmla="*/ 157827 w 11017250"/>
              <a:gd name="connsiteY0" fmla="*/ 0 h 5464924"/>
              <a:gd name="connsiteX1" fmla="*/ 10859423 w 11017250"/>
              <a:gd name="connsiteY1" fmla="*/ 0 h 5464924"/>
              <a:gd name="connsiteX2" fmla="*/ 11017250 w 11017250"/>
              <a:gd name="connsiteY2" fmla="*/ 157827 h 5464924"/>
              <a:gd name="connsiteX3" fmla="*/ 11017250 w 11017250"/>
              <a:gd name="connsiteY3" fmla="*/ 5307097 h 5464924"/>
              <a:gd name="connsiteX4" fmla="*/ 10859423 w 11017250"/>
              <a:gd name="connsiteY4" fmla="*/ 5464924 h 5464924"/>
              <a:gd name="connsiteX5" fmla="*/ 157827 w 11017250"/>
              <a:gd name="connsiteY5" fmla="*/ 5464924 h 5464924"/>
              <a:gd name="connsiteX6" fmla="*/ 0 w 11017250"/>
              <a:gd name="connsiteY6" fmla="*/ 5307097 h 5464924"/>
              <a:gd name="connsiteX7" fmla="*/ 0 w 11017250"/>
              <a:gd name="connsiteY7" fmla="*/ 895277 h 5464924"/>
              <a:gd name="connsiteX8" fmla="*/ 10462231 w 11017250"/>
              <a:gd name="connsiteY8" fmla="*/ 895277 h 5464924"/>
              <a:gd name="connsiteX9" fmla="*/ 10784463 w 11017250"/>
              <a:gd name="connsiteY9" fmla="*/ 573046 h 5464924"/>
              <a:gd name="connsiteX10" fmla="*/ 10462231 w 11017250"/>
              <a:gd name="connsiteY10" fmla="*/ 250815 h 5464924"/>
              <a:gd name="connsiteX11" fmla="*/ 0 w 11017250"/>
              <a:gd name="connsiteY11" fmla="*/ 250815 h 5464924"/>
              <a:gd name="connsiteX12" fmla="*/ 0 w 11017250"/>
              <a:gd name="connsiteY12" fmla="*/ 157827 h 5464924"/>
              <a:gd name="connsiteX13" fmla="*/ 157827 w 11017250"/>
              <a:gd name="connsiteY13" fmla="*/ 0 h 546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17250" h="5464924">
                <a:moveTo>
                  <a:pt x="157827" y="0"/>
                </a:moveTo>
                <a:lnTo>
                  <a:pt x="10859423" y="0"/>
                </a:lnTo>
                <a:cubicBezTo>
                  <a:pt x="10946588" y="0"/>
                  <a:pt x="11017250" y="70662"/>
                  <a:pt x="11017250" y="157827"/>
                </a:cubicBezTo>
                <a:lnTo>
                  <a:pt x="11017250" y="5307097"/>
                </a:lnTo>
                <a:cubicBezTo>
                  <a:pt x="11017250" y="5394262"/>
                  <a:pt x="10946588" y="5464924"/>
                  <a:pt x="10859423" y="5464924"/>
                </a:cubicBezTo>
                <a:lnTo>
                  <a:pt x="157827" y="5464924"/>
                </a:lnTo>
                <a:cubicBezTo>
                  <a:pt x="70662" y="5464924"/>
                  <a:pt x="0" y="5394262"/>
                  <a:pt x="0" y="5307097"/>
                </a:cubicBezTo>
                <a:lnTo>
                  <a:pt x="0" y="895277"/>
                </a:lnTo>
                <a:lnTo>
                  <a:pt x="10462231" y="895277"/>
                </a:lnTo>
                <a:cubicBezTo>
                  <a:pt x="10640195" y="895277"/>
                  <a:pt x="10784463" y="751009"/>
                  <a:pt x="10784463" y="573046"/>
                </a:cubicBezTo>
                <a:cubicBezTo>
                  <a:pt x="10784463" y="395083"/>
                  <a:pt x="10640195" y="250815"/>
                  <a:pt x="10462231" y="250815"/>
                </a:cubicBezTo>
                <a:lnTo>
                  <a:pt x="0" y="250815"/>
                </a:lnTo>
                <a:lnTo>
                  <a:pt x="0" y="157827"/>
                </a:lnTo>
                <a:cubicBezTo>
                  <a:pt x="0" y="70662"/>
                  <a:pt x="70662" y="0"/>
                  <a:pt x="157827" y="0"/>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wrap="square" rtlCol="0" anchor="ctr">
            <a:noAutofit/>
          </a:bodyPr>
          <a:lstStyle/>
          <a:p>
            <a:endParaRPr lang="en-US"/>
          </a:p>
        </p:txBody>
      </p:sp>
      <p:sp>
        <p:nvSpPr>
          <p:cNvPr id="21" name="Content Placeholder 20">
            <a:extLst>
              <a:ext uri="{FF2B5EF4-FFF2-40B4-BE49-F238E27FC236}">
                <a16:creationId xmlns:a16="http://schemas.microsoft.com/office/drawing/2014/main" id="{765E201A-FDB3-604C-F66B-5C99174586C7}"/>
              </a:ext>
            </a:extLst>
          </p:cNvPr>
          <p:cNvSpPr>
            <a:spLocks noGrp="1"/>
          </p:cNvSpPr>
          <p:nvPr>
            <p:ph sz="quarter" idx="11" hasCustomPrompt="1"/>
          </p:nvPr>
        </p:nvSpPr>
        <p:spPr>
          <a:xfrm>
            <a:off x="1115695" y="1579972"/>
            <a:ext cx="9961880" cy="307777"/>
          </a:xfrm>
        </p:spPr>
        <p:txBody>
          <a:bodyPr/>
          <a:lstStyle>
            <a:lvl1pPr marL="0" indent="0" algn="ctr">
              <a:spcBef>
                <a:spcPts val="0"/>
              </a:spcBef>
              <a:buNone/>
              <a:defRPr sz="2000">
                <a:solidFill>
                  <a:schemeClr val="bg1"/>
                </a:solidFill>
                <a:latin typeface="+mj-lt"/>
              </a:defRPr>
            </a:lvl1pPr>
          </a:lstStyle>
          <a:p>
            <a:pPr lvl="0"/>
            <a:r>
              <a:rPr lang="en-US"/>
              <a:t>Add text here</a:t>
            </a:r>
          </a:p>
        </p:txBody>
      </p:sp>
      <p:sp>
        <p:nvSpPr>
          <p:cNvPr id="8" name="Rectangle: Top Corners Rounded 7">
            <a:extLst>
              <a:ext uri="{FF2B5EF4-FFF2-40B4-BE49-F238E27FC236}">
                <a16:creationId xmlns:a16="http://schemas.microsoft.com/office/drawing/2014/main" id="{0C9F714B-8B36-DF25-13CA-059C0A7A15B0}"/>
              </a:ext>
            </a:extLst>
          </p:cNvPr>
          <p:cNvSpPr/>
          <p:nvPr userDrawn="1"/>
        </p:nvSpPr>
        <p:spPr bwMode="auto">
          <a:xfrm rot="5400000">
            <a:off x="-367358" y="1617036"/>
            <a:ext cx="937584" cy="20287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29" name="Content Placeholder 28">
            <a:extLst>
              <a:ext uri="{FF2B5EF4-FFF2-40B4-BE49-F238E27FC236}">
                <a16:creationId xmlns:a16="http://schemas.microsoft.com/office/drawing/2014/main" id="{5B3AC566-8A40-2E47-6173-A95E3ED00B3E}"/>
              </a:ext>
            </a:extLst>
          </p:cNvPr>
          <p:cNvSpPr>
            <a:spLocks noGrp="1"/>
          </p:cNvSpPr>
          <p:nvPr>
            <p:ph sz="quarter" idx="17"/>
          </p:nvPr>
        </p:nvSpPr>
        <p:spPr>
          <a:xfrm>
            <a:off x="705789"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0" name="Content Placeholder 28">
            <a:extLst>
              <a:ext uri="{FF2B5EF4-FFF2-40B4-BE49-F238E27FC236}">
                <a16:creationId xmlns:a16="http://schemas.microsoft.com/office/drawing/2014/main" id="{BA1FBF1F-A3E7-EB30-A160-A7F5BA15CB6F}"/>
              </a:ext>
            </a:extLst>
          </p:cNvPr>
          <p:cNvSpPr>
            <a:spLocks noGrp="1"/>
          </p:cNvSpPr>
          <p:nvPr>
            <p:ph sz="quarter" idx="18"/>
          </p:nvPr>
        </p:nvSpPr>
        <p:spPr>
          <a:xfrm>
            <a:off x="4325784"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1" name="Content Placeholder 28">
            <a:extLst>
              <a:ext uri="{FF2B5EF4-FFF2-40B4-BE49-F238E27FC236}">
                <a16:creationId xmlns:a16="http://schemas.microsoft.com/office/drawing/2014/main" id="{88E98AD6-7871-53BE-F488-9C350158EB40}"/>
              </a:ext>
            </a:extLst>
          </p:cNvPr>
          <p:cNvSpPr>
            <a:spLocks noGrp="1"/>
          </p:cNvSpPr>
          <p:nvPr>
            <p:ph sz="quarter" idx="19"/>
          </p:nvPr>
        </p:nvSpPr>
        <p:spPr>
          <a:xfrm>
            <a:off x="7945780"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27" name="Content Placeholder 22">
            <a:extLst>
              <a:ext uri="{FF2B5EF4-FFF2-40B4-BE49-F238E27FC236}">
                <a16:creationId xmlns:a16="http://schemas.microsoft.com/office/drawing/2014/main" id="{2D28D093-D901-4F0C-9FCF-9C826DC0E979}"/>
              </a:ext>
            </a:extLst>
          </p:cNvPr>
          <p:cNvSpPr>
            <a:spLocks noGrp="1"/>
          </p:cNvSpPr>
          <p:nvPr>
            <p:ph sz="quarter" idx="16" hasCustomPrompt="1"/>
          </p:nvPr>
        </p:nvSpPr>
        <p:spPr>
          <a:xfrm>
            <a:off x="8473478" y="2233784"/>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6" name="Content Placeholder 22">
            <a:extLst>
              <a:ext uri="{FF2B5EF4-FFF2-40B4-BE49-F238E27FC236}">
                <a16:creationId xmlns:a16="http://schemas.microsoft.com/office/drawing/2014/main" id="{BAD2AB02-9D73-4F5D-0567-DF88F04A57FA}"/>
              </a:ext>
            </a:extLst>
          </p:cNvPr>
          <p:cNvSpPr>
            <a:spLocks noGrp="1"/>
          </p:cNvSpPr>
          <p:nvPr>
            <p:ph sz="quarter" idx="15" hasCustomPrompt="1"/>
          </p:nvPr>
        </p:nvSpPr>
        <p:spPr>
          <a:xfrm>
            <a:off x="4853481"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5" name="Content Placeholder 22">
            <a:extLst>
              <a:ext uri="{FF2B5EF4-FFF2-40B4-BE49-F238E27FC236}">
                <a16:creationId xmlns:a16="http://schemas.microsoft.com/office/drawing/2014/main" id="{B1163C14-5414-42C5-B84D-64BACBD9CC79}"/>
              </a:ext>
            </a:extLst>
          </p:cNvPr>
          <p:cNvSpPr>
            <a:spLocks noGrp="1"/>
          </p:cNvSpPr>
          <p:nvPr>
            <p:ph sz="quarter" idx="14" hasCustomPrompt="1"/>
          </p:nvPr>
        </p:nvSpPr>
        <p:spPr>
          <a:xfrm>
            <a:off x="1233486"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15" name="Subtitle 2">
            <a:extLst>
              <a:ext uri="{FF2B5EF4-FFF2-40B4-BE49-F238E27FC236}">
                <a16:creationId xmlns:a16="http://schemas.microsoft.com/office/drawing/2014/main" id="{5F4722C2-3629-D24E-E905-5CD98C9636EC}"/>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7376200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34C51-464C-0130-3864-16A3BF08BD4E}"/>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2E6FE07C-5569-23CC-98C2-397339F21340}"/>
              </a:ext>
            </a:extLst>
          </p:cNvPr>
          <p:cNvCxnSpPr>
            <a:cxnSpLocks/>
          </p:cNvCxnSpPr>
          <p:nvPr userDrawn="1"/>
        </p:nvCxnSpPr>
        <p:spPr>
          <a:xfrm>
            <a:off x="478335" y="2078664"/>
            <a:ext cx="0" cy="2716504"/>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5BF3C18-1259-69C2-74BB-57D153B075E5}"/>
              </a:ext>
            </a:extLst>
          </p:cNvPr>
          <p:cNvCxnSpPr>
            <a:cxnSpLocks/>
          </p:cNvCxnSpPr>
          <p:nvPr userDrawn="1"/>
        </p:nvCxnSpPr>
        <p:spPr>
          <a:xfrm>
            <a:off x="11606213" y="2078664"/>
            <a:ext cx="0" cy="2716504"/>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FBE3A7F6-1658-6844-289A-BA9945B95DD1}"/>
              </a:ext>
            </a:extLst>
          </p:cNvPr>
          <p:cNvSpPr>
            <a:spLocks noChangeAspect="1"/>
          </p:cNvSpPr>
          <p:nvPr userDrawn="1"/>
        </p:nvSpPr>
        <p:spPr>
          <a:xfrm>
            <a:off x="257178" y="1317932"/>
            <a:ext cx="11677644" cy="815275"/>
          </a:xfrm>
          <a:prstGeom prst="roundRect">
            <a:avLst>
              <a:gd name="adj" fmla="val 1741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ea typeface="+mn-ea"/>
              <a:cs typeface="+mn-cs"/>
            </a:endParaRPr>
          </a:p>
        </p:txBody>
      </p:sp>
      <p:cxnSp>
        <p:nvCxnSpPr>
          <p:cNvPr id="7" name="Straight Connector 6">
            <a:extLst>
              <a:ext uri="{FF2B5EF4-FFF2-40B4-BE49-F238E27FC236}">
                <a16:creationId xmlns:a16="http://schemas.microsoft.com/office/drawing/2014/main" id="{2F883F05-54AE-2673-75BF-BB26893870E9}"/>
              </a:ext>
            </a:extLst>
          </p:cNvPr>
          <p:cNvCxnSpPr>
            <a:cxnSpLocks/>
          </p:cNvCxnSpPr>
          <p:nvPr userDrawn="1"/>
        </p:nvCxnSpPr>
        <p:spPr>
          <a:xfrm flipH="1">
            <a:off x="0" y="2251635"/>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Content Placeholder 19">
            <a:extLst>
              <a:ext uri="{FF2B5EF4-FFF2-40B4-BE49-F238E27FC236}">
                <a16:creationId xmlns:a16="http://schemas.microsoft.com/office/drawing/2014/main" id="{650818A5-4469-6578-B58C-64A77CD4C4AC}"/>
              </a:ext>
            </a:extLst>
          </p:cNvPr>
          <p:cNvSpPr>
            <a:spLocks noGrp="1"/>
          </p:cNvSpPr>
          <p:nvPr>
            <p:ph sz="quarter" idx="10" hasCustomPrompt="1"/>
          </p:nvPr>
        </p:nvSpPr>
        <p:spPr>
          <a:xfrm>
            <a:off x="588962" y="1543283"/>
            <a:ext cx="5337023" cy="364572"/>
          </a:xfrm>
        </p:spPr>
        <p:txBody>
          <a:bodyPr/>
          <a:lstStyle>
            <a:lvl1pPr marL="0" indent="0">
              <a:buNone/>
              <a:defRPr sz="2000">
                <a:solidFill>
                  <a:schemeClr val="bg1"/>
                </a:solidFill>
                <a:latin typeface="+mn-lt"/>
              </a:defRPr>
            </a:lvl1pPr>
          </a:lstStyle>
          <a:p>
            <a:pPr lvl="0"/>
            <a:r>
              <a:rPr lang="en-US"/>
              <a:t>Add text here</a:t>
            </a:r>
          </a:p>
        </p:txBody>
      </p:sp>
      <p:sp>
        <p:nvSpPr>
          <p:cNvPr id="21" name="Content Placeholder 19">
            <a:extLst>
              <a:ext uri="{FF2B5EF4-FFF2-40B4-BE49-F238E27FC236}">
                <a16:creationId xmlns:a16="http://schemas.microsoft.com/office/drawing/2014/main" id="{548A7B9D-6854-48DA-B3A5-BDFAE6F82992}"/>
              </a:ext>
            </a:extLst>
          </p:cNvPr>
          <p:cNvSpPr>
            <a:spLocks noGrp="1"/>
          </p:cNvSpPr>
          <p:nvPr>
            <p:ph sz="quarter" idx="11" hasCustomPrompt="1"/>
          </p:nvPr>
        </p:nvSpPr>
        <p:spPr>
          <a:xfrm>
            <a:off x="6154665" y="1543283"/>
            <a:ext cx="5337023" cy="364572"/>
          </a:xfrm>
        </p:spPr>
        <p:txBody>
          <a:bodyPr/>
          <a:lstStyle>
            <a:lvl1pPr marL="0" indent="0">
              <a:buNone/>
              <a:defRPr sz="2000">
                <a:solidFill>
                  <a:schemeClr val="bg1"/>
                </a:solidFill>
                <a:latin typeface="+mn-lt"/>
              </a:defRPr>
            </a:lvl1pPr>
          </a:lstStyle>
          <a:p>
            <a:pPr lvl="0"/>
            <a:r>
              <a:rPr lang="en-US"/>
              <a:t>Add text here</a:t>
            </a:r>
          </a:p>
        </p:txBody>
      </p:sp>
      <p:cxnSp>
        <p:nvCxnSpPr>
          <p:cNvPr id="10" name="Straight Connector 9">
            <a:extLst>
              <a:ext uri="{FF2B5EF4-FFF2-40B4-BE49-F238E27FC236}">
                <a16:creationId xmlns:a16="http://schemas.microsoft.com/office/drawing/2014/main" id="{CDA4B088-9AA2-E5CB-DAFE-377C1FAD2E7A}"/>
              </a:ext>
            </a:extLst>
          </p:cNvPr>
          <p:cNvCxnSpPr>
            <a:cxnSpLocks/>
          </p:cNvCxnSpPr>
          <p:nvPr userDrawn="1"/>
        </p:nvCxnSpPr>
        <p:spPr>
          <a:xfrm>
            <a:off x="0" y="2251635"/>
            <a:ext cx="12192000" cy="0"/>
          </a:xfrm>
          <a:prstGeom prst="line">
            <a:avLst/>
          </a:prstGeom>
          <a:ln w="3175">
            <a:gradFill flip="none" rotWithShape="1">
              <a:gsLst>
                <a:gs pos="2804">
                  <a:srgbClr val="D9A6FF"/>
                </a:gs>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Content Placeholder 23">
            <a:extLst>
              <a:ext uri="{FF2B5EF4-FFF2-40B4-BE49-F238E27FC236}">
                <a16:creationId xmlns:a16="http://schemas.microsoft.com/office/drawing/2014/main" id="{6CF94DE2-F42F-DDC5-B233-62F45E93354A}"/>
              </a:ext>
            </a:extLst>
          </p:cNvPr>
          <p:cNvSpPr>
            <a:spLocks noGrp="1"/>
          </p:cNvSpPr>
          <p:nvPr>
            <p:ph sz="quarter" idx="13" hasCustomPrompt="1"/>
          </p:nvPr>
        </p:nvSpPr>
        <p:spPr>
          <a:xfrm>
            <a:off x="553720" y="2330697"/>
            <a:ext cx="5396228" cy="3854202"/>
          </a:xfrm>
          <a:prstGeom prst="roundRect">
            <a:avLst>
              <a:gd name="adj" fmla="val 1839"/>
            </a:avLst>
          </a:prstGeom>
          <a:solidFill>
            <a:srgbClr val="ECF5FA"/>
          </a:solidFill>
        </p:spPr>
        <p:txBody>
          <a:bodyPr lIns="182880" tIns="146304" rIns="182880" bIns="146304">
            <a:noAutofit/>
          </a:bodyPr>
          <a:lstStyle>
            <a:lvl1pPr marL="228600" indent="-228600">
              <a:defRPr kumimoji="0" lang="en-US"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marL="234950" marR="0" lvl="0" indent="-23495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Add core priorities here</a:t>
            </a:r>
          </a:p>
        </p:txBody>
      </p:sp>
      <p:sp>
        <p:nvSpPr>
          <p:cNvPr id="24" name="Content Placeholder 23">
            <a:extLst>
              <a:ext uri="{FF2B5EF4-FFF2-40B4-BE49-F238E27FC236}">
                <a16:creationId xmlns:a16="http://schemas.microsoft.com/office/drawing/2014/main" id="{A192EC66-7508-EE5A-BBB8-0B4F95069596}"/>
              </a:ext>
            </a:extLst>
          </p:cNvPr>
          <p:cNvSpPr>
            <a:spLocks noGrp="1"/>
          </p:cNvSpPr>
          <p:nvPr>
            <p:ph sz="quarter" idx="12" hasCustomPrompt="1"/>
          </p:nvPr>
        </p:nvSpPr>
        <p:spPr>
          <a:xfrm>
            <a:off x="6123139" y="2330697"/>
            <a:ext cx="5396228" cy="3854202"/>
          </a:xfrm>
          <a:prstGeom prst="roundRect">
            <a:avLst>
              <a:gd name="adj" fmla="val 1839"/>
            </a:avLst>
          </a:prstGeom>
          <a:solidFill>
            <a:srgbClr val="ECF5FA"/>
          </a:solidFill>
        </p:spPr>
        <p:txBody>
          <a:bodyPr lIns="182880" tIns="146304" rIns="182880" bIns="146304">
            <a:noAutofit/>
          </a:bodyPr>
          <a:lstStyle>
            <a:lvl1pPr marL="228600" indent="-228600">
              <a:defRPr kumimoji="0" lang="en-US"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marL="234950" marR="0" lvl="0" indent="-23495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Add core priorities here</a:t>
            </a:r>
          </a:p>
        </p:txBody>
      </p:sp>
      <p:sp>
        <p:nvSpPr>
          <p:cNvPr id="13" name="Rectangle: Top Corners Rounded 12">
            <a:extLst>
              <a:ext uri="{FF2B5EF4-FFF2-40B4-BE49-F238E27FC236}">
                <a16:creationId xmlns:a16="http://schemas.microsoft.com/office/drawing/2014/main" id="{03EA8387-76D3-DB0D-730A-64DF4FB299AE}"/>
              </a:ext>
            </a:extLst>
          </p:cNvPr>
          <p:cNvSpPr/>
          <p:nvPr userDrawn="1"/>
        </p:nvSpPr>
        <p:spPr bwMode="auto">
          <a:xfrm flipV="1">
            <a:off x="10843741" y="1317930"/>
            <a:ext cx="587359" cy="65617"/>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4" name="Rectangle: Top Corners Rounded 13">
            <a:extLst>
              <a:ext uri="{FF2B5EF4-FFF2-40B4-BE49-F238E27FC236}">
                <a16:creationId xmlns:a16="http://schemas.microsoft.com/office/drawing/2014/main" id="{633627D6-DA71-958D-F5B0-62E8E7DFDAAB}"/>
              </a:ext>
            </a:extLst>
          </p:cNvPr>
          <p:cNvSpPr/>
          <p:nvPr userDrawn="1"/>
        </p:nvSpPr>
        <p:spPr bwMode="auto">
          <a:xfrm flipV="1">
            <a:off x="5275540" y="1317930"/>
            <a:ext cx="587359" cy="65617"/>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5" name="Rectangle: Rounded Corners 14">
            <a:extLst>
              <a:ext uri="{FF2B5EF4-FFF2-40B4-BE49-F238E27FC236}">
                <a16:creationId xmlns:a16="http://schemas.microsoft.com/office/drawing/2014/main" id="{F4CB07B4-36CB-3D4B-E9AD-C51D87FA6F05}"/>
              </a:ext>
            </a:extLst>
          </p:cNvPr>
          <p:cNvSpPr/>
          <p:nvPr userDrawn="1"/>
        </p:nvSpPr>
        <p:spPr bwMode="auto">
          <a:xfrm>
            <a:off x="6013684" y="1517725"/>
            <a:ext cx="27432" cy="41568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7" name="Picture 16" descr="A close-up of a purple and white clipboard&#10;&#10;AI-generated content may be incorrect.">
            <a:extLst>
              <a:ext uri="{FF2B5EF4-FFF2-40B4-BE49-F238E27FC236}">
                <a16:creationId xmlns:a16="http://schemas.microsoft.com/office/drawing/2014/main" id="{D44E181C-9A43-DB1B-A876-1602214ED8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6730" y="1499230"/>
            <a:ext cx="421380" cy="452678"/>
          </a:xfrm>
          <a:prstGeom prst="rect">
            <a:avLst/>
          </a:prstGeom>
        </p:spPr>
      </p:pic>
      <p:pic>
        <p:nvPicPr>
          <p:cNvPr id="18" name="Picture 17" descr="A clipboard with check marks and a bell&#10;&#10;AI-generated content may be incorrect.">
            <a:extLst>
              <a:ext uri="{FF2B5EF4-FFF2-40B4-BE49-F238E27FC236}">
                <a16:creationId xmlns:a16="http://schemas.microsoft.com/office/drawing/2014/main" id="{BDDA2222-DA24-E61B-7E2A-186BD1EA32F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59938" y="1459095"/>
            <a:ext cx="418562" cy="532948"/>
          </a:xfrm>
          <a:prstGeom prst="rect">
            <a:avLst/>
          </a:prstGeom>
        </p:spPr>
      </p:pic>
    </p:spTree>
    <p:extLst>
      <p:ext uri="{BB962C8B-B14F-4D97-AF65-F5344CB8AC3E}">
        <p14:creationId xmlns:p14="http://schemas.microsoft.com/office/powerpoint/2010/main" val="30735501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34C51-464C-0130-3864-16A3BF08BD4E}"/>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2E6FE07C-5569-23CC-98C2-397339F21340}"/>
              </a:ext>
            </a:extLst>
          </p:cNvPr>
          <p:cNvCxnSpPr>
            <a:cxnSpLocks/>
          </p:cNvCxnSpPr>
          <p:nvPr userDrawn="1"/>
        </p:nvCxnSpPr>
        <p:spPr>
          <a:xfrm>
            <a:off x="478335" y="2078664"/>
            <a:ext cx="0" cy="2716504"/>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5BF3C18-1259-69C2-74BB-57D153B075E5}"/>
              </a:ext>
            </a:extLst>
          </p:cNvPr>
          <p:cNvCxnSpPr>
            <a:cxnSpLocks/>
          </p:cNvCxnSpPr>
          <p:nvPr userDrawn="1"/>
        </p:nvCxnSpPr>
        <p:spPr>
          <a:xfrm>
            <a:off x="11606213" y="2078664"/>
            <a:ext cx="0" cy="2716504"/>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FBE3A7F6-1658-6844-289A-BA9945B95DD1}"/>
              </a:ext>
            </a:extLst>
          </p:cNvPr>
          <p:cNvSpPr>
            <a:spLocks noChangeAspect="1"/>
          </p:cNvSpPr>
          <p:nvPr userDrawn="1"/>
        </p:nvSpPr>
        <p:spPr>
          <a:xfrm>
            <a:off x="257178" y="1317932"/>
            <a:ext cx="11677644" cy="815275"/>
          </a:xfrm>
          <a:prstGeom prst="roundRect">
            <a:avLst>
              <a:gd name="adj" fmla="val 1741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uLnTx/>
              <a:uFillTx/>
              <a:ea typeface="+mn-ea"/>
              <a:cs typeface="+mn-cs"/>
            </a:endParaRPr>
          </a:p>
        </p:txBody>
      </p:sp>
      <p:cxnSp>
        <p:nvCxnSpPr>
          <p:cNvPr id="7" name="Straight Connector 6">
            <a:extLst>
              <a:ext uri="{FF2B5EF4-FFF2-40B4-BE49-F238E27FC236}">
                <a16:creationId xmlns:a16="http://schemas.microsoft.com/office/drawing/2014/main" id="{2F883F05-54AE-2673-75BF-BB26893870E9}"/>
              </a:ext>
            </a:extLst>
          </p:cNvPr>
          <p:cNvCxnSpPr>
            <a:cxnSpLocks/>
          </p:cNvCxnSpPr>
          <p:nvPr userDrawn="1"/>
        </p:nvCxnSpPr>
        <p:spPr>
          <a:xfrm flipH="1">
            <a:off x="0" y="2251635"/>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Content Placeholder 19">
            <a:extLst>
              <a:ext uri="{FF2B5EF4-FFF2-40B4-BE49-F238E27FC236}">
                <a16:creationId xmlns:a16="http://schemas.microsoft.com/office/drawing/2014/main" id="{548A7B9D-6854-48DA-B3A5-BDFAE6F82992}"/>
              </a:ext>
            </a:extLst>
          </p:cNvPr>
          <p:cNvSpPr>
            <a:spLocks noGrp="1"/>
          </p:cNvSpPr>
          <p:nvPr>
            <p:ph sz="quarter" idx="11" hasCustomPrompt="1"/>
          </p:nvPr>
        </p:nvSpPr>
        <p:spPr>
          <a:xfrm>
            <a:off x="1167789" y="1543283"/>
            <a:ext cx="10323900" cy="364572"/>
          </a:xfrm>
        </p:spPr>
        <p:txBody>
          <a:bodyPr/>
          <a:lstStyle>
            <a:lvl1pPr marL="0" indent="0">
              <a:buNone/>
              <a:defRPr sz="2000">
                <a:solidFill>
                  <a:schemeClr val="bg1"/>
                </a:solidFill>
                <a:latin typeface="+mn-lt"/>
              </a:defRPr>
            </a:lvl1pPr>
          </a:lstStyle>
          <a:p>
            <a:pPr lvl="0"/>
            <a:r>
              <a:rPr lang="en-US"/>
              <a:t>Add text here</a:t>
            </a:r>
          </a:p>
        </p:txBody>
      </p:sp>
      <p:cxnSp>
        <p:nvCxnSpPr>
          <p:cNvPr id="10" name="Straight Connector 9">
            <a:extLst>
              <a:ext uri="{FF2B5EF4-FFF2-40B4-BE49-F238E27FC236}">
                <a16:creationId xmlns:a16="http://schemas.microsoft.com/office/drawing/2014/main" id="{CDA4B088-9AA2-E5CB-DAFE-377C1FAD2E7A}"/>
              </a:ext>
            </a:extLst>
          </p:cNvPr>
          <p:cNvCxnSpPr>
            <a:cxnSpLocks/>
          </p:cNvCxnSpPr>
          <p:nvPr userDrawn="1"/>
        </p:nvCxnSpPr>
        <p:spPr>
          <a:xfrm>
            <a:off x="0" y="2251635"/>
            <a:ext cx="12192000" cy="0"/>
          </a:xfrm>
          <a:prstGeom prst="line">
            <a:avLst/>
          </a:prstGeom>
          <a:ln w="3175">
            <a:gradFill flip="none" rotWithShape="1">
              <a:gsLst>
                <a:gs pos="2804">
                  <a:srgbClr val="D9A6FF"/>
                </a:gs>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Content Placeholder 23">
            <a:extLst>
              <a:ext uri="{FF2B5EF4-FFF2-40B4-BE49-F238E27FC236}">
                <a16:creationId xmlns:a16="http://schemas.microsoft.com/office/drawing/2014/main" id="{A192EC66-7508-EE5A-BBB8-0B4F95069596}"/>
              </a:ext>
            </a:extLst>
          </p:cNvPr>
          <p:cNvSpPr>
            <a:spLocks noGrp="1"/>
          </p:cNvSpPr>
          <p:nvPr>
            <p:ph sz="quarter" idx="12" hasCustomPrompt="1"/>
          </p:nvPr>
        </p:nvSpPr>
        <p:spPr>
          <a:xfrm>
            <a:off x="585786" y="2330697"/>
            <a:ext cx="10933581" cy="3854202"/>
          </a:xfrm>
          <a:prstGeom prst="roundRect">
            <a:avLst>
              <a:gd name="adj" fmla="val 1839"/>
            </a:avLst>
          </a:prstGeom>
          <a:solidFill>
            <a:srgbClr val="ECF5FA"/>
          </a:solidFill>
        </p:spPr>
        <p:txBody>
          <a:bodyPr lIns="182880" tIns="146304" rIns="182880" bIns="146304">
            <a:noAutofit/>
          </a:bodyPr>
          <a:lstStyle>
            <a:lvl1pPr marL="228600" indent="-228600">
              <a:defRPr kumimoji="0" lang="en-US"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marL="234950" marR="0" lvl="0" indent="-23495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Add core priorities here</a:t>
            </a:r>
          </a:p>
        </p:txBody>
      </p:sp>
      <p:sp>
        <p:nvSpPr>
          <p:cNvPr id="13" name="Rectangle: Top Corners Rounded 12">
            <a:extLst>
              <a:ext uri="{FF2B5EF4-FFF2-40B4-BE49-F238E27FC236}">
                <a16:creationId xmlns:a16="http://schemas.microsoft.com/office/drawing/2014/main" id="{03EA8387-76D3-DB0D-730A-64DF4FB299AE}"/>
              </a:ext>
            </a:extLst>
          </p:cNvPr>
          <p:cNvSpPr/>
          <p:nvPr userDrawn="1"/>
        </p:nvSpPr>
        <p:spPr bwMode="auto">
          <a:xfrm flipV="1">
            <a:off x="10843741" y="1317930"/>
            <a:ext cx="587359" cy="65617"/>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4" name="Rectangle: Top Corners Rounded 13">
            <a:extLst>
              <a:ext uri="{FF2B5EF4-FFF2-40B4-BE49-F238E27FC236}">
                <a16:creationId xmlns:a16="http://schemas.microsoft.com/office/drawing/2014/main" id="{633627D6-DA71-958D-F5B0-62E8E7DFDAAB}"/>
              </a:ext>
            </a:extLst>
          </p:cNvPr>
          <p:cNvSpPr/>
          <p:nvPr userDrawn="1"/>
        </p:nvSpPr>
        <p:spPr bwMode="auto">
          <a:xfrm flipV="1">
            <a:off x="5275540" y="1317930"/>
            <a:ext cx="587359" cy="65617"/>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17" name="Picture 16" descr="A close-up of a purple and white clipboard&#10;&#10;AI-generated content may be incorrect.">
            <a:extLst>
              <a:ext uri="{FF2B5EF4-FFF2-40B4-BE49-F238E27FC236}">
                <a16:creationId xmlns:a16="http://schemas.microsoft.com/office/drawing/2014/main" id="{D44E181C-9A43-DB1B-A876-1602214ED8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26730" y="1499230"/>
            <a:ext cx="421380" cy="452678"/>
          </a:xfrm>
          <a:prstGeom prst="rect">
            <a:avLst/>
          </a:prstGeom>
        </p:spPr>
      </p:pic>
      <p:pic>
        <p:nvPicPr>
          <p:cNvPr id="18" name="Picture 17" descr="A clipboard with check marks and a bell&#10;&#10;AI-generated content may be incorrect.">
            <a:extLst>
              <a:ext uri="{FF2B5EF4-FFF2-40B4-BE49-F238E27FC236}">
                <a16:creationId xmlns:a16="http://schemas.microsoft.com/office/drawing/2014/main" id="{BDDA2222-DA24-E61B-7E2A-186BD1EA32F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86" y="1483542"/>
            <a:ext cx="418562" cy="532948"/>
          </a:xfrm>
          <a:prstGeom prst="rect">
            <a:avLst/>
          </a:prstGeom>
        </p:spPr>
      </p:pic>
    </p:spTree>
    <p:extLst>
      <p:ext uri="{BB962C8B-B14F-4D97-AF65-F5344CB8AC3E}">
        <p14:creationId xmlns:p14="http://schemas.microsoft.com/office/powerpoint/2010/main" val="5876458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46" name="Graphic 45">
            <a:extLst>
              <a:ext uri="{FF2B5EF4-FFF2-40B4-BE49-F238E27FC236}">
                <a16:creationId xmlns:a16="http://schemas.microsoft.com/office/drawing/2014/main" id="{9BBBC86D-2470-9FE6-6AF4-8FD910E8A83B}"/>
              </a:ext>
            </a:extLst>
          </p:cNvPr>
          <p:cNvPicPr>
            <a:picLocks noChangeAspect="1"/>
          </p:cNvPicPr>
          <p:nvPr userDrawn="1"/>
        </p:nvPicPr>
        <p:blipFill rotWithShape="1">
          <a:blip r:embed="rId2">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32" name="Rectangle: Rounded Corners 31">
            <a:extLst>
              <a:ext uri="{FF2B5EF4-FFF2-40B4-BE49-F238E27FC236}">
                <a16:creationId xmlns:a16="http://schemas.microsoft.com/office/drawing/2014/main" id="{6EA5D9BD-90AB-7591-B0CA-745B906659CF}"/>
              </a:ext>
            </a:extLst>
          </p:cNvPr>
          <p:cNvSpPr>
            <a:spLocks/>
          </p:cNvSpPr>
          <p:nvPr userDrawn="1"/>
        </p:nvSpPr>
        <p:spPr bwMode="auto">
          <a:xfrm>
            <a:off x="386770" y="5523854"/>
            <a:ext cx="11224259" cy="1088032"/>
          </a:xfrm>
          <a:prstGeom prst="roundRect">
            <a:avLst>
              <a:gd name="adj" fmla="val 9807"/>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sp>
        <p:nvSpPr>
          <p:cNvPr id="3" name="Rectangle: Rounded Corners 2">
            <a:extLst>
              <a:ext uri="{FF2B5EF4-FFF2-40B4-BE49-F238E27FC236}">
                <a16:creationId xmlns:a16="http://schemas.microsoft.com/office/drawing/2014/main" id="{493C605C-9E59-544B-6920-514A4ACFAC44}"/>
              </a:ext>
            </a:extLst>
          </p:cNvPr>
          <p:cNvSpPr/>
          <p:nvPr userDrawn="1"/>
        </p:nvSpPr>
        <p:spPr bwMode="auto">
          <a:xfrm>
            <a:off x="479037" y="5613273"/>
            <a:ext cx="2532713" cy="909195"/>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BCB84BAB-2828-F4C2-A21E-5AD162296826}"/>
              </a:ext>
            </a:extLst>
          </p:cNvPr>
          <p:cNvSpPr/>
          <p:nvPr userDrawn="1"/>
        </p:nvSpPr>
        <p:spPr bwMode="auto">
          <a:xfrm flipH="1">
            <a:off x="2380" y="1248835"/>
            <a:ext cx="12189620" cy="4250653"/>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3B61159F-94D9-CFF1-B8D3-6103F2B09E4A}"/>
              </a:ext>
            </a:extLst>
          </p:cNvPr>
          <p:cNvCxnSpPr>
            <a:cxnSpLocks/>
          </p:cNvCxnSpPr>
          <p:nvPr userDrawn="1"/>
        </p:nvCxnSpPr>
        <p:spPr>
          <a:xfrm>
            <a:off x="2228876" y="2343050"/>
            <a:ext cx="0" cy="449895"/>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6D99554-7510-184F-27CB-7A98C760B59C}"/>
              </a:ext>
            </a:extLst>
          </p:cNvPr>
          <p:cNvCxnSpPr>
            <a:cxnSpLocks/>
          </p:cNvCxnSpPr>
          <p:nvPr userDrawn="1"/>
        </p:nvCxnSpPr>
        <p:spPr>
          <a:xfrm flipH="1">
            <a:off x="4090535" y="2343058"/>
            <a:ext cx="4" cy="449887"/>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9CCBAED-9146-7F94-978D-68BE9FE6F022}"/>
              </a:ext>
            </a:extLst>
          </p:cNvPr>
          <p:cNvCxnSpPr>
            <a:cxnSpLocks/>
          </p:cNvCxnSpPr>
          <p:nvPr userDrawn="1"/>
        </p:nvCxnSpPr>
        <p:spPr>
          <a:xfrm flipH="1">
            <a:off x="5982551" y="2343058"/>
            <a:ext cx="4" cy="449887"/>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AC2F9B-93C3-1D2E-BFEC-3E77031C20AD}"/>
              </a:ext>
            </a:extLst>
          </p:cNvPr>
          <p:cNvCxnSpPr>
            <a:cxnSpLocks/>
          </p:cNvCxnSpPr>
          <p:nvPr userDrawn="1"/>
        </p:nvCxnSpPr>
        <p:spPr>
          <a:xfrm flipH="1">
            <a:off x="7844052" y="2343058"/>
            <a:ext cx="4" cy="449887"/>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B4CDC43-40D3-07AF-16C3-326A586A6412}"/>
              </a:ext>
            </a:extLst>
          </p:cNvPr>
          <p:cNvCxnSpPr>
            <a:cxnSpLocks/>
          </p:cNvCxnSpPr>
          <p:nvPr userDrawn="1"/>
        </p:nvCxnSpPr>
        <p:spPr>
          <a:xfrm flipH="1">
            <a:off x="9728440" y="2343058"/>
            <a:ext cx="4" cy="449887"/>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D9A7D53-64D6-10D9-00FA-C65B8E9360F1}"/>
              </a:ext>
            </a:extLst>
          </p:cNvPr>
          <p:cNvSpPr>
            <a:spLocks noGrp="1"/>
          </p:cNvSpPr>
          <p:nvPr>
            <p:ph type="title"/>
          </p:nvPr>
        </p:nvSpPr>
        <p:spPr>
          <a:xfrm>
            <a:off x="586740" y="501909"/>
            <a:ext cx="11018520" cy="553998"/>
          </a:xfrm>
        </p:spPr>
        <p:txBody>
          <a:bodyPr/>
          <a:lstStyle/>
          <a:p>
            <a:r>
              <a:rPr lang="en-US"/>
              <a:t>Click to edit Master title style</a:t>
            </a:r>
          </a:p>
        </p:txBody>
      </p:sp>
      <p:sp>
        <p:nvSpPr>
          <p:cNvPr id="65" name="Content Placeholder 61">
            <a:extLst>
              <a:ext uri="{FF2B5EF4-FFF2-40B4-BE49-F238E27FC236}">
                <a16:creationId xmlns:a16="http://schemas.microsoft.com/office/drawing/2014/main" id="{81DE72CE-9F4E-96F4-73D3-5D552877E831}"/>
              </a:ext>
            </a:extLst>
          </p:cNvPr>
          <p:cNvSpPr>
            <a:spLocks noGrp="1"/>
          </p:cNvSpPr>
          <p:nvPr>
            <p:ph sz="quarter" idx="19" hasCustomPrompt="1"/>
          </p:nvPr>
        </p:nvSpPr>
        <p:spPr>
          <a:xfrm>
            <a:off x="1394380" y="2792944"/>
            <a:ext cx="1668992" cy="1791777"/>
          </a:xfrm>
        </p:spPr>
        <p:txBody>
          <a:bodyPr lIns="91440" tIns="91440" rIns="91440" bIns="0">
            <a:noAutofit/>
          </a:bodyPr>
          <a:lstStyle>
            <a:lvl1pPr marL="0" indent="0" algn="ctr">
              <a:spcBef>
                <a:spcPts val="200"/>
              </a:spcBef>
              <a:buNone/>
              <a:defRPr kumimoji="0" lang="en-US" sz="1200" b="0" i="0" u="none" strike="noStrike" kern="1200" cap="none" spc="0" normalizeH="0" baseline="0" dirty="0">
                <a:ln>
                  <a:noFill/>
                </a:ln>
                <a:solidFill>
                  <a:schemeClr val="tx1"/>
                </a:solidFill>
                <a:effectLst/>
                <a:uLnTx/>
                <a:uFillTx/>
                <a:latin typeface="+mn-lt"/>
                <a:ea typeface="+mn-ea"/>
                <a:cs typeface="+mn-cs"/>
              </a:defRPr>
            </a:lvl1pPr>
          </a:lstStyle>
          <a:p>
            <a:pPr marL="0" marR="0" lvl="0" algn="ctr" defTabSz="914400" rtl="0" eaLnBrk="1" fontAlgn="auto" latinLnBrk="0" hangingPunct="1">
              <a:lnSpc>
                <a:spcPct val="100000"/>
              </a:lnSpc>
              <a:spcBef>
                <a:spcPts val="0"/>
              </a:spcBef>
              <a:spcAft>
                <a:spcPts val="0"/>
              </a:spcAft>
              <a:buClrTx/>
              <a:buSzTx/>
              <a:tabLst/>
              <a:defRPr/>
            </a:pPr>
            <a:r>
              <a:rPr lang="en-US"/>
              <a:t>Add text</a:t>
            </a:r>
          </a:p>
        </p:txBody>
      </p:sp>
      <p:sp>
        <p:nvSpPr>
          <p:cNvPr id="62" name="Content Placeholder 61">
            <a:extLst>
              <a:ext uri="{FF2B5EF4-FFF2-40B4-BE49-F238E27FC236}">
                <a16:creationId xmlns:a16="http://schemas.microsoft.com/office/drawing/2014/main" id="{45A77FF2-15DA-6E10-97AD-A6713D6FB2B2}"/>
              </a:ext>
            </a:extLst>
          </p:cNvPr>
          <p:cNvSpPr>
            <a:spLocks noGrp="1"/>
          </p:cNvSpPr>
          <p:nvPr>
            <p:ph sz="quarter" idx="16" hasCustomPrompt="1"/>
          </p:nvPr>
        </p:nvSpPr>
        <p:spPr>
          <a:xfrm>
            <a:off x="3256039" y="2792945"/>
            <a:ext cx="1668992" cy="1791776"/>
          </a:xfrm>
        </p:spPr>
        <p:txBody>
          <a:bodyPr lIns="91440" tIns="91440" rIns="91440" bIns="0">
            <a:noAutofit/>
          </a:bodyPr>
          <a:lstStyle>
            <a:lvl1pPr marL="0" indent="0" algn="ctr">
              <a:spcBef>
                <a:spcPts val="200"/>
              </a:spcBef>
              <a:buNone/>
              <a:defRPr kumimoji="0" lang="en-US" sz="1200" b="0" i="0" u="none" strike="noStrike" kern="1200" cap="none" spc="0" normalizeH="0" baseline="0" dirty="0">
                <a:ln>
                  <a:noFill/>
                </a:ln>
                <a:solidFill>
                  <a:schemeClr val="tx1"/>
                </a:solidFill>
                <a:effectLst/>
                <a:uLnTx/>
                <a:uFillTx/>
                <a:latin typeface="+mn-lt"/>
                <a:ea typeface="+mn-ea"/>
                <a:cs typeface="+mn-cs"/>
              </a:defRPr>
            </a:lvl1pPr>
          </a:lstStyle>
          <a:p>
            <a:pPr marL="0" marR="0" lvl="0" algn="ctr" defTabSz="914400" rtl="0" eaLnBrk="1" fontAlgn="auto" latinLnBrk="0" hangingPunct="1">
              <a:lnSpc>
                <a:spcPct val="100000"/>
              </a:lnSpc>
              <a:spcBef>
                <a:spcPts val="0"/>
              </a:spcBef>
              <a:spcAft>
                <a:spcPts val="0"/>
              </a:spcAft>
              <a:buClrTx/>
              <a:buSzTx/>
              <a:tabLst/>
              <a:defRPr/>
            </a:pPr>
            <a:r>
              <a:rPr lang="en-US"/>
              <a:t>Add text</a:t>
            </a:r>
          </a:p>
        </p:txBody>
      </p:sp>
      <p:sp>
        <p:nvSpPr>
          <p:cNvPr id="66" name="Content Placeholder 61">
            <a:extLst>
              <a:ext uri="{FF2B5EF4-FFF2-40B4-BE49-F238E27FC236}">
                <a16:creationId xmlns:a16="http://schemas.microsoft.com/office/drawing/2014/main" id="{ECC42984-158E-5848-CC80-B213FFC2EC9B}"/>
              </a:ext>
            </a:extLst>
          </p:cNvPr>
          <p:cNvSpPr>
            <a:spLocks noGrp="1"/>
          </p:cNvSpPr>
          <p:nvPr>
            <p:ph sz="quarter" idx="20" hasCustomPrompt="1"/>
          </p:nvPr>
        </p:nvSpPr>
        <p:spPr>
          <a:xfrm>
            <a:off x="5148057" y="2792944"/>
            <a:ext cx="1668992" cy="1791775"/>
          </a:xfrm>
        </p:spPr>
        <p:txBody>
          <a:bodyPr lIns="91440" tIns="91440" rIns="91440" bIns="0">
            <a:noAutofit/>
          </a:bodyPr>
          <a:lstStyle>
            <a:lvl1pPr marL="0" indent="0" algn="ctr">
              <a:spcBef>
                <a:spcPts val="200"/>
              </a:spcBef>
              <a:buNone/>
              <a:defRPr kumimoji="0" lang="en-US" sz="1200" b="0" i="0" u="none" strike="noStrike" kern="1200" cap="none" spc="0" normalizeH="0" baseline="0" dirty="0">
                <a:ln>
                  <a:noFill/>
                </a:ln>
                <a:solidFill>
                  <a:schemeClr val="tx1"/>
                </a:solidFill>
                <a:effectLst/>
                <a:uLnTx/>
                <a:uFillTx/>
                <a:latin typeface="+mn-lt"/>
                <a:ea typeface="+mn-ea"/>
                <a:cs typeface="+mn-cs"/>
              </a:defRPr>
            </a:lvl1pPr>
          </a:lstStyle>
          <a:p>
            <a:pPr marL="0" marR="0" lvl="0" algn="ctr" defTabSz="914400" rtl="0" eaLnBrk="1" fontAlgn="auto" latinLnBrk="0" hangingPunct="1">
              <a:lnSpc>
                <a:spcPct val="100000"/>
              </a:lnSpc>
              <a:spcBef>
                <a:spcPts val="0"/>
              </a:spcBef>
              <a:spcAft>
                <a:spcPts val="0"/>
              </a:spcAft>
              <a:buClrTx/>
              <a:buSzTx/>
              <a:tabLst/>
              <a:defRPr/>
            </a:pPr>
            <a:r>
              <a:rPr lang="en-US"/>
              <a:t>Add text</a:t>
            </a:r>
          </a:p>
        </p:txBody>
      </p:sp>
      <p:sp>
        <p:nvSpPr>
          <p:cNvPr id="63" name="Content Placeholder 61">
            <a:extLst>
              <a:ext uri="{FF2B5EF4-FFF2-40B4-BE49-F238E27FC236}">
                <a16:creationId xmlns:a16="http://schemas.microsoft.com/office/drawing/2014/main" id="{22CAC5A8-5D3F-FA17-4503-AB786BC69FA4}"/>
              </a:ext>
            </a:extLst>
          </p:cNvPr>
          <p:cNvSpPr>
            <a:spLocks noGrp="1"/>
          </p:cNvSpPr>
          <p:nvPr>
            <p:ph sz="quarter" idx="17" hasCustomPrompt="1"/>
          </p:nvPr>
        </p:nvSpPr>
        <p:spPr>
          <a:xfrm>
            <a:off x="7009558" y="2792945"/>
            <a:ext cx="1668992" cy="1791774"/>
          </a:xfrm>
        </p:spPr>
        <p:txBody>
          <a:bodyPr lIns="91440" tIns="91440" rIns="91440" bIns="0">
            <a:noAutofit/>
          </a:bodyPr>
          <a:lstStyle>
            <a:lvl1pPr marL="0" indent="0" algn="ctr">
              <a:spcBef>
                <a:spcPts val="200"/>
              </a:spcBef>
              <a:buNone/>
              <a:defRPr kumimoji="0" lang="en-US" sz="1200" b="0" i="0" u="none" strike="noStrike" kern="1200" cap="none" spc="0" normalizeH="0" baseline="0" dirty="0">
                <a:ln>
                  <a:noFill/>
                </a:ln>
                <a:solidFill>
                  <a:schemeClr val="tx1"/>
                </a:solidFill>
                <a:effectLst/>
                <a:uLnTx/>
                <a:uFillTx/>
                <a:latin typeface="+mn-lt"/>
                <a:ea typeface="+mn-ea"/>
                <a:cs typeface="+mn-cs"/>
              </a:defRPr>
            </a:lvl1pPr>
          </a:lstStyle>
          <a:p>
            <a:pPr marL="0" marR="0" lvl="0" algn="ctr" defTabSz="914400" rtl="0" eaLnBrk="1" fontAlgn="auto" latinLnBrk="0" hangingPunct="1">
              <a:lnSpc>
                <a:spcPct val="100000"/>
              </a:lnSpc>
              <a:spcBef>
                <a:spcPts val="0"/>
              </a:spcBef>
              <a:spcAft>
                <a:spcPts val="0"/>
              </a:spcAft>
              <a:buClrTx/>
              <a:buSzTx/>
              <a:tabLst/>
              <a:defRPr/>
            </a:pPr>
            <a:r>
              <a:rPr lang="en-US"/>
              <a:t>Add text</a:t>
            </a:r>
          </a:p>
        </p:txBody>
      </p:sp>
      <p:sp>
        <p:nvSpPr>
          <p:cNvPr id="67" name="Content Placeholder 61">
            <a:extLst>
              <a:ext uri="{FF2B5EF4-FFF2-40B4-BE49-F238E27FC236}">
                <a16:creationId xmlns:a16="http://schemas.microsoft.com/office/drawing/2014/main" id="{BEDAB7EC-CE06-C3F9-D40F-E4AD4CC11314}"/>
              </a:ext>
            </a:extLst>
          </p:cNvPr>
          <p:cNvSpPr>
            <a:spLocks noGrp="1"/>
          </p:cNvSpPr>
          <p:nvPr>
            <p:ph sz="quarter" idx="21" hasCustomPrompt="1"/>
          </p:nvPr>
        </p:nvSpPr>
        <p:spPr>
          <a:xfrm>
            <a:off x="8893946" y="2792944"/>
            <a:ext cx="1668992" cy="1791773"/>
          </a:xfrm>
        </p:spPr>
        <p:txBody>
          <a:bodyPr lIns="91440" tIns="91440" rIns="91440" bIns="0">
            <a:noAutofit/>
          </a:bodyPr>
          <a:lstStyle>
            <a:lvl1pPr marL="0" indent="0" algn="ctr">
              <a:spcBef>
                <a:spcPts val="200"/>
              </a:spcBef>
              <a:buNone/>
              <a:defRPr kumimoji="0" lang="en-US" sz="1200" b="0" i="0" u="none" strike="noStrike" kern="1200" cap="none" spc="0" normalizeH="0" baseline="0" dirty="0">
                <a:ln>
                  <a:noFill/>
                </a:ln>
                <a:solidFill>
                  <a:schemeClr val="tx1"/>
                </a:solidFill>
                <a:effectLst/>
                <a:uLnTx/>
                <a:uFillTx/>
                <a:latin typeface="+mn-lt"/>
                <a:ea typeface="+mn-ea"/>
                <a:cs typeface="+mn-cs"/>
              </a:defRPr>
            </a:lvl1pPr>
          </a:lstStyle>
          <a:p>
            <a:pPr marL="0" marR="0" lvl="0" algn="ctr" defTabSz="914400" rtl="0" eaLnBrk="1" fontAlgn="auto" latinLnBrk="0" hangingPunct="1">
              <a:lnSpc>
                <a:spcPct val="100000"/>
              </a:lnSpc>
              <a:spcBef>
                <a:spcPts val="0"/>
              </a:spcBef>
              <a:spcAft>
                <a:spcPts val="0"/>
              </a:spcAft>
              <a:buClrTx/>
              <a:buSzTx/>
              <a:tabLst/>
              <a:defRPr/>
            </a:pPr>
            <a:r>
              <a:rPr lang="en-US"/>
              <a:t>Add text</a:t>
            </a:r>
          </a:p>
        </p:txBody>
      </p:sp>
      <p:sp>
        <p:nvSpPr>
          <p:cNvPr id="16" name="Freeform: Shape 15">
            <a:extLst>
              <a:ext uri="{FF2B5EF4-FFF2-40B4-BE49-F238E27FC236}">
                <a16:creationId xmlns:a16="http://schemas.microsoft.com/office/drawing/2014/main" id="{D497B510-3049-0BE4-A589-BBE6E5967570}"/>
              </a:ext>
            </a:extLst>
          </p:cNvPr>
          <p:cNvSpPr/>
          <p:nvPr userDrawn="1"/>
        </p:nvSpPr>
        <p:spPr>
          <a:xfrm>
            <a:off x="1633329" y="1353050"/>
            <a:ext cx="3064451" cy="1142672"/>
          </a:xfrm>
          <a:custGeom>
            <a:avLst/>
            <a:gdLst>
              <a:gd name="connsiteX0" fmla="*/ 299895 w 372237"/>
              <a:gd name="connsiteY0" fmla="*/ 0 h 144722"/>
              <a:gd name="connsiteX1" fmla="*/ 256327 w 372237"/>
              <a:gd name="connsiteY1" fmla="*/ 14649 h 144722"/>
              <a:gd name="connsiteX2" fmla="*/ 187481 w 372237"/>
              <a:gd name="connsiteY2" fmla="*/ 43825 h 144722"/>
              <a:gd name="connsiteX3" fmla="*/ 115919 w 372237"/>
              <a:gd name="connsiteY3" fmla="*/ 14649 h 144722"/>
              <a:gd name="connsiteX4" fmla="*/ 72352 w 372237"/>
              <a:gd name="connsiteY4" fmla="*/ 0 h 144722"/>
              <a:gd name="connsiteX5" fmla="*/ 0 w 372237"/>
              <a:gd name="connsiteY5" fmla="*/ 72361 h 144722"/>
              <a:gd name="connsiteX6" fmla="*/ 72352 w 372237"/>
              <a:gd name="connsiteY6" fmla="*/ 144723 h 144722"/>
              <a:gd name="connsiteX7" fmla="*/ 112605 w 372237"/>
              <a:gd name="connsiteY7" fmla="*/ 132236 h 144722"/>
              <a:gd name="connsiteX8" fmla="*/ 146761 w 372237"/>
              <a:gd name="connsiteY8" fmla="*/ 108690 h 144722"/>
              <a:gd name="connsiteX9" fmla="*/ 220951 w 372237"/>
              <a:gd name="connsiteY9" fmla="*/ 107013 h 144722"/>
              <a:gd name="connsiteX10" fmla="*/ 258604 w 372237"/>
              <a:gd name="connsiteY10" fmla="*/ 131131 h 144722"/>
              <a:gd name="connsiteX11" fmla="*/ 299876 w 372237"/>
              <a:gd name="connsiteY11" fmla="*/ 144723 h 144722"/>
              <a:gd name="connsiteX12" fmla="*/ 372237 w 372237"/>
              <a:gd name="connsiteY12" fmla="*/ 72361 h 144722"/>
              <a:gd name="connsiteX13" fmla="*/ 299895 w 372237"/>
              <a:gd name="connsiteY13" fmla="*/ 0 h 14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2237" h="144722">
                <a:moveTo>
                  <a:pt x="299895" y="0"/>
                </a:moveTo>
                <a:cubicBezTo>
                  <a:pt x="284559" y="0"/>
                  <a:pt x="268319" y="4991"/>
                  <a:pt x="256327" y="14649"/>
                </a:cubicBezTo>
                <a:cubicBezTo>
                  <a:pt x="236896" y="30290"/>
                  <a:pt x="213103" y="42739"/>
                  <a:pt x="187481" y="43825"/>
                </a:cubicBezTo>
                <a:cubicBezTo>
                  <a:pt x="159048" y="45034"/>
                  <a:pt x="137274" y="31842"/>
                  <a:pt x="115919" y="14649"/>
                </a:cubicBezTo>
                <a:cubicBezTo>
                  <a:pt x="103927" y="5001"/>
                  <a:pt x="87697" y="0"/>
                  <a:pt x="72352" y="0"/>
                </a:cubicBezTo>
                <a:cubicBezTo>
                  <a:pt x="32395" y="0"/>
                  <a:pt x="0" y="32395"/>
                  <a:pt x="0" y="72361"/>
                </a:cubicBezTo>
                <a:cubicBezTo>
                  <a:pt x="0" y="112319"/>
                  <a:pt x="32395" y="144723"/>
                  <a:pt x="72352" y="144723"/>
                </a:cubicBezTo>
                <a:cubicBezTo>
                  <a:pt x="86754" y="144723"/>
                  <a:pt x="100727" y="140313"/>
                  <a:pt x="112605" y="132236"/>
                </a:cubicBezTo>
                <a:cubicBezTo>
                  <a:pt x="124054" y="124463"/>
                  <a:pt x="133807" y="114100"/>
                  <a:pt x="146761" y="108690"/>
                </a:cubicBezTo>
                <a:cubicBezTo>
                  <a:pt x="170012" y="98984"/>
                  <a:pt x="197444" y="97079"/>
                  <a:pt x="220951" y="107013"/>
                </a:cubicBezTo>
                <a:cubicBezTo>
                  <a:pt x="234791" y="112862"/>
                  <a:pt x="246602" y="122301"/>
                  <a:pt x="258604" y="131131"/>
                </a:cubicBezTo>
                <a:cubicBezTo>
                  <a:pt x="270691" y="140008"/>
                  <a:pt x="284731" y="144723"/>
                  <a:pt x="299876" y="144723"/>
                </a:cubicBezTo>
                <a:cubicBezTo>
                  <a:pt x="339833" y="144723"/>
                  <a:pt x="372237" y="112328"/>
                  <a:pt x="372237" y="72361"/>
                </a:cubicBezTo>
                <a:cubicBezTo>
                  <a:pt x="372247" y="32395"/>
                  <a:pt x="339852" y="0"/>
                  <a:pt x="299895" y="0"/>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51" name="Content Placeholder 47">
            <a:extLst>
              <a:ext uri="{FF2B5EF4-FFF2-40B4-BE49-F238E27FC236}">
                <a16:creationId xmlns:a16="http://schemas.microsoft.com/office/drawing/2014/main" id="{32219E5B-AC4F-D4D3-569A-346BCD918F8D}"/>
              </a:ext>
            </a:extLst>
          </p:cNvPr>
          <p:cNvSpPr>
            <a:spLocks noGrp="1"/>
          </p:cNvSpPr>
          <p:nvPr>
            <p:ph sz="quarter" idx="13" hasCustomPrompt="1"/>
          </p:nvPr>
        </p:nvSpPr>
        <p:spPr>
          <a:xfrm>
            <a:off x="1811869" y="1505721"/>
            <a:ext cx="834013" cy="83732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400" dirty="0">
                <a:solidFill>
                  <a:schemeClr val="bg1"/>
                </a:solidFill>
                <a:latin typeface="+mn-lt"/>
                <a:cs typeface="Segoe Sans Text Light" pitchFamily="2" charset="0"/>
              </a:defRPr>
            </a:lvl1pPr>
          </a:lstStyle>
          <a:p>
            <a:pPr marL="0" lvl="0" algn="ctr" defTabSz="932472" fontAlgn="base">
              <a:spcBef>
                <a:spcPct val="0"/>
              </a:spcBef>
              <a:spcAft>
                <a:spcPct val="0"/>
              </a:spcAft>
            </a:pPr>
            <a:r>
              <a:rPr lang="en-US"/>
              <a:t>Add date</a:t>
            </a:r>
          </a:p>
        </p:txBody>
      </p:sp>
      <p:sp>
        <p:nvSpPr>
          <p:cNvPr id="18" name="Freeform: Shape 17">
            <a:extLst>
              <a:ext uri="{FF2B5EF4-FFF2-40B4-BE49-F238E27FC236}">
                <a16:creationId xmlns:a16="http://schemas.microsoft.com/office/drawing/2014/main" id="{0760F40E-19B8-3BE9-243A-6D8F657327CB}"/>
              </a:ext>
            </a:extLst>
          </p:cNvPr>
          <p:cNvSpPr/>
          <p:nvPr userDrawn="1"/>
        </p:nvSpPr>
        <p:spPr>
          <a:xfrm>
            <a:off x="3494988" y="1353050"/>
            <a:ext cx="3064451" cy="1142672"/>
          </a:xfrm>
          <a:custGeom>
            <a:avLst/>
            <a:gdLst>
              <a:gd name="connsiteX0" fmla="*/ 299895 w 372237"/>
              <a:gd name="connsiteY0" fmla="*/ 0 h 144722"/>
              <a:gd name="connsiteX1" fmla="*/ 256327 w 372237"/>
              <a:gd name="connsiteY1" fmla="*/ 14649 h 144722"/>
              <a:gd name="connsiteX2" fmla="*/ 187481 w 372237"/>
              <a:gd name="connsiteY2" fmla="*/ 43825 h 144722"/>
              <a:gd name="connsiteX3" fmla="*/ 115919 w 372237"/>
              <a:gd name="connsiteY3" fmla="*/ 14649 h 144722"/>
              <a:gd name="connsiteX4" fmla="*/ 72352 w 372237"/>
              <a:gd name="connsiteY4" fmla="*/ 0 h 144722"/>
              <a:gd name="connsiteX5" fmla="*/ 0 w 372237"/>
              <a:gd name="connsiteY5" fmla="*/ 72361 h 144722"/>
              <a:gd name="connsiteX6" fmla="*/ 72352 w 372237"/>
              <a:gd name="connsiteY6" fmla="*/ 144723 h 144722"/>
              <a:gd name="connsiteX7" fmla="*/ 112605 w 372237"/>
              <a:gd name="connsiteY7" fmla="*/ 132236 h 144722"/>
              <a:gd name="connsiteX8" fmla="*/ 146761 w 372237"/>
              <a:gd name="connsiteY8" fmla="*/ 108690 h 144722"/>
              <a:gd name="connsiteX9" fmla="*/ 220951 w 372237"/>
              <a:gd name="connsiteY9" fmla="*/ 107013 h 144722"/>
              <a:gd name="connsiteX10" fmla="*/ 258604 w 372237"/>
              <a:gd name="connsiteY10" fmla="*/ 131131 h 144722"/>
              <a:gd name="connsiteX11" fmla="*/ 299876 w 372237"/>
              <a:gd name="connsiteY11" fmla="*/ 144723 h 144722"/>
              <a:gd name="connsiteX12" fmla="*/ 372237 w 372237"/>
              <a:gd name="connsiteY12" fmla="*/ 72361 h 144722"/>
              <a:gd name="connsiteX13" fmla="*/ 299895 w 372237"/>
              <a:gd name="connsiteY13" fmla="*/ 0 h 14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2237" h="144722">
                <a:moveTo>
                  <a:pt x="299895" y="0"/>
                </a:moveTo>
                <a:cubicBezTo>
                  <a:pt x="284559" y="0"/>
                  <a:pt x="268319" y="4991"/>
                  <a:pt x="256327" y="14649"/>
                </a:cubicBezTo>
                <a:cubicBezTo>
                  <a:pt x="236896" y="30290"/>
                  <a:pt x="213103" y="42739"/>
                  <a:pt x="187481" y="43825"/>
                </a:cubicBezTo>
                <a:cubicBezTo>
                  <a:pt x="159048" y="45034"/>
                  <a:pt x="137274" y="31842"/>
                  <a:pt x="115919" y="14649"/>
                </a:cubicBezTo>
                <a:cubicBezTo>
                  <a:pt x="103927" y="5001"/>
                  <a:pt x="87697" y="0"/>
                  <a:pt x="72352" y="0"/>
                </a:cubicBezTo>
                <a:cubicBezTo>
                  <a:pt x="32395" y="0"/>
                  <a:pt x="0" y="32395"/>
                  <a:pt x="0" y="72361"/>
                </a:cubicBezTo>
                <a:cubicBezTo>
                  <a:pt x="0" y="112319"/>
                  <a:pt x="32395" y="144723"/>
                  <a:pt x="72352" y="144723"/>
                </a:cubicBezTo>
                <a:cubicBezTo>
                  <a:pt x="86754" y="144723"/>
                  <a:pt x="100727" y="140313"/>
                  <a:pt x="112605" y="132236"/>
                </a:cubicBezTo>
                <a:cubicBezTo>
                  <a:pt x="124054" y="124463"/>
                  <a:pt x="133807" y="114100"/>
                  <a:pt x="146761" y="108690"/>
                </a:cubicBezTo>
                <a:cubicBezTo>
                  <a:pt x="170012" y="98984"/>
                  <a:pt x="197444" y="97079"/>
                  <a:pt x="220951" y="107013"/>
                </a:cubicBezTo>
                <a:cubicBezTo>
                  <a:pt x="234791" y="112862"/>
                  <a:pt x="246602" y="122301"/>
                  <a:pt x="258604" y="131131"/>
                </a:cubicBezTo>
                <a:cubicBezTo>
                  <a:pt x="270691" y="140008"/>
                  <a:pt x="284731" y="144723"/>
                  <a:pt x="299876" y="144723"/>
                </a:cubicBezTo>
                <a:cubicBezTo>
                  <a:pt x="339833" y="144723"/>
                  <a:pt x="372237" y="112328"/>
                  <a:pt x="372237" y="72361"/>
                </a:cubicBezTo>
                <a:cubicBezTo>
                  <a:pt x="372247" y="32395"/>
                  <a:pt x="339852" y="0"/>
                  <a:pt x="299895" y="0"/>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48" name="Content Placeholder 47">
            <a:extLst>
              <a:ext uri="{FF2B5EF4-FFF2-40B4-BE49-F238E27FC236}">
                <a16:creationId xmlns:a16="http://schemas.microsoft.com/office/drawing/2014/main" id="{508558A1-1BC2-1737-7636-7CB31F3A7F75}"/>
              </a:ext>
            </a:extLst>
          </p:cNvPr>
          <p:cNvSpPr>
            <a:spLocks noGrp="1"/>
          </p:cNvSpPr>
          <p:nvPr>
            <p:ph sz="quarter" idx="10" hasCustomPrompt="1"/>
          </p:nvPr>
        </p:nvSpPr>
        <p:spPr>
          <a:xfrm>
            <a:off x="3673528" y="1505721"/>
            <a:ext cx="834013" cy="83732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400" dirty="0">
                <a:solidFill>
                  <a:schemeClr val="bg1"/>
                </a:solidFill>
                <a:latin typeface="+mn-lt"/>
                <a:cs typeface="Segoe Sans Text Light" pitchFamily="2" charset="0"/>
              </a:defRPr>
            </a:lvl1pPr>
          </a:lstStyle>
          <a:p>
            <a:pPr marL="0" lvl="0" algn="ctr" defTabSz="932472" fontAlgn="base">
              <a:spcBef>
                <a:spcPct val="0"/>
              </a:spcBef>
              <a:spcAft>
                <a:spcPct val="0"/>
              </a:spcAft>
            </a:pPr>
            <a:r>
              <a:rPr lang="en-US"/>
              <a:t>Add date</a:t>
            </a:r>
          </a:p>
        </p:txBody>
      </p:sp>
      <p:sp>
        <p:nvSpPr>
          <p:cNvPr id="20" name="Freeform: Shape 19">
            <a:extLst>
              <a:ext uri="{FF2B5EF4-FFF2-40B4-BE49-F238E27FC236}">
                <a16:creationId xmlns:a16="http://schemas.microsoft.com/office/drawing/2014/main" id="{1CD42A8A-A8DE-9DA6-6923-2B4EF66D835E}"/>
              </a:ext>
            </a:extLst>
          </p:cNvPr>
          <p:cNvSpPr/>
          <p:nvPr userDrawn="1"/>
        </p:nvSpPr>
        <p:spPr>
          <a:xfrm>
            <a:off x="5387008" y="1353050"/>
            <a:ext cx="3064451" cy="1142672"/>
          </a:xfrm>
          <a:custGeom>
            <a:avLst/>
            <a:gdLst>
              <a:gd name="connsiteX0" fmla="*/ 299895 w 372237"/>
              <a:gd name="connsiteY0" fmla="*/ 0 h 144722"/>
              <a:gd name="connsiteX1" fmla="*/ 256327 w 372237"/>
              <a:gd name="connsiteY1" fmla="*/ 14649 h 144722"/>
              <a:gd name="connsiteX2" fmla="*/ 187481 w 372237"/>
              <a:gd name="connsiteY2" fmla="*/ 43825 h 144722"/>
              <a:gd name="connsiteX3" fmla="*/ 115919 w 372237"/>
              <a:gd name="connsiteY3" fmla="*/ 14649 h 144722"/>
              <a:gd name="connsiteX4" fmla="*/ 72352 w 372237"/>
              <a:gd name="connsiteY4" fmla="*/ 0 h 144722"/>
              <a:gd name="connsiteX5" fmla="*/ 0 w 372237"/>
              <a:gd name="connsiteY5" fmla="*/ 72361 h 144722"/>
              <a:gd name="connsiteX6" fmla="*/ 72352 w 372237"/>
              <a:gd name="connsiteY6" fmla="*/ 144723 h 144722"/>
              <a:gd name="connsiteX7" fmla="*/ 112605 w 372237"/>
              <a:gd name="connsiteY7" fmla="*/ 132236 h 144722"/>
              <a:gd name="connsiteX8" fmla="*/ 146761 w 372237"/>
              <a:gd name="connsiteY8" fmla="*/ 108690 h 144722"/>
              <a:gd name="connsiteX9" fmla="*/ 220951 w 372237"/>
              <a:gd name="connsiteY9" fmla="*/ 107013 h 144722"/>
              <a:gd name="connsiteX10" fmla="*/ 258604 w 372237"/>
              <a:gd name="connsiteY10" fmla="*/ 131131 h 144722"/>
              <a:gd name="connsiteX11" fmla="*/ 299876 w 372237"/>
              <a:gd name="connsiteY11" fmla="*/ 144723 h 144722"/>
              <a:gd name="connsiteX12" fmla="*/ 372237 w 372237"/>
              <a:gd name="connsiteY12" fmla="*/ 72361 h 144722"/>
              <a:gd name="connsiteX13" fmla="*/ 299895 w 372237"/>
              <a:gd name="connsiteY13" fmla="*/ 0 h 14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2237" h="144722">
                <a:moveTo>
                  <a:pt x="299895" y="0"/>
                </a:moveTo>
                <a:cubicBezTo>
                  <a:pt x="284559" y="0"/>
                  <a:pt x="268319" y="4991"/>
                  <a:pt x="256327" y="14649"/>
                </a:cubicBezTo>
                <a:cubicBezTo>
                  <a:pt x="236896" y="30290"/>
                  <a:pt x="213103" y="42739"/>
                  <a:pt x="187481" y="43825"/>
                </a:cubicBezTo>
                <a:cubicBezTo>
                  <a:pt x="159048" y="45034"/>
                  <a:pt x="137274" y="31842"/>
                  <a:pt x="115919" y="14649"/>
                </a:cubicBezTo>
                <a:cubicBezTo>
                  <a:pt x="103927" y="5001"/>
                  <a:pt x="87697" y="0"/>
                  <a:pt x="72352" y="0"/>
                </a:cubicBezTo>
                <a:cubicBezTo>
                  <a:pt x="32395" y="0"/>
                  <a:pt x="0" y="32395"/>
                  <a:pt x="0" y="72361"/>
                </a:cubicBezTo>
                <a:cubicBezTo>
                  <a:pt x="0" y="112319"/>
                  <a:pt x="32395" y="144723"/>
                  <a:pt x="72352" y="144723"/>
                </a:cubicBezTo>
                <a:cubicBezTo>
                  <a:pt x="86754" y="144723"/>
                  <a:pt x="100727" y="140313"/>
                  <a:pt x="112605" y="132236"/>
                </a:cubicBezTo>
                <a:cubicBezTo>
                  <a:pt x="124054" y="124463"/>
                  <a:pt x="133807" y="114100"/>
                  <a:pt x="146761" y="108690"/>
                </a:cubicBezTo>
                <a:cubicBezTo>
                  <a:pt x="170012" y="98984"/>
                  <a:pt x="197444" y="97079"/>
                  <a:pt x="220951" y="107013"/>
                </a:cubicBezTo>
                <a:cubicBezTo>
                  <a:pt x="234791" y="112862"/>
                  <a:pt x="246602" y="122301"/>
                  <a:pt x="258604" y="131131"/>
                </a:cubicBezTo>
                <a:cubicBezTo>
                  <a:pt x="270691" y="140008"/>
                  <a:pt x="284731" y="144723"/>
                  <a:pt x="299876" y="144723"/>
                </a:cubicBezTo>
                <a:cubicBezTo>
                  <a:pt x="339833" y="144723"/>
                  <a:pt x="372237" y="112328"/>
                  <a:pt x="372237" y="72361"/>
                </a:cubicBezTo>
                <a:cubicBezTo>
                  <a:pt x="372247" y="32395"/>
                  <a:pt x="339852" y="0"/>
                  <a:pt x="299895" y="0"/>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53" name="Content Placeholder 47">
            <a:extLst>
              <a:ext uri="{FF2B5EF4-FFF2-40B4-BE49-F238E27FC236}">
                <a16:creationId xmlns:a16="http://schemas.microsoft.com/office/drawing/2014/main" id="{35474F10-A3C0-391C-1888-5DAE78BBF867}"/>
              </a:ext>
            </a:extLst>
          </p:cNvPr>
          <p:cNvSpPr>
            <a:spLocks noGrp="1"/>
          </p:cNvSpPr>
          <p:nvPr>
            <p:ph sz="quarter" idx="15" hasCustomPrompt="1"/>
          </p:nvPr>
        </p:nvSpPr>
        <p:spPr>
          <a:xfrm>
            <a:off x="5565547" y="1505721"/>
            <a:ext cx="834013" cy="83732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400" dirty="0">
                <a:solidFill>
                  <a:schemeClr val="bg1"/>
                </a:solidFill>
                <a:latin typeface="+mn-lt"/>
                <a:cs typeface="Segoe Sans Text Light" pitchFamily="2" charset="0"/>
              </a:defRPr>
            </a:lvl1pPr>
          </a:lstStyle>
          <a:p>
            <a:pPr marL="0" lvl="0" algn="ctr" defTabSz="932472" fontAlgn="base">
              <a:spcBef>
                <a:spcPct val="0"/>
              </a:spcBef>
              <a:spcAft>
                <a:spcPct val="0"/>
              </a:spcAft>
            </a:pPr>
            <a:r>
              <a:rPr lang="en-US"/>
              <a:t>Add date</a:t>
            </a:r>
          </a:p>
        </p:txBody>
      </p:sp>
      <p:sp>
        <p:nvSpPr>
          <p:cNvPr id="22" name="Freeform: Shape 21">
            <a:extLst>
              <a:ext uri="{FF2B5EF4-FFF2-40B4-BE49-F238E27FC236}">
                <a16:creationId xmlns:a16="http://schemas.microsoft.com/office/drawing/2014/main" id="{7DC46C05-0920-597C-A2DF-AFC024FD27C5}"/>
              </a:ext>
            </a:extLst>
          </p:cNvPr>
          <p:cNvSpPr/>
          <p:nvPr userDrawn="1"/>
        </p:nvSpPr>
        <p:spPr>
          <a:xfrm>
            <a:off x="7248509" y="1353050"/>
            <a:ext cx="3064451" cy="1142672"/>
          </a:xfrm>
          <a:custGeom>
            <a:avLst/>
            <a:gdLst>
              <a:gd name="connsiteX0" fmla="*/ 299895 w 372237"/>
              <a:gd name="connsiteY0" fmla="*/ 0 h 144722"/>
              <a:gd name="connsiteX1" fmla="*/ 256327 w 372237"/>
              <a:gd name="connsiteY1" fmla="*/ 14649 h 144722"/>
              <a:gd name="connsiteX2" fmla="*/ 187481 w 372237"/>
              <a:gd name="connsiteY2" fmla="*/ 43825 h 144722"/>
              <a:gd name="connsiteX3" fmla="*/ 115919 w 372237"/>
              <a:gd name="connsiteY3" fmla="*/ 14649 h 144722"/>
              <a:gd name="connsiteX4" fmla="*/ 72352 w 372237"/>
              <a:gd name="connsiteY4" fmla="*/ 0 h 144722"/>
              <a:gd name="connsiteX5" fmla="*/ 0 w 372237"/>
              <a:gd name="connsiteY5" fmla="*/ 72361 h 144722"/>
              <a:gd name="connsiteX6" fmla="*/ 72352 w 372237"/>
              <a:gd name="connsiteY6" fmla="*/ 144723 h 144722"/>
              <a:gd name="connsiteX7" fmla="*/ 112605 w 372237"/>
              <a:gd name="connsiteY7" fmla="*/ 132236 h 144722"/>
              <a:gd name="connsiteX8" fmla="*/ 146761 w 372237"/>
              <a:gd name="connsiteY8" fmla="*/ 108690 h 144722"/>
              <a:gd name="connsiteX9" fmla="*/ 220951 w 372237"/>
              <a:gd name="connsiteY9" fmla="*/ 107013 h 144722"/>
              <a:gd name="connsiteX10" fmla="*/ 258604 w 372237"/>
              <a:gd name="connsiteY10" fmla="*/ 131131 h 144722"/>
              <a:gd name="connsiteX11" fmla="*/ 299876 w 372237"/>
              <a:gd name="connsiteY11" fmla="*/ 144723 h 144722"/>
              <a:gd name="connsiteX12" fmla="*/ 372237 w 372237"/>
              <a:gd name="connsiteY12" fmla="*/ 72361 h 144722"/>
              <a:gd name="connsiteX13" fmla="*/ 299895 w 372237"/>
              <a:gd name="connsiteY13" fmla="*/ 0 h 14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2237" h="144722">
                <a:moveTo>
                  <a:pt x="299895" y="0"/>
                </a:moveTo>
                <a:cubicBezTo>
                  <a:pt x="284559" y="0"/>
                  <a:pt x="268319" y="4991"/>
                  <a:pt x="256327" y="14649"/>
                </a:cubicBezTo>
                <a:cubicBezTo>
                  <a:pt x="236896" y="30290"/>
                  <a:pt x="213103" y="42739"/>
                  <a:pt x="187481" y="43825"/>
                </a:cubicBezTo>
                <a:cubicBezTo>
                  <a:pt x="159048" y="45034"/>
                  <a:pt x="137274" y="31842"/>
                  <a:pt x="115919" y="14649"/>
                </a:cubicBezTo>
                <a:cubicBezTo>
                  <a:pt x="103927" y="5001"/>
                  <a:pt x="87697" y="0"/>
                  <a:pt x="72352" y="0"/>
                </a:cubicBezTo>
                <a:cubicBezTo>
                  <a:pt x="32395" y="0"/>
                  <a:pt x="0" y="32395"/>
                  <a:pt x="0" y="72361"/>
                </a:cubicBezTo>
                <a:cubicBezTo>
                  <a:pt x="0" y="112319"/>
                  <a:pt x="32395" y="144723"/>
                  <a:pt x="72352" y="144723"/>
                </a:cubicBezTo>
                <a:cubicBezTo>
                  <a:pt x="86754" y="144723"/>
                  <a:pt x="100727" y="140313"/>
                  <a:pt x="112605" y="132236"/>
                </a:cubicBezTo>
                <a:cubicBezTo>
                  <a:pt x="124054" y="124463"/>
                  <a:pt x="133807" y="114100"/>
                  <a:pt x="146761" y="108690"/>
                </a:cubicBezTo>
                <a:cubicBezTo>
                  <a:pt x="170012" y="98984"/>
                  <a:pt x="197444" y="97079"/>
                  <a:pt x="220951" y="107013"/>
                </a:cubicBezTo>
                <a:cubicBezTo>
                  <a:pt x="234791" y="112862"/>
                  <a:pt x="246602" y="122301"/>
                  <a:pt x="258604" y="131131"/>
                </a:cubicBezTo>
                <a:cubicBezTo>
                  <a:pt x="270691" y="140008"/>
                  <a:pt x="284731" y="144723"/>
                  <a:pt x="299876" y="144723"/>
                </a:cubicBezTo>
                <a:cubicBezTo>
                  <a:pt x="339833" y="144723"/>
                  <a:pt x="372237" y="112328"/>
                  <a:pt x="372237" y="72361"/>
                </a:cubicBezTo>
                <a:cubicBezTo>
                  <a:pt x="372247" y="32395"/>
                  <a:pt x="339852" y="0"/>
                  <a:pt x="299895" y="0"/>
                </a:cubicBezTo>
                <a:close/>
              </a:path>
            </a:pathLst>
          </a:custGeom>
          <a:solidFill>
            <a:srgbClr val="FFFFFF"/>
          </a:solidFill>
          <a:ln w="6263" cap="flat">
            <a:solidFill>
              <a:srgbClr val="7600CE">
                <a:alpha val="10000"/>
              </a:srgbClr>
            </a:solidFill>
            <a:prstDash val="solid"/>
            <a:miter/>
          </a:ln>
          <a:effectLst>
            <a:outerShdw blurRad="368300" dist="25400" dir="2700000" algn="tl" rotWithShape="0">
              <a:schemeClr val="accent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Aft>
                <a:spcPts val="1500"/>
              </a:spcAft>
            </a:pPr>
            <a:endParaRPr lang="en-US" sz="2000">
              <a:solidFill>
                <a:srgbClr val="FFFFFF"/>
              </a:solidFill>
              <a:latin typeface="Segoe UI"/>
            </a:endParaRPr>
          </a:p>
        </p:txBody>
      </p:sp>
      <p:sp>
        <p:nvSpPr>
          <p:cNvPr id="50" name="Content Placeholder 47">
            <a:extLst>
              <a:ext uri="{FF2B5EF4-FFF2-40B4-BE49-F238E27FC236}">
                <a16:creationId xmlns:a16="http://schemas.microsoft.com/office/drawing/2014/main" id="{1F94BD5E-BC70-2687-7202-A4F931091877}"/>
              </a:ext>
            </a:extLst>
          </p:cNvPr>
          <p:cNvSpPr>
            <a:spLocks noGrp="1"/>
          </p:cNvSpPr>
          <p:nvPr>
            <p:ph sz="quarter" idx="12" hasCustomPrompt="1"/>
          </p:nvPr>
        </p:nvSpPr>
        <p:spPr>
          <a:xfrm>
            <a:off x="7427048" y="1505721"/>
            <a:ext cx="834013" cy="83732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400" dirty="0">
                <a:solidFill>
                  <a:schemeClr val="bg1"/>
                </a:solidFill>
                <a:latin typeface="+mn-lt"/>
                <a:cs typeface="Segoe Sans Text Light" pitchFamily="2" charset="0"/>
              </a:defRPr>
            </a:lvl1pPr>
          </a:lstStyle>
          <a:p>
            <a:pPr marL="0" lvl="0" algn="ctr" defTabSz="932472" fontAlgn="base">
              <a:spcBef>
                <a:spcPct val="0"/>
              </a:spcBef>
              <a:spcAft>
                <a:spcPct val="0"/>
              </a:spcAft>
            </a:pPr>
            <a:r>
              <a:rPr lang="en-US"/>
              <a:t>Add date</a:t>
            </a:r>
          </a:p>
        </p:txBody>
      </p:sp>
      <p:sp>
        <p:nvSpPr>
          <p:cNvPr id="52" name="Content Placeholder 47">
            <a:extLst>
              <a:ext uri="{FF2B5EF4-FFF2-40B4-BE49-F238E27FC236}">
                <a16:creationId xmlns:a16="http://schemas.microsoft.com/office/drawing/2014/main" id="{41E98986-2A3A-97B6-7B69-5FD0503C6A05}"/>
              </a:ext>
            </a:extLst>
          </p:cNvPr>
          <p:cNvSpPr>
            <a:spLocks noGrp="1"/>
          </p:cNvSpPr>
          <p:nvPr>
            <p:ph sz="quarter" idx="14" hasCustomPrompt="1"/>
          </p:nvPr>
        </p:nvSpPr>
        <p:spPr>
          <a:xfrm>
            <a:off x="9311436" y="1505722"/>
            <a:ext cx="834013" cy="83732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400" dirty="0">
                <a:solidFill>
                  <a:schemeClr val="bg1"/>
                </a:solidFill>
                <a:latin typeface="+mn-lt"/>
                <a:cs typeface="Segoe Sans Text Light" pitchFamily="2" charset="0"/>
              </a:defRPr>
            </a:lvl1pPr>
          </a:lstStyle>
          <a:p>
            <a:pPr marL="0" lvl="0" algn="ctr" defTabSz="932472" fontAlgn="base">
              <a:spcBef>
                <a:spcPct val="0"/>
              </a:spcBef>
              <a:spcAft>
                <a:spcPct val="0"/>
              </a:spcAft>
            </a:pPr>
            <a:r>
              <a:rPr lang="en-US"/>
              <a:t>Add date</a:t>
            </a:r>
          </a:p>
        </p:txBody>
      </p:sp>
      <p:pic>
        <p:nvPicPr>
          <p:cNvPr id="27" name="Graphic 26">
            <a:extLst>
              <a:ext uri="{FF2B5EF4-FFF2-40B4-BE49-F238E27FC236}">
                <a16:creationId xmlns:a16="http://schemas.microsoft.com/office/drawing/2014/main" id="{E6E28176-2272-F321-B1E0-F7580440490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911445" y="1765396"/>
            <a:ext cx="317979" cy="317979"/>
          </a:xfrm>
          <a:prstGeom prst="rect">
            <a:avLst/>
          </a:prstGeom>
        </p:spPr>
      </p:pic>
      <p:pic>
        <p:nvPicPr>
          <p:cNvPr id="28" name="Graphic 27">
            <a:extLst>
              <a:ext uri="{FF2B5EF4-FFF2-40B4-BE49-F238E27FC236}">
                <a16:creationId xmlns:a16="http://schemas.microsoft.com/office/drawing/2014/main" id="{B013D7BE-7A1C-3A4B-CE51-5AB50F282B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788285" y="1765396"/>
            <a:ext cx="317979" cy="317979"/>
          </a:xfrm>
          <a:prstGeom prst="rect">
            <a:avLst/>
          </a:prstGeom>
        </p:spPr>
      </p:pic>
      <p:pic>
        <p:nvPicPr>
          <p:cNvPr id="29" name="Graphic 28">
            <a:extLst>
              <a:ext uri="{FF2B5EF4-FFF2-40B4-BE49-F238E27FC236}">
                <a16:creationId xmlns:a16="http://schemas.microsoft.com/office/drawing/2014/main" id="{EFD411E0-C8EA-BF85-DA1A-E7A25289D9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665045" y="1765396"/>
            <a:ext cx="317979" cy="317979"/>
          </a:xfrm>
          <a:prstGeom prst="rect">
            <a:avLst/>
          </a:prstGeom>
        </p:spPr>
      </p:pic>
      <p:pic>
        <p:nvPicPr>
          <p:cNvPr id="30" name="Graphic 29">
            <a:extLst>
              <a:ext uri="{FF2B5EF4-FFF2-40B4-BE49-F238E27FC236}">
                <a16:creationId xmlns:a16="http://schemas.microsoft.com/office/drawing/2014/main" id="{1A86E485-A547-0848-8EBC-71197B4E555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537990" y="1765396"/>
            <a:ext cx="317979" cy="317979"/>
          </a:xfrm>
          <a:prstGeom prst="rect">
            <a:avLst/>
          </a:prstGeom>
        </p:spPr>
      </p:pic>
      <p:sp>
        <p:nvSpPr>
          <p:cNvPr id="69" name="Content Placeholder 68">
            <a:extLst>
              <a:ext uri="{FF2B5EF4-FFF2-40B4-BE49-F238E27FC236}">
                <a16:creationId xmlns:a16="http://schemas.microsoft.com/office/drawing/2014/main" id="{25A6445E-1BFE-E534-9E48-1C7531BC32B4}"/>
              </a:ext>
            </a:extLst>
          </p:cNvPr>
          <p:cNvSpPr>
            <a:spLocks noGrp="1"/>
          </p:cNvSpPr>
          <p:nvPr>
            <p:ph sz="quarter" idx="22" hasCustomPrompt="1"/>
          </p:nvPr>
        </p:nvSpPr>
        <p:spPr>
          <a:xfrm>
            <a:off x="1278156" y="5821649"/>
            <a:ext cx="1243038" cy="492443"/>
          </a:xfrm>
        </p:spPr>
        <p:txBody>
          <a:bodyPr anchor="ctr"/>
          <a:lstStyle>
            <a:lvl1pPr marL="0" indent="0">
              <a:buNone/>
              <a:defRPr sz="1600">
                <a:solidFill>
                  <a:schemeClr val="bg1"/>
                </a:solidFill>
                <a:latin typeface="+mn-lt"/>
              </a:defRPr>
            </a:lvl1pPr>
          </a:lstStyle>
          <a:p>
            <a:pPr lvl="0"/>
            <a:r>
              <a:rPr lang="en-US"/>
              <a:t>Add text</a:t>
            </a:r>
          </a:p>
        </p:txBody>
      </p:sp>
      <p:sp>
        <p:nvSpPr>
          <p:cNvPr id="35" name="Oval 34">
            <a:extLst>
              <a:ext uri="{FF2B5EF4-FFF2-40B4-BE49-F238E27FC236}">
                <a16:creationId xmlns:a16="http://schemas.microsoft.com/office/drawing/2014/main" id="{D58CEDFF-BC56-F49C-096A-98F30772C5A9}"/>
              </a:ext>
              <a:ext uri="{C183D7F6-B498-43B3-948B-1728B52AA6E4}">
                <adec:decorative xmlns:adec="http://schemas.microsoft.com/office/drawing/2017/decorative" val="1"/>
              </a:ext>
            </a:extLst>
          </p:cNvPr>
          <p:cNvSpPr>
            <a:spLocks noChangeAspect="1"/>
          </p:cNvSpPr>
          <p:nvPr userDrawn="1"/>
        </p:nvSpPr>
        <p:spPr bwMode="auto">
          <a:xfrm>
            <a:off x="584186" y="5792686"/>
            <a:ext cx="550368" cy="550368"/>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71" name="Content Placeholder 70">
            <a:extLst>
              <a:ext uri="{FF2B5EF4-FFF2-40B4-BE49-F238E27FC236}">
                <a16:creationId xmlns:a16="http://schemas.microsoft.com/office/drawing/2014/main" id="{122E1CD1-CBAE-F6C3-1E4E-8D7A656AEC9B}"/>
              </a:ext>
            </a:extLst>
          </p:cNvPr>
          <p:cNvSpPr>
            <a:spLocks noGrp="1"/>
          </p:cNvSpPr>
          <p:nvPr>
            <p:ph sz="quarter" idx="23" hasCustomPrompt="1"/>
          </p:nvPr>
        </p:nvSpPr>
        <p:spPr>
          <a:xfrm>
            <a:off x="4382647" y="5960148"/>
            <a:ext cx="2091396" cy="215444"/>
          </a:xfrm>
        </p:spPr>
        <p:txBody>
          <a:bodyPr anchor="ctr"/>
          <a:lstStyle>
            <a:lvl1pPr marL="0" indent="0">
              <a:buNone/>
              <a:defRPr sz="1400" b="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Add text here</a:t>
            </a:r>
          </a:p>
        </p:txBody>
      </p:sp>
      <p:sp>
        <p:nvSpPr>
          <p:cNvPr id="37" name="Oval 36">
            <a:extLst>
              <a:ext uri="{FF2B5EF4-FFF2-40B4-BE49-F238E27FC236}">
                <a16:creationId xmlns:a16="http://schemas.microsoft.com/office/drawing/2014/main" id="{F7A501C7-605C-BF88-F992-5EA49F8637F4}"/>
              </a:ext>
              <a:ext uri="{C183D7F6-B498-43B3-948B-1728B52AA6E4}">
                <adec:decorative xmlns:adec="http://schemas.microsoft.com/office/drawing/2017/decorative" val="1"/>
              </a:ext>
            </a:extLst>
          </p:cNvPr>
          <p:cNvSpPr>
            <a:spLocks noChangeAspect="1"/>
          </p:cNvSpPr>
          <p:nvPr userDrawn="1"/>
        </p:nvSpPr>
        <p:spPr bwMode="auto">
          <a:xfrm>
            <a:off x="3552755" y="5766402"/>
            <a:ext cx="602936" cy="602936"/>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72" name="Content Placeholder 70">
            <a:extLst>
              <a:ext uri="{FF2B5EF4-FFF2-40B4-BE49-F238E27FC236}">
                <a16:creationId xmlns:a16="http://schemas.microsoft.com/office/drawing/2014/main" id="{3FBED2B7-9105-4B06-5271-4E473308041A}"/>
              </a:ext>
            </a:extLst>
          </p:cNvPr>
          <p:cNvSpPr>
            <a:spLocks noGrp="1"/>
          </p:cNvSpPr>
          <p:nvPr>
            <p:ph sz="quarter" idx="24" hasCustomPrompt="1"/>
          </p:nvPr>
        </p:nvSpPr>
        <p:spPr>
          <a:xfrm>
            <a:off x="8071892" y="5960148"/>
            <a:ext cx="3396208" cy="215444"/>
          </a:xfrm>
        </p:spPr>
        <p:txBody>
          <a:bodyPr anchor="ctr"/>
          <a:lstStyle>
            <a:lvl1pPr marL="0" indent="0">
              <a:buNone/>
              <a:defRPr sz="1400" b="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Add text here</a:t>
            </a:r>
          </a:p>
        </p:txBody>
      </p:sp>
      <p:sp>
        <p:nvSpPr>
          <p:cNvPr id="39" name="Oval 38">
            <a:extLst>
              <a:ext uri="{FF2B5EF4-FFF2-40B4-BE49-F238E27FC236}">
                <a16:creationId xmlns:a16="http://schemas.microsoft.com/office/drawing/2014/main" id="{95BF04E8-E616-9343-A164-D9C5F6ED43D6}"/>
              </a:ext>
              <a:ext uri="{C183D7F6-B498-43B3-948B-1728B52AA6E4}">
                <adec:decorative xmlns:adec="http://schemas.microsoft.com/office/drawing/2017/decorative" val="1"/>
              </a:ext>
            </a:extLst>
          </p:cNvPr>
          <p:cNvSpPr>
            <a:spLocks noChangeAspect="1"/>
          </p:cNvSpPr>
          <p:nvPr userDrawn="1"/>
        </p:nvSpPr>
        <p:spPr bwMode="auto">
          <a:xfrm>
            <a:off x="7242002" y="5766402"/>
            <a:ext cx="602936" cy="602936"/>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cxnSp>
        <p:nvCxnSpPr>
          <p:cNvPr id="40" name="Straight Connector 39">
            <a:extLst>
              <a:ext uri="{FF2B5EF4-FFF2-40B4-BE49-F238E27FC236}">
                <a16:creationId xmlns:a16="http://schemas.microsoft.com/office/drawing/2014/main" id="{B333817A-97FD-F895-874F-88B3E7309CD5}"/>
              </a:ext>
            </a:extLst>
          </p:cNvPr>
          <p:cNvCxnSpPr/>
          <p:nvPr userDrawn="1"/>
        </p:nvCxnSpPr>
        <p:spPr>
          <a:xfrm>
            <a:off x="6700997" y="5855677"/>
            <a:ext cx="0" cy="424386"/>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B1BB03B-EE95-3DEE-A64E-CBCBA9B7F984}"/>
              </a:ext>
            </a:extLst>
          </p:cNvPr>
          <p:cNvCxnSpPr>
            <a:cxnSpLocks/>
          </p:cNvCxnSpPr>
          <p:nvPr userDrawn="1"/>
        </p:nvCxnSpPr>
        <p:spPr>
          <a:xfrm flipH="1">
            <a:off x="0" y="5354337"/>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7F37972-14CB-F14E-84BB-C4069FBC5FE8}"/>
              </a:ext>
            </a:extLst>
          </p:cNvPr>
          <p:cNvCxnSpPr>
            <a:cxnSpLocks/>
          </p:cNvCxnSpPr>
          <p:nvPr userDrawn="1"/>
        </p:nvCxnSpPr>
        <p:spPr>
          <a:xfrm>
            <a:off x="1407112" y="5354337"/>
            <a:ext cx="887984" cy="0"/>
          </a:xfrm>
          <a:prstGeom prst="line">
            <a:avLst/>
          </a:prstGeom>
          <a:ln w="28575">
            <a:solidFill>
              <a:schemeClr val="accent6">
                <a:lumMod val="75000"/>
              </a:schemeClr>
            </a:solidFill>
            <a:headEnd type="none" w="lg" len="med"/>
            <a:tailEnd type="none" w="lg" len="med"/>
          </a:ln>
          <a:effectLst>
            <a:outerShdw blurRad="101600" dist="38100" dir="5400000" algn="t" rotWithShape="0">
              <a:schemeClr val="accent6">
                <a:alpha val="40000"/>
              </a:schemeClr>
            </a:outerShdw>
          </a:effectLst>
        </p:spPr>
        <p:style>
          <a:lnRef idx="1">
            <a:schemeClr val="accent1"/>
          </a:lnRef>
          <a:fillRef idx="0">
            <a:schemeClr val="accent1"/>
          </a:fillRef>
          <a:effectRef idx="0">
            <a:schemeClr val="accent1"/>
          </a:effectRef>
          <a:fontRef idx="minor">
            <a:schemeClr val="tx1"/>
          </a:fontRef>
        </p:style>
      </p:cxnSp>
      <p:pic>
        <p:nvPicPr>
          <p:cNvPr id="43" name="Picture 42" descr="A blue headphones with a person wearing it&#10;&#10;AI-generated content may be incorrect.">
            <a:extLst>
              <a:ext uri="{FF2B5EF4-FFF2-40B4-BE49-F238E27FC236}">
                <a16:creationId xmlns:a16="http://schemas.microsoft.com/office/drawing/2014/main" id="{1DCB6914-CA32-D0E9-C607-C0CF5C68C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644412" y="5929283"/>
            <a:ext cx="419622" cy="277174"/>
          </a:xfrm>
          <a:prstGeom prst="rect">
            <a:avLst/>
          </a:prstGeom>
        </p:spPr>
      </p:pic>
      <p:pic>
        <p:nvPicPr>
          <p:cNvPr id="44" name="Picture 43" descr="A purple and black hat&#10;&#10;AI-generated content may be incorrect.">
            <a:extLst>
              <a:ext uri="{FF2B5EF4-FFF2-40B4-BE49-F238E27FC236}">
                <a16:creationId xmlns:a16="http://schemas.microsoft.com/office/drawing/2014/main" id="{77311251-8579-2D91-64DB-77A377EDAC54}"/>
              </a:ext>
            </a:extLst>
          </p:cNvPr>
          <p:cNvPicPr>
            <a:picLocks noChangeAspect="1"/>
          </p:cNvPicPr>
          <p:nvPr userDrawn="1"/>
        </p:nvPicPr>
        <p:blipFill>
          <a:blip r:embed="rId7">
            <a:extLst>
              <a:ext uri="{28A0092B-C50C-407E-A947-70E740481C1C}">
                <a14:useLocalDpi xmlns:a14="http://schemas.microsoft.com/office/drawing/2010/main" val="0"/>
              </a:ext>
            </a:extLst>
          </a:blip>
          <a:srcRect l="8786" r="8975"/>
          <a:stretch/>
        </p:blipFill>
        <p:spPr>
          <a:xfrm>
            <a:off x="7326446" y="5935782"/>
            <a:ext cx="434048" cy="264176"/>
          </a:xfrm>
          <a:prstGeom prst="rect">
            <a:avLst/>
          </a:prstGeom>
        </p:spPr>
      </p:pic>
      <p:pic>
        <p:nvPicPr>
          <p:cNvPr id="45" name="Picture 44" descr="A blue fingerprint with a gear on top of it&#10;&#10;AI-generated content may be incorrect.">
            <a:extLst>
              <a:ext uri="{FF2B5EF4-FFF2-40B4-BE49-F238E27FC236}">
                <a16:creationId xmlns:a16="http://schemas.microsoft.com/office/drawing/2014/main" id="{01A25C69-7B63-9145-A1C2-C8BAB495D25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61465" y="5949743"/>
            <a:ext cx="395810" cy="236254"/>
          </a:xfrm>
          <a:prstGeom prst="rect">
            <a:avLst/>
          </a:prstGeom>
        </p:spPr>
      </p:pic>
      <p:cxnSp>
        <p:nvCxnSpPr>
          <p:cNvPr id="4" name="Straight Connector 3">
            <a:extLst>
              <a:ext uri="{FF2B5EF4-FFF2-40B4-BE49-F238E27FC236}">
                <a16:creationId xmlns:a16="http://schemas.microsoft.com/office/drawing/2014/main" id="{5451DB61-66D3-FE0C-D92D-AA61EB2BB098}"/>
              </a:ext>
            </a:extLst>
          </p:cNvPr>
          <p:cNvCxnSpPr>
            <a:cxnSpLocks/>
          </p:cNvCxnSpPr>
          <p:nvPr userDrawn="1"/>
        </p:nvCxnSpPr>
        <p:spPr>
          <a:xfrm>
            <a:off x="293688" y="4905442"/>
            <a:ext cx="0" cy="1861350"/>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4706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28F1A-9257-C6E3-2EEF-A00BF266EFAD}"/>
              </a:ext>
            </a:extLst>
          </p:cNvPr>
          <p:cNvSpPr>
            <a:spLocks noGrp="1"/>
          </p:cNvSpPr>
          <p:nvPr>
            <p:ph type="title"/>
          </p:nvPr>
        </p:nvSpPr>
        <p:spPr/>
        <p:txBody>
          <a:bodyPr/>
          <a:lstStyle/>
          <a:p>
            <a:r>
              <a:rPr lang="en-US"/>
              <a:t>Click to edit Master title style</a:t>
            </a:r>
          </a:p>
        </p:txBody>
      </p:sp>
      <p:pic>
        <p:nvPicPr>
          <p:cNvPr id="4" name="Graphic 3">
            <a:extLst>
              <a:ext uri="{FF2B5EF4-FFF2-40B4-BE49-F238E27FC236}">
                <a16:creationId xmlns:a16="http://schemas.microsoft.com/office/drawing/2014/main" id="{CD9375C5-D3F6-6F64-1D3C-59E8C18A4997}"/>
              </a:ext>
            </a:extLst>
          </p:cNvPr>
          <p:cNvPicPr>
            <a:picLocks noChangeAspect="1"/>
          </p:cNvPicPr>
          <p:nvPr userDrawn="1"/>
        </p:nvPicPr>
        <p:blipFill rotWithShape="1">
          <a:blip r:embed="rId2">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5" name="Rectangle: Top Corners Rounded 4">
            <a:extLst>
              <a:ext uri="{FF2B5EF4-FFF2-40B4-BE49-F238E27FC236}">
                <a16:creationId xmlns:a16="http://schemas.microsoft.com/office/drawing/2014/main" id="{C5223C6B-5689-5C20-8176-629DC8888F66}"/>
              </a:ext>
            </a:extLst>
          </p:cNvPr>
          <p:cNvSpPr/>
          <p:nvPr userDrawn="1"/>
        </p:nvSpPr>
        <p:spPr bwMode="auto">
          <a:xfrm rot="5400000">
            <a:off x="5704887" y="-4377529"/>
            <a:ext cx="782228" cy="12192001"/>
          </a:xfrm>
          <a:prstGeom prst="round2SameRect">
            <a:avLst>
              <a:gd name="adj1" fmla="val 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6" name="Freeform: Shape 5">
            <a:extLst>
              <a:ext uri="{FF2B5EF4-FFF2-40B4-BE49-F238E27FC236}">
                <a16:creationId xmlns:a16="http://schemas.microsoft.com/office/drawing/2014/main" id="{FA910BE4-C44C-9FFA-FC05-79F1CF3BC765}"/>
              </a:ext>
            </a:extLst>
          </p:cNvPr>
          <p:cNvSpPr/>
          <p:nvPr userDrawn="1"/>
        </p:nvSpPr>
        <p:spPr>
          <a:xfrm>
            <a:off x="588963" y="1145426"/>
            <a:ext cx="11017250" cy="5464924"/>
          </a:xfrm>
          <a:custGeom>
            <a:avLst/>
            <a:gdLst>
              <a:gd name="connsiteX0" fmla="*/ 157827 w 11017250"/>
              <a:gd name="connsiteY0" fmla="*/ 0 h 5464924"/>
              <a:gd name="connsiteX1" fmla="*/ 10859423 w 11017250"/>
              <a:gd name="connsiteY1" fmla="*/ 0 h 5464924"/>
              <a:gd name="connsiteX2" fmla="*/ 11017250 w 11017250"/>
              <a:gd name="connsiteY2" fmla="*/ 157827 h 5464924"/>
              <a:gd name="connsiteX3" fmla="*/ 11017250 w 11017250"/>
              <a:gd name="connsiteY3" fmla="*/ 5307097 h 5464924"/>
              <a:gd name="connsiteX4" fmla="*/ 10859423 w 11017250"/>
              <a:gd name="connsiteY4" fmla="*/ 5464924 h 5464924"/>
              <a:gd name="connsiteX5" fmla="*/ 157827 w 11017250"/>
              <a:gd name="connsiteY5" fmla="*/ 5464924 h 5464924"/>
              <a:gd name="connsiteX6" fmla="*/ 0 w 11017250"/>
              <a:gd name="connsiteY6" fmla="*/ 5307097 h 5464924"/>
              <a:gd name="connsiteX7" fmla="*/ 0 w 11017250"/>
              <a:gd name="connsiteY7" fmla="*/ 895277 h 5464924"/>
              <a:gd name="connsiteX8" fmla="*/ 10462231 w 11017250"/>
              <a:gd name="connsiteY8" fmla="*/ 895277 h 5464924"/>
              <a:gd name="connsiteX9" fmla="*/ 10784463 w 11017250"/>
              <a:gd name="connsiteY9" fmla="*/ 573046 h 5464924"/>
              <a:gd name="connsiteX10" fmla="*/ 10462231 w 11017250"/>
              <a:gd name="connsiteY10" fmla="*/ 250815 h 5464924"/>
              <a:gd name="connsiteX11" fmla="*/ 0 w 11017250"/>
              <a:gd name="connsiteY11" fmla="*/ 250815 h 5464924"/>
              <a:gd name="connsiteX12" fmla="*/ 0 w 11017250"/>
              <a:gd name="connsiteY12" fmla="*/ 157827 h 5464924"/>
              <a:gd name="connsiteX13" fmla="*/ 157827 w 11017250"/>
              <a:gd name="connsiteY13" fmla="*/ 0 h 546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17250" h="5464924">
                <a:moveTo>
                  <a:pt x="157827" y="0"/>
                </a:moveTo>
                <a:lnTo>
                  <a:pt x="10859423" y="0"/>
                </a:lnTo>
                <a:cubicBezTo>
                  <a:pt x="10946588" y="0"/>
                  <a:pt x="11017250" y="70662"/>
                  <a:pt x="11017250" y="157827"/>
                </a:cubicBezTo>
                <a:lnTo>
                  <a:pt x="11017250" y="5307097"/>
                </a:lnTo>
                <a:cubicBezTo>
                  <a:pt x="11017250" y="5394262"/>
                  <a:pt x="10946588" y="5464924"/>
                  <a:pt x="10859423" y="5464924"/>
                </a:cubicBezTo>
                <a:lnTo>
                  <a:pt x="157827" y="5464924"/>
                </a:lnTo>
                <a:cubicBezTo>
                  <a:pt x="70662" y="5464924"/>
                  <a:pt x="0" y="5394262"/>
                  <a:pt x="0" y="5307097"/>
                </a:cubicBezTo>
                <a:lnTo>
                  <a:pt x="0" y="895277"/>
                </a:lnTo>
                <a:lnTo>
                  <a:pt x="10462231" y="895277"/>
                </a:lnTo>
                <a:cubicBezTo>
                  <a:pt x="10640195" y="895277"/>
                  <a:pt x="10784463" y="751009"/>
                  <a:pt x="10784463" y="573046"/>
                </a:cubicBezTo>
                <a:cubicBezTo>
                  <a:pt x="10784463" y="395083"/>
                  <a:pt x="10640195" y="250815"/>
                  <a:pt x="10462231" y="250815"/>
                </a:cubicBezTo>
                <a:lnTo>
                  <a:pt x="0" y="250815"/>
                </a:lnTo>
                <a:lnTo>
                  <a:pt x="0" y="157827"/>
                </a:lnTo>
                <a:cubicBezTo>
                  <a:pt x="0" y="70662"/>
                  <a:pt x="70662" y="0"/>
                  <a:pt x="157827" y="0"/>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wrap="square" rtlCol="0" anchor="ctr">
            <a:noAutofit/>
          </a:bodyPr>
          <a:lstStyle/>
          <a:p>
            <a:endParaRPr lang="en-US"/>
          </a:p>
        </p:txBody>
      </p:sp>
      <p:sp>
        <p:nvSpPr>
          <p:cNvPr id="21" name="Content Placeholder 20">
            <a:extLst>
              <a:ext uri="{FF2B5EF4-FFF2-40B4-BE49-F238E27FC236}">
                <a16:creationId xmlns:a16="http://schemas.microsoft.com/office/drawing/2014/main" id="{765E201A-FDB3-604C-F66B-5C99174586C7}"/>
              </a:ext>
            </a:extLst>
          </p:cNvPr>
          <p:cNvSpPr>
            <a:spLocks noGrp="1"/>
          </p:cNvSpPr>
          <p:nvPr>
            <p:ph sz="quarter" idx="11" hasCustomPrompt="1"/>
          </p:nvPr>
        </p:nvSpPr>
        <p:spPr>
          <a:xfrm>
            <a:off x="1115695" y="1579972"/>
            <a:ext cx="9961880" cy="307777"/>
          </a:xfrm>
        </p:spPr>
        <p:txBody>
          <a:bodyPr/>
          <a:lstStyle>
            <a:lvl1pPr marL="0" indent="0" algn="ctr">
              <a:spcBef>
                <a:spcPts val="0"/>
              </a:spcBef>
              <a:buNone/>
              <a:defRPr sz="2000">
                <a:solidFill>
                  <a:schemeClr val="bg1"/>
                </a:solidFill>
                <a:latin typeface="+mj-lt"/>
              </a:defRPr>
            </a:lvl1pPr>
          </a:lstStyle>
          <a:p>
            <a:pPr lvl="0"/>
            <a:r>
              <a:rPr lang="en-US"/>
              <a:t>Add text here</a:t>
            </a:r>
          </a:p>
        </p:txBody>
      </p:sp>
      <p:sp>
        <p:nvSpPr>
          <p:cNvPr id="8" name="Rectangle: Top Corners Rounded 7">
            <a:extLst>
              <a:ext uri="{FF2B5EF4-FFF2-40B4-BE49-F238E27FC236}">
                <a16:creationId xmlns:a16="http://schemas.microsoft.com/office/drawing/2014/main" id="{0C9F714B-8B36-DF25-13CA-059C0A7A15B0}"/>
              </a:ext>
            </a:extLst>
          </p:cNvPr>
          <p:cNvSpPr/>
          <p:nvPr userDrawn="1"/>
        </p:nvSpPr>
        <p:spPr bwMode="auto">
          <a:xfrm rot="5400000">
            <a:off x="-367358" y="1617036"/>
            <a:ext cx="937584" cy="20287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29" name="Content Placeholder 28">
            <a:extLst>
              <a:ext uri="{FF2B5EF4-FFF2-40B4-BE49-F238E27FC236}">
                <a16:creationId xmlns:a16="http://schemas.microsoft.com/office/drawing/2014/main" id="{5B3AC566-8A40-2E47-6173-A95E3ED00B3E}"/>
              </a:ext>
            </a:extLst>
          </p:cNvPr>
          <p:cNvSpPr>
            <a:spLocks noGrp="1"/>
          </p:cNvSpPr>
          <p:nvPr>
            <p:ph sz="quarter" idx="17"/>
          </p:nvPr>
        </p:nvSpPr>
        <p:spPr>
          <a:xfrm>
            <a:off x="705789"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0" name="Content Placeholder 28">
            <a:extLst>
              <a:ext uri="{FF2B5EF4-FFF2-40B4-BE49-F238E27FC236}">
                <a16:creationId xmlns:a16="http://schemas.microsoft.com/office/drawing/2014/main" id="{BA1FBF1F-A3E7-EB30-A160-A7F5BA15CB6F}"/>
              </a:ext>
            </a:extLst>
          </p:cNvPr>
          <p:cNvSpPr>
            <a:spLocks noGrp="1"/>
          </p:cNvSpPr>
          <p:nvPr>
            <p:ph sz="quarter" idx="18"/>
          </p:nvPr>
        </p:nvSpPr>
        <p:spPr>
          <a:xfrm>
            <a:off x="4325784"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1" name="Content Placeholder 28">
            <a:extLst>
              <a:ext uri="{FF2B5EF4-FFF2-40B4-BE49-F238E27FC236}">
                <a16:creationId xmlns:a16="http://schemas.microsoft.com/office/drawing/2014/main" id="{88E98AD6-7871-53BE-F488-9C350158EB40}"/>
              </a:ext>
            </a:extLst>
          </p:cNvPr>
          <p:cNvSpPr>
            <a:spLocks noGrp="1"/>
          </p:cNvSpPr>
          <p:nvPr>
            <p:ph sz="quarter" idx="19"/>
          </p:nvPr>
        </p:nvSpPr>
        <p:spPr>
          <a:xfrm>
            <a:off x="7945780"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27" name="Content Placeholder 22">
            <a:extLst>
              <a:ext uri="{FF2B5EF4-FFF2-40B4-BE49-F238E27FC236}">
                <a16:creationId xmlns:a16="http://schemas.microsoft.com/office/drawing/2014/main" id="{2D28D093-D901-4F0C-9FCF-9C826DC0E979}"/>
              </a:ext>
            </a:extLst>
          </p:cNvPr>
          <p:cNvSpPr>
            <a:spLocks noGrp="1"/>
          </p:cNvSpPr>
          <p:nvPr>
            <p:ph sz="quarter" idx="16" hasCustomPrompt="1"/>
          </p:nvPr>
        </p:nvSpPr>
        <p:spPr>
          <a:xfrm>
            <a:off x="8473478" y="2233784"/>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6" name="Content Placeholder 22">
            <a:extLst>
              <a:ext uri="{FF2B5EF4-FFF2-40B4-BE49-F238E27FC236}">
                <a16:creationId xmlns:a16="http://schemas.microsoft.com/office/drawing/2014/main" id="{BAD2AB02-9D73-4F5D-0567-DF88F04A57FA}"/>
              </a:ext>
            </a:extLst>
          </p:cNvPr>
          <p:cNvSpPr>
            <a:spLocks noGrp="1"/>
          </p:cNvSpPr>
          <p:nvPr>
            <p:ph sz="quarter" idx="15" hasCustomPrompt="1"/>
          </p:nvPr>
        </p:nvSpPr>
        <p:spPr>
          <a:xfrm>
            <a:off x="4853481"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5" name="Content Placeholder 22">
            <a:extLst>
              <a:ext uri="{FF2B5EF4-FFF2-40B4-BE49-F238E27FC236}">
                <a16:creationId xmlns:a16="http://schemas.microsoft.com/office/drawing/2014/main" id="{B1163C14-5414-42C5-B84D-64BACBD9CC79}"/>
              </a:ext>
            </a:extLst>
          </p:cNvPr>
          <p:cNvSpPr>
            <a:spLocks noGrp="1"/>
          </p:cNvSpPr>
          <p:nvPr>
            <p:ph sz="quarter" idx="14" hasCustomPrompt="1"/>
          </p:nvPr>
        </p:nvSpPr>
        <p:spPr>
          <a:xfrm>
            <a:off x="1233486"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15" name="Subtitle 2">
            <a:extLst>
              <a:ext uri="{FF2B5EF4-FFF2-40B4-BE49-F238E27FC236}">
                <a16:creationId xmlns:a16="http://schemas.microsoft.com/office/drawing/2014/main" id="{5F4722C2-3629-D24E-E905-5CD98C9636EC}"/>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6239043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4" name="MSIPCM14a64b898e42b736a360ea21" descr="{&quot;HashCode&quot;:-1634785317,&quot;Placement&quot;:&quot;Footer&quot;,&quot;Top&quot;:530.093,&quot;Left&quot;:0.0,&quot;SlideWidth&quot;:979,&quot;SlideHeight&quot;:550}">
            <a:extLst>
              <a:ext uri="{FF2B5EF4-FFF2-40B4-BE49-F238E27FC236}">
                <a16:creationId xmlns:a16="http://schemas.microsoft.com/office/drawing/2014/main" id="{96D97C8A-C86B-4A7B-A695-DE2207716F9E}"/>
              </a:ext>
            </a:extLst>
          </p:cNvPr>
          <p:cNvSpPr txBox="1"/>
          <p:nvPr userDrawn="1"/>
        </p:nvSpPr>
        <p:spPr>
          <a:xfrm>
            <a:off x="640461" y="6581837"/>
            <a:ext cx="1243013" cy="153888"/>
          </a:xfrm>
          <a:prstGeom prst="rect">
            <a:avLst/>
          </a:prstGeom>
          <a:noFill/>
        </p:spPr>
        <p:txBody>
          <a:bodyPr vert="horz" wrap="square" lIns="0" tIns="0" rIns="0" bIns="0" rtlCol="0" anchor="ctr" anchorCtr="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FFFFFF"/>
                </a:solidFill>
                <a:effectLst/>
                <a:uLnTx/>
                <a:uFillTx/>
                <a:latin typeface="Calibri" panose="020F0502020204030204" pitchFamily="34" charset="0"/>
                <a:ea typeface="ＭＳ Ｐゴシック"/>
                <a:cs typeface="+mn-cs"/>
              </a:rPr>
              <a:t>Microsoft Confidential</a:t>
            </a:r>
          </a:p>
        </p:txBody>
      </p:sp>
      <p:sp>
        <p:nvSpPr>
          <p:cNvPr id="6" name="MSIPCM14a64b898e42b736a360ea21" descr="{&quot;HashCode&quot;:-1634785317,&quot;Placement&quot;:&quot;Footer&quot;,&quot;Top&quot;:530.093,&quot;Left&quot;:0.0,&quot;SlideWidth&quot;:979,&quot;SlideHeight&quot;:550}">
            <a:extLst>
              <a:ext uri="{FF2B5EF4-FFF2-40B4-BE49-F238E27FC236}">
                <a16:creationId xmlns:a16="http://schemas.microsoft.com/office/drawing/2014/main" id="{52F1F6DB-2F1C-4871-A736-08DFECF6F1DB}"/>
              </a:ext>
            </a:extLst>
          </p:cNvPr>
          <p:cNvSpPr txBox="1"/>
          <p:nvPr userDrawn="1"/>
        </p:nvSpPr>
        <p:spPr>
          <a:xfrm>
            <a:off x="10610224" y="6688379"/>
            <a:ext cx="1243013" cy="153888"/>
          </a:xfrm>
          <a:prstGeom prst="rect">
            <a:avLst/>
          </a:prstGeom>
          <a:noFill/>
        </p:spPr>
        <p:txBody>
          <a:bodyPr vert="horz" wrap="square" lIns="0" tIns="0" rIns="0" bIns="0" rtlCol="0" anchor="ctr" anchorCtr="1">
            <a:noAutofit/>
          </a:bodyPr>
          <a:lstStyle/>
          <a:p>
            <a:pPr algn="l">
              <a:spcBef>
                <a:spcPts val="0"/>
              </a:spcBef>
              <a:spcAft>
                <a:spcPts val="0"/>
              </a:spcAft>
            </a:pPr>
            <a:r>
              <a:rPr lang="nl-NL" sz="1000">
                <a:solidFill>
                  <a:schemeClr val="accent6"/>
                </a:solidFill>
                <a:latin typeface="Calibri" panose="020F0502020204030204" pitchFamily="34" charset="0"/>
              </a:rPr>
              <a:t>Microsoft Confidential</a:t>
            </a:r>
          </a:p>
        </p:txBody>
      </p:sp>
      <p:sp>
        <p:nvSpPr>
          <p:cNvPr id="7" name="Title 6">
            <a:extLst>
              <a:ext uri="{FF2B5EF4-FFF2-40B4-BE49-F238E27FC236}">
                <a16:creationId xmlns:a16="http://schemas.microsoft.com/office/drawing/2014/main" id="{BE4AAB15-FF55-457E-8E84-19A5D6399364}"/>
              </a:ext>
            </a:extLst>
          </p:cNvPr>
          <p:cNvSpPr>
            <a:spLocks noGrp="1"/>
          </p:cNvSpPr>
          <p:nvPr>
            <p:ph type="title"/>
          </p:nvPr>
        </p:nvSpPr>
        <p:spPr/>
        <p:txBody>
          <a:bodyPr/>
          <a:lstStyle/>
          <a:p>
            <a:r>
              <a:rPr lang="en-US"/>
              <a:t>Click to edit Master title style</a:t>
            </a:r>
          </a:p>
        </p:txBody>
      </p:sp>
      <p:sp>
        <p:nvSpPr>
          <p:cNvPr id="8" name="Slide Number Placeholder 2">
            <a:extLst>
              <a:ext uri="{FF2B5EF4-FFF2-40B4-BE49-F238E27FC236}">
                <a16:creationId xmlns:a16="http://schemas.microsoft.com/office/drawing/2014/main" id="{AB4AFEF5-E9B8-4FA3-85A1-EA51762D88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E21873-6379-4175-8B06-DD5F57EC3DFD}" type="slidenum">
              <a:rPr lang="en-US" smtClean="0"/>
              <a:t>‹#›</a:t>
            </a:fld>
            <a:endParaRPr lang="en-US"/>
          </a:p>
        </p:txBody>
      </p:sp>
    </p:spTree>
    <p:extLst>
      <p:ext uri="{BB962C8B-B14F-4D97-AF65-F5344CB8AC3E}">
        <p14:creationId xmlns:p14="http://schemas.microsoft.com/office/powerpoint/2010/main" val="35249950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userDrawn="1">
            <p:ph type="title" hasCustomPrompt="1"/>
          </p:nvPr>
        </p:nvSpPr>
        <p:spPr>
          <a:xfrm>
            <a:off x="572716" y="2832415"/>
            <a:ext cx="5557834" cy="784600"/>
          </a:xfrm>
          <a:noFill/>
        </p:spPr>
        <p:txBody>
          <a:bodyPr lIns="0" tIns="91440" rIns="0" bIns="91440" anchor="b" anchorCtr="0"/>
          <a:lstStyle>
            <a:lvl1pPr>
              <a:defRPr sz="3921" b="1" spc="-98"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userDrawn="1">
            <p:ph type="body" sz="quarter" idx="12" hasCustomPrompt="1"/>
          </p:nvPr>
        </p:nvSpPr>
        <p:spPr>
          <a:xfrm>
            <a:off x="572716" y="3916789"/>
            <a:ext cx="5557834"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a:stretch>
            <a:fillRect/>
          </a:stretch>
        </p:blipFill>
        <p:spPr bwMode="black">
          <a:xfrm>
            <a:off x="572717" y="574354"/>
            <a:ext cx="1339387" cy="286897"/>
          </a:xfrm>
          <a:prstGeom prst="rect">
            <a:avLst/>
          </a:prstGeom>
        </p:spPr>
      </p:pic>
      <p:sp>
        <p:nvSpPr>
          <p:cNvPr id="64" name="Rectangle 63">
            <a:extLst>
              <a:ext uri="{FF2B5EF4-FFF2-40B4-BE49-F238E27FC236}">
                <a16:creationId xmlns:a16="http://schemas.microsoft.com/office/drawing/2014/main" id="{9758F031-2C97-4E32-A7B0-140CD7AD372A}"/>
              </a:ext>
            </a:extLst>
          </p:cNvPr>
          <p:cNvSpPr/>
          <p:nvPr userDrawn="1"/>
        </p:nvSpPr>
        <p:spPr>
          <a:xfrm>
            <a:off x="588263" y="6598452"/>
            <a:ext cx="1232049" cy="135796"/>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Sans Text"/>
                <a:ea typeface="+mn-ea"/>
                <a:cs typeface="+mn-cs"/>
              </a:rPr>
              <a:t>Microsoft Confidential</a:t>
            </a:r>
          </a:p>
        </p:txBody>
      </p:sp>
      <p:grpSp>
        <p:nvGrpSpPr>
          <p:cNvPr id="2" name="Group 1">
            <a:extLst>
              <a:ext uri="{FF2B5EF4-FFF2-40B4-BE49-F238E27FC236}">
                <a16:creationId xmlns:a16="http://schemas.microsoft.com/office/drawing/2014/main" id="{42D22C36-406A-4FE1-9F5A-C654695A815C}"/>
              </a:ext>
              <a:ext uri="{C183D7F6-B498-43B3-948B-1728B52AA6E4}">
                <adec:decorative xmlns:adec="http://schemas.microsoft.com/office/drawing/2017/decorative" val="1"/>
              </a:ext>
            </a:extLst>
          </p:cNvPr>
          <p:cNvGrpSpPr/>
          <p:nvPr userDrawn="1"/>
        </p:nvGrpSpPr>
        <p:grpSpPr>
          <a:xfrm>
            <a:off x="6372500" y="744385"/>
            <a:ext cx="5579687" cy="6113615"/>
            <a:chOff x="6500282" y="759203"/>
            <a:chExt cx="5691571" cy="6235321"/>
          </a:xfrm>
        </p:grpSpPr>
        <p:sp>
          <p:nvSpPr>
            <p:cNvPr id="123" name="Freeform: Shape 122">
              <a:extLst>
                <a:ext uri="{FF2B5EF4-FFF2-40B4-BE49-F238E27FC236}">
                  <a16:creationId xmlns:a16="http://schemas.microsoft.com/office/drawing/2014/main" id="{2A38B632-BE0E-4F16-802B-BEA4A6D67834}"/>
                </a:ext>
                <a:ext uri="{C183D7F6-B498-43B3-948B-1728B52AA6E4}">
                  <adec:decorative xmlns:adec="http://schemas.microsoft.com/office/drawing/2017/decorative" val="1"/>
                </a:ext>
              </a:extLst>
            </p:cNvPr>
            <p:cNvSpPr/>
            <p:nvPr userDrawn="1"/>
          </p:nvSpPr>
          <p:spPr>
            <a:xfrm>
              <a:off x="6993382" y="1210071"/>
              <a:ext cx="589644" cy="577556"/>
            </a:xfrm>
            <a:custGeom>
              <a:avLst/>
              <a:gdLst>
                <a:gd name="connsiteX0" fmla="*/ 418464 w 726878"/>
                <a:gd name="connsiteY0" fmla="*/ 0 h 711977"/>
                <a:gd name="connsiteX1" fmla="*/ 714363 w 726878"/>
                <a:gd name="connsiteY1" fmla="*/ 122647 h 711977"/>
                <a:gd name="connsiteX2" fmla="*/ 726878 w 726878"/>
                <a:gd name="connsiteY2" fmla="*/ 137825 h 711977"/>
                <a:gd name="connsiteX3" fmla="*/ 527794 w 726878"/>
                <a:gd name="connsiteY3" fmla="*/ 286796 h 711977"/>
                <a:gd name="connsiteX4" fmla="*/ 171536 w 726878"/>
                <a:gd name="connsiteY4" fmla="*/ 643290 h 711977"/>
                <a:gd name="connsiteX5" fmla="*/ 120207 w 726878"/>
                <a:gd name="connsiteY5" fmla="*/ 711977 h 711977"/>
                <a:gd name="connsiteX6" fmla="*/ 71468 w 726878"/>
                <a:gd name="connsiteY6" fmla="*/ 652865 h 711977"/>
                <a:gd name="connsiteX7" fmla="*/ 0 w 726878"/>
                <a:gd name="connsiteY7" fmla="*/ 418742 h 711977"/>
                <a:gd name="connsiteX8" fmla="*/ 418464 w 726878"/>
                <a:gd name="connsiteY8" fmla="*/ 0 h 711977"/>
                <a:gd name="connsiteX0" fmla="*/ 527794 w 726878"/>
                <a:gd name="connsiteY0" fmla="*/ 286796 h 711977"/>
                <a:gd name="connsiteX1" fmla="*/ 171536 w 726878"/>
                <a:gd name="connsiteY1" fmla="*/ 643290 h 711977"/>
                <a:gd name="connsiteX2" fmla="*/ 120207 w 726878"/>
                <a:gd name="connsiteY2" fmla="*/ 711977 h 711977"/>
                <a:gd name="connsiteX3" fmla="*/ 71468 w 726878"/>
                <a:gd name="connsiteY3" fmla="*/ 652865 h 711977"/>
                <a:gd name="connsiteX4" fmla="*/ 0 w 726878"/>
                <a:gd name="connsiteY4" fmla="*/ 418742 h 711977"/>
                <a:gd name="connsiteX5" fmla="*/ 418464 w 726878"/>
                <a:gd name="connsiteY5" fmla="*/ 0 h 711977"/>
                <a:gd name="connsiteX6" fmla="*/ 714363 w 726878"/>
                <a:gd name="connsiteY6" fmla="*/ 122647 h 711977"/>
                <a:gd name="connsiteX7" fmla="*/ 726878 w 726878"/>
                <a:gd name="connsiteY7" fmla="*/ 137825 h 711977"/>
                <a:gd name="connsiteX8" fmla="*/ 619234 w 726878"/>
                <a:gd name="connsiteY8" fmla="*/ 378236 h 711977"/>
                <a:gd name="connsiteX0" fmla="*/ 527794 w 726878"/>
                <a:gd name="connsiteY0" fmla="*/ 286796 h 711977"/>
                <a:gd name="connsiteX1" fmla="*/ 171536 w 726878"/>
                <a:gd name="connsiteY1" fmla="*/ 643290 h 711977"/>
                <a:gd name="connsiteX2" fmla="*/ 120207 w 726878"/>
                <a:gd name="connsiteY2" fmla="*/ 711977 h 711977"/>
                <a:gd name="connsiteX3" fmla="*/ 71468 w 726878"/>
                <a:gd name="connsiteY3" fmla="*/ 652865 h 711977"/>
                <a:gd name="connsiteX4" fmla="*/ 0 w 726878"/>
                <a:gd name="connsiteY4" fmla="*/ 418742 h 711977"/>
                <a:gd name="connsiteX5" fmla="*/ 418464 w 726878"/>
                <a:gd name="connsiteY5" fmla="*/ 0 h 711977"/>
                <a:gd name="connsiteX6" fmla="*/ 714363 w 726878"/>
                <a:gd name="connsiteY6" fmla="*/ 122647 h 711977"/>
                <a:gd name="connsiteX7" fmla="*/ 726878 w 726878"/>
                <a:gd name="connsiteY7" fmla="*/ 137825 h 711977"/>
                <a:gd name="connsiteX0" fmla="*/ 171536 w 726878"/>
                <a:gd name="connsiteY0" fmla="*/ 643290 h 711977"/>
                <a:gd name="connsiteX1" fmla="*/ 120207 w 726878"/>
                <a:gd name="connsiteY1" fmla="*/ 711977 h 711977"/>
                <a:gd name="connsiteX2" fmla="*/ 71468 w 726878"/>
                <a:gd name="connsiteY2" fmla="*/ 652865 h 711977"/>
                <a:gd name="connsiteX3" fmla="*/ 0 w 726878"/>
                <a:gd name="connsiteY3" fmla="*/ 418742 h 711977"/>
                <a:gd name="connsiteX4" fmla="*/ 418464 w 726878"/>
                <a:gd name="connsiteY4" fmla="*/ 0 h 711977"/>
                <a:gd name="connsiteX5" fmla="*/ 714363 w 726878"/>
                <a:gd name="connsiteY5" fmla="*/ 122647 h 711977"/>
                <a:gd name="connsiteX6" fmla="*/ 726878 w 726878"/>
                <a:gd name="connsiteY6" fmla="*/ 137825 h 711977"/>
                <a:gd name="connsiteX0" fmla="*/ 120207 w 726878"/>
                <a:gd name="connsiteY0" fmla="*/ 711977 h 711977"/>
                <a:gd name="connsiteX1" fmla="*/ 71468 w 726878"/>
                <a:gd name="connsiteY1" fmla="*/ 652865 h 711977"/>
                <a:gd name="connsiteX2" fmla="*/ 0 w 726878"/>
                <a:gd name="connsiteY2" fmla="*/ 418742 h 711977"/>
                <a:gd name="connsiteX3" fmla="*/ 418464 w 726878"/>
                <a:gd name="connsiteY3" fmla="*/ 0 h 711977"/>
                <a:gd name="connsiteX4" fmla="*/ 714363 w 726878"/>
                <a:gd name="connsiteY4" fmla="*/ 122647 h 711977"/>
                <a:gd name="connsiteX5" fmla="*/ 726878 w 726878"/>
                <a:gd name="connsiteY5" fmla="*/ 137825 h 71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878" h="711977">
                  <a:moveTo>
                    <a:pt x="120207" y="711977"/>
                  </a:moveTo>
                  <a:lnTo>
                    <a:pt x="71468" y="652865"/>
                  </a:lnTo>
                  <a:cubicBezTo>
                    <a:pt x="26347" y="586033"/>
                    <a:pt x="0" y="505467"/>
                    <a:pt x="0" y="418742"/>
                  </a:cubicBezTo>
                  <a:cubicBezTo>
                    <a:pt x="0" y="187477"/>
                    <a:pt x="187353" y="0"/>
                    <a:pt x="418464" y="0"/>
                  </a:cubicBezTo>
                  <a:cubicBezTo>
                    <a:pt x="534020" y="0"/>
                    <a:pt x="638636" y="46869"/>
                    <a:pt x="714363" y="122647"/>
                  </a:cubicBezTo>
                  <a:lnTo>
                    <a:pt x="726878" y="137825"/>
                  </a:lnTo>
                </a:path>
              </a:pathLst>
            </a:custGeom>
            <a:solidFill>
              <a:srgbClr val="243A5E"/>
            </a:solid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sp>
          <p:nvSpPr>
            <p:cNvPr id="43" name="Graphic 35">
              <a:extLst>
                <a:ext uri="{FF2B5EF4-FFF2-40B4-BE49-F238E27FC236}">
                  <a16:creationId xmlns:a16="http://schemas.microsoft.com/office/drawing/2014/main" id="{CA418C6D-9A2B-47CC-84CC-253D0A834A66}"/>
                </a:ext>
                <a:ext uri="{C183D7F6-B498-43B3-948B-1728B52AA6E4}">
                  <adec:decorative xmlns:adec="http://schemas.microsoft.com/office/drawing/2017/decorative" val="1"/>
                </a:ext>
              </a:extLst>
            </p:cNvPr>
            <p:cNvSpPr/>
            <p:nvPr userDrawn="1"/>
          </p:nvSpPr>
          <p:spPr>
            <a:xfrm>
              <a:off x="11059429" y="5247392"/>
              <a:ext cx="757574" cy="758952"/>
            </a:xfrm>
            <a:prstGeom prst="ellipse">
              <a:avLst/>
            </a:pr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sp>
          <p:nvSpPr>
            <p:cNvPr id="44" name="Graphic 35">
              <a:extLst>
                <a:ext uri="{FF2B5EF4-FFF2-40B4-BE49-F238E27FC236}">
                  <a16:creationId xmlns:a16="http://schemas.microsoft.com/office/drawing/2014/main" id="{F5C3FC1D-7E1F-4DE7-8AA2-FA5E4512ED85}"/>
                </a:ext>
                <a:ext uri="{C183D7F6-B498-43B3-948B-1728B52AA6E4}">
                  <adec:decorative xmlns:adec="http://schemas.microsoft.com/office/drawing/2017/decorative" val="1"/>
                </a:ext>
              </a:extLst>
            </p:cNvPr>
            <p:cNvSpPr/>
            <p:nvPr userDrawn="1"/>
          </p:nvSpPr>
          <p:spPr>
            <a:xfrm>
              <a:off x="10209865" y="5247392"/>
              <a:ext cx="757574" cy="758952"/>
            </a:xfrm>
            <a:prstGeom prst="ellipse">
              <a:avLst/>
            </a:prstGeom>
            <a:solidFill>
              <a:schemeClr val="bg1">
                <a:alpha val="5000"/>
              </a:schemeClr>
            </a:solid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sp>
          <p:nvSpPr>
            <p:cNvPr id="41" name="Freeform: Shape 40">
              <a:extLst>
                <a:ext uri="{FF2B5EF4-FFF2-40B4-BE49-F238E27FC236}">
                  <a16:creationId xmlns:a16="http://schemas.microsoft.com/office/drawing/2014/main" id="{DB5A732F-A974-43C3-911E-9B880B1DFA2B}"/>
                </a:ext>
                <a:ext uri="{C183D7F6-B498-43B3-948B-1728B52AA6E4}">
                  <adec:decorative xmlns:adec="http://schemas.microsoft.com/office/drawing/2017/decorative" val="1"/>
                </a:ext>
              </a:extLst>
            </p:cNvPr>
            <p:cNvSpPr/>
            <p:nvPr userDrawn="1"/>
          </p:nvSpPr>
          <p:spPr>
            <a:xfrm>
              <a:off x="8623965" y="5504205"/>
              <a:ext cx="2391144" cy="1490319"/>
            </a:xfrm>
            <a:custGeom>
              <a:avLst/>
              <a:gdLst>
                <a:gd name="connsiteX0" fmla="*/ 1195572 w 2391144"/>
                <a:gd name="connsiteY0" fmla="*/ 0 h 1490319"/>
                <a:gd name="connsiteX1" fmla="*/ 2391144 w 2391144"/>
                <a:gd name="connsiteY1" fmla="*/ 1196538 h 1490319"/>
                <a:gd name="connsiteX2" fmla="*/ 2366854 w 2391144"/>
                <a:gd name="connsiteY2" fmla="*/ 1437683 h 1490319"/>
                <a:gd name="connsiteX3" fmla="*/ 2350528 w 2391144"/>
                <a:gd name="connsiteY3" fmla="*/ 1490319 h 1490319"/>
                <a:gd name="connsiteX4" fmla="*/ 40616 w 2391144"/>
                <a:gd name="connsiteY4" fmla="*/ 1490319 h 1490319"/>
                <a:gd name="connsiteX5" fmla="*/ 24290 w 2391144"/>
                <a:gd name="connsiteY5" fmla="*/ 1437683 h 1490319"/>
                <a:gd name="connsiteX6" fmla="*/ 0 w 2391144"/>
                <a:gd name="connsiteY6" fmla="*/ 1196538 h 1490319"/>
                <a:gd name="connsiteX7" fmla="*/ 1195572 w 2391144"/>
                <a:gd name="connsiteY7" fmla="*/ 0 h 1490319"/>
                <a:gd name="connsiteX0" fmla="*/ 1195572 w 2391144"/>
                <a:gd name="connsiteY0" fmla="*/ 0 h 1506195"/>
                <a:gd name="connsiteX1" fmla="*/ 2391144 w 2391144"/>
                <a:gd name="connsiteY1" fmla="*/ 1196538 h 1506195"/>
                <a:gd name="connsiteX2" fmla="*/ 2366854 w 2391144"/>
                <a:gd name="connsiteY2" fmla="*/ 1437683 h 1506195"/>
                <a:gd name="connsiteX3" fmla="*/ 2350528 w 2391144"/>
                <a:gd name="connsiteY3" fmla="*/ 1490319 h 1506195"/>
                <a:gd name="connsiteX4" fmla="*/ 1205835 w 2391144"/>
                <a:gd name="connsiteY4" fmla="*/ 1506195 h 1506195"/>
                <a:gd name="connsiteX5" fmla="*/ 40616 w 2391144"/>
                <a:gd name="connsiteY5" fmla="*/ 1490319 h 1506195"/>
                <a:gd name="connsiteX6" fmla="*/ 24290 w 2391144"/>
                <a:gd name="connsiteY6" fmla="*/ 1437683 h 1506195"/>
                <a:gd name="connsiteX7" fmla="*/ 0 w 2391144"/>
                <a:gd name="connsiteY7" fmla="*/ 1196538 h 1506195"/>
                <a:gd name="connsiteX8" fmla="*/ 1195572 w 2391144"/>
                <a:gd name="connsiteY8" fmla="*/ 0 h 1506195"/>
                <a:gd name="connsiteX0" fmla="*/ 1205835 w 2391144"/>
                <a:gd name="connsiteY0" fmla="*/ 1506195 h 1597635"/>
                <a:gd name="connsiteX1" fmla="*/ 40616 w 2391144"/>
                <a:gd name="connsiteY1" fmla="*/ 1490319 h 1597635"/>
                <a:gd name="connsiteX2" fmla="*/ 24290 w 2391144"/>
                <a:gd name="connsiteY2" fmla="*/ 1437683 h 1597635"/>
                <a:gd name="connsiteX3" fmla="*/ 0 w 2391144"/>
                <a:gd name="connsiteY3" fmla="*/ 1196538 h 1597635"/>
                <a:gd name="connsiteX4" fmla="*/ 1195572 w 2391144"/>
                <a:gd name="connsiteY4" fmla="*/ 0 h 1597635"/>
                <a:gd name="connsiteX5" fmla="*/ 2391144 w 2391144"/>
                <a:gd name="connsiteY5" fmla="*/ 1196538 h 1597635"/>
                <a:gd name="connsiteX6" fmla="*/ 2366854 w 2391144"/>
                <a:gd name="connsiteY6" fmla="*/ 1437683 h 1597635"/>
                <a:gd name="connsiteX7" fmla="*/ 2350528 w 2391144"/>
                <a:gd name="connsiteY7" fmla="*/ 1490319 h 1597635"/>
                <a:gd name="connsiteX8" fmla="*/ 1297275 w 2391144"/>
                <a:gd name="connsiteY8" fmla="*/ 1597635 h 1597635"/>
                <a:gd name="connsiteX0" fmla="*/ 1205835 w 2391144"/>
                <a:gd name="connsiteY0" fmla="*/ 1506195 h 1506195"/>
                <a:gd name="connsiteX1" fmla="*/ 40616 w 2391144"/>
                <a:gd name="connsiteY1" fmla="*/ 1490319 h 1506195"/>
                <a:gd name="connsiteX2" fmla="*/ 24290 w 2391144"/>
                <a:gd name="connsiteY2" fmla="*/ 1437683 h 1506195"/>
                <a:gd name="connsiteX3" fmla="*/ 0 w 2391144"/>
                <a:gd name="connsiteY3" fmla="*/ 1196538 h 1506195"/>
                <a:gd name="connsiteX4" fmla="*/ 1195572 w 2391144"/>
                <a:gd name="connsiteY4" fmla="*/ 0 h 1506195"/>
                <a:gd name="connsiteX5" fmla="*/ 2391144 w 2391144"/>
                <a:gd name="connsiteY5" fmla="*/ 1196538 h 1506195"/>
                <a:gd name="connsiteX6" fmla="*/ 2366854 w 2391144"/>
                <a:gd name="connsiteY6" fmla="*/ 1437683 h 1506195"/>
                <a:gd name="connsiteX7" fmla="*/ 2350528 w 2391144"/>
                <a:gd name="connsiteY7" fmla="*/ 1490319 h 1506195"/>
                <a:gd name="connsiteX0" fmla="*/ 40616 w 2391144"/>
                <a:gd name="connsiteY0" fmla="*/ 1490319 h 1490319"/>
                <a:gd name="connsiteX1" fmla="*/ 24290 w 2391144"/>
                <a:gd name="connsiteY1" fmla="*/ 1437683 h 1490319"/>
                <a:gd name="connsiteX2" fmla="*/ 0 w 2391144"/>
                <a:gd name="connsiteY2" fmla="*/ 1196538 h 1490319"/>
                <a:gd name="connsiteX3" fmla="*/ 1195572 w 2391144"/>
                <a:gd name="connsiteY3" fmla="*/ 0 h 1490319"/>
                <a:gd name="connsiteX4" fmla="*/ 2391144 w 2391144"/>
                <a:gd name="connsiteY4" fmla="*/ 1196538 h 1490319"/>
                <a:gd name="connsiteX5" fmla="*/ 2366854 w 2391144"/>
                <a:gd name="connsiteY5" fmla="*/ 1437683 h 1490319"/>
                <a:gd name="connsiteX6" fmla="*/ 2350528 w 2391144"/>
                <a:gd name="connsiteY6" fmla="*/ 1490319 h 149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1144" h="1490319">
                  <a:moveTo>
                    <a:pt x="40616" y="1490319"/>
                  </a:moveTo>
                  <a:lnTo>
                    <a:pt x="24290" y="1437683"/>
                  </a:lnTo>
                  <a:cubicBezTo>
                    <a:pt x="8364" y="1359791"/>
                    <a:pt x="0" y="1279142"/>
                    <a:pt x="0" y="1196538"/>
                  </a:cubicBezTo>
                  <a:cubicBezTo>
                    <a:pt x="0" y="535708"/>
                    <a:pt x="535276" y="0"/>
                    <a:pt x="1195572" y="0"/>
                  </a:cubicBezTo>
                  <a:cubicBezTo>
                    <a:pt x="1855868" y="0"/>
                    <a:pt x="2391144" y="535708"/>
                    <a:pt x="2391144" y="1196538"/>
                  </a:cubicBezTo>
                  <a:cubicBezTo>
                    <a:pt x="2391144" y="1279142"/>
                    <a:pt x="2382780" y="1359791"/>
                    <a:pt x="2366854" y="1437683"/>
                  </a:cubicBezTo>
                  <a:lnTo>
                    <a:pt x="2350528" y="1490319"/>
                  </a:lnTo>
                </a:path>
              </a:pathLst>
            </a:cu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sp>
          <p:nvSpPr>
            <p:cNvPr id="46" name="Graphic 35">
              <a:extLst>
                <a:ext uri="{FF2B5EF4-FFF2-40B4-BE49-F238E27FC236}">
                  <a16:creationId xmlns:a16="http://schemas.microsoft.com/office/drawing/2014/main" id="{D54D9190-78E5-4589-A1C1-986ED89757BE}"/>
                </a:ext>
                <a:ext uri="{C183D7F6-B498-43B3-948B-1728B52AA6E4}">
                  <adec:decorative xmlns:adec="http://schemas.microsoft.com/office/drawing/2017/decorative" val="1"/>
                </a:ext>
              </a:extLst>
            </p:cNvPr>
            <p:cNvSpPr/>
            <p:nvPr userDrawn="1"/>
          </p:nvSpPr>
          <p:spPr>
            <a:xfrm>
              <a:off x="10273164" y="3169078"/>
              <a:ext cx="1918689" cy="1920240"/>
            </a:xfrm>
            <a:prstGeom prst="ellipse">
              <a:avLst/>
            </a:prstGeom>
            <a:noFill/>
            <a:ln w="10795" cap="flat" cmpd="sng" algn="ctr">
              <a:solidFill>
                <a:schemeClr val="bg1">
                  <a:alpha val="14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sp>
          <p:nvSpPr>
            <p:cNvPr id="59" name="Oval 58">
              <a:extLst>
                <a:ext uri="{FF2B5EF4-FFF2-40B4-BE49-F238E27FC236}">
                  <a16:creationId xmlns:a16="http://schemas.microsoft.com/office/drawing/2014/main" id="{EDF7CFF5-1974-4F2C-ABBB-71BF4232A1B8}"/>
                </a:ext>
                <a:ext uri="{C183D7F6-B498-43B3-948B-1728B52AA6E4}">
                  <adec:decorative xmlns:adec="http://schemas.microsoft.com/office/drawing/2017/decorative" val="1"/>
                </a:ext>
              </a:extLst>
            </p:cNvPr>
            <p:cNvSpPr/>
            <p:nvPr userDrawn="1"/>
          </p:nvSpPr>
          <p:spPr>
            <a:xfrm>
              <a:off x="11672692" y="4600120"/>
              <a:ext cx="515986" cy="512064"/>
            </a:xfrm>
            <a:prstGeom prst="ellipse">
              <a:avLst/>
            </a:prstGeom>
            <a:solidFill>
              <a:srgbClr val="243A5E"/>
            </a:solidFill>
            <a:ln w="10795" cap="flat" cmpd="sng" algn="ctr">
              <a:solidFill>
                <a:schemeClr val="bg1">
                  <a:alpha val="9000"/>
                </a:schemeClr>
              </a:solidFill>
              <a:prstDash val="solid"/>
            </a:ln>
            <a:effectLst/>
          </p:spPr>
          <p:txBody>
            <a:bodyPr spcFirstLastPara="0" vert="horz" wrap="square" lIns="0" tIns="0" rIns="0" bIns="0" numCol="1" spcCol="1270" anchor="ctr" anchorCtr="0">
              <a:noAutofit/>
            </a:body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pic>
          <p:nvPicPr>
            <p:cNvPr id="38" name="Picture 37">
              <a:extLst>
                <a:ext uri="{FF2B5EF4-FFF2-40B4-BE49-F238E27FC236}">
                  <a16:creationId xmlns:a16="http://schemas.microsoft.com/office/drawing/2014/main" id="{B7694C20-94BE-4332-A5E0-82D9511AAC01}"/>
                </a:ext>
                <a:ext uri="{C183D7F6-B498-43B3-948B-1728B52AA6E4}">
                  <adec:decorative xmlns:adec="http://schemas.microsoft.com/office/drawing/2017/decorative" val="1"/>
                </a:ext>
              </a:extLst>
            </p:cNvPr>
            <p:cNvPicPr>
              <a:picLocks noChangeAspect="1"/>
            </p:cNvPicPr>
            <p:nvPr userDrawn="1"/>
          </p:nvPicPr>
          <p:blipFill>
            <a:blip r:embed="rId3">
              <a:alphaModFix amt="19000"/>
            </a:blip>
            <a:stretch>
              <a:fillRect/>
            </a:stretch>
          </p:blipFill>
          <p:spPr>
            <a:xfrm>
              <a:off x="6500282" y="759203"/>
              <a:ext cx="5482168" cy="5476118"/>
            </a:xfrm>
            <a:prstGeom prst="rect">
              <a:avLst/>
            </a:prstGeom>
          </p:spPr>
        </p:pic>
        <p:sp>
          <p:nvSpPr>
            <p:cNvPr id="42" name="Graphic 35">
              <a:extLst>
                <a:ext uri="{FF2B5EF4-FFF2-40B4-BE49-F238E27FC236}">
                  <a16:creationId xmlns:a16="http://schemas.microsoft.com/office/drawing/2014/main" id="{795774E4-E8BE-47F7-9960-4CD3F5FA4CE3}"/>
                </a:ext>
                <a:ext uri="{C183D7F6-B498-43B3-948B-1728B52AA6E4}">
                  <adec:decorative xmlns:adec="http://schemas.microsoft.com/office/drawing/2017/decorative" val="1"/>
                </a:ext>
              </a:extLst>
            </p:cNvPr>
            <p:cNvSpPr/>
            <p:nvPr userDrawn="1"/>
          </p:nvSpPr>
          <p:spPr>
            <a:xfrm>
              <a:off x="10803969" y="6168740"/>
              <a:ext cx="604853" cy="605953"/>
            </a:xfrm>
            <a:prstGeom prst="ellipse">
              <a:avLst/>
            </a:prstGeom>
            <a:solidFill>
              <a:srgbClr val="243A5E"/>
            </a:solidFill>
            <a:ln w="10795" cap="flat" cmpd="sng" algn="ctr">
              <a:solidFill>
                <a:schemeClr val="bg1">
                  <a:alpha val="9000"/>
                </a:schemeClr>
              </a:solidFill>
              <a:prstDash val="solid"/>
            </a:ln>
            <a:effectLst/>
          </p:spPr>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353" b="0" i="0" u="none" strike="noStrike" kern="1200" cap="none" spc="0" normalizeH="0" baseline="0" noProof="0">
                <a:ln>
                  <a:noFill/>
                </a:ln>
                <a:solidFill>
                  <a:srgbClr val="FFFFFF"/>
                </a:solidFill>
                <a:effectLst/>
                <a:uLnTx/>
                <a:uFillTx/>
                <a:latin typeface="Segoe UI Semibold"/>
                <a:ea typeface="+mn-ea"/>
                <a:cs typeface="Segoe Sans Text" pitchFamily="2" charset="0"/>
              </a:endParaRPr>
            </a:p>
          </p:txBody>
        </p:sp>
        <p:pic>
          <p:nvPicPr>
            <p:cNvPr id="47" name="Picture 46">
              <a:extLst>
                <a:ext uri="{FF2B5EF4-FFF2-40B4-BE49-F238E27FC236}">
                  <a16:creationId xmlns:a16="http://schemas.microsoft.com/office/drawing/2014/main" id="{0ABD9A98-17B5-4E8F-B539-B58EBEB07C1B}"/>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6533720" y="835123"/>
              <a:ext cx="5366181" cy="5376672"/>
            </a:xfrm>
            <a:prstGeom prst="rect">
              <a:avLst/>
            </a:prstGeom>
          </p:spPr>
        </p:pic>
        <p:sp>
          <p:nvSpPr>
            <p:cNvPr id="19" name="Oval 18">
              <a:extLst>
                <a:ext uri="{FF2B5EF4-FFF2-40B4-BE49-F238E27FC236}">
                  <a16:creationId xmlns:a16="http://schemas.microsoft.com/office/drawing/2014/main" id="{1EEA2B05-58F8-4F9D-8FD3-B37F8B10127D}"/>
                </a:ext>
                <a:ext uri="{C183D7F6-B498-43B3-948B-1728B52AA6E4}">
                  <adec:decorative xmlns:adec="http://schemas.microsoft.com/office/drawing/2017/decorative" val="1"/>
                </a:ext>
              </a:extLst>
            </p:cNvPr>
            <p:cNvSpPr/>
            <p:nvPr userDrawn="1"/>
          </p:nvSpPr>
          <p:spPr bwMode="auto">
            <a:xfrm>
              <a:off x="8946545" y="541019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 name="Oval 12">
              <a:extLst>
                <a:ext uri="{FF2B5EF4-FFF2-40B4-BE49-F238E27FC236}">
                  <a16:creationId xmlns:a16="http://schemas.microsoft.com/office/drawing/2014/main" id="{4D6AEBAA-ABCD-48D5-AA15-D9C207FB6193}"/>
                </a:ext>
                <a:ext uri="{C183D7F6-B498-43B3-948B-1728B52AA6E4}">
                  <adec:decorative xmlns:adec="http://schemas.microsoft.com/office/drawing/2017/decorative" val="1"/>
                </a:ext>
              </a:extLst>
            </p:cNvPr>
            <p:cNvSpPr/>
            <p:nvPr userDrawn="1"/>
          </p:nvSpPr>
          <p:spPr bwMode="auto">
            <a:xfrm>
              <a:off x="6998607" y="211454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7" name="Oval 16">
              <a:extLst>
                <a:ext uri="{FF2B5EF4-FFF2-40B4-BE49-F238E27FC236}">
                  <a16:creationId xmlns:a16="http://schemas.microsoft.com/office/drawing/2014/main" id="{E9797D91-713C-4644-9695-F0815F99B77D}"/>
                </a:ext>
                <a:ext uri="{C183D7F6-B498-43B3-948B-1728B52AA6E4}">
                  <adec:decorative xmlns:adec="http://schemas.microsoft.com/office/drawing/2017/decorative" val="1"/>
                </a:ext>
              </a:extLst>
            </p:cNvPr>
            <p:cNvSpPr/>
            <p:nvPr userDrawn="1"/>
          </p:nvSpPr>
          <p:spPr bwMode="auto">
            <a:xfrm>
              <a:off x="7036707" y="4290333"/>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8" name="Oval 17">
              <a:extLst>
                <a:ext uri="{FF2B5EF4-FFF2-40B4-BE49-F238E27FC236}">
                  <a16:creationId xmlns:a16="http://schemas.microsoft.com/office/drawing/2014/main" id="{CAFEB445-05E0-45AF-93F8-D2545A042E4B}"/>
                </a:ext>
                <a:ext uri="{C183D7F6-B498-43B3-948B-1728B52AA6E4}">
                  <adec:decorative xmlns:adec="http://schemas.microsoft.com/office/drawing/2017/decorative" val="1"/>
                </a:ext>
              </a:extLst>
            </p:cNvPr>
            <p:cNvSpPr/>
            <p:nvPr userDrawn="1"/>
          </p:nvSpPr>
          <p:spPr bwMode="auto">
            <a:xfrm>
              <a:off x="10887453" y="4290333"/>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0" name="Oval 19">
              <a:extLst>
                <a:ext uri="{FF2B5EF4-FFF2-40B4-BE49-F238E27FC236}">
                  <a16:creationId xmlns:a16="http://schemas.microsoft.com/office/drawing/2014/main" id="{CCD9815F-CE8E-4940-BE1A-9FE6C0C4CFE4}"/>
                </a:ext>
                <a:ext uri="{C183D7F6-B498-43B3-948B-1728B52AA6E4}">
                  <adec:decorative xmlns:adec="http://schemas.microsoft.com/office/drawing/2017/decorative" val="1"/>
                </a:ext>
              </a:extLst>
            </p:cNvPr>
            <p:cNvSpPr/>
            <p:nvPr userDrawn="1"/>
          </p:nvSpPr>
          <p:spPr bwMode="auto">
            <a:xfrm>
              <a:off x="10975370" y="211454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1" name="Oval 20">
              <a:extLst>
                <a:ext uri="{FF2B5EF4-FFF2-40B4-BE49-F238E27FC236}">
                  <a16:creationId xmlns:a16="http://schemas.microsoft.com/office/drawing/2014/main" id="{654EBE60-00E5-428E-8756-07ADDB45C9D0}"/>
                </a:ext>
                <a:ext uri="{C183D7F6-B498-43B3-948B-1728B52AA6E4}">
                  <adec:decorative xmlns:adec="http://schemas.microsoft.com/office/drawing/2017/decorative" val="1"/>
                </a:ext>
              </a:extLst>
            </p:cNvPr>
            <p:cNvSpPr/>
            <p:nvPr userDrawn="1"/>
          </p:nvSpPr>
          <p:spPr bwMode="auto">
            <a:xfrm>
              <a:off x="8946545" y="914399"/>
              <a:ext cx="589643" cy="589643"/>
            </a:xfrm>
            <a:prstGeom prst="ellipse">
              <a:avLst/>
            </a:prstGeom>
            <a:gradFill>
              <a:gsLst>
                <a:gs pos="0">
                  <a:srgbClr val="0B79D5"/>
                </a:gs>
                <a:gs pos="100000">
                  <a:srgbClr val="4CB1FF"/>
                </a:gs>
              </a:gsLst>
              <a:lin ang="0" scaled="1"/>
            </a:gradFill>
            <a:ln w="22225">
              <a:noFill/>
              <a:headEnd type="none" w="med" len="med"/>
              <a:tailEnd type="none" w="med" len="med"/>
            </a:ln>
            <a:effectLst>
              <a:outerShdw blurRad="101600" algn="ctr" rotWithShape="0">
                <a:prstClr val="black">
                  <a:alpha val="6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56" name="Freeform: Shape 55">
              <a:extLst>
                <a:ext uri="{FF2B5EF4-FFF2-40B4-BE49-F238E27FC236}">
                  <a16:creationId xmlns:a16="http://schemas.microsoft.com/office/drawing/2014/main" id="{13118AB9-3290-4DB6-AFB7-7208CF9C6DCE}"/>
                </a:ext>
                <a:ext uri="{C183D7F6-B498-43B3-948B-1728B52AA6E4}">
                  <adec:decorative xmlns:adec="http://schemas.microsoft.com/office/drawing/2017/decorative" val="1"/>
                </a:ext>
              </a:extLst>
            </p:cNvPr>
            <p:cNvSpPr/>
            <p:nvPr/>
          </p:nvSpPr>
          <p:spPr>
            <a:xfrm>
              <a:off x="9186210" y="1179292"/>
              <a:ext cx="189506" cy="185835"/>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75C6843B-47CA-4381-80B1-55CCA4B1589D}"/>
                </a:ext>
                <a:ext uri="{C183D7F6-B498-43B3-948B-1728B52AA6E4}">
                  <adec:decorative xmlns:adec="http://schemas.microsoft.com/office/drawing/2017/decorative" val="1"/>
                </a:ext>
              </a:extLst>
            </p:cNvPr>
            <p:cNvSpPr/>
            <p:nvPr/>
          </p:nvSpPr>
          <p:spPr>
            <a:xfrm>
              <a:off x="9107016" y="1053314"/>
              <a:ext cx="204269" cy="287284"/>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15FA5CF6-8B3B-44C0-A304-D01922BFEF67}"/>
                </a:ext>
                <a:ext uri="{C183D7F6-B498-43B3-948B-1728B52AA6E4}">
                  <adec:decorative xmlns:adec="http://schemas.microsoft.com/office/drawing/2017/decorative" val="1"/>
                </a:ext>
              </a:extLst>
            </p:cNvPr>
            <p:cNvSpPr/>
            <p:nvPr/>
          </p:nvSpPr>
          <p:spPr>
            <a:xfrm>
              <a:off x="9226091" y="1245923"/>
              <a:ext cx="106904" cy="66703"/>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20E277B0-C39E-45CB-8D4C-1F429E5172C4}"/>
                </a:ext>
                <a:ext uri="{C183D7F6-B498-43B3-948B-1728B52AA6E4}">
                  <adec:decorative xmlns:adec="http://schemas.microsoft.com/office/drawing/2017/decorative" val="1"/>
                </a:ext>
              </a:extLst>
            </p:cNvPr>
            <p:cNvSpPr/>
            <p:nvPr/>
          </p:nvSpPr>
          <p:spPr>
            <a:xfrm>
              <a:off x="9122622" y="1074828"/>
              <a:ext cx="167207" cy="226942"/>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5" name="Freeform: Shape 64">
              <a:extLst>
                <a:ext uri="{FF2B5EF4-FFF2-40B4-BE49-F238E27FC236}">
                  <a16:creationId xmlns:a16="http://schemas.microsoft.com/office/drawing/2014/main" id="{BD9A1EB0-FEC3-4A68-9A7B-28F05302EC49}"/>
                </a:ext>
                <a:ext uri="{C183D7F6-B498-43B3-948B-1728B52AA6E4}">
                  <adec:decorative xmlns:adec="http://schemas.microsoft.com/office/drawing/2017/decorative" val="1"/>
                </a:ext>
              </a:extLst>
            </p:cNvPr>
            <p:cNvSpPr/>
            <p:nvPr/>
          </p:nvSpPr>
          <p:spPr>
            <a:xfrm>
              <a:off x="7221238" y="2269849"/>
              <a:ext cx="145297" cy="25290"/>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6" name="Freeform: Shape 65">
              <a:extLst>
                <a:ext uri="{FF2B5EF4-FFF2-40B4-BE49-F238E27FC236}">
                  <a16:creationId xmlns:a16="http://schemas.microsoft.com/office/drawing/2014/main" id="{153636D5-0914-4A5D-A651-F087817D3BCF}"/>
                </a:ext>
                <a:ext uri="{C183D7F6-B498-43B3-948B-1728B52AA6E4}">
                  <adec:decorative xmlns:adec="http://schemas.microsoft.com/office/drawing/2017/decorative" val="1"/>
                </a:ext>
              </a:extLst>
            </p:cNvPr>
            <p:cNvSpPr/>
            <p:nvPr/>
          </p:nvSpPr>
          <p:spPr>
            <a:xfrm>
              <a:off x="7124032" y="2330194"/>
              <a:ext cx="314859" cy="258468"/>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7" name="Freeform: Shape 66">
              <a:extLst>
                <a:ext uri="{FF2B5EF4-FFF2-40B4-BE49-F238E27FC236}">
                  <a16:creationId xmlns:a16="http://schemas.microsoft.com/office/drawing/2014/main" id="{2F3991B3-A623-4AD6-8C41-765F015BFFD1}"/>
                </a:ext>
                <a:ext uri="{C183D7F6-B498-43B3-948B-1728B52AA6E4}">
                  <adec:decorative xmlns:adec="http://schemas.microsoft.com/office/drawing/2017/decorative" val="1"/>
                </a:ext>
              </a:extLst>
            </p:cNvPr>
            <p:cNvSpPr/>
            <p:nvPr/>
          </p:nvSpPr>
          <p:spPr>
            <a:xfrm>
              <a:off x="7154400" y="2334979"/>
              <a:ext cx="30807" cy="4882"/>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8" name="Freeform: Shape 67">
              <a:extLst>
                <a:ext uri="{FF2B5EF4-FFF2-40B4-BE49-F238E27FC236}">
                  <a16:creationId xmlns:a16="http://schemas.microsoft.com/office/drawing/2014/main" id="{9C9AFD92-23D7-433C-9102-8105CBE3812E}"/>
                </a:ext>
                <a:ext uri="{C183D7F6-B498-43B3-948B-1728B52AA6E4}">
                  <adec:decorative xmlns:adec="http://schemas.microsoft.com/office/drawing/2017/decorative" val="1"/>
                </a:ext>
              </a:extLst>
            </p:cNvPr>
            <p:cNvSpPr/>
            <p:nvPr/>
          </p:nvSpPr>
          <p:spPr>
            <a:xfrm>
              <a:off x="7144000" y="2314815"/>
              <a:ext cx="117516" cy="255637"/>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9" name="Freeform: Shape 68">
              <a:extLst>
                <a:ext uri="{FF2B5EF4-FFF2-40B4-BE49-F238E27FC236}">
                  <a16:creationId xmlns:a16="http://schemas.microsoft.com/office/drawing/2014/main" id="{0FA16087-EDE6-4531-8136-F644F656D192}"/>
                </a:ext>
                <a:ext uri="{C183D7F6-B498-43B3-948B-1728B52AA6E4}">
                  <adec:decorative xmlns:adec="http://schemas.microsoft.com/office/drawing/2017/decorative" val="1"/>
                </a:ext>
              </a:extLst>
            </p:cNvPr>
            <p:cNvSpPr/>
            <p:nvPr/>
          </p:nvSpPr>
          <p:spPr>
            <a:xfrm>
              <a:off x="7276701" y="2292845"/>
              <a:ext cx="162190" cy="253732"/>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 name="Freeform: Shape 69">
              <a:extLst>
                <a:ext uri="{FF2B5EF4-FFF2-40B4-BE49-F238E27FC236}">
                  <a16:creationId xmlns:a16="http://schemas.microsoft.com/office/drawing/2014/main" id="{1FA7459B-3150-4D58-911B-713F549F2A1D}"/>
                </a:ext>
                <a:ext uri="{C183D7F6-B498-43B3-948B-1728B52AA6E4}">
                  <adec:decorative xmlns:adec="http://schemas.microsoft.com/office/drawing/2017/decorative" val="1"/>
                </a:ext>
              </a:extLst>
            </p:cNvPr>
            <p:cNvSpPr/>
            <p:nvPr/>
          </p:nvSpPr>
          <p:spPr>
            <a:xfrm>
              <a:off x="7374674" y="2244257"/>
              <a:ext cx="88185" cy="134515"/>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 name="Freeform: Shape 70">
              <a:extLst>
                <a:ext uri="{FF2B5EF4-FFF2-40B4-BE49-F238E27FC236}">
                  <a16:creationId xmlns:a16="http://schemas.microsoft.com/office/drawing/2014/main" id="{D38DAF6C-ACC2-4CA3-B1DD-5CD08CBA4CD5}"/>
                </a:ext>
                <a:ext uri="{C183D7F6-B498-43B3-948B-1728B52AA6E4}">
                  <adec:decorative xmlns:adec="http://schemas.microsoft.com/office/drawing/2017/decorative" val="1"/>
                </a:ext>
              </a:extLst>
            </p:cNvPr>
            <p:cNvSpPr/>
            <p:nvPr/>
          </p:nvSpPr>
          <p:spPr>
            <a:xfrm>
              <a:off x="7123997" y="2230078"/>
              <a:ext cx="99143" cy="125504"/>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 name="Freeform: Shape 72">
              <a:extLst>
                <a:ext uri="{FF2B5EF4-FFF2-40B4-BE49-F238E27FC236}">
                  <a16:creationId xmlns:a16="http://schemas.microsoft.com/office/drawing/2014/main" id="{C820808F-6E62-4B54-9777-608095425764}"/>
                </a:ext>
                <a:ext uri="{C183D7F6-B498-43B3-948B-1728B52AA6E4}">
                  <adec:decorative xmlns:adec="http://schemas.microsoft.com/office/drawing/2017/decorative" val="1"/>
                </a:ext>
              </a:extLst>
            </p:cNvPr>
            <p:cNvSpPr/>
            <p:nvPr/>
          </p:nvSpPr>
          <p:spPr>
            <a:xfrm>
              <a:off x="7277835" y="4407063"/>
              <a:ext cx="244545" cy="255176"/>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74" name="Freeform: Shape 73">
              <a:extLst>
                <a:ext uri="{FF2B5EF4-FFF2-40B4-BE49-F238E27FC236}">
                  <a16:creationId xmlns:a16="http://schemas.microsoft.com/office/drawing/2014/main" id="{3E5F3240-8374-4E1D-A5F6-6D098004B87C}"/>
                </a:ext>
                <a:ext uri="{C183D7F6-B498-43B3-948B-1728B52AA6E4}">
                  <adec:decorative xmlns:adec="http://schemas.microsoft.com/office/drawing/2017/decorative" val="1"/>
                </a:ext>
              </a:extLst>
            </p:cNvPr>
            <p:cNvSpPr/>
            <p:nvPr/>
          </p:nvSpPr>
          <p:spPr>
            <a:xfrm>
              <a:off x="7140677" y="4518702"/>
              <a:ext cx="223281" cy="244543"/>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grpSp>
          <p:nvGrpSpPr>
            <p:cNvPr id="76" name="Graphic 460">
              <a:extLst>
                <a:ext uri="{FF2B5EF4-FFF2-40B4-BE49-F238E27FC236}">
                  <a16:creationId xmlns:a16="http://schemas.microsoft.com/office/drawing/2014/main" id="{288176D4-1326-4F5C-80D8-2F84958618ED}"/>
                </a:ext>
                <a:ext uri="{C183D7F6-B498-43B3-948B-1728B52AA6E4}">
                  <adec:decorative xmlns:adec="http://schemas.microsoft.com/office/drawing/2017/decorative" val="1"/>
                </a:ext>
              </a:extLst>
            </p:cNvPr>
            <p:cNvGrpSpPr/>
            <p:nvPr userDrawn="1"/>
          </p:nvGrpSpPr>
          <p:grpSpPr>
            <a:xfrm>
              <a:off x="9050600" y="5576561"/>
              <a:ext cx="381531" cy="256918"/>
              <a:chOff x="5876665" y="3267725"/>
              <a:chExt cx="686172" cy="462059"/>
            </a:xfrm>
          </p:grpSpPr>
          <p:sp>
            <p:nvSpPr>
              <p:cNvPr id="90" name="Freeform: Shape 89">
                <a:extLst>
                  <a:ext uri="{FF2B5EF4-FFF2-40B4-BE49-F238E27FC236}">
                    <a16:creationId xmlns:a16="http://schemas.microsoft.com/office/drawing/2014/main" id="{3BB56575-02F2-42D6-A68B-2F3DA899D515}"/>
                  </a:ext>
                </a:extLst>
              </p:cNvPr>
              <p:cNvSpPr/>
              <p:nvPr/>
            </p:nvSpPr>
            <p:spPr>
              <a:xfrm>
                <a:off x="5876665" y="3267725"/>
                <a:ext cx="686170" cy="462059"/>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7FDF784C-D2F7-4052-9C3F-ECFCD447631A}"/>
                  </a:ext>
                </a:extLst>
              </p:cNvPr>
              <p:cNvSpPr/>
              <p:nvPr/>
            </p:nvSpPr>
            <p:spPr>
              <a:xfrm>
                <a:off x="5876667" y="3352190"/>
                <a:ext cx="686170"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C4DFA267-24F1-49ED-8A71-01B9E50D7709}"/>
                  </a:ext>
                </a:extLst>
              </p:cNvPr>
              <p:cNvSpPr/>
              <p:nvPr/>
            </p:nvSpPr>
            <p:spPr>
              <a:xfrm>
                <a:off x="6381343" y="3295008"/>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C0CFE961-0B5B-4328-9C6A-92AE3480D894}"/>
                  </a:ext>
                </a:extLst>
              </p:cNvPr>
              <p:cNvSpPr/>
              <p:nvPr/>
            </p:nvSpPr>
            <p:spPr>
              <a:xfrm>
                <a:off x="6429927" y="3295060"/>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5DC96354-FC0F-4FEC-861A-04C0431B54FB}"/>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7" name="Graphic 584">
              <a:extLst>
                <a:ext uri="{FF2B5EF4-FFF2-40B4-BE49-F238E27FC236}">
                  <a16:creationId xmlns:a16="http://schemas.microsoft.com/office/drawing/2014/main" id="{6FE394CF-ABD9-4D14-976F-3648165BD82C}"/>
                </a:ext>
                <a:ext uri="{C183D7F6-B498-43B3-948B-1728B52AA6E4}">
                  <adec:decorative xmlns:adec="http://schemas.microsoft.com/office/drawing/2017/decorative" val="1"/>
                </a:ext>
              </a:extLst>
            </p:cNvPr>
            <p:cNvGrpSpPr/>
            <p:nvPr userDrawn="1"/>
          </p:nvGrpSpPr>
          <p:grpSpPr>
            <a:xfrm>
              <a:off x="9106715" y="5651341"/>
              <a:ext cx="262874" cy="155721"/>
              <a:chOff x="6088988" y="3382408"/>
              <a:chExt cx="254034" cy="150487"/>
            </a:xfrm>
          </p:grpSpPr>
          <p:sp>
            <p:nvSpPr>
              <p:cNvPr id="78" name="Freeform: Shape 77">
                <a:extLst>
                  <a:ext uri="{FF2B5EF4-FFF2-40B4-BE49-F238E27FC236}">
                    <a16:creationId xmlns:a16="http://schemas.microsoft.com/office/drawing/2014/main" id="{250073B8-072F-4525-A70B-E2AEDDCBA809}"/>
                  </a:ext>
                </a:extLst>
              </p:cNvPr>
              <p:cNvSpPr/>
              <p:nvPr/>
            </p:nvSpPr>
            <p:spPr>
              <a:xfrm>
                <a:off x="6088988" y="3522138"/>
                <a:ext cx="125632"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624C6616-CBDB-4D8B-B3F9-72436A2CCC1F}"/>
                  </a:ext>
                </a:extLst>
              </p:cNvPr>
              <p:cNvSpPr/>
              <p:nvPr/>
            </p:nvSpPr>
            <p:spPr>
              <a:xfrm>
                <a:off x="6103847" y="3459653"/>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FAC4E160-FAD6-4BD0-B969-B852E4D13B3A}"/>
                  </a:ext>
                </a:extLst>
              </p:cNvPr>
              <p:cNvSpPr/>
              <p:nvPr/>
            </p:nvSpPr>
            <p:spPr>
              <a:xfrm>
                <a:off x="6133659" y="3480418"/>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87D1A7DF-014E-4A6A-A2D6-6CA60E94CAF8}"/>
                  </a:ext>
                </a:extLst>
              </p:cNvPr>
              <p:cNvSpPr/>
              <p:nvPr/>
            </p:nvSpPr>
            <p:spPr>
              <a:xfrm>
                <a:off x="6163377" y="3475179"/>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984516E4-4C2A-4021-8F1E-E9E28F38B44B}"/>
                  </a:ext>
                </a:extLst>
              </p:cNvPr>
              <p:cNvSpPr/>
              <p:nvPr/>
            </p:nvSpPr>
            <p:spPr>
              <a:xfrm>
                <a:off x="6193190" y="3500135"/>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0425EB54-15FB-4EBC-AE68-A88E0E79B470}"/>
                  </a:ext>
                </a:extLst>
              </p:cNvPr>
              <p:cNvSpPr/>
              <p:nvPr/>
            </p:nvSpPr>
            <p:spPr>
              <a:xfrm>
                <a:off x="6100322" y="3390597"/>
                <a:ext cx="92866"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1C525B00-72C3-4275-8C24-D48DAF98F3CB}"/>
                  </a:ext>
                </a:extLst>
              </p:cNvPr>
              <p:cNvSpPr/>
              <p:nvPr/>
            </p:nvSpPr>
            <p:spPr>
              <a:xfrm>
                <a:off x="6100310" y="3415076"/>
                <a:ext cx="92866"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8E4186D0-0513-44D7-8218-C8AE4B508E98}"/>
                  </a:ext>
                </a:extLst>
              </p:cNvPr>
              <p:cNvSpPr/>
              <p:nvPr/>
            </p:nvSpPr>
            <p:spPr>
              <a:xfrm>
                <a:off x="6260408" y="3498896"/>
                <a:ext cx="82579"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813DE6C0-A0E7-4690-94F8-54C16BE49265}"/>
                  </a:ext>
                </a:extLst>
              </p:cNvPr>
              <p:cNvSpPr/>
              <p:nvPr/>
            </p:nvSpPr>
            <p:spPr>
              <a:xfrm>
                <a:off x="6260443" y="3523370"/>
                <a:ext cx="82579"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1B1CB984-6483-43DE-AA2B-53A6FF06C400}"/>
                  </a:ext>
                </a:extLst>
              </p:cNvPr>
              <p:cNvSpPr/>
              <p:nvPr/>
            </p:nvSpPr>
            <p:spPr>
              <a:xfrm>
                <a:off x="6264727" y="3382408"/>
                <a:ext cx="70293"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3C79FD02-92A9-4EA3-870B-3C632A44966A}"/>
                  </a:ext>
                </a:extLst>
              </p:cNvPr>
              <p:cNvSpPr/>
              <p:nvPr/>
            </p:nvSpPr>
            <p:spPr>
              <a:xfrm>
                <a:off x="6302921" y="3390600"/>
                <a:ext cx="17049" cy="25718"/>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 name="Freeform: Shape 88">
                <a:extLst>
                  <a:ext uri="{FF2B5EF4-FFF2-40B4-BE49-F238E27FC236}">
                    <a16:creationId xmlns:a16="http://schemas.microsoft.com/office/drawing/2014/main" id="{1F02F1D9-B1BD-4D7E-8F40-A764F2CEFD6D}"/>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96" name="Freeform: Shape 95">
              <a:extLst>
                <a:ext uri="{FF2B5EF4-FFF2-40B4-BE49-F238E27FC236}">
                  <a16:creationId xmlns:a16="http://schemas.microsoft.com/office/drawing/2014/main" id="{2B7DB131-B586-416E-8379-FF770069B4FD}"/>
                </a:ext>
                <a:ext uri="{C183D7F6-B498-43B3-948B-1728B52AA6E4}">
                  <adec:decorative xmlns:adec="http://schemas.microsoft.com/office/drawing/2017/decorative" val="1"/>
                </a:ext>
              </a:extLst>
            </p:cNvPr>
            <p:cNvSpPr/>
            <p:nvPr/>
          </p:nvSpPr>
          <p:spPr>
            <a:xfrm>
              <a:off x="11239815" y="4635391"/>
              <a:ext cx="84098" cy="84098"/>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EEF80346-1D7A-4BDC-8532-69FB3EAAD9AE}"/>
                </a:ext>
                <a:ext uri="{C183D7F6-B498-43B3-948B-1728B52AA6E4}">
                  <adec:decorative xmlns:adec="http://schemas.microsoft.com/office/drawing/2017/decorative" val="1"/>
                </a:ext>
              </a:extLst>
            </p:cNvPr>
            <p:cNvSpPr/>
            <p:nvPr/>
          </p:nvSpPr>
          <p:spPr>
            <a:xfrm>
              <a:off x="11197213" y="4588694"/>
              <a:ext cx="169302" cy="177491"/>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147230A8-3326-4219-9405-BF19B6390CAC}"/>
                </a:ext>
                <a:ext uri="{C183D7F6-B498-43B3-948B-1728B52AA6E4}">
                  <adec:decorative xmlns:adec="http://schemas.microsoft.com/office/drawing/2017/decorative" val="1"/>
                </a:ext>
              </a:extLst>
            </p:cNvPr>
            <p:cNvSpPr/>
            <p:nvPr/>
          </p:nvSpPr>
          <p:spPr>
            <a:xfrm>
              <a:off x="10996706" y="4412642"/>
              <a:ext cx="356420" cy="219539"/>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07FB0FFC-A544-4836-80B6-43011C387384}"/>
                </a:ext>
                <a:ext uri="{C183D7F6-B498-43B3-948B-1728B52AA6E4}">
                  <adec:decorative xmlns:adec="http://schemas.microsoft.com/office/drawing/2017/decorative" val="1"/>
                </a:ext>
              </a:extLst>
            </p:cNvPr>
            <p:cNvSpPr/>
            <p:nvPr/>
          </p:nvSpPr>
          <p:spPr>
            <a:xfrm>
              <a:off x="11281864" y="4408216"/>
              <a:ext cx="77015" cy="77679"/>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7C17C486-35DD-487F-B21E-F4875E4786CD}"/>
                </a:ext>
                <a:ext uri="{C183D7F6-B498-43B3-948B-1728B52AA6E4}">
                  <adec:decorative xmlns:adec="http://schemas.microsoft.com/office/drawing/2017/decorative" val="1"/>
                </a:ext>
              </a:extLst>
            </p:cNvPr>
            <p:cNvSpPr/>
            <p:nvPr/>
          </p:nvSpPr>
          <p:spPr>
            <a:xfrm>
              <a:off x="11003566" y="4686181"/>
              <a:ext cx="11066" cy="48688"/>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1" name="Freeform: Shape 100">
              <a:extLst>
                <a:ext uri="{FF2B5EF4-FFF2-40B4-BE49-F238E27FC236}">
                  <a16:creationId xmlns:a16="http://schemas.microsoft.com/office/drawing/2014/main" id="{FC8F042F-BAD9-4A03-AA81-AFC3BA3CB4EC}"/>
                </a:ext>
                <a:ext uri="{C183D7F6-B498-43B3-948B-1728B52AA6E4}">
                  <adec:decorative xmlns:adec="http://schemas.microsoft.com/office/drawing/2017/decorative" val="1"/>
                </a:ext>
              </a:extLst>
            </p:cNvPr>
            <p:cNvSpPr/>
            <p:nvPr/>
          </p:nvSpPr>
          <p:spPr>
            <a:xfrm>
              <a:off x="11050041" y="4637383"/>
              <a:ext cx="11066" cy="97487"/>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D43D96A1-F997-49A5-B5A5-E97EB2531E20}"/>
                </a:ext>
                <a:ext uri="{C183D7F6-B498-43B3-948B-1728B52AA6E4}">
                  <adec:decorative xmlns:adec="http://schemas.microsoft.com/office/drawing/2017/decorative" val="1"/>
                </a:ext>
              </a:extLst>
            </p:cNvPr>
            <p:cNvSpPr/>
            <p:nvPr/>
          </p:nvSpPr>
          <p:spPr>
            <a:xfrm>
              <a:off x="11102049" y="4589027"/>
              <a:ext cx="11066" cy="145843"/>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2992E67A-2B06-4D77-A2E8-80BEA53C1261}"/>
                </a:ext>
                <a:ext uri="{C183D7F6-B498-43B3-948B-1728B52AA6E4}">
                  <adec:decorative xmlns:adec="http://schemas.microsoft.com/office/drawing/2017/decorative" val="1"/>
                </a:ext>
              </a:extLst>
            </p:cNvPr>
            <p:cNvSpPr/>
            <p:nvPr/>
          </p:nvSpPr>
          <p:spPr>
            <a:xfrm>
              <a:off x="11145647" y="4545207"/>
              <a:ext cx="11066" cy="189662"/>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3A179FCF-232C-418B-B185-34910EF55144}"/>
                </a:ext>
                <a:ext uri="{C183D7F6-B498-43B3-948B-1728B52AA6E4}">
                  <adec:decorative xmlns:adec="http://schemas.microsoft.com/office/drawing/2017/decorative" val="1"/>
                </a:ext>
              </a:extLst>
            </p:cNvPr>
            <p:cNvSpPr/>
            <p:nvPr/>
          </p:nvSpPr>
          <p:spPr>
            <a:xfrm>
              <a:off x="11189909" y="4539011"/>
              <a:ext cx="11066" cy="43045"/>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C14193AB-E731-41D7-B6C5-97331CFD4018}"/>
                </a:ext>
                <a:ext uri="{C183D7F6-B498-43B3-948B-1728B52AA6E4}">
                  <adec:decorative xmlns:adec="http://schemas.microsoft.com/office/drawing/2017/decorative" val="1"/>
                </a:ext>
              </a:extLst>
            </p:cNvPr>
            <p:cNvSpPr/>
            <p:nvPr/>
          </p:nvSpPr>
          <p:spPr>
            <a:xfrm>
              <a:off x="11239815" y="4554613"/>
              <a:ext cx="11066" cy="2744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F0630702-F1E1-4D97-ACDF-36681F642C1F}"/>
                </a:ext>
                <a:ext uri="{C183D7F6-B498-43B3-948B-1728B52AA6E4}">
                  <adec:decorative xmlns:adec="http://schemas.microsoft.com/office/drawing/2017/decorative" val="1"/>
                </a:ext>
              </a:extLst>
            </p:cNvPr>
            <p:cNvSpPr/>
            <p:nvPr/>
          </p:nvSpPr>
          <p:spPr>
            <a:xfrm>
              <a:off x="11289941" y="4539011"/>
              <a:ext cx="11066" cy="22020"/>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2C1BB167-D9CC-45F9-A50C-C5A49FE9B8ED}"/>
                </a:ext>
                <a:ext uri="{C183D7F6-B498-43B3-948B-1728B52AA6E4}">
                  <adec:decorative xmlns:adec="http://schemas.microsoft.com/office/drawing/2017/decorative" val="1"/>
                </a:ext>
              </a:extLst>
            </p:cNvPr>
            <p:cNvSpPr/>
            <p:nvPr/>
          </p:nvSpPr>
          <p:spPr>
            <a:xfrm>
              <a:off x="11334203" y="4516215"/>
              <a:ext cx="11066" cy="53003"/>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20ACF9FE-CF5C-4C20-B59C-CD60ACC19A0C}"/>
                </a:ext>
                <a:ext uri="{C183D7F6-B498-43B3-948B-1728B52AA6E4}">
                  <adec:decorative xmlns:adec="http://schemas.microsoft.com/office/drawing/2017/decorative" val="1"/>
                </a:ext>
              </a:extLst>
            </p:cNvPr>
            <p:cNvSpPr/>
            <p:nvPr/>
          </p:nvSpPr>
          <p:spPr>
            <a:xfrm>
              <a:off x="11218572" y="2262072"/>
              <a:ext cx="225094" cy="225094"/>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7347F961-6CBB-4911-9C52-1768787C8B79}"/>
                </a:ext>
                <a:ext uri="{C183D7F6-B498-43B3-948B-1728B52AA6E4}">
                  <adec:decorative xmlns:adec="http://schemas.microsoft.com/office/drawing/2017/decorative" val="1"/>
                </a:ext>
              </a:extLst>
            </p:cNvPr>
            <p:cNvSpPr/>
            <p:nvPr/>
          </p:nvSpPr>
          <p:spPr>
            <a:xfrm>
              <a:off x="11326603" y="2308898"/>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1030EAA2-DCCB-4464-BE3A-DF0292E5651E}"/>
                </a:ext>
                <a:ext uri="{C183D7F6-B498-43B3-948B-1728B52AA6E4}">
                  <adec:decorative xmlns:adec="http://schemas.microsoft.com/office/drawing/2017/decorative" val="1"/>
                </a:ext>
              </a:extLst>
            </p:cNvPr>
            <p:cNvSpPr/>
            <p:nvPr/>
          </p:nvSpPr>
          <p:spPr>
            <a:xfrm>
              <a:off x="11257471" y="2373698"/>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141C4FF1-AFEF-46EB-A32C-84D65D863639}"/>
                </a:ext>
                <a:ext uri="{C183D7F6-B498-43B3-948B-1728B52AA6E4}">
                  <adec:decorative xmlns:adec="http://schemas.microsoft.com/office/drawing/2017/decorative" val="1"/>
                </a:ext>
              </a:extLst>
            </p:cNvPr>
            <p:cNvSpPr/>
            <p:nvPr/>
          </p:nvSpPr>
          <p:spPr>
            <a:xfrm>
              <a:off x="11159672" y="2322632"/>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3" name="Freeform: Shape 112">
              <a:extLst>
                <a:ext uri="{FF2B5EF4-FFF2-40B4-BE49-F238E27FC236}">
                  <a16:creationId xmlns:a16="http://schemas.microsoft.com/office/drawing/2014/main" id="{6D0249F3-FEE0-445F-A901-738DD3ADCA0E}"/>
                </a:ext>
                <a:ext uri="{C183D7F6-B498-43B3-948B-1728B52AA6E4}">
                  <adec:decorative xmlns:adec="http://schemas.microsoft.com/office/drawing/2017/decorative" val="1"/>
                </a:ext>
              </a:extLst>
            </p:cNvPr>
            <p:cNvSpPr/>
            <p:nvPr/>
          </p:nvSpPr>
          <p:spPr>
            <a:xfrm>
              <a:off x="11099757" y="2401535"/>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4A863A1B-0087-4853-ADA1-151E1A8497B4}"/>
                </a:ext>
                <a:ext uri="{C183D7F6-B498-43B3-948B-1728B52AA6E4}">
                  <adec:decorative xmlns:adec="http://schemas.microsoft.com/office/drawing/2017/decorative" val="1"/>
                </a:ext>
              </a:extLst>
            </p:cNvPr>
            <p:cNvSpPr/>
            <p:nvPr/>
          </p:nvSpPr>
          <p:spPr>
            <a:xfrm>
              <a:off x="11398408" y="2401535"/>
              <a:ext cx="24703" cy="24703"/>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B07711F5-DB25-4DAD-BA87-4277503007F7}"/>
                </a:ext>
                <a:ext uri="{C183D7F6-B498-43B3-948B-1728B52AA6E4}">
                  <adec:decorative xmlns:adec="http://schemas.microsoft.com/office/drawing/2017/decorative" val="1"/>
                </a:ext>
              </a:extLst>
            </p:cNvPr>
            <p:cNvSpPr/>
            <p:nvPr/>
          </p:nvSpPr>
          <p:spPr>
            <a:xfrm>
              <a:off x="11171009" y="2460066"/>
              <a:ext cx="86922" cy="97430"/>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20E3B8C5-02D4-4A4C-A966-E56DD060FE48}"/>
                </a:ext>
                <a:ext uri="{C183D7F6-B498-43B3-948B-1728B52AA6E4}">
                  <adec:decorative xmlns:adec="http://schemas.microsoft.com/office/drawing/2017/decorative" val="1"/>
                </a:ext>
              </a:extLst>
            </p:cNvPr>
            <p:cNvSpPr/>
            <p:nvPr/>
          </p:nvSpPr>
          <p:spPr>
            <a:xfrm>
              <a:off x="11120680" y="2347335"/>
              <a:ext cx="44889" cy="5770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F430935A-EDDA-4EAE-983C-E98914427BDB}"/>
                </a:ext>
                <a:ext uri="{C183D7F6-B498-43B3-948B-1728B52AA6E4}">
                  <adec:decorative xmlns:adec="http://schemas.microsoft.com/office/drawing/2017/decorative" val="1"/>
                </a:ext>
              </a:extLst>
            </p:cNvPr>
            <p:cNvSpPr/>
            <p:nvPr/>
          </p:nvSpPr>
          <p:spPr>
            <a:xfrm>
              <a:off x="11184374" y="2342726"/>
              <a:ext cx="73096" cy="40557"/>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5EA66964-4017-4066-9BF4-B7BE756342AB}"/>
                </a:ext>
                <a:ext uri="{C183D7F6-B498-43B3-948B-1728B52AA6E4}">
                  <adec:decorative xmlns:adec="http://schemas.microsoft.com/office/drawing/2017/decorative" val="1"/>
                </a:ext>
              </a:extLst>
            </p:cNvPr>
            <p:cNvSpPr/>
            <p:nvPr/>
          </p:nvSpPr>
          <p:spPr>
            <a:xfrm>
              <a:off x="11279316" y="2327609"/>
              <a:ext cx="47286" cy="50604"/>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174CEB42-D1F2-42F9-9F3D-9EBF2E750D1C}"/>
                </a:ext>
                <a:ext uri="{C183D7F6-B498-43B3-948B-1728B52AA6E4}">
                  <adec:decorative xmlns:adec="http://schemas.microsoft.com/office/drawing/2017/decorative" val="1"/>
                </a:ext>
              </a:extLst>
            </p:cNvPr>
            <p:cNvSpPr/>
            <p:nvPr/>
          </p:nvSpPr>
          <p:spPr>
            <a:xfrm>
              <a:off x="11346973" y="2330559"/>
              <a:ext cx="56596" cy="71068"/>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Oval 49">
              <a:extLst>
                <a:ext uri="{FF2B5EF4-FFF2-40B4-BE49-F238E27FC236}">
                  <a16:creationId xmlns:a16="http://schemas.microsoft.com/office/drawing/2014/main" id="{C954D913-6828-46CE-B7F7-C5B826932DF6}"/>
                </a:ext>
                <a:ext uri="{C183D7F6-B498-43B3-948B-1728B52AA6E4}">
                  <adec:decorative xmlns:adec="http://schemas.microsoft.com/office/drawing/2017/decorative" val="1"/>
                </a:ext>
              </a:extLst>
            </p:cNvPr>
            <p:cNvSpPr/>
            <p:nvPr userDrawn="1"/>
          </p:nvSpPr>
          <p:spPr bwMode="auto">
            <a:xfrm>
              <a:off x="9670876" y="24288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9" name="POI_ECAF">
              <a:extLst>
                <a:ext uri="{FF2B5EF4-FFF2-40B4-BE49-F238E27FC236}">
                  <a16:creationId xmlns:a16="http://schemas.microsoft.com/office/drawing/2014/main" id="{ED9A837C-BBB5-4B7B-A3B1-E4490B1F96F9}"/>
                </a:ext>
                <a:ext uri="{C183D7F6-B498-43B3-948B-1728B52AA6E4}">
                  <adec:decorative xmlns:adec="http://schemas.microsoft.com/office/drawing/2017/decorative" val="1"/>
                </a:ext>
              </a:extLst>
            </p:cNvPr>
            <p:cNvSpPr>
              <a:spLocks noChangeAspect="1" noEditPoints="1"/>
            </p:cNvSpPr>
            <p:nvPr userDrawn="1"/>
          </p:nvSpPr>
          <p:spPr bwMode="auto">
            <a:xfrm>
              <a:off x="9705248" y="21507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25" name="Oval 124">
              <a:extLst>
                <a:ext uri="{FF2B5EF4-FFF2-40B4-BE49-F238E27FC236}">
                  <a16:creationId xmlns:a16="http://schemas.microsoft.com/office/drawing/2014/main" id="{4FF933DF-6C0E-4335-9604-AC63C545A336}"/>
                </a:ext>
                <a:ext uri="{C183D7F6-B498-43B3-948B-1728B52AA6E4}">
                  <adec:decorative xmlns:adec="http://schemas.microsoft.com/office/drawing/2017/decorative" val="1"/>
                </a:ext>
              </a:extLst>
            </p:cNvPr>
            <p:cNvSpPr/>
            <p:nvPr userDrawn="1"/>
          </p:nvSpPr>
          <p:spPr bwMode="auto">
            <a:xfrm>
              <a:off x="8581216" y="207836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6" name="POI_ECAF">
              <a:extLst>
                <a:ext uri="{FF2B5EF4-FFF2-40B4-BE49-F238E27FC236}">
                  <a16:creationId xmlns:a16="http://schemas.microsoft.com/office/drawing/2014/main" id="{1ACB37D4-A9B5-4BA5-800C-FDEF42C6E7E7}"/>
                </a:ext>
                <a:ext uri="{C183D7F6-B498-43B3-948B-1728B52AA6E4}">
                  <adec:decorative xmlns:adec="http://schemas.microsoft.com/office/drawing/2017/decorative" val="1"/>
                </a:ext>
              </a:extLst>
            </p:cNvPr>
            <p:cNvSpPr>
              <a:spLocks noChangeAspect="1" noEditPoints="1"/>
            </p:cNvSpPr>
            <p:nvPr userDrawn="1"/>
          </p:nvSpPr>
          <p:spPr bwMode="auto">
            <a:xfrm>
              <a:off x="8615588" y="18002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28" name="Oval 127">
              <a:extLst>
                <a:ext uri="{FF2B5EF4-FFF2-40B4-BE49-F238E27FC236}">
                  <a16:creationId xmlns:a16="http://schemas.microsoft.com/office/drawing/2014/main" id="{B397D425-416B-4047-91C6-8BF3C1B73384}"/>
                </a:ext>
                <a:ext uri="{C183D7F6-B498-43B3-948B-1728B52AA6E4}">
                  <adec:decorative xmlns:adec="http://schemas.microsoft.com/office/drawing/2017/decorative" val="1"/>
                </a:ext>
              </a:extLst>
            </p:cNvPr>
            <p:cNvSpPr/>
            <p:nvPr userDrawn="1"/>
          </p:nvSpPr>
          <p:spPr bwMode="auto">
            <a:xfrm>
              <a:off x="8543116" y="27336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9" name="POI_ECAF">
              <a:extLst>
                <a:ext uri="{FF2B5EF4-FFF2-40B4-BE49-F238E27FC236}">
                  <a16:creationId xmlns:a16="http://schemas.microsoft.com/office/drawing/2014/main" id="{74D983E0-D909-4B9A-B397-DA27FE6D3759}"/>
                </a:ext>
                <a:ext uri="{C183D7F6-B498-43B3-948B-1728B52AA6E4}">
                  <adec:decorative xmlns:adec="http://schemas.microsoft.com/office/drawing/2017/decorative" val="1"/>
                </a:ext>
              </a:extLst>
            </p:cNvPr>
            <p:cNvSpPr>
              <a:spLocks noChangeAspect="1" noEditPoints="1"/>
            </p:cNvSpPr>
            <p:nvPr userDrawn="1"/>
          </p:nvSpPr>
          <p:spPr bwMode="auto">
            <a:xfrm>
              <a:off x="8577488" y="24555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31" name="Oval 130">
              <a:extLst>
                <a:ext uri="{FF2B5EF4-FFF2-40B4-BE49-F238E27FC236}">
                  <a16:creationId xmlns:a16="http://schemas.microsoft.com/office/drawing/2014/main" id="{E4F54358-C419-4412-BF67-067C00028513}"/>
                </a:ext>
                <a:ext uri="{C183D7F6-B498-43B3-948B-1728B52AA6E4}">
                  <adec:decorative xmlns:adec="http://schemas.microsoft.com/office/drawing/2017/decorative" val="1"/>
                </a:ext>
              </a:extLst>
            </p:cNvPr>
            <p:cNvSpPr/>
            <p:nvPr userDrawn="1"/>
          </p:nvSpPr>
          <p:spPr bwMode="auto">
            <a:xfrm>
              <a:off x="9686116" y="325946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2" name="POI_ECAF">
              <a:extLst>
                <a:ext uri="{FF2B5EF4-FFF2-40B4-BE49-F238E27FC236}">
                  <a16:creationId xmlns:a16="http://schemas.microsoft.com/office/drawing/2014/main" id="{8E3DB3F6-1E07-4A0C-B4BF-BED0A2215EAB}"/>
                </a:ext>
                <a:ext uri="{C183D7F6-B498-43B3-948B-1728B52AA6E4}">
                  <adec:decorative xmlns:adec="http://schemas.microsoft.com/office/drawing/2017/decorative" val="1"/>
                </a:ext>
              </a:extLst>
            </p:cNvPr>
            <p:cNvSpPr>
              <a:spLocks noChangeAspect="1" noEditPoints="1"/>
            </p:cNvSpPr>
            <p:nvPr userDrawn="1"/>
          </p:nvSpPr>
          <p:spPr bwMode="auto">
            <a:xfrm>
              <a:off x="9720488" y="298130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34" name="Oval 133">
              <a:extLst>
                <a:ext uri="{FF2B5EF4-FFF2-40B4-BE49-F238E27FC236}">
                  <a16:creationId xmlns:a16="http://schemas.microsoft.com/office/drawing/2014/main" id="{48C1C39C-4F0F-4DFA-A494-D2C678222ADE}"/>
                </a:ext>
                <a:ext uri="{C183D7F6-B498-43B3-948B-1728B52AA6E4}">
                  <adec:decorative xmlns:adec="http://schemas.microsoft.com/office/drawing/2017/decorative" val="1"/>
                </a:ext>
              </a:extLst>
            </p:cNvPr>
            <p:cNvSpPr/>
            <p:nvPr userDrawn="1"/>
          </p:nvSpPr>
          <p:spPr bwMode="auto">
            <a:xfrm>
              <a:off x="8238316" y="39757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5" name="POI_ECAF">
              <a:extLst>
                <a:ext uri="{FF2B5EF4-FFF2-40B4-BE49-F238E27FC236}">
                  <a16:creationId xmlns:a16="http://schemas.microsoft.com/office/drawing/2014/main" id="{B0CDE0C8-C831-473A-8179-1175A3A8598D}"/>
                </a:ext>
                <a:ext uri="{C183D7F6-B498-43B3-948B-1728B52AA6E4}">
                  <adec:decorative xmlns:adec="http://schemas.microsoft.com/office/drawing/2017/decorative" val="1"/>
                </a:ext>
              </a:extLst>
            </p:cNvPr>
            <p:cNvSpPr>
              <a:spLocks noChangeAspect="1" noEditPoints="1"/>
            </p:cNvSpPr>
            <p:nvPr userDrawn="1"/>
          </p:nvSpPr>
          <p:spPr bwMode="auto">
            <a:xfrm>
              <a:off x="8272688" y="36975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37" name="Oval 136">
              <a:extLst>
                <a:ext uri="{FF2B5EF4-FFF2-40B4-BE49-F238E27FC236}">
                  <a16:creationId xmlns:a16="http://schemas.microsoft.com/office/drawing/2014/main" id="{4DC5C691-7825-47EF-B2EE-7F20BD46AB53}"/>
                </a:ext>
                <a:ext uri="{C183D7F6-B498-43B3-948B-1728B52AA6E4}">
                  <adec:decorative xmlns:adec="http://schemas.microsoft.com/office/drawing/2017/decorative" val="1"/>
                </a:ext>
              </a:extLst>
            </p:cNvPr>
            <p:cNvSpPr/>
            <p:nvPr userDrawn="1"/>
          </p:nvSpPr>
          <p:spPr bwMode="auto">
            <a:xfrm>
              <a:off x="7628716" y="47758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8" name="POI_ECAF">
              <a:extLst>
                <a:ext uri="{FF2B5EF4-FFF2-40B4-BE49-F238E27FC236}">
                  <a16:creationId xmlns:a16="http://schemas.microsoft.com/office/drawing/2014/main" id="{9E3784DF-BB1C-436D-8F2A-FA28B1F61C2D}"/>
                </a:ext>
                <a:ext uri="{C183D7F6-B498-43B3-948B-1728B52AA6E4}">
                  <adec:decorative xmlns:adec="http://schemas.microsoft.com/office/drawing/2017/decorative" val="1"/>
                </a:ext>
              </a:extLst>
            </p:cNvPr>
            <p:cNvSpPr>
              <a:spLocks noChangeAspect="1" noEditPoints="1"/>
            </p:cNvSpPr>
            <p:nvPr userDrawn="1"/>
          </p:nvSpPr>
          <p:spPr bwMode="auto">
            <a:xfrm>
              <a:off x="7663088" y="44976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40" name="Oval 139">
              <a:extLst>
                <a:ext uri="{FF2B5EF4-FFF2-40B4-BE49-F238E27FC236}">
                  <a16:creationId xmlns:a16="http://schemas.microsoft.com/office/drawing/2014/main" id="{2251B5F5-E32C-46BF-986C-1E72DDB81710}"/>
                </a:ext>
                <a:ext uri="{C183D7F6-B498-43B3-948B-1728B52AA6E4}">
                  <adec:decorative xmlns:adec="http://schemas.microsoft.com/office/drawing/2017/decorative" val="1"/>
                </a:ext>
              </a:extLst>
            </p:cNvPr>
            <p:cNvSpPr/>
            <p:nvPr userDrawn="1"/>
          </p:nvSpPr>
          <p:spPr bwMode="auto">
            <a:xfrm>
              <a:off x="9487996" y="505778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1" name="POI_ECAF">
              <a:extLst>
                <a:ext uri="{FF2B5EF4-FFF2-40B4-BE49-F238E27FC236}">
                  <a16:creationId xmlns:a16="http://schemas.microsoft.com/office/drawing/2014/main" id="{89C90395-C7A0-4EF6-A3C1-3A2EFD42E143}"/>
                </a:ext>
                <a:ext uri="{C183D7F6-B498-43B3-948B-1728B52AA6E4}">
                  <adec:decorative xmlns:adec="http://schemas.microsoft.com/office/drawing/2017/decorative" val="1"/>
                </a:ext>
              </a:extLst>
            </p:cNvPr>
            <p:cNvSpPr>
              <a:spLocks noChangeAspect="1" noEditPoints="1"/>
            </p:cNvSpPr>
            <p:nvPr userDrawn="1"/>
          </p:nvSpPr>
          <p:spPr bwMode="auto">
            <a:xfrm>
              <a:off x="9522368" y="477962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43" name="Oval 142">
              <a:extLst>
                <a:ext uri="{FF2B5EF4-FFF2-40B4-BE49-F238E27FC236}">
                  <a16:creationId xmlns:a16="http://schemas.microsoft.com/office/drawing/2014/main" id="{D1972970-C6C6-4C96-8C52-77A981615C99}"/>
                </a:ext>
                <a:ext uri="{C183D7F6-B498-43B3-948B-1728B52AA6E4}">
                  <adec:decorative xmlns:adec="http://schemas.microsoft.com/office/drawing/2017/decorative" val="1"/>
                </a:ext>
              </a:extLst>
            </p:cNvPr>
            <p:cNvSpPr/>
            <p:nvPr userDrawn="1"/>
          </p:nvSpPr>
          <p:spPr bwMode="auto">
            <a:xfrm>
              <a:off x="10326196" y="354902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4" name="POI_ECAF">
              <a:extLst>
                <a:ext uri="{FF2B5EF4-FFF2-40B4-BE49-F238E27FC236}">
                  <a16:creationId xmlns:a16="http://schemas.microsoft.com/office/drawing/2014/main" id="{EEA7FBED-2D46-43CD-B7EE-F3FEF7303598}"/>
                </a:ext>
                <a:ext uri="{C183D7F6-B498-43B3-948B-1728B52AA6E4}">
                  <adec:decorative xmlns:adec="http://schemas.microsoft.com/office/drawing/2017/decorative" val="1"/>
                </a:ext>
              </a:extLst>
            </p:cNvPr>
            <p:cNvSpPr>
              <a:spLocks noChangeAspect="1" noEditPoints="1"/>
            </p:cNvSpPr>
            <p:nvPr userDrawn="1"/>
          </p:nvSpPr>
          <p:spPr bwMode="auto">
            <a:xfrm>
              <a:off x="10360568" y="327086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46" name="Oval 145">
              <a:extLst>
                <a:ext uri="{FF2B5EF4-FFF2-40B4-BE49-F238E27FC236}">
                  <a16:creationId xmlns:a16="http://schemas.microsoft.com/office/drawing/2014/main" id="{FBE48C8C-6474-47E6-8CF3-B93978A41418}"/>
                </a:ext>
                <a:ext uri="{C183D7F6-B498-43B3-948B-1728B52AA6E4}">
                  <adec:decorative xmlns:adec="http://schemas.microsoft.com/office/drawing/2017/decorative" val="1"/>
                </a:ext>
              </a:extLst>
            </p:cNvPr>
            <p:cNvSpPr/>
            <p:nvPr userDrawn="1"/>
          </p:nvSpPr>
          <p:spPr bwMode="auto">
            <a:xfrm>
              <a:off x="10707196" y="279464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7" name="POI_ECAF">
              <a:extLst>
                <a:ext uri="{FF2B5EF4-FFF2-40B4-BE49-F238E27FC236}">
                  <a16:creationId xmlns:a16="http://schemas.microsoft.com/office/drawing/2014/main" id="{E75FF138-164A-4FF8-BD05-712927FCF6A7}"/>
                </a:ext>
                <a:ext uri="{C183D7F6-B498-43B3-948B-1728B52AA6E4}">
                  <adec:decorative xmlns:adec="http://schemas.microsoft.com/office/drawing/2017/decorative" val="1"/>
                </a:ext>
              </a:extLst>
            </p:cNvPr>
            <p:cNvSpPr>
              <a:spLocks noChangeAspect="1" noEditPoints="1"/>
            </p:cNvSpPr>
            <p:nvPr userDrawn="1"/>
          </p:nvSpPr>
          <p:spPr bwMode="auto">
            <a:xfrm>
              <a:off x="10741568" y="251648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49" name="Oval 148">
              <a:extLst>
                <a:ext uri="{FF2B5EF4-FFF2-40B4-BE49-F238E27FC236}">
                  <a16:creationId xmlns:a16="http://schemas.microsoft.com/office/drawing/2014/main" id="{A93F6647-745E-4EE2-9B36-EEACF33BEC62}"/>
                </a:ext>
                <a:ext uri="{C183D7F6-B498-43B3-948B-1728B52AA6E4}">
                  <adec:decorative xmlns:adec="http://schemas.microsoft.com/office/drawing/2017/decorative" val="1"/>
                </a:ext>
              </a:extLst>
            </p:cNvPr>
            <p:cNvSpPr/>
            <p:nvPr userDrawn="1"/>
          </p:nvSpPr>
          <p:spPr bwMode="auto">
            <a:xfrm>
              <a:off x="11179636" y="3503302"/>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50" name="POI_ECAF">
              <a:extLst>
                <a:ext uri="{FF2B5EF4-FFF2-40B4-BE49-F238E27FC236}">
                  <a16:creationId xmlns:a16="http://schemas.microsoft.com/office/drawing/2014/main" id="{A3E75CDE-7BD5-43B1-8B19-2DF28A7030B8}"/>
                </a:ext>
                <a:ext uri="{C183D7F6-B498-43B3-948B-1728B52AA6E4}">
                  <adec:decorative xmlns:adec="http://schemas.microsoft.com/office/drawing/2017/decorative" val="1"/>
                </a:ext>
              </a:extLst>
            </p:cNvPr>
            <p:cNvSpPr>
              <a:spLocks noChangeAspect="1" noEditPoints="1"/>
            </p:cNvSpPr>
            <p:nvPr userDrawn="1"/>
          </p:nvSpPr>
          <p:spPr bwMode="auto">
            <a:xfrm>
              <a:off x="11214008" y="3225141"/>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52" name="Oval 151">
              <a:extLst>
                <a:ext uri="{FF2B5EF4-FFF2-40B4-BE49-F238E27FC236}">
                  <a16:creationId xmlns:a16="http://schemas.microsoft.com/office/drawing/2014/main" id="{254CF20F-CA93-4528-B0A4-84EBE7413785}"/>
                </a:ext>
                <a:ext uri="{C183D7F6-B498-43B3-948B-1728B52AA6E4}">
                  <adec:decorative xmlns:adec="http://schemas.microsoft.com/office/drawing/2017/decorative" val="1"/>
                </a:ext>
              </a:extLst>
            </p:cNvPr>
            <p:cNvSpPr/>
            <p:nvPr userDrawn="1"/>
          </p:nvSpPr>
          <p:spPr bwMode="auto">
            <a:xfrm>
              <a:off x="9487996" y="1941373"/>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53" name="POI_ECAF">
              <a:extLst>
                <a:ext uri="{FF2B5EF4-FFF2-40B4-BE49-F238E27FC236}">
                  <a16:creationId xmlns:a16="http://schemas.microsoft.com/office/drawing/2014/main" id="{98A9183A-A18D-48A4-9F87-D3452B5F912B}"/>
                </a:ext>
                <a:ext uri="{C183D7F6-B498-43B3-948B-1728B52AA6E4}">
                  <adec:decorative xmlns:adec="http://schemas.microsoft.com/office/drawing/2017/decorative" val="1"/>
                </a:ext>
              </a:extLst>
            </p:cNvPr>
            <p:cNvSpPr>
              <a:spLocks noChangeAspect="1" noEditPoints="1"/>
            </p:cNvSpPr>
            <p:nvPr userDrawn="1"/>
          </p:nvSpPr>
          <p:spPr bwMode="auto">
            <a:xfrm>
              <a:off x="9522368" y="1663212"/>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55" name="Oval 154">
              <a:extLst>
                <a:ext uri="{FF2B5EF4-FFF2-40B4-BE49-F238E27FC236}">
                  <a16:creationId xmlns:a16="http://schemas.microsoft.com/office/drawing/2014/main" id="{ABCE188D-9B80-44DB-99B5-062D4EB10080}"/>
                </a:ext>
                <a:ext uri="{C183D7F6-B498-43B3-948B-1728B52AA6E4}">
                  <adec:decorative xmlns:adec="http://schemas.microsoft.com/office/drawing/2017/decorative" val="1"/>
                </a:ext>
              </a:extLst>
            </p:cNvPr>
            <p:cNvSpPr/>
            <p:nvPr userDrawn="1"/>
          </p:nvSpPr>
          <p:spPr bwMode="auto">
            <a:xfrm>
              <a:off x="10021396" y="4234993"/>
              <a:ext cx="295450" cy="174434"/>
            </a:xfrm>
            <a:prstGeom prst="ellipse">
              <a:avLst/>
            </a:prstGeom>
            <a:solidFill>
              <a:schemeClr val="tx1">
                <a:alpha val="40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56" name="POI_ECAF">
              <a:extLst>
                <a:ext uri="{FF2B5EF4-FFF2-40B4-BE49-F238E27FC236}">
                  <a16:creationId xmlns:a16="http://schemas.microsoft.com/office/drawing/2014/main" id="{2429A4FB-BD51-4190-BC75-635953385A1C}"/>
                </a:ext>
                <a:ext uri="{C183D7F6-B498-43B3-948B-1728B52AA6E4}">
                  <adec:decorative xmlns:adec="http://schemas.microsoft.com/office/drawing/2017/decorative" val="1"/>
                </a:ext>
              </a:extLst>
            </p:cNvPr>
            <p:cNvSpPr>
              <a:spLocks noChangeAspect="1" noEditPoints="1"/>
            </p:cNvSpPr>
            <p:nvPr userDrawn="1"/>
          </p:nvSpPr>
          <p:spPr bwMode="auto">
            <a:xfrm>
              <a:off x="10055768" y="3956832"/>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adFill flip="none" rotWithShape="1">
              <a:gsLst>
                <a:gs pos="0">
                  <a:schemeClr val="accent3">
                    <a:lumMod val="75000"/>
                  </a:schemeClr>
                </a:gs>
                <a:gs pos="100000">
                  <a:schemeClr val="accent1"/>
                </a:gs>
              </a:gsLst>
              <a:lin ang="16200000" scaled="1"/>
              <a:tileRect/>
            </a:gra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grpSp>
    </p:spTree>
    <p:extLst>
      <p:ext uri="{BB962C8B-B14F-4D97-AF65-F5344CB8AC3E}">
        <p14:creationId xmlns:p14="http://schemas.microsoft.com/office/powerpoint/2010/main" val="424583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0">
              <a:schemeClr val="accent1"/>
            </a:gs>
            <a:gs pos="44000">
              <a:srgbClr val="0F4E86"/>
            </a:gs>
            <a:gs pos="100000">
              <a:schemeClr val="accent2">
                <a:lumMod val="75000"/>
              </a:schemeClr>
            </a:gs>
          </a:gsLst>
          <a:lin ang="108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32415"/>
            <a:ext cx="5557834" cy="784600"/>
          </a:xfrm>
          <a:noFill/>
        </p:spPr>
        <p:txBody>
          <a:bodyPr lIns="0" tIns="91440" rIns="0" bIns="91440" anchor="b" anchorCtr="0"/>
          <a:lstStyle>
            <a:lvl1pPr>
              <a:defRPr sz="3921" b="1" spc="-98" baseline="0">
                <a:solidFill>
                  <a:schemeClr val="accent3"/>
                </a:solidFill>
              </a:defRPr>
            </a:lvl1pPr>
          </a:lstStyle>
          <a:p>
            <a:r>
              <a:rPr lang="en-US"/>
              <a:t>Presentation title</a:t>
            </a:r>
          </a:p>
        </p:txBody>
      </p:sp>
      <p:sp>
        <p:nvSpPr>
          <p:cNvPr id="2579" name="Freeform: Shape 2578">
            <a:extLst>
              <a:ext uri="{FF2B5EF4-FFF2-40B4-BE49-F238E27FC236}">
                <a16:creationId xmlns:a16="http://schemas.microsoft.com/office/drawing/2014/main" id="{71A7C478-25BE-4AD3-9519-0B49CA12ACFE}"/>
              </a:ext>
              <a:ext uri="{C183D7F6-B498-43B3-948B-1728B52AA6E4}">
                <adec:decorative xmlns:adec="http://schemas.microsoft.com/office/drawing/2017/decorative" val="1"/>
              </a:ext>
            </a:extLst>
          </p:cNvPr>
          <p:cNvSpPr/>
          <p:nvPr userDrawn="1"/>
        </p:nvSpPr>
        <p:spPr>
          <a:xfrm flipH="1" flipV="1">
            <a:off x="6648484" y="0"/>
            <a:ext cx="5543516" cy="6858001"/>
          </a:xfrm>
          <a:custGeom>
            <a:avLst/>
            <a:gdLst>
              <a:gd name="connsiteX0" fmla="*/ 4594375 w 5932286"/>
              <a:gd name="connsiteY0" fmla="*/ 5875 h 6994526"/>
              <a:gd name="connsiteX1" fmla="*/ 4565871 w 5932286"/>
              <a:gd name="connsiteY1" fmla="*/ 0 h 6994526"/>
              <a:gd name="connsiteX2" fmla="*/ 4622918 w 5932286"/>
              <a:gd name="connsiteY2" fmla="*/ 0 h 6994526"/>
              <a:gd name="connsiteX3" fmla="*/ 14015 w 5932286"/>
              <a:gd name="connsiteY3" fmla="*/ 12585 h 6994526"/>
              <a:gd name="connsiteX4" fmla="*/ 0 w 5932286"/>
              <a:gd name="connsiteY4" fmla="*/ 9918 h 6994526"/>
              <a:gd name="connsiteX5" fmla="*/ 0 w 5932286"/>
              <a:gd name="connsiteY5" fmla="*/ 0 h 6994526"/>
              <a:gd name="connsiteX6" fmla="*/ 61067 w 5932286"/>
              <a:gd name="connsiteY6" fmla="*/ 0 h 6994526"/>
              <a:gd name="connsiteX7" fmla="*/ 54785 w 5932286"/>
              <a:gd name="connsiteY7" fmla="*/ 4284 h 6994526"/>
              <a:gd name="connsiteX8" fmla="*/ 14015 w 5932286"/>
              <a:gd name="connsiteY8" fmla="*/ 12585 h 6994526"/>
              <a:gd name="connsiteX9" fmla="*/ 342166 w 5932286"/>
              <a:gd name="connsiteY9" fmla="*/ 27267 h 6994526"/>
              <a:gd name="connsiteX10" fmla="*/ 301794 w 5932286"/>
              <a:gd name="connsiteY10" fmla="*/ 19197 h 6994526"/>
              <a:gd name="connsiteX11" fmla="*/ 273043 w 5932286"/>
              <a:gd name="connsiteY11" fmla="*/ 0 h 6994526"/>
              <a:gd name="connsiteX12" fmla="*/ 410491 w 5932286"/>
              <a:gd name="connsiteY12" fmla="*/ 0 h 6994526"/>
              <a:gd name="connsiteX13" fmla="*/ 382423 w 5932286"/>
              <a:gd name="connsiteY13" fmla="*/ 19087 h 6994526"/>
              <a:gd name="connsiteX14" fmla="*/ 342166 w 5932286"/>
              <a:gd name="connsiteY14" fmla="*/ 27267 h 6994526"/>
              <a:gd name="connsiteX15" fmla="*/ 2488906 w 5932286"/>
              <a:gd name="connsiteY15" fmla="*/ 27452 h 6994526"/>
              <a:gd name="connsiteX16" fmla="*/ 2432561 w 5932286"/>
              <a:gd name="connsiteY16" fmla="*/ 4314 h 6994526"/>
              <a:gd name="connsiteX17" fmla="*/ 2429614 w 5932286"/>
              <a:gd name="connsiteY17" fmla="*/ 0 h 6994526"/>
              <a:gd name="connsiteX18" fmla="*/ 2547809 w 5932286"/>
              <a:gd name="connsiteY18" fmla="*/ 0 h 6994526"/>
              <a:gd name="connsiteX19" fmla="*/ 2545162 w 5932286"/>
              <a:gd name="connsiteY19" fmla="*/ 3960 h 6994526"/>
              <a:gd name="connsiteX20" fmla="*/ 2488906 w 5932286"/>
              <a:gd name="connsiteY20" fmla="*/ 27452 h 6994526"/>
              <a:gd name="connsiteX21" fmla="*/ 667513 w 5932286"/>
              <a:gd name="connsiteY21" fmla="*/ 71371 h 6994526"/>
              <a:gd name="connsiteX22" fmla="*/ 573130 w 5932286"/>
              <a:gd name="connsiteY22" fmla="*/ 9373 h 6994526"/>
              <a:gd name="connsiteX23" fmla="*/ 571230 w 5932286"/>
              <a:gd name="connsiteY23" fmla="*/ 0 h 6994526"/>
              <a:gd name="connsiteX24" fmla="*/ 763055 w 5932286"/>
              <a:gd name="connsiteY24" fmla="*/ 0 h 6994526"/>
              <a:gd name="connsiteX25" fmla="*/ 761304 w 5932286"/>
              <a:gd name="connsiteY25" fmla="*/ 8778 h 6994526"/>
              <a:gd name="connsiteX26" fmla="*/ 667513 w 5932286"/>
              <a:gd name="connsiteY26" fmla="*/ 71371 h 6994526"/>
              <a:gd name="connsiteX27" fmla="*/ 1907321 w 5932286"/>
              <a:gd name="connsiteY27" fmla="*/ 116369 h 6994526"/>
              <a:gd name="connsiteX28" fmla="*/ 1812647 w 5932286"/>
              <a:gd name="connsiteY28" fmla="*/ 22405 h 6994526"/>
              <a:gd name="connsiteX29" fmla="*/ 1817171 w 5932286"/>
              <a:gd name="connsiteY29" fmla="*/ 0 h 6994526"/>
              <a:gd name="connsiteX30" fmla="*/ 1997611 w 5932286"/>
              <a:gd name="connsiteY30" fmla="*/ 0 h 6994526"/>
              <a:gd name="connsiteX31" fmla="*/ 2001994 w 5932286"/>
              <a:gd name="connsiteY31" fmla="*/ 21697 h 6994526"/>
              <a:gd name="connsiteX32" fmla="*/ 1907321 w 5932286"/>
              <a:gd name="connsiteY32" fmla="*/ 116369 h 6994526"/>
              <a:gd name="connsiteX33" fmla="*/ 987061 w 5932286"/>
              <a:gd name="connsiteY33" fmla="*/ 144026 h 6994526"/>
              <a:gd name="connsiteX34" fmla="*/ 886027 w 5932286"/>
              <a:gd name="connsiteY34" fmla="*/ 43701 h 6994526"/>
              <a:gd name="connsiteX35" fmla="*/ 893953 w 5932286"/>
              <a:gd name="connsiteY35" fmla="*/ 4368 h 6994526"/>
              <a:gd name="connsiteX36" fmla="*/ 896887 w 5932286"/>
              <a:gd name="connsiteY36" fmla="*/ 0 h 6994526"/>
              <a:gd name="connsiteX37" fmla="*/ 1076886 w 5932286"/>
              <a:gd name="connsiteY37" fmla="*/ 0 h 6994526"/>
              <a:gd name="connsiteX38" fmla="*/ 1079447 w 5932286"/>
              <a:gd name="connsiteY38" fmla="*/ 3771 h 6994526"/>
              <a:gd name="connsiteX39" fmla="*/ 1087385 w 5932286"/>
              <a:gd name="connsiteY39" fmla="*/ 42993 h 6994526"/>
              <a:gd name="connsiteX40" fmla="*/ 987061 w 5932286"/>
              <a:gd name="connsiteY40" fmla="*/ 144026 h 6994526"/>
              <a:gd name="connsiteX41" fmla="*/ 3290557 w 5932286"/>
              <a:gd name="connsiteY41" fmla="*/ 202933 h 6994526"/>
              <a:gd name="connsiteX42" fmla="*/ 3217735 w 5932286"/>
              <a:gd name="connsiteY42" fmla="*/ 130111 h 6994526"/>
              <a:gd name="connsiteX43" fmla="*/ 3289399 w 5932286"/>
              <a:gd name="connsiteY43" fmla="*/ 56132 h 6994526"/>
              <a:gd name="connsiteX44" fmla="*/ 3363379 w 5932286"/>
              <a:gd name="connsiteY44" fmla="*/ 128953 h 6994526"/>
              <a:gd name="connsiteX45" fmla="*/ 3290557 w 5932286"/>
              <a:gd name="connsiteY45" fmla="*/ 202933 h 6994526"/>
              <a:gd name="connsiteX46" fmla="*/ 3808744 w 5932286"/>
              <a:gd name="connsiteY46" fmla="*/ 210107 h 6994526"/>
              <a:gd name="connsiteX47" fmla="*/ 3735026 w 5932286"/>
              <a:gd name="connsiteY47" fmla="*/ 138177 h 6994526"/>
              <a:gd name="connsiteX48" fmla="*/ 3806941 w 5932286"/>
              <a:gd name="connsiteY48" fmla="*/ 64463 h 6994526"/>
              <a:gd name="connsiteX49" fmla="*/ 3880677 w 5932286"/>
              <a:gd name="connsiteY49" fmla="*/ 136393 h 6994526"/>
              <a:gd name="connsiteX50" fmla="*/ 3808744 w 5932286"/>
              <a:gd name="connsiteY50" fmla="*/ 210107 h 6994526"/>
              <a:gd name="connsiteX51" fmla="*/ 2752770 w 5932286"/>
              <a:gd name="connsiteY51" fmla="*/ 223532 h 6994526"/>
              <a:gd name="connsiteX52" fmla="*/ 2672933 w 5932286"/>
              <a:gd name="connsiteY52" fmla="*/ 144404 h 6994526"/>
              <a:gd name="connsiteX53" fmla="*/ 2752068 w 5932286"/>
              <a:gd name="connsiteY53" fmla="*/ 64568 h 6994526"/>
              <a:gd name="connsiteX54" fmla="*/ 2831903 w 5932286"/>
              <a:gd name="connsiteY54" fmla="*/ 143696 h 6994526"/>
              <a:gd name="connsiteX55" fmla="*/ 2752770 w 5932286"/>
              <a:gd name="connsiteY55" fmla="*/ 223532 h 6994526"/>
              <a:gd name="connsiteX56" fmla="*/ 4310074 w 5932286"/>
              <a:gd name="connsiteY56" fmla="*/ 236639 h 6994526"/>
              <a:gd name="connsiteX57" fmla="*/ 4234246 w 5932286"/>
              <a:gd name="connsiteY57" fmla="*/ 160757 h 6994526"/>
              <a:gd name="connsiteX58" fmla="*/ 4310074 w 5932286"/>
              <a:gd name="connsiteY58" fmla="*/ 84944 h 6994526"/>
              <a:gd name="connsiteX59" fmla="*/ 4379057 w 5932286"/>
              <a:gd name="connsiteY59" fmla="*/ 160757 h 6994526"/>
              <a:gd name="connsiteX60" fmla="*/ 4310074 w 5932286"/>
              <a:gd name="connsiteY60" fmla="*/ 236639 h 6994526"/>
              <a:gd name="connsiteX61" fmla="*/ 1299339 w 5932286"/>
              <a:gd name="connsiteY61" fmla="*/ 246672 h 6994526"/>
              <a:gd name="connsiteX62" fmla="*/ 1198308 w 5932286"/>
              <a:gd name="connsiteY62" fmla="*/ 146349 h 6994526"/>
              <a:gd name="connsiteX63" fmla="*/ 1298631 w 5932286"/>
              <a:gd name="connsiteY63" fmla="*/ 45319 h 6994526"/>
              <a:gd name="connsiteX64" fmla="*/ 1399661 w 5932286"/>
              <a:gd name="connsiteY64" fmla="*/ 145642 h 6994526"/>
              <a:gd name="connsiteX65" fmla="*/ 1299339 w 5932286"/>
              <a:gd name="connsiteY65" fmla="*/ 246672 h 6994526"/>
              <a:gd name="connsiteX66" fmla="*/ 4790983 w 5932286"/>
              <a:gd name="connsiteY66" fmla="*/ 269478 h 6994526"/>
              <a:gd name="connsiteX67" fmla="*/ 4718128 w 5932286"/>
              <a:gd name="connsiteY67" fmla="*/ 196624 h 6994526"/>
              <a:gd name="connsiteX68" fmla="*/ 4790983 w 5932286"/>
              <a:gd name="connsiteY68" fmla="*/ 123771 h 6994526"/>
              <a:gd name="connsiteX69" fmla="*/ 4863836 w 5932286"/>
              <a:gd name="connsiteY69" fmla="*/ 196624 h 6994526"/>
              <a:gd name="connsiteX70" fmla="*/ 4790983 w 5932286"/>
              <a:gd name="connsiteY70" fmla="*/ 269478 h 6994526"/>
              <a:gd name="connsiteX71" fmla="*/ 2190175 w 5932286"/>
              <a:gd name="connsiteY71" fmla="*/ 296108 h 6994526"/>
              <a:gd name="connsiteX72" fmla="*/ 2082793 w 5932286"/>
              <a:gd name="connsiteY72" fmla="*/ 189433 h 6994526"/>
              <a:gd name="connsiteX73" fmla="*/ 2189475 w 5932286"/>
              <a:gd name="connsiteY73" fmla="*/ 82043 h 6994526"/>
              <a:gd name="connsiteX74" fmla="*/ 2296857 w 5932286"/>
              <a:gd name="connsiteY74" fmla="*/ 188725 h 6994526"/>
              <a:gd name="connsiteX75" fmla="*/ 2190175 w 5932286"/>
              <a:gd name="connsiteY75" fmla="*/ 296108 h 6994526"/>
              <a:gd name="connsiteX76" fmla="*/ 1600960 w 5932286"/>
              <a:gd name="connsiteY76" fmla="*/ 396686 h 6994526"/>
              <a:gd name="connsiteX77" fmla="*/ 1480149 w 5932286"/>
              <a:gd name="connsiteY77" fmla="*/ 276581 h 6994526"/>
              <a:gd name="connsiteX78" fmla="*/ 1600252 w 5932286"/>
              <a:gd name="connsiteY78" fmla="*/ 155768 h 6994526"/>
              <a:gd name="connsiteX79" fmla="*/ 1721063 w 5932286"/>
              <a:gd name="connsiteY79" fmla="*/ 275873 h 6994526"/>
              <a:gd name="connsiteX80" fmla="*/ 1600960 w 5932286"/>
              <a:gd name="connsiteY80" fmla="*/ 396686 h 6994526"/>
              <a:gd name="connsiteX81" fmla="*/ 12459 w 5932286"/>
              <a:gd name="connsiteY81" fmla="*/ 397574 h 6994526"/>
              <a:gd name="connsiteX82" fmla="*/ 0 w 5932286"/>
              <a:gd name="connsiteY82" fmla="*/ 395061 h 6994526"/>
              <a:gd name="connsiteX83" fmla="*/ 0 w 5932286"/>
              <a:gd name="connsiteY83" fmla="*/ 153466 h 6994526"/>
              <a:gd name="connsiteX84" fmla="*/ 11751 w 5932286"/>
              <a:gd name="connsiteY84" fmla="*/ 151009 h 6994526"/>
              <a:gd name="connsiteX85" fmla="*/ 135387 w 5932286"/>
              <a:gd name="connsiteY85" fmla="*/ 273938 h 6994526"/>
              <a:gd name="connsiteX86" fmla="*/ 12459 w 5932286"/>
              <a:gd name="connsiteY86" fmla="*/ 397574 h 6994526"/>
              <a:gd name="connsiteX87" fmla="*/ 340716 w 5932286"/>
              <a:gd name="connsiteY87" fmla="*/ 415001 h 6994526"/>
              <a:gd name="connsiteX88" fmla="*/ 217079 w 5932286"/>
              <a:gd name="connsiteY88" fmla="*/ 292072 h 6994526"/>
              <a:gd name="connsiteX89" fmla="*/ 340009 w 5932286"/>
              <a:gd name="connsiteY89" fmla="*/ 168436 h 6994526"/>
              <a:gd name="connsiteX90" fmla="*/ 463645 w 5932286"/>
              <a:gd name="connsiteY90" fmla="*/ 291364 h 6994526"/>
              <a:gd name="connsiteX91" fmla="*/ 340716 w 5932286"/>
              <a:gd name="connsiteY91" fmla="*/ 415001 h 6994526"/>
              <a:gd name="connsiteX92" fmla="*/ 3520665 w 5932286"/>
              <a:gd name="connsiteY92" fmla="*/ 437641 h 6994526"/>
              <a:gd name="connsiteX93" fmla="*/ 3447465 w 5932286"/>
              <a:gd name="connsiteY93" fmla="*/ 365213 h 6994526"/>
              <a:gd name="connsiteX94" fmla="*/ 3519893 w 5932286"/>
              <a:gd name="connsiteY94" fmla="*/ 292013 h 6994526"/>
              <a:gd name="connsiteX95" fmla="*/ 3593093 w 5932286"/>
              <a:gd name="connsiteY95" fmla="*/ 364440 h 6994526"/>
              <a:gd name="connsiteX96" fmla="*/ 3520665 w 5932286"/>
              <a:gd name="connsiteY96" fmla="*/ 437641 h 6994526"/>
              <a:gd name="connsiteX97" fmla="*/ 3001138 w 5932286"/>
              <a:gd name="connsiteY97" fmla="*/ 443447 h 6994526"/>
              <a:gd name="connsiteX98" fmla="*/ 2916352 w 5932286"/>
              <a:gd name="connsiteY98" fmla="*/ 358669 h 6994526"/>
              <a:gd name="connsiteX99" fmla="*/ 3000431 w 5932286"/>
              <a:gd name="connsiteY99" fmla="*/ 274592 h 6994526"/>
              <a:gd name="connsiteX100" fmla="*/ 3085210 w 5932286"/>
              <a:gd name="connsiteY100" fmla="*/ 358669 h 6994526"/>
              <a:gd name="connsiteX101" fmla="*/ 3001138 w 5932286"/>
              <a:gd name="connsiteY101" fmla="*/ 443447 h 6994526"/>
              <a:gd name="connsiteX102" fmla="*/ 4020801 w 5932286"/>
              <a:gd name="connsiteY102" fmla="*/ 460815 h 6994526"/>
              <a:gd name="connsiteX103" fmla="*/ 3947122 w 5932286"/>
              <a:gd name="connsiteY103" fmla="*/ 388920 h 6994526"/>
              <a:gd name="connsiteX104" fmla="*/ 4019017 w 5932286"/>
              <a:gd name="connsiteY104" fmla="*/ 315241 h 6994526"/>
              <a:gd name="connsiteX105" fmla="*/ 4092696 w 5932286"/>
              <a:gd name="connsiteY105" fmla="*/ 387118 h 6994526"/>
              <a:gd name="connsiteX106" fmla="*/ 4020801 w 5932286"/>
              <a:gd name="connsiteY106" fmla="*/ 460815 h 6994526"/>
              <a:gd name="connsiteX107" fmla="*/ 665095 w 5932286"/>
              <a:gd name="connsiteY107" fmla="*/ 465350 h 6994526"/>
              <a:gd name="connsiteX108" fmla="*/ 541459 w 5932286"/>
              <a:gd name="connsiteY108" fmla="*/ 342422 h 6994526"/>
              <a:gd name="connsiteX109" fmla="*/ 664387 w 5932286"/>
              <a:gd name="connsiteY109" fmla="*/ 218785 h 6994526"/>
              <a:gd name="connsiteX110" fmla="*/ 788024 w 5932286"/>
              <a:gd name="connsiteY110" fmla="*/ 341714 h 6994526"/>
              <a:gd name="connsiteX111" fmla="*/ 665095 w 5932286"/>
              <a:gd name="connsiteY111" fmla="*/ 465350 h 6994526"/>
              <a:gd name="connsiteX112" fmla="*/ 2458890 w 5932286"/>
              <a:gd name="connsiteY112" fmla="*/ 476012 h 6994526"/>
              <a:gd name="connsiteX113" fmla="*/ 2361395 w 5932286"/>
              <a:gd name="connsiteY113" fmla="*/ 379225 h 6994526"/>
              <a:gd name="connsiteX114" fmla="*/ 2458182 w 5932286"/>
              <a:gd name="connsiteY114" fmla="*/ 281729 h 6994526"/>
              <a:gd name="connsiteX115" fmla="*/ 2555677 w 5932286"/>
              <a:gd name="connsiteY115" fmla="*/ 378517 h 6994526"/>
              <a:gd name="connsiteX116" fmla="*/ 2458890 w 5932286"/>
              <a:gd name="connsiteY116" fmla="*/ 476012 h 6994526"/>
              <a:gd name="connsiteX117" fmla="*/ 4503358 w 5932286"/>
              <a:gd name="connsiteY117" fmla="*/ 497432 h 6994526"/>
              <a:gd name="connsiteX118" fmla="*/ 4430544 w 5932286"/>
              <a:gd name="connsiteY118" fmla="*/ 427538 h 6994526"/>
              <a:gd name="connsiteX119" fmla="*/ 4503358 w 5932286"/>
              <a:gd name="connsiteY119" fmla="*/ 351805 h 6994526"/>
              <a:gd name="connsiteX120" fmla="*/ 4576171 w 5932286"/>
              <a:gd name="connsiteY120" fmla="*/ 424618 h 6994526"/>
              <a:gd name="connsiteX121" fmla="*/ 4503358 w 5932286"/>
              <a:gd name="connsiteY121" fmla="*/ 497432 h 6994526"/>
              <a:gd name="connsiteX122" fmla="*/ 4972541 w 5932286"/>
              <a:gd name="connsiteY122" fmla="*/ 543506 h 6994526"/>
              <a:gd name="connsiteX123" fmla="*/ 4899686 w 5932286"/>
              <a:gd name="connsiteY123" fmla="*/ 470653 h 6994526"/>
              <a:gd name="connsiteX124" fmla="*/ 4972541 w 5932286"/>
              <a:gd name="connsiteY124" fmla="*/ 397799 h 6994526"/>
              <a:gd name="connsiteX125" fmla="*/ 5045394 w 5932286"/>
              <a:gd name="connsiteY125" fmla="*/ 470653 h 6994526"/>
              <a:gd name="connsiteX126" fmla="*/ 4972541 w 5932286"/>
              <a:gd name="connsiteY126" fmla="*/ 543506 h 6994526"/>
              <a:gd name="connsiteX127" fmla="*/ 983186 w 5932286"/>
              <a:gd name="connsiteY127" fmla="*/ 547658 h 6994526"/>
              <a:gd name="connsiteX128" fmla="*/ 859549 w 5932286"/>
              <a:gd name="connsiteY128" fmla="*/ 424729 h 6994526"/>
              <a:gd name="connsiteX129" fmla="*/ 982478 w 5932286"/>
              <a:gd name="connsiteY129" fmla="*/ 301092 h 6994526"/>
              <a:gd name="connsiteX130" fmla="*/ 1106115 w 5932286"/>
              <a:gd name="connsiteY130" fmla="*/ 424021 h 6994526"/>
              <a:gd name="connsiteX131" fmla="*/ 983186 w 5932286"/>
              <a:gd name="connsiteY131" fmla="*/ 547658 h 6994526"/>
              <a:gd name="connsiteX132" fmla="*/ 1890007 w 5932286"/>
              <a:gd name="connsiteY132" fmla="*/ 548606 h 6994526"/>
              <a:gd name="connsiteX133" fmla="*/ 1774139 w 5932286"/>
              <a:gd name="connsiteY133" fmla="*/ 433445 h 6994526"/>
              <a:gd name="connsiteX134" fmla="*/ 1889300 w 5932286"/>
              <a:gd name="connsiteY134" fmla="*/ 317576 h 6994526"/>
              <a:gd name="connsiteX135" fmla="*/ 2005169 w 5932286"/>
              <a:gd name="connsiteY135" fmla="*/ 432737 h 6994526"/>
              <a:gd name="connsiteX136" fmla="*/ 1890007 w 5932286"/>
              <a:gd name="connsiteY136" fmla="*/ 548606 h 6994526"/>
              <a:gd name="connsiteX137" fmla="*/ 1291591 w 5932286"/>
              <a:gd name="connsiteY137" fmla="*/ 664493 h 6994526"/>
              <a:gd name="connsiteX138" fmla="*/ 1164417 w 5932286"/>
              <a:gd name="connsiteY138" fmla="*/ 538029 h 6994526"/>
              <a:gd name="connsiteX139" fmla="*/ 1290883 w 5932286"/>
              <a:gd name="connsiteY139" fmla="*/ 410856 h 6994526"/>
              <a:gd name="connsiteX140" fmla="*/ 1418057 w 5932286"/>
              <a:gd name="connsiteY140" fmla="*/ 537320 h 6994526"/>
              <a:gd name="connsiteX141" fmla="*/ 1291591 w 5932286"/>
              <a:gd name="connsiteY141" fmla="*/ 664493 h 6994526"/>
              <a:gd name="connsiteX142" fmla="*/ 3232569 w 5932286"/>
              <a:gd name="connsiteY142" fmla="*/ 677291 h 6994526"/>
              <a:gd name="connsiteX143" fmla="*/ 3147783 w 5932286"/>
              <a:gd name="connsiteY143" fmla="*/ 593221 h 6994526"/>
              <a:gd name="connsiteX144" fmla="*/ 3231861 w 5932286"/>
              <a:gd name="connsiteY144" fmla="*/ 508435 h 6994526"/>
              <a:gd name="connsiteX145" fmla="*/ 3316641 w 5932286"/>
              <a:gd name="connsiteY145" fmla="*/ 592513 h 6994526"/>
              <a:gd name="connsiteX146" fmla="*/ 3232569 w 5932286"/>
              <a:gd name="connsiteY146" fmla="*/ 677291 h 6994526"/>
              <a:gd name="connsiteX147" fmla="*/ 3733068 w 5932286"/>
              <a:gd name="connsiteY147" fmla="*/ 688189 h 6994526"/>
              <a:gd name="connsiteX148" fmla="*/ 3660260 w 5932286"/>
              <a:gd name="connsiteY148" fmla="*/ 615379 h 6994526"/>
              <a:gd name="connsiteX149" fmla="*/ 3733068 w 5932286"/>
              <a:gd name="connsiteY149" fmla="*/ 542562 h 6994526"/>
              <a:gd name="connsiteX150" fmla="*/ 3805882 w 5932286"/>
              <a:gd name="connsiteY150" fmla="*/ 615379 h 6994526"/>
              <a:gd name="connsiteX151" fmla="*/ 3733068 w 5932286"/>
              <a:gd name="connsiteY151" fmla="*/ 688189 h 6994526"/>
              <a:gd name="connsiteX152" fmla="*/ 2710650 w 5932286"/>
              <a:gd name="connsiteY152" fmla="*/ 708304 h 6994526"/>
              <a:gd name="connsiteX153" fmla="*/ 2591957 w 5932286"/>
              <a:gd name="connsiteY153" fmla="*/ 590318 h 6994526"/>
              <a:gd name="connsiteX154" fmla="*/ 2709942 w 5932286"/>
              <a:gd name="connsiteY154" fmla="*/ 471624 h 6994526"/>
              <a:gd name="connsiteX155" fmla="*/ 2828636 w 5932286"/>
              <a:gd name="connsiteY155" fmla="*/ 589610 h 6994526"/>
              <a:gd name="connsiteX156" fmla="*/ 2710650 w 5932286"/>
              <a:gd name="connsiteY156" fmla="*/ 708304 h 6994526"/>
              <a:gd name="connsiteX157" fmla="*/ 4215782 w 5932286"/>
              <a:gd name="connsiteY157" fmla="*/ 724997 h 6994526"/>
              <a:gd name="connsiteX158" fmla="*/ 4142958 w 5932286"/>
              <a:gd name="connsiteY158" fmla="*/ 652174 h 6994526"/>
              <a:gd name="connsiteX159" fmla="*/ 4215782 w 5932286"/>
              <a:gd name="connsiteY159" fmla="*/ 579361 h 6994526"/>
              <a:gd name="connsiteX160" fmla="*/ 4288597 w 5932286"/>
              <a:gd name="connsiteY160" fmla="*/ 652174 h 6994526"/>
              <a:gd name="connsiteX161" fmla="*/ 4215782 w 5932286"/>
              <a:gd name="connsiteY161" fmla="*/ 724997 h 6994526"/>
              <a:gd name="connsiteX162" fmla="*/ 2163547 w 5932286"/>
              <a:gd name="connsiteY162" fmla="*/ 743360 h 6994526"/>
              <a:gd name="connsiteX163" fmla="*/ 2034968 w 5932286"/>
              <a:gd name="connsiteY163" fmla="*/ 615481 h 6994526"/>
              <a:gd name="connsiteX164" fmla="*/ 2162847 w 5932286"/>
              <a:gd name="connsiteY164" fmla="*/ 486901 h 6994526"/>
              <a:gd name="connsiteX165" fmla="*/ 2291427 w 5932286"/>
              <a:gd name="connsiteY165" fmla="*/ 614779 h 6994526"/>
              <a:gd name="connsiteX166" fmla="*/ 2163547 w 5932286"/>
              <a:gd name="connsiteY166" fmla="*/ 743360 h 6994526"/>
              <a:gd name="connsiteX167" fmla="*/ 11008 w 5932286"/>
              <a:gd name="connsiteY167" fmla="*/ 750068 h 6994526"/>
              <a:gd name="connsiteX168" fmla="*/ 0 w 5932286"/>
              <a:gd name="connsiteY168" fmla="*/ 747972 h 6994526"/>
              <a:gd name="connsiteX169" fmla="*/ 0 w 5932286"/>
              <a:gd name="connsiteY169" fmla="*/ 533205 h 6994526"/>
              <a:gd name="connsiteX170" fmla="*/ 10300 w 5932286"/>
              <a:gd name="connsiteY170" fmla="*/ 531042 h 6994526"/>
              <a:gd name="connsiteX171" fmla="*/ 120511 w 5932286"/>
              <a:gd name="connsiteY171" fmla="*/ 639847 h 6994526"/>
              <a:gd name="connsiteX172" fmla="*/ 11008 w 5932286"/>
              <a:gd name="connsiteY172" fmla="*/ 750068 h 6994526"/>
              <a:gd name="connsiteX173" fmla="*/ 338777 w 5932286"/>
              <a:gd name="connsiteY173" fmla="*/ 772141 h 6994526"/>
              <a:gd name="connsiteX174" fmla="*/ 226445 w 5932286"/>
              <a:gd name="connsiteY174" fmla="*/ 660516 h 6994526"/>
              <a:gd name="connsiteX175" fmla="*/ 338068 w 5932286"/>
              <a:gd name="connsiteY175" fmla="*/ 548185 h 6994526"/>
              <a:gd name="connsiteX176" fmla="*/ 450400 w 5932286"/>
              <a:gd name="connsiteY176" fmla="*/ 659808 h 6994526"/>
              <a:gd name="connsiteX177" fmla="*/ 338777 w 5932286"/>
              <a:gd name="connsiteY177" fmla="*/ 772141 h 6994526"/>
              <a:gd name="connsiteX178" fmla="*/ 4684710 w 5932286"/>
              <a:gd name="connsiteY178" fmla="*/ 773436 h 6994526"/>
              <a:gd name="connsiteX179" fmla="*/ 4610407 w 5932286"/>
              <a:gd name="connsiteY179" fmla="*/ 699133 h 6994526"/>
              <a:gd name="connsiteX180" fmla="*/ 4681731 w 5932286"/>
              <a:gd name="connsiteY180" fmla="*/ 624831 h 6994526"/>
              <a:gd name="connsiteX181" fmla="*/ 4756034 w 5932286"/>
              <a:gd name="connsiteY181" fmla="*/ 699133 h 6994526"/>
              <a:gd name="connsiteX182" fmla="*/ 4684710 w 5932286"/>
              <a:gd name="connsiteY182" fmla="*/ 773436 h 6994526"/>
              <a:gd name="connsiteX183" fmla="*/ 1587412 w 5932286"/>
              <a:gd name="connsiteY183" fmla="*/ 816055 h 6994526"/>
              <a:gd name="connsiteX184" fmla="*/ 1452471 w 5932286"/>
              <a:gd name="connsiteY184" fmla="*/ 681815 h 6994526"/>
              <a:gd name="connsiteX185" fmla="*/ 1586704 w 5932286"/>
              <a:gd name="connsiteY185" fmla="*/ 546874 h 6994526"/>
              <a:gd name="connsiteX186" fmla="*/ 1721651 w 5932286"/>
              <a:gd name="connsiteY186" fmla="*/ 681107 h 6994526"/>
              <a:gd name="connsiteX187" fmla="*/ 1587412 w 5932286"/>
              <a:gd name="connsiteY187" fmla="*/ 816055 h 6994526"/>
              <a:gd name="connsiteX188" fmla="*/ 5138605 w 5932286"/>
              <a:gd name="connsiteY188" fmla="*/ 827226 h 6994526"/>
              <a:gd name="connsiteX189" fmla="*/ 5065750 w 5932286"/>
              <a:gd name="connsiteY189" fmla="*/ 754372 h 6994526"/>
              <a:gd name="connsiteX190" fmla="*/ 5138605 w 5932286"/>
              <a:gd name="connsiteY190" fmla="*/ 681519 h 6994526"/>
              <a:gd name="connsiteX191" fmla="*/ 5211458 w 5932286"/>
              <a:gd name="connsiteY191" fmla="*/ 754372 h 6994526"/>
              <a:gd name="connsiteX192" fmla="*/ 5138605 w 5932286"/>
              <a:gd name="connsiteY192" fmla="*/ 827226 h 6994526"/>
              <a:gd name="connsiteX193" fmla="*/ 662786 w 5932286"/>
              <a:gd name="connsiteY193" fmla="*/ 836781 h 6994526"/>
              <a:gd name="connsiteX194" fmla="*/ 541269 w 5932286"/>
              <a:gd name="connsiteY194" fmla="*/ 716679 h 6994526"/>
              <a:gd name="connsiteX195" fmla="*/ 662079 w 5932286"/>
              <a:gd name="connsiteY195" fmla="*/ 595867 h 6994526"/>
              <a:gd name="connsiteX196" fmla="*/ 782887 w 5932286"/>
              <a:gd name="connsiteY196" fmla="*/ 715971 h 6994526"/>
              <a:gd name="connsiteX197" fmla="*/ 662786 w 5932286"/>
              <a:gd name="connsiteY197" fmla="*/ 836781 h 6994526"/>
              <a:gd name="connsiteX198" fmla="*/ 2944494 w 5932286"/>
              <a:gd name="connsiteY198" fmla="*/ 924405 h 6994526"/>
              <a:gd name="connsiteX199" fmla="*/ 2840638 w 5932286"/>
              <a:gd name="connsiteY199" fmla="*/ 821256 h 6994526"/>
              <a:gd name="connsiteX200" fmla="*/ 2943786 w 5932286"/>
              <a:gd name="connsiteY200" fmla="*/ 717399 h 6994526"/>
              <a:gd name="connsiteX201" fmla="*/ 3047643 w 5932286"/>
              <a:gd name="connsiteY201" fmla="*/ 820548 h 6994526"/>
              <a:gd name="connsiteX202" fmla="*/ 2944494 w 5932286"/>
              <a:gd name="connsiteY202" fmla="*/ 924405 h 6994526"/>
              <a:gd name="connsiteX203" fmla="*/ 3446189 w 5932286"/>
              <a:gd name="connsiteY203" fmla="*/ 927119 h 6994526"/>
              <a:gd name="connsiteX204" fmla="*/ 3360705 w 5932286"/>
              <a:gd name="connsiteY204" fmla="*/ 843050 h 6994526"/>
              <a:gd name="connsiteX205" fmla="*/ 3445482 w 5932286"/>
              <a:gd name="connsiteY205" fmla="*/ 758265 h 6994526"/>
              <a:gd name="connsiteX206" fmla="*/ 3530257 w 5932286"/>
              <a:gd name="connsiteY206" fmla="*/ 842341 h 6994526"/>
              <a:gd name="connsiteX207" fmla="*/ 3446189 w 5932286"/>
              <a:gd name="connsiteY207" fmla="*/ 927119 h 6994526"/>
              <a:gd name="connsiteX208" fmla="*/ 978459 w 5932286"/>
              <a:gd name="connsiteY208" fmla="*/ 935126 h 6994526"/>
              <a:gd name="connsiteX209" fmla="*/ 850583 w 5932286"/>
              <a:gd name="connsiteY209" fmla="*/ 808664 h 6994526"/>
              <a:gd name="connsiteX210" fmla="*/ 977752 w 5932286"/>
              <a:gd name="connsiteY210" fmla="*/ 681495 h 6994526"/>
              <a:gd name="connsiteX211" fmla="*/ 1104921 w 5932286"/>
              <a:gd name="connsiteY211" fmla="*/ 807956 h 6994526"/>
              <a:gd name="connsiteX212" fmla="*/ 978459 w 5932286"/>
              <a:gd name="connsiteY212" fmla="*/ 935126 h 6994526"/>
              <a:gd name="connsiteX213" fmla="*/ 2419665 w 5932286"/>
              <a:gd name="connsiteY213" fmla="*/ 949128 h 6994526"/>
              <a:gd name="connsiteX214" fmla="*/ 2291085 w 5932286"/>
              <a:gd name="connsiteY214" fmla="*/ 821248 h 6994526"/>
              <a:gd name="connsiteX215" fmla="*/ 2418963 w 5932286"/>
              <a:gd name="connsiteY215" fmla="*/ 692669 h 6994526"/>
              <a:gd name="connsiteX216" fmla="*/ 2547543 w 5932286"/>
              <a:gd name="connsiteY216" fmla="*/ 820547 h 6994526"/>
              <a:gd name="connsiteX217" fmla="*/ 2419665 w 5932286"/>
              <a:gd name="connsiteY217" fmla="*/ 949128 h 6994526"/>
              <a:gd name="connsiteX218" fmla="*/ 3927697 w 5932286"/>
              <a:gd name="connsiteY218" fmla="*/ 952547 h 6994526"/>
              <a:gd name="connsiteX219" fmla="*/ 3854883 w 5932286"/>
              <a:gd name="connsiteY219" fmla="*/ 879723 h 6994526"/>
              <a:gd name="connsiteX220" fmla="*/ 3927697 w 5932286"/>
              <a:gd name="connsiteY220" fmla="*/ 806910 h 6994526"/>
              <a:gd name="connsiteX221" fmla="*/ 4000510 w 5932286"/>
              <a:gd name="connsiteY221" fmla="*/ 879723 h 6994526"/>
              <a:gd name="connsiteX222" fmla="*/ 3927697 w 5932286"/>
              <a:gd name="connsiteY222" fmla="*/ 952547 h 6994526"/>
              <a:gd name="connsiteX223" fmla="*/ 1867364 w 5932286"/>
              <a:gd name="connsiteY223" fmla="*/ 989230 h 6994526"/>
              <a:gd name="connsiteX224" fmla="*/ 1731009 w 5932286"/>
              <a:gd name="connsiteY224" fmla="*/ 854291 h 6994526"/>
              <a:gd name="connsiteX225" fmla="*/ 1865947 w 5932286"/>
              <a:gd name="connsiteY225" fmla="*/ 717936 h 6994526"/>
              <a:gd name="connsiteX226" fmla="*/ 2002302 w 5932286"/>
              <a:gd name="connsiteY226" fmla="*/ 852874 h 6994526"/>
              <a:gd name="connsiteX227" fmla="*/ 1867364 w 5932286"/>
              <a:gd name="connsiteY227" fmla="*/ 989230 h 6994526"/>
              <a:gd name="connsiteX228" fmla="*/ 4394163 w 5932286"/>
              <a:gd name="connsiteY228" fmla="*/ 1001208 h 6994526"/>
              <a:gd name="connsiteX229" fmla="*/ 4320878 w 5932286"/>
              <a:gd name="connsiteY229" fmla="*/ 928856 h 6994526"/>
              <a:gd name="connsiteX230" fmla="*/ 4393231 w 5932286"/>
              <a:gd name="connsiteY230" fmla="*/ 855571 h 6994526"/>
              <a:gd name="connsiteX231" fmla="*/ 4466515 w 5932286"/>
              <a:gd name="connsiteY231" fmla="*/ 927923 h 6994526"/>
              <a:gd name="connsiteX232" fmla="*/ 4394163 w 5932286"/>
              <a:gd name="connsiteY232" fmla="*/ 1001208 h 6994526"/>
              <a:gd name="connsiteX233" fmla="*/ 1280941 w 5932286"/>
              <a:gd name="connsiteY233" fmla="*/ 1032300 h 6994526"/>
              <a:gd name="connsiteX234" fmla="*/ 1183446 w 5932286"/>
              <a:gd name="connsiteY234" fmla="*/ 935512 h 6994526"/>
              <a:gd name="connsiteX235" fmla="*/ 1280234 w 5932286"/>
              <a:gd name="connsiteY235" fmla="*/ 838017 h 6994526"/>
              <a:gd name="connsiteX236" fmla="*/ 1377729 w 5932286"/>
              <a:gd name="connsiteY236" fmla="*/ 934804 h 6994526"/>
              <a:gd name="connsiteX237" fmla="*/ 1280941 w 5932286"/>
              <a:gd name="connsiteY237" fmla="*/ 1032300 h 6994526"/>
              <a:gd name="connsiteX238" fmla="*/ 4847738 w 5932286"/>
              <a:gd name="connsiteY238" fmla="*/ 1057375 h 6994526"/>
              <a:gd name="connsiteX239" fmla="*/ 4774020 w 5932286"/>
              <a:gd name="connsiteY239" fmla="*/ 985445 h 6994526"/>
              <a:gd name="connsiteX240" fmla="*/ 4845954 w 5932286"/>
              <a:gd name="connsiteY240" fmla="*/ 911731 h 6994526"/>
              <a:gd name="connsiteX241" fmla="*/ 4919671 w 5932286"/>
              <a:gd name="connsiteY241" fmla="*/ 983661 h 6994526"/>
              <a:gd name="connsiteX242" fmla="*/ 4847738 w 5932286"/>
              <a:gd name="connsiteY242" fmla="*/ 1057375 h 6994526"/>
              <a:gd name="connsiteX243" fmla="*/ 9443 w 5932286"/>
              <a:gd name="connsiteY243" fmla="*/ 1079396 h 6994526"/>
              <a:gd name="connsiteX244" fmla="*/ 0 w 5932286"/>
              <a:gd name="connsiteY244" fmla="*/ 1077491 h 6994526"/>
              <a:gd name="connsiteX245" fmla="*/ 0 w 5932286"/>
              <a:gd name="connsiteY245" fmla="*/ 935674 h 6994526"/>
              <a:gd name="connsiteX246" fmla="*/ 9443 w 5932286"/>
              <a:gd name="connsiteY246" fmla="*/ 933761 h 6994526"/>
              <a:gd name="connsiteX247" fmla="*/ 82257 w 5932286"/>
              <a:gd name="connsiteY247" fmla="*/ 1006578 h 6994526"/>
              <a:gd name="connsiteX248" fmla="*/ 9443 w 5932286"/>
              <a:gd name="connsiteY248" fmla="*/ 1079396 h 6994526"/>
              <a:gd name="connsiteX249" fmla="*/ 336731 w 5932286"/>
              <a:gd name="connsiteY249" fmla="*/ 1102280 h 6994526"/>
              <a:gd name="connsiteX250" fmla="*/ 263916 w 5932286"/>
              <a:gd name="connsiteY250" fmla="*/ 1029467 h 6994526"/>
              <a:gd name="connsiteX251" fmla="*/ 336731 w 5932286"/>
              <a:gd name="connsiteY251" fmla="*/ 955887 h 6994526"/>
              <a:gd name="connsiteX252" fmla="*/ 409551 w 5932286"/>
              <a:gd name="connsiteY252" fmla="*/ 1028699 h 6994526"/>
              <a:gd name="connsiteX253" fmla="*/ 336731 w 5932286"/>
              <a:gd name="connsiteY253" fmla="*/ 1102280 h 6994526"/>
              <a:gd name="connsiteX254" fmla="*/ 5288877 w 5932286"/>
              <a:gd name="connsiteY254" fmla="*/ 1119568 h 6994526"/>
              <a:gd name="connsiteX255" fmla="*/ 5216059 w 5932286"/>
              <a:gd name="connsiteY255" fmla="*/ 1046754 h 6994526"/>
              <a:gd name="connsiteX256" fmla="*/ 5288877 w 5932286"/>
              <a:gd name="connsiteY256" fmla="*/ 973941 h 6994526"/>
              <a:gd name="connsiteX257" fmla="*/ 5361696 w 5932286"/>
              <a:gd name="connsiteY257" fmla="*/ 1046754 h 6994526"/>
              <a:gd name="connsiteX258" fmla="*/ 5288877 w 5932286"/>
              <a:gd name="connsiteY258" fmla="*/ 1119568 h 6994526"/>
              <a:gd name="connsiteX259" fmla="*/ 659772 w 5932286"/>
              <a:gd name="connsiteY259" fmla="*/ 1175301 h 6994526"/>
              <a:gd name="connsiteX260" fmla="*/ 577109 w 5932286"/>
              <a:gd name="connsiteY260" fmla="*/ 1093346 h 6994526"/>
              <a:gd name="connsiteX261" fmla="*/ 659063 w 5932286"/>
              <a:gd name="connsiteY261" fmla="*/ 1010685 h 6994526"/>
              <a:gd name="connsiteX262" fmla="*/ 741725 w 5932286"/>
              <a:gd name="connsiteY262" fmla="*/ 1092638 h 6994526"/>
              <a:gd name="connsiteX263" fmla="*/ 659772 w 5932286"/>
              <a:gd name="connsiteY263" fmla="*/ 1175301 h 6994526"/>
              <a:gd name="connsiteX264" fmla="*/ 2656418 w 5932286"/>
              <a:gd name="connsiteY264" fmla="*/ 1183530 h 6994526"/>
              <a:gd name="connsiteX265" fmla="*/ 2521477 w 5932286"/>
              <a:gd name="connsiteY265" fmla="*/ 1049290 h 6994526"/>
              <a:gd name="connsiteX266" fmla="*/ 2655717 w 5932286"/>
              <a:gd name="connsiteY266" fmla="*/ 914349 h 6994526"/>
              <a:gd name="connsiteX267" fmla="*/ 2790658 w 5932286"/>
              <a:gd name="connsiteY267" fmla="*/ 1048582 h 6994526"/>
              <a:gd name="connsiteX268" fmla="*/ 2656418 w 5932286"/>
              <a:gd name="connsiteY268" fmla="*/ 1183530 h 6994526"/>
              <a:gd name="connsiteX269" fmla="*/ 3158974 w 5932286"/>
              <a:gd name="connsiteY269" fmla="*/ 1188099 h 6994526"/>
              <a:gd name="connsiteX270" fmla="*/ 3040280 w 5932286"/>
              <a:gd name="connsiteY270" fmla="*/ 1070113 h 6994526"/>
              <a:gd name="connsiteX271" fmla="*/ 3158266 w 5932286"/>
              <a:gd name="connsiteY271" fmla="*/ 951420 h 6994526"/>
              <a:gd name="connsiteX272" fmla="*/ 3276960 w 5932286"/>
              <a:gd name="connsiteY272" fmla="*/ 1069406 h 6994526"/>
              <a:gd name="connsiteX273" fmla="*/ 3158974 w 5932286"/>
              <a:gd name="connsiteY273" fmla="*/ 1188099 h 6994526"/>
              <a:gd name="connsiteX274" fmla="*/ 3640216 w 5932286"/>
              <a:gd name="connsiteY274" fmla="*/ 1192069 h 6994526"/>
              <a:gd name="connsiteX275" fmla="*/ 3555440 w 5932286"/>
              <a:gd name="connsiteY275" fmla="*/ 1107294 h 6994526"/>
              <a:gd name="connsiteX276" fmla="*/ 3639515 w 5932286"/>
              <a:gd name="connsiteY276" fmla="*/ 1022510 h 6994526"/>
              <a:gd name="connsiteX277" fmla="*/ 3724293 w 5932286"/>
              <a:gd name="connsiteY277" fmla="*/ 1106586 h 6994526"/>
              <a:gd name="connsiteX278" fmla="*/ 3640216 w 5932286"/>
              <a:gd name="connsiteY278" fmla="*/ 1192069 h 6994526"/>
              <a:gd name="connsiteX279" fmla="*/ 2128210 w 5932286"/>
              <a:gd name="connsiteY279" fmla="*/ 1195056 h 6994526"/>
              <a:gd name="connsiteX280" fmla="*/ 1986201 w 5932286"/>
              <a:gd name="connsiteY280" fmla="*/ 1053747 h 6994526"/>
              <a:gd name="connsiteX281" fmla="*/ 2126793 w 5932286"/>
              <a:gd name="connsiteY281" fmla="*/ 911037 h 6994526"/>
              <a:gd name="connsiteX282" fmla="*/ 2269508 w 5932286"/>
              <a:gd name="connsiteY282" fmla="*/ 1052338 h 6994526"/>
              <a:gd name="connsiteX283" fmla="*/ 2128210 w 5932286"/>
              <a:gd name="connsiteY283" fmla="*/ 1195056 h 6994526"/>
              <a:gd name="connsiteX284" fmla="*/ 1568151 w 5932286"/>
              <a:gd name="connsiteY284" fmla="*/ 1214683 h 6994526"/>
              <a:gd name="connsiteX285" fmla="*/ 1448049 w 5932286"/>
              <a:gd name="connsiteY285" fmla="*/ 1095283 h 6994526"/>
              <a:gd name="connsiteX286" fmla="*/ 1566741 w 5932286"/>
              <a:gd name="connsiteY286" fmla="*/ 975182 h 6994526"/>
              <a:gd name="connsiteX287" fmla="*/ 1686843 w 5932286"/>
              <a:gd name="connsiteY287" fmla="*/ 1094582 h 6994526"/>
              <a:gd name="connsiteX288" fmla="*/ 1568151 w 5932286"/>
              <a:gd name="connsiteY288" fmla="*/ 1214683 h 6994526"/>
              <a:gd name="connsiteX289" fmla="*/ 4104539 w 5932286"/>
              <a:gd name="connsiteY289" fmla="*/ 1230206 h 6994526"/>
              <a:gd name="connsiteX290" fmla="*/ 4031358 w 5932286"/>
              <a:gd name="connsiteY290" fmla="*/ 1157752 h 6994526"/>
              <a:gd name="connsiteX291" fmla="*/ 4103812 w 5932286"/>
              <a:gd name="connsiteY291" fmla="*/ 1084572 h 6994526"/>
              <a:gd name="connsiteX292" fmla="*/ 4176993 w 5932286"/>
              <a:gd name="connsiteY292" fmla="*/ 1157025 h 6994526"/>
              <a:gd name="connsiteX293" fmla="*/ 4104539 w 5932286"/>
              <a:gd name="connsiteY293" fmla="*/ 1230206 h 6994526"/>
              <a:gd name="connsiteX294" fmla="*/ 4554422 w 5932286"/>
              <a:gd name="connsiteY294" fmla="*/ 1288307 h 6994526"/>
              <a:gd name="connsiteX295" fmla="*/ 4481138 w 5932286"/>
              <a:gd name="connsiteY295" fmla="*/ 1215955 h 6994526"/>
              <a:gd name="connsiteX296" fmla="*/ 4553490 w 5932286"/>
              <a:gd name="connsiteY296" fmla="*/ 1142671 h 6994526"/>
              <a:gd name="connsiteX297" fmla="*/ 4626774 w 5932286"/>
              <a:gd name="connsiteY297" fmla="*/ 1215023 h 6994526"/>
              <a:gd name="connsiteX298" fmla="*/ 4554422 w 5932286"/>
              <a:gd name="connsiteY298" fmla="*/ 1288307 h 6994526"/>
              <a:gd name="connsiteX299" fmla="*/ 971081 w 5932286"/>
              <a:gd name="connsiteY299" fmla="*/ 1294714 h 6994526"/>
              <a:gd name="connsiteX300" fmla="*/ 873585 w 5932286"/>
              <a:gd name="connsiteY300" fmla="*/ 1197926 h 6994526"/>
              <a:gd name="connsiteX301" fmla="*/ 970373 w 5932286"/>
              <a:gd name="connsiteY301" fmla="*/ 1100431 h 6994526"/>
              <a:gd name="connsiteX302" fmla="*/ 1067869 w 5932286"/>
              <a:gd name="connsiteY302" fmla="*/ 1197219 h 6994526"/>
              <a:gd name="connsiteX303" fmla="*/ 971081 w 5932286"/>
              <a:gd name="connsiteY303" fmla="*/ 1294714 h 6994526"/>
              <a:gd name="connsiteX304" fmla="*/ 4992844 w 5932286"/>
              <a:gd name="connsiteY304" fmla="*/ 1351992 h 6994526"/>
              <a:gd name="connsiteX305" fmla="*/ 4920018 w 5932286"/>
              <a:gd name="connsiteY305" fmla="*/ 1279165 h 6994526"/>
              <a:gd name="connsiteX306" fmla="*/ 4992844 w 5932286"/>
              <a:gd name="connsiteY306" fmla="*/ 1206341 h 6994526"/>
              <a:gd name="connsiteX307" fmla="*/ 5065670 w 5932286"/>
              <a:gd name="connsiteY307" fmla="*/ 1279165 h 6994526"/>
              <a:gd name="connsiteX308" fmla="*/ 4992844 w 5932286"/>
              <a:gd name="connsiteY308" fmla="*/ 1351992 h 6994526"/>
              <a:gd name="connsiteX309" fmla="*/ 1835303 w 5932286"/>
              <a:gd name="connsiteY309" fmla="*/ 1393201 h 6994526"/>
              <a:gd name="connsiteX310" fmla="*/ 1727913 w 5932286"/>
              <a:gd name="connsiteY310" fmla="*/ 1286526 h 6994526"/>
              <a:gd name="connsiteX311" fmla="*/ 1834595 w 5932286"/>
              <a:gd name="connsiteY311" fmla="*/ 1179136 h 6994526"/>
              <a:gd name="connsiteX312" fmla="*/ 1941978 w 5932286"/>
              <a:gd name="connsiteY312" fmla="*/ 1285818 h 6994526"/>
              <a:gd name="connsiteX313" fmla="*/ 1835303 w 5932286"/>
              <a:gd name="connsiteY313" fmla="*/ 1393201 h 6994526"/>
              <a:gd name="connsiteX314" fmla="*/ 1265820 w 5932286"/>
              <a:gd name="connsiteY314" fmla="*/ 1413937 h 6994526"/>
              <a:gd name="connsiteX315" fmla="*/ 1193001 w 5932286"/>
              <a:gd name="connsiteY315" fmla="*/ 1341129 h 6994526"/>
              <a:gd name="connsiteX316" fmla="*/ 1265820 w 5932286"/>
              <a:gd name="connsiteY316" fmla="*/ 1268309 h 6994526"/>
              <a:gd name="connsiteX317" fmla="*/ 1338628 w 5932286"/>
              <a:gd name="connsiteY317" fmla="*/ 1341129 h 6994526"/>
              <a:gd name="connsiteX318" fmla="*/ 1265820 w 5932286"/>
              <a:gd name="connsiteY318" fmla="*/ 1413937 h 6994526"/>
              <a:gd name="connsiteX319" fmla="*/ 2367864 w 5932286"/>
              <a:gd name="connsiteY319" fmla="*/ 1414754 h 6994526"/>
              <a:gd name="connsiteX320" fmla="*/ 2230803 w 5932286"/>
              <a:gd name="connsiteY320" fmla="*/ 1278400 h 6994526"/>
              <a:gd name="connsiteX321" fmla="*/ 2366449 w 5932286"/>
              <a:gd name="connsiteY321" fmla="*/ 1140637 h 6994526"/>
              <a:gd name="connsiteX322" fmla="*/ 2504211 w 5932286"/>
              <a:gd name="connsiteY322" fmla="*/ 1276991 h 6994526"/>
              <a:gd name="connsiteX323" fmla="*/ 2367864 w 5932286"/>
              <a:gd name="connsiteY323" fmla="*/ 1414754 h 6994526"/>
              <a:gd name="connsiteX324" fmla="*/ 5421837 w 5932286"/>
              <a:gd name="connsiteY324" fmla="*/ 1420312 h 6994526"/>
              <a:gd name="connsiteX325" fmla="*/ 5348982 w 5932286"/>
              <a:gd name="connsiteY325" fmla="*/ 1347459 h 6994526"/>
              <a:gd name="connsiteX326" fmla="*/ 5421837 w 5932286"/>
              <a:gd name="connsiteY326" fmla="*/ 1274605 h 6994526"/>
              <a:gd name="connsiteX327" fmla="*/ 5494691 w 5932286"/>
              <a:gd name="connsiteY327" fmla="*/ 1347459 h 6994526"/>
              <a:gd name="connsiteX328" fmla="*/ 5421837 w 5932286"/>
              <a:gd name="connsiteY328" fmla="*/ 1420312 h 6994526"/>
              <a:gd name="connsiteX329" fmla="*/ 2871869 w 5932286"/>
              <a:gd name="connsiteY329" fmla="*/ 1434948 h 6994526"/>
              <a:gd name="connsiteX330" fmla="*/ 2733395 w 5932286"/>
              <a:gd name="connsiteY330" fmla="*/ 1297177 h 6994526"/>
              <a:gd name="connsiteX331" fmla="*/ 2871162 w 5932286"/>
              <a:gd name="connsiteY331" fmla="*/ 1158700 h 6994526"/>
              <a:gd name="connsiteX332" fmla="*/ 3009636 w 5932286"/>
              <a:gd name="connsiteY332" fmla="*/ 1296469 h 6994526"/>
              <a:gd name="connsiteX333" fmla="*/ 2871869 w 5932286"/>
              <a:gd name="connsiteY333" fmla="*/ 1434948 h 6994526"/>
              <a:gd name="connsiteX334" fmla="*/ 8117 w 5932286"/>
              <a:gd name="connsiteY334" fmla="*/ 1447460 h 6994526"/>
              <a:gd name="connsiteX335" fmla="*/ 0 w 5932286"/>
              <a:gd name="connsiteY335" fmla="*/ 1445854 h 6994526"/>
              <a:gd name="connsiteX336" fmla="*/ 0 w 5932286"/>
              <a:gd name="connsiteY336" fmla="*/ 1299902 h 6994526"/>
              <a:gd name="connsiteX337" fmla="*/ 8117 w 5932286"/>
              <a:gd name="connsiteY337" fmla="*/ 1298248 h 6994526"/>
              <a:gd name="connsiteX338" fmla="*/ 80819 w 5932286"/>
              <a:gd name="connsiteY338" fmla="*/ 1370917 h 6994526"/>
              <a:gd name="connsiteX339" fmla="*/ 8117 w 5932286"/>
              <a:gd name="connsiteY339" fmla="*/ 1447460 h 6994526"/>
              <a:gd name="connsiteX340" fmla="*/ 3352149 w 5932286"/>
              <a:gd name="connsiteY340" fmla="*/ 1453897 h 6994526"/>
              <a:gd name="connsiteX341" fmla="*/ 3233456 w 5932286"/>
              <a:gd name="connsiteY341" fmla="*/ 1335911 h 6994526"/>
              <a:gd name="connsiteX342" fmla="*/ 3351442 w 5932286"/>
              <a:gd name="connsiteY342" fmla="*/ 1217218 h 6994526"/>
              <a:gd name="connsiteX343" fmla="*/ 3470135 w 5932286"/>
              <a:gd name="connsiteY343" fmla="*/ 1335204 h 6994526"/>
              <a:gd name="connsiteX344" fmla="*/ 3352149 w 5932286"/>
              <a:gd name="connsiteY344" fmla="*/ 1453897 h 6994526"/>
              <a:gd name="connsiteX345" fmla="*/ 335259 w 5932286"/>
              <a:gd name="connsiteY345" fmla="*/ 1471582 h 6994526"/>
              <a:gd name="connsiteX346" fmla="*/ 262435 w 5932286"/>
              <a:gd name="connsiteY346" fmla="*/ 1398737 h 6994526"/>
              <a:gd name="connsiteX347" fmla="*/ 335259 w 5932286"/>
              <a:gd name="connsiteY347" fmla="*/ 1325924 h 6994526"/>
              <a:gd name="connsiteX348" fmla="*/ 408115 w 5932286"/>
              <a:gd name="connsiteY348" fmla="*/ 1398737 h 6994526"/>
              <a:gd name="connsiteX349" fmla="*/ 335259 w 5932286"/>
              <a:gd name="connsiteY349" fmla="*/ 1471582 h 6994526"/>
              <a:gd name="connsiteX350" fmla="*/ 3814037 w 5932286"/>
              <a:gd name="connsiteY350" fmla="*/ 1489898 h 6994526"/>
              <a:gd name="connsiteX351" fmla="*/ 3710179 w 5932286"/>
              <a:gd name="connsiteY351" fmla="*/ 1386749 h 6994526"/>
              <a:gd name="connsiteX352" fmla="*/ 3813328 w 5932286"/>
              <a:gd name="connsiteY352" fmla="*/ 1282893 h 6994526"/>
              <a:gd name="connsiteX353" fmla="*/ 3917186 w 5932286"/>
              <a:gd name="connsiteY353" fmla="*/ 1386042 h 6994526"/>
              <a:gd name="connsiteX354" fmla="*/ 3814037 w 5932286"/>
              <a:gd name="connsiteY354" fmla="*/ 1489898 h 6994526"/>
              <a:gd name="connsiteX355" fmla="*/ 4260907 w 5932286"/>
              <a:gd name="connsiteY355" fmla="*/ 1522369 h 6994526"/>
              <a:gd name="connsiteX356" fmla="*/ 4184606 w 5932286"/>
              <a:gd name="connsiteY356" fmla="*/ 1446776 h 6994526"/>
              <a:gd name="connsiteX357" fmla="*/ 4260199 w 5932286"/>
              <a:gd name="connsiteY357" fmla="*/ 1370476 h 6994526"/>
              <a:gd name="connsiteX358" fmla="*/ 4336507 w 5932286"/>
              <a:gd name="connsiteY358" fmla="*/ 1446068 h 6994526"/>
              <a:gd name="connsiteX359" fmla="*/ 4260907 w 5932286"/>
              <a:gd name="connsiteY359" fmla="*/ 1522369 h 6994526"/>
              <a:gd name="connsiteX360" fmla="*/ 655315 w 5932286"/>
              <a:gd name="connsiteY360" fmla="*/ 1545624 h 6994526"/>
              <a:gd name="connsiteX361" fmla="*/ 582491 w 5932286"/>
              <a:gd name="connsiteY361" fmla="*/ 1472820 h 6994526"/>
              <a:gd name="connsiteX362" fmla="*/ 655315 w 5932286"/>
              <a:gd name="connsiteY362" fmla="*/ 1399997 h 6994526"/>
              <a:gd name="connsiteX363" fmla="*/ 728119 w 5932286"/>
              <a:gd name="connsiteY363" fmla="*/ 1472820 h 6994526"/>
              <a:gd name="connsiteX364" fmla="*/ 655315 w 5932286"/>
              <a:gd name="connsiteY364" fmla="*/ 1545624 h 6994526"/>
              <a:gd name="connsiteX365" fmla="*/ 4696346 w 5932286"/>
              <a:gd name="connsiteY365" fmla="*/ 1584587 h 6994526"/>
              <a:gd name="connsiteX366" fmla="*/ 4623014 w 5932286"/>
              <a:gd name="connsiteY366" fmla="*/ 1512316 h 6994526"/>
              <a:gd name="connsiteX367" fmla="*/ 4695280 w 5932286"/>
              <a:gd name="connsiteY367" fmla="*/ 1438981 h 6994526"/>
              <a:gd name="connsiteX368" fmla="*/ 4768600 w 5932286"/>
              <a:gd name="connsiteY368" fmla="*/ 1511250 h 6994526"/>
              <a:gd name="connsiteX369" fmla="*/ 4696346 w 5932286"/>
              <a:gd name="connsiteY369" fmla="*/ 1584587 h 6994526"/>
              <a:gd name="connsiteX370" fmla="*/ 1540823 w 5932286"/>
              <a:gd name="connsiteY370" fmla="*/ 1594697 h 6994526"/>
              <a:gd name="connsiteX371" fmla="*/ 1467349 w 5932286"/>
              <a:gd name="connsiteY371" fmla="*/ 1521221 h 6994526"/>
              <a:gd name="connsiteX372" fmla="*/ 1540823 w 5932286"/>
              <a:gd name="connsiteY372" fmla="*/ 1447746 h 6994526"/>
              <a:gd name="connsiteX373" fmla="*/ 1614299 w 5932286"/>
              <a:gd name="connsiteY373" fmla="*/ 1521221 h 6994526"/>
              <a:gd name="connsiteX374" fmla="*/ 1540823 w 5932286"/>
              <a:gd name="connsiteY374" fmla="*/ 1594697 h 6994526"/>
              <a:gd name="connsiteX375" fmla="*/ 2079311 w 5932286"/>
              <a:gd name="connsiteY375" fmla="*/ 1643271 h 6994526"/>
              <a:gd name="connsiteX376" fmla="*/ 1942251 w 5932286"/>
              <a:gd name="connsiteY376" fmla="*/ 1506917 h 6994526"/>
              <a:gd name="connsiteX377" fmla="*/ 2078603 w 5932286"/>
              <a:gd name="connsiteY377" fmla="*/ 1369154 h 6994526"/>
              <a:gd name="connsiteX378" fmla="*/ 2215657 w 5932286"/>
              <a:gd name="connsiteY378" fmla="*/ 1505508 h 6994526"/>
              <a:gd name="connsiteX379" fmla="*/ 2079311 w 5932286"/>
              <a:gd name="connsiteY379" fmla="*/ 1643271 h 6994526"/>
              <a:gd name="connsiteX380" fmla="*/ 5120664 w 5932286"/>
              <a:gd name="connsiteY380" fmla="*/ 1654586 h 6994526"/>
              <a:gd name="connsiteX381" fmla="*/ 5047838 w 5932286"/>
              <a:gd name="connsiteY381" fmla="*/ 1581760 h 6994526"/>
              <a:gd name="connsiteX382" fmla="*/ 5120664 w 5932286"/>
              <a:gd name="connsiteY382" fmla="*/ 1508935 h 6994526"/>
              <a:gd name="connsiteX383" fmla="*/ 5193490 w 5932286"/>
              <a:gd name="connsiteY383" fmla="*/ 1581760 h 6994526"/>
              <a:gd name="connsiteX384" fmla="*/ 5120664 w 5932286"/>
              <a:gd name="connsiteY384" fmla="*/ 1654586 h 6994526"/>
              <a:gd name="connsiteX385" fmla="*/ 960329 w 5932286"/>
              <a:gd name="connsiteY385" fmla="*/ 1666663 h 6994526"/>
              <a:gd name="connsiteX386" fmla="*/ 887505 w 5932286"/>
              <a:gd name="connsiteY386" fmla="*/ 1593859 h 6994526"/>
              <a:gd name="connsiteX387" fmla="*/ 960329 w 5932286"/>
              <a:gd name="connsiteY387" fmla="*/ 1521036 h 6994526"/>
              <a:gd name="connsiteX388" fmla="*/ 1033133 w 5932286"/>
              <a:gd name="connsiteY388" fmla="*/ 1593859 h 6994526"/>
              <a:gd name="connsiteX389" fmla="*/ 960329 w 5932286"/>
              <a:gd name="connsiteY389" fmla="*/ 1666663 h 6994526"/>
              <a:gd name="connsiteX390" fmla="*/ 2584880 w 5932286"/>
              <a:gd name="connsiteY390" fmla="*/ 1671567 h 6994526"/>
              <a:gd name="connsiteX391" fmla="*/ 2437223 w 5932286"/>
              <a:gd name="connsiteY391" fmla="*/ 1525326 h 6994526"/>
              <a:gd name="connsiteX392" fmla="*/ 2583464 w 5932286"/>
              <a:gd name="connsiteY392" fmla="*/ 1377669 h 6994526"/>
              <a:gd name="connsiteX393" fmla="*/ 2731121 w 5932286"/>
              <a:gd name="connsiteY393" fmla="*/ 1523910 h 6994526"/>
              <a:gd name="connsiteX394" fmla="*/ 2584880 w 5932286"/>
              <a:gd name="connsiteY394" fmla="*/ 1671567 h 6994526"/>
              <a:gd name="connsiteX395" fmla="*/ 3064079 w 5932286"/>
              <a:gd name="connsiteY395" fmla="*/ 1701710 h 6994526"/>
              <a:gd name="connsiteX396" fmla="*/ 2925604 w 5932286"/>
              <a:gd name="connsiteY396" fmla="*/ 1563939 h 6994526"/>
              <a:gd name="connsiteX397" fmla="*/ 3063371 w 5932286"/>
              <a:gd name="connsiteY397" fmla="*/ 1425462 h 6994526"/>
              <a:gd name="connsiteX398" fmla="*/ 3201845 w 5932286"/>
              <a:gd name="connsiteY398" fmla="*/ 1563231 h 6994526"/>
              <a:gd name="connsiteX399" fmla="*/ 3064079 w 5932286"/>
              <a:gd name="connsiteY399" fmla="*/ 1701710 h 6994526"/>
              <a:gd name="connsiteX400" fmla="*/ 5539857 w 5932286"/>
              <a:gd name="connsiteY400" fmla="*/ 1729754 h 6994526"/>
              <a:gd name="connsiteX401" fmla="*/ 5464933 w 5932286"/>
              <a:gd name="connsiteY401" fmla="*/ 1654875 h 6994526"/>
              <a:gd name="connsiteX402" fmla="*/ 5535684 w 5932286"/>
              <a:gd name="connsiteY402" fmla="*/ 1579955 h 6994526"/>
              <a:gd name="connsiteX403" fmla="*/ 5610608 w 5932286"/>
              <a:gd name="connsiteY403" fmla="*/ 1654875 h 6994526"/>
              <a:gd name="connsiteX404" fmla="*/ 5539857 w 5932286"/>
              <a:gd name="connsiteY404" fmla="*/ 1729754 h 6994526"/>
              <a:gd name="connsiteX405" fmla="*/ 3523059 w 5932286"/>
              <a:gd name="connsiteY405" fmla="*/ 1734708 h 6994526"/>
              <a:gd name="connsiteX406" fmla="*/ 3404365 w 5932286"/>
              <a:gd name="connsiteY406" fmla="*/ 1616723 h 6994526"/>
              <a:gd name="connsiteX407" fmla="*/ 3522351 w 5932286"/>
              <a:gd name="connsiteY407" fmla="*/ 1498029 h 6994526"/>
              <a:gd name="connsiteX408" fmla="*/ 3641044 w 5932286"/>
              <a:gd name="connsiteY408" fmla="*/ 1616015 h 6994526"/>
              <a:gd name="connsiteX409" fmla="*/ 3523059 w 5932286"/>
              <a:gd name="connsiteY409" fmla="*/ 1734708 h 6994526"/>
              <a:gd name="connsiteX410" fmla="*/ 3966544 w 5932286"/>
              <a:gd name="connsiteY410" fmla="*/ 1783475 h 6994526"/>
              <a:gd name="connsiteX411" fmla="*/ 3860568 w 5932286"/>
              <a:gd name="connsiteY411" fmla="*/ 1678208 h 6994526"/>
              <a:gd name="connsiteX412" fmla="*/ 3965836 w 5932286"/>
              <a:gd name="connsiteY412" fmla="*/ 1572234 h 6994526"/>
              <a:gd name="connsiteX413" fmla="*/ 4071812 w 5932286"/>
              <a:gd name="connsiteY413" fmla="*/ 1677500 h 6994526"/>
              <a:gd name="connsiteX414" fmla="*/ 3966544 w 5932286"/>
              <a:gd name="connsiteY414" fmla="*/ 1783475 h 6994526"/>
              <a:gd name="connsiteX415" fmla="*/ 1790168 w 5932286"/>
              <a:gd name="connsiteY415" fmla="*/ 1807567 h 6994526"/>
              <a:gd name="connsiteX416" fmla="*/ 1717359 w 5932286"/>
              <a:gd name="connsiteY416" fmla="*/ 1734758 h 6994526"/>
              <a:gd name="connsiteX417" fmla="*/ 1790168 w 5932286"/>
              <a:gd name="connsiteY417" fmla="*/ 1661948 h 6994526"/>
              <a:gd name="connsiteX418" fmla="*/ 1862977 w 5932286"/>
              <a:gd name="connsiteY418" fmla="*/ 1734758 h 6994526"/>
              <a:gd name="connsiteX419" fmla="*/ 1790168 w 5932286"/>
              <a:gd name="connsiteY419" fmla="*/ 1807567 h 6994526"/>
              <a:gd name="connsiteX420" fmla="*/ 1244039 w 5932286"/>
              <a:gd name="connsiteY420" fmla="*/ 1832140 h 6994526"/>
              <a:gd name="connsiteX421" fmla="*/ 1171225 w 5932286"/>
              <a:gd name="connsiteY421" fmla="*/ 1759306 h 6994526"/>
              <a:gd name="connsiteX422" fmla="*/ 1244039 w 5932286"/>
              <a:gd name="connsiteY422" fmla="*/ 1686472 h 6994526"/>
              <a:gd name="connsiteX423" fmla="*/ 1316853 w 5932286"/>
              <a:gd name="connsiteY423" fmla="*/ 1759306 h 6994526"/>
              <a:gd name="connsiteX424" fmla="*/ 1244039 w 5932286"/>
              <a:gd name="connsiteY424" fmla="*/ 1832140 h 6994526"/>
              <a:gd name="connsiteX425" fmla="*/ 4397441 w 5932286"/>
              <a:gd name="connsiteY425" fmla="*/ 1842290 h 6994526"/>
              <a:gd name="connsiteX426" fmla="*/ 4299945 w 5932286"/>
              <a:gd name="connsiteY426" fmla="*/ 1745502 h 6994526"/>
              <a:gd name="connsiteX427" fmla="*/ 4396733 w 5932286"/>
              <a:gd name="connsiteY427" fmla="*/ 1648007 h 6994526"/>
              <a:gd name="connsiteX428" fmla="*/ 4494229 w 5932286"/>
              <a:gd name="connsiteY428" fmla="*/ 1744794 h 6994526"/>
              <a:gd name="connsiteX429" fmla="*/ 4397441 w 5932286"/>
              <a:gd name="connsiteY429" fmla="*/ 1842290 h 6994526"/>
              <a:gd name="connsiteX430" fmla="*/ 334007 w 5932286"/>
              <a:gd name="connsiteY430" fmla="*/ 1842774 h 6994526"/>
              <a:gd name="connsiteX431" fmla="*/ 260860 w 5932286"/>
              <a:gd name="connsiteY431" fmla="*/ 1769598 h 6994526"/>
              <a:gd name="connsiteX432" fmla="*/ 334007 w 5932286"/>
              <a:gd name="connsiteY432" fmla="*/ 1696785 h 6994526"/>
              <a:gd name="connsiteX433" fmla="*/ 406789 w 5932286"/>
              <a:gd name="connsiteY433" fmla="*/ 1769598 h 6994526"/>
              <a:gd name="connsiteX434" fmla="*/ 334007 w 5932286"/>
              <a:gd name="connsiteY434" fmla="*/ 1842774 h 6994526"/>
              <a:gd name="connsiteX435" fmla="*/ 2297175 w 5932286"/>
              <a:gd name="connsiteY435" fmla="*/ 1862498 h 6994526"/>
              <a:gd name="connsiteX436" fmla="*/ 2186258 w 5932286"/>
              <a:gd name="connsiteY436" fmla="*/ 1752289 h 6994526"/>
              <a:gd name="connsiteX437" fmla="*/ 2296473 w 5932286"/>
              <a:gd name="connsiteY437" fmla="*/ 1641365 h 6994526"/>
              <a:gd name="connsiteX438" fmla="*/ 2407390 w 5932286"/>
              <a:gd name="connsiteY438" fmla="*/ 1751581 h 6994526"/>
              <a:gd name="connsiteX439" fmla="*/ 2297175 w 5932286"/>
              <a:gd name="connsiteY439" fmla="*/ 1862498 h 6994526"/>
              <a:gd name="connsiteX440" fmla="*/ 4818059 w 5932286"/>
              <a:gd name="connsiteY440" fmla="*/ 1890035 h 6994526"/>
              <a:gd name="connsiteX441" fmla="*/ 4744582 w 5932286"/>
              <a:gd name="connsiteY441" fmla="*/ 1816560 h 6994526"/>
              <a:gd name="connsiteX442" fmla="*/ 4818059 w 5932286"/>
              <a:gd name="connsiteY442" fmla="*/ 1743085 h 6994526"/>
              <a:gd name="connsiteX443" fmla="*/ 4891535 w 5932286"/>
              <a:gd name="connsiteY443" fmla="*/ 1816560 h 6994526"/>
              <a:gd name="connsiteX444" fmla="*/ 4818059 w 5932286"/>
              <a:gd name="connsiteY444" fmla="*/ 1890035 h 6994526"/>
              <a:gd name="connsiteX445" fmla="*/ 639303 w 5932286"/>
              <a:gd name="connsiteY445" fmla="*/ 1930770 h 6994526"/>
              <a:gd name="connsiteX446" fmla="*/ 576920 w 5932286"/>
              <a:gd name="connsiteY446" fmla="*/ 1847525 h 6994526"/>
              <a:gd name="connsiteX447" fmla="*/ 639303 w 5932286"/>
              <a:gd name="connsiteY447" fmla="*/ 1785143 h 6994526"/>
              <a:gd name="connsiteX448" fmla="*/ 722547 w 5932286"/>
              <a:gd name="connsiteY448" fmla="*/ 1868388 h 6994526"/>
              <a:gd name="connsiteX449" fmla="*/ 639303 w 5932286"/>
              <a:gd name="connsiteY449" fmla="*/ 1930770 h 6994526"/>
              <a:gd name="connsiteX450" fmla="*/ 2775633 w 5932286"/>
              <a:gd name="connsiteY450" fmla="*/ 1932941 h 6994526"/>
              <a:gd name="connsiteX451" fmla="*/ 2634335 w 5932286"/>
              <a:gd name="connsiteY451" fmla="*/ 1793059 h 6994526"/>
              <a:gd name="connsiteX452" fmla="*/ 2774224 w 5932286"/>
              <a:gd name="connsiteY452" fmla="*/ 1651761 h 6994526"/>
              <a:gd name="connsiteX453" fmla="*/ 2915522 w 5932286"/>
              <a:gd name="connsiteY453" fmla="*/ 1791642 h 6994526"/>
              <a:gd name="connsiteX454" fmla="*/ 2775633 w 5932286"/>
              <a:gd name="connsiteY454" fmla="*/ 1932941 h 6994526"/>
              <a:gd name="connsiteX455" fmla="*/ 5230555 w 5932286"/>
              <a:gd name="connsiteY455" fmla="*/ 1964417 h 6994526"/>
              <a:gd name="connsiteX456" fmla="*/ 5157741 w 5932286"/>
              <a:gd name="connsiteY456" fmla="*/ 1891602 h 6994526"/>
              <a:gd name="connsiteX457" fmla="*/ 5230555 w 5932286"/>
              <a:gd name="connsiteY457" fmla="*/ 1818789 h 6994526"/>
              <a:gd name="connsiteX458" fmla="*/ 5303368 w 5932286"/>
              <a:gd name="connsiteY458" fmla="*/ 1891602 h 6994526"/>
              <a:gd name="connsiteX459" fmla="*/ 5230555 w 5932286"/>
              <a:gd name="connsiteY459" fmla="*/ 1964417 h 6994526"/>
              <a:gd name="connsiteX460" fmla="*/ 3231105 w 5932286"/>
              <a:gd name="connsiteY460" fmla="*/ 1983644 h 6994526"/>
              <a:gd name="connsiteX461" fmla="*/ 3094050 w 5932286"/>
              <a:gd name="connsiteY461" fmla="*/ 1847290 h 6994526"/>
              <a:gd name="connsiteX462" fmla="*/ 3229696 w 5932286"/>
              <a:gd name="connsiteY462" fmla="*/ 1709526 h 6994526"/>
              <a:gd name="connsiteX463" fmla="*/ 3367459 w 5932286"/>
              <a:gd name="connsiteY463" fmla="*/ 1845880 h 6994526"/>
              <a:gd name="connsiteX464" fmla="*/ 3231105 w 5932286"/>
              <a:gd name="connsiteY464" fmla="*/ 1983644 h 6994526"/>
              <a:gd name="connsiteX465" fmla="*/ 3670721 w 5932286"/>
              <a:gd name="connsiteY465" fmla="*/ 2029517 h 6994526"/>
              <a:gd name="connsiteX466" fmla="*/ 3550615 w 5932286"/>
              <a:gd name="connsiteY466" fmla="*/ 1910113 h 6994526"/>
              <a:gd name="connsiteX467" fmla="*/ 3670019 w 5932286"/>
              <a:gd name="connsiteY467" fmla="*/ 1790009 h 6994526"/>
              <a:gd name="connsiteX468" fmla="*/ 3790125 w 5932286"/>
              <a:gd name="connsiteY468" fmla="*/ 1909411 h 6994526"/>
              <a:gd name="connsiteX469" fmla="*/ 3670721 w 5932286"/>
              <a:gd name="connsiteY469" fmla="*/ 2029517 h 6994526"/>
              <a:gd name="connsiteX470" fmla="*/ 1501320 w 5932286"/>
              <a:gd name="connsiteY470" fmla="*/ 2038423 h 6994526"/>
              <a:gd name="connsiteX471" fmla="*/ 1427585 w 5932286"/>
              <a:gd name="connsiteY471" fmla="*/ 1964718 h 6994526"/>
              <a:gd name="connsiteX472" fmla="*/ 1499425 w 5932286"/>
              <a:gd name="connsiteY472" fmla="*/ 1890995 h 6994526"/>
              <a:gd name="connsiteX473" fmla="*/ 1573143 w 5932286"/>
              <a:gd name="connsiteY473" fmla="*/ 1964718 h 6994526"/>
              <a:gd name="connsiteX474" fmla="*/ 1501320 w 5932286"/>
              <a:gd name="connsiteY474" fmla="*/ 2038423 h 6994526"/>
              <a:gd name="connsiteX475" fmla="*/ 5636293 w 5932286"/>
              <a:gd name="connsiteY475" fmla="*/ 2041197 h 6994526"/>
              <a:gd name="connsiteX476" fmla="*/ 5561375 w 5932286"/>
              <a:gd name="connsiteY476" fmla="*/ 1966278 h 6994526"/>
              <a:gd name="connsiteX477" fmla="*/ 5636293 w 5932286"/>
              <a:gd name="connsiteY477" fmla="*/ 1895529 h 6994526"/>
              <a:gd name="connsiteX478" fmla="*/ 5711170 w 5932286"/>
              <a:gd name="connsiteY478" fmla="*/ 1966278 h 6994526"/>
              <a:gd name="connsiteX479" fmla="*/ 5636293 w 5932286"/>
              <a:gd name="connsiteY479" fmla="*/ 2041197 h 6994526"/>
              <a:gd name="connsiteX480" fmla="*/ 2009972 w 5932286"/>
              <a:gd name="connsiteY480" fmla="*/ 2052222 h 6994526"/>
              <a:gd name="connsiteX481" fmla="*/ 1937153 w 5932286"/>
              <a:gd name="connsiteY481" fmla="*/ 1979410 h 6994526"/>
              <a:gd name="connsiteX482" fmla="*/ 2009972 w 5932286"/>
              <a:gd name="connsiteY482" fmla="*/ 1905763 h 6994526"/>
              <a:gd name="connsiteX483" fmla="*/ 2082789 w 5932286"/>
              <a:gd name="connsiteY483" fmla="*/ 1978581 h 6994526"/>
              <a:gd name="connsiteX484" fmla="*/ 2009972 w 5932286"/>
              <a:gd name="connsiteY484" fmla="*/ 2052222 h 6994526"/>
              <a:gd name="connsiteX485" fmla="*/ 4096782 w 5932286"/>
              <a:gd name="connsiteY485" fmla="*/ 2085107 h 6994526"/>
              <a:gd name="connsiteX486" fmla="*/ 3990806 w 5932286"/>
              <a:gd name="connsiteY486" fmla="*/ 1979835 h 6994526"/>
              <a:gd name="connsiteX487" fmla="*/ 4096074 w 5932286"/>
              <a:gd name="connsiteY487" fmla="*/ 1873862 h 6994526"/>
              <a:gd name="connsiteX488" fmla="*/ 4202050 w 5932286"/>
              <a:gd name="connsiteY488" fmla="*/ 1979127 h 6994526"/>
              <a:gd name="connsiteX489" fmla="*/ 4096782 w 5932286"/>
              <a:gd name="connsiteY489" fmla="*/ 2085107 h 6994526"/>
              <a:gd name="connsiteX490" fmla="*/ 2486483 w 5932286"/>
              <a:gd name="connsiteY490" fmla="*/ 2142015 h 6994526"/>
              <a:gd name="connsiteX491" fmla="*/ 2364257 w 5932286"/>
              <a:gd name="connsiteY491" fmla="*/ 2020497 h 6994526"/>
              <a:gd name="connsiteX492" fmla="*/ 2485775 w 5932286"/>
              <a:gd name="connsiteY492" fmla="*/ 1898278 h 6994526"/>
              <a:gd name="connsiteX493" fmla="*/ 2607994 w 5932286"/>
              <a:gd name="connsiteY493" fmla="*/ 2019795 h 6994526"/>
              <a:gd name="connsiteX494" fmla="*/ 2486483 w 5932286"/>
              <a:gd name="connsiteY494" fmla="*/ 2142015 h 6994526"/>
              <a:gd name="connsiteX495" fmla="*/ 4513156 w 5932286"/>
              <a:gd name="connsiteY495" fmla="*/ 2162831 h 6994526"/>
              <a:gd name="connsiteX496" fmla="*/ 4402936 w 5932286"/>
              <a:gd name="connsiteY496" fmla="*/ 2054025 h 6994526"/>
              <a:gd name="connsiteX497" fmla="*/ 4512446 w 5932286"/>
              <a:gd name="connsiteY497" fmla="*/ 1943805 h 6994526"/>
              <a:gd name="connsiteX498" fmla="*/ 4622658 w 5932286"/>
              <a:gd name="connsiteY498" fmla="*/ 2052610 h 6994526"/>
              <a:gd name="connsiteX499" fmla="*/ 4513156 w 5932286"/>
              <a:gd name="connsiteY499" fmla="*/ 2162831 h 6994526"/>
              <a:gd name="connsiteX500" fmla="*/ 4920812 w 5932286"/>
              <a:gd name="connsiteY500" fmla="*/ 2222703 h 6994526"/>
              <a:gd name="connsiteX501" fmla="*/ 4826849 w 5932286"/>
              <a:gd name="connsiteY501" fmla="*/ 2129441 h 6994526"/>
              <a:gd name="connsiteX502" fmla="*/ 4920104 w 5932286"/>
              <a:gd name="connsiteY502" fmla="*/ 2035478 h 6994526"/>
              <a:gd name="connsiteX503" fmla="*/ 5014067 w 5932286"/>
              <a:gd name="connsiteY503" fmla="*/ 2128734 h 6994526"/>
              <a:gd name="connsiteX504" fmla="*/ 4920812 w 5932286"/>
              <a:gd name="connsiteY504" fmla="*/ 2222703 h 6994526"/>
              <a:gd name="connsiteX505" fmla="*/ 2939280 w 5932286"/>
              <a:gd name="connsiteY505" fmla="*/ 2228936 h 6994526"/>
              <a:gd name="connsiteX506" fmla="*/ 2786676 w 5932286"/>
              <a:gd name="connsiteY506" fmla="*/ 2077743 h 6994526"/>
              <a:gd name="connsiteX507" fmla="*/ 2937863 w 5932286"/>
              <a:gd name="connsiteY507" fmla="*/ 1925139 h 6994526"/>
              <a:gd name="connsiteX508" fmla="*/ 3090473 w 5932286"/>
              <a:gd name="connsiteY508" fmla="*/ 2076326 h 6994526"/>
              <a:gd name="connsiteX509" fmla="*/ 2939280 w 5932286"/>
              <a:gd name="connsiteY509" fmla="*/ 2228936 h 6994526"/>
              <a:gd name="connsiteX510" fmla="*/ 1209657 w 5932286"/>
              <a:gd name="connsiteY510" fmla="*/ 2268830 h 6994526"/>
              <a:gd name="connsiteX511" fmla="*/ 1136842 w 5932286"/>
              <a:gd name="connsiteY511" fmla="*/ 2195654 h 6994526"/>
              <a:gd name="connsiteX512" fmla="*/ 1209657 w 5932286"/>
              <a:gd name="connsiteY512" fmla="*/ 2122841 h 6994526"/>
              <a:gd name="connsiteX513" fmla="*/ 1282831 w 5932286"/>
              <a:gd name="connsiteY513" fmla="*/ 2195654 h 6994526"/>
              <a:gd name="connsiteX514" fmla="*/ 1209657 w 5932286"/>
              <a:gd name="connsiteY514" fmla="*/ 2268830 h 6994526"/>
              <a:gd name="connsiteX515" fmla="*/ 1722867 w 5932286"/>
              <a:gd name="connsiteY515" fmla="*/ 2280246 h 6994526"/>
              <a:gd name="connsiteX516" fmla="*/ 1650045 w 5932286"/>
              <a:gd name="connsiteY516" fmla="*/ 2207425 h 6994526"/>
              <a:gd name="connsiteX517" fmla="*/ 1722867 w 5932286"/>
              <a:gd name="connsiteY517" fmla="*/ 2132866 h 6994526"/>
              <a:gd name="connsiteX518" fmla="*/ 1795689 w 5932286"/>
              <a:gd name="connsiteY518" fmla="*/ 2205686 h 6994526"/>
              <a:gd name="connsiteX519" fmla="*/ 1722867 w 5932286"/>
              <a:gd name="connsiteY519" fmla="*/ 2280246 h 6994526"/>
              <a:gd name="connsiteX520" fmla="*/ 5321772 w 5932286"/>
              <a:gd name="connsiteY520" fmla="*/ 2280522 h 6994526"/>
              <a:gd name="connsiteX521" fmla="*/ 5248524 w 5932286"/>
              <a:gd name="connsiteY521" fmla="*/ 2207271 h 6994526"/>
              <a:gd name="connsiteX522" fmla="*/ 5320886 w 5932286"/>
              <a:gd name="connsiteY522" fmla="*/ 2134020 h 6994526"/>
              <a:gd name="connsiteX523" fmla="*/ 5394134 w 5932286"/>
              <a:gd name="connsiteY523" fmla="*/ 2207271 h 6994526"/>
              <a:gd name="connsiteX524" fmla="*/ 5321772 w 5932286"/>
              <a:gd name="connsiteY524" fmla="*/ 2280522 h 6994526"/>
              <a:gd name="connsiteX525" fmla="*/ 3372970 w 5932286"/>
              <a:gd name="connsiteY525" fmla="*/ 2292550 h 6994526"/>
              <a:gd name="connsiteX526" fmla="*/ 3223195 w 5932286"/>
              <a:gd name="connsiteY526" fmla="*/ 2143476 h 6994526"/>
              <a:gd name="connsiteX527" fmla="*/ 3372261 w 5932286"/>
              <a:gd name="connsiteY527" fmla="*/ 1993702 h 6994526"/>
              <a:gd name="connsiteX528" fmla="*/ 3522043 w 5932286"/>
              <a:gd name="connsiteY528" fmla="*/ 2142769 h 6994526"/>
              <a:gd name="connsiteX529" fmla="*/ 3372970 w 5932286"/>
              <a:gd name="connsiteY529" fmla="*/ 2292550 h 6994526"/>
              <a:gd name="connsiteX530" fmla="*/ 2197439 w 5932286"/>
              <a:gd name="connsiteY530" fmla="*/ 2328649 h 6994526"/>
              <a:gd name="connsiteX531" fmla="*/ 2117601 w 5932286"/>
              <a:gd name="connsiteY531" fmla="*/ 2249514 h 6994526"/>
              <a:gd name="connsiteX532" fmla="*/ 2196738 w 5932286"/>
              <a:gd name="connsiteY532" fmla="*/ 2169676 h 6994526"/>
              <a:gd name="connsiteX533" fmla="*/ 2276575 w 5932286"/>
              <a:gd name="connsiteY533" fmla="*/ 2248813 h 6994526"/>
              <a:gd name="connsiteX534" fmla="*/ 2197439 w 5932286"/>
              <a:gd name="connsiteY534" fmla="*/ 2328649 h 6994526"/>
              <a:gd name="connsiteX535" fmla="*/ 3793699 w 5932286"/>
              <a:gd name="connsiteY535" fmla="*/ 2347956 h 6994526"/>
              <a:gd name="connsiteX536" fmla="*/ 3660169 w 5932286"/>
              <a:gd name="connsiteY536" fmla="*/ 2215135 h 6994526"/>
              <a:gd name="connsiteX537" fmla="*/ 3792991 w 5932286"/>
              <a:gd name="connsiteY537" fmla="*/ 2081605 h 6994526"/>
              <a:gd name="connsiteX538" fmla="*/ 3926522 w 5932286"/>
              <a:gd name="connsiteY538" fmla="*/ 2214426 h 6994526"/>
              <a:gd name="connsiteX539" fmla="*/ 3793699 w 5932286"/>
              <a:gd name="connsiteY539" fmla="*/ 2347956 h 6994526"/>
              <a:gd name="connsiteX540" fmla="*/ 5717144 w 5932286"/>
              <a:gd name="connsiteY540" fmla="*/ 2359584 h 6994526"/>
              <a:gd name="connsiteX541" fmla="*/ 5644317 w 5932286"/>
              <a:gd name="connsiteY541" fmla="*/ 2286787 h 6994526"/>
              <a:gd name="connsiteX542" fmla="*/ 5714338 w 5932286"/>
              <a:gd name="connsiteY542" fmla="*/ 2213962 h 6994526"/>
              <a:gd name="connsiteX543" fmla="*/ 5789944 w 5932286"/>
              <a:gd name="connsiteY543" fmla="*/ 2286787 h 6994526"/>
              <a:gd name="connsiteX544" fmla="*/ 5717144 w 5932286"/>
              <a:gd name="connsiteY544" fmla="*/ 2359584 h 6994526"/>
              <a:gd name="connsiteX545" fmla="*/ 4204257 w 5932286"/>
              <a:gd name="connsiteY545" fmla="*/ 2406747 h 6994526"/>
              <a:gd name="connsiteX546" fmla="*/ 4086982 w 5932286"/>
              <a:gd name="connsiteY546" fmla="*/ 2290173 h 6994526"/>
              <a:gd name="connsiteX547" fmla="*/ 4203556 w 5932286"/>
              <a:gd name="connsiteY547" fmla="*/ 2172898 h 6994526"/>
              <a:gd name="connsiteX548" fmla="*/ 4320833 w 5932286"/>
              <a:gd name="connsiteY548" fmla="*/ 2289466 h 6994526"/>
              <a:gd name="connsiteX549" fmla="*/ 4204257 w 5932286"/>
              <a:gd name="connsiteY549" fmla="*/ 2406747 h 6994526"/>
              <a:gd name="connsiteX550" fmla="*/ 2644311 w 5932286"/>
              <a:gd name="connsiteY550" fmla="*/ 2430091 h 6994526"/>
              <a:gd name="connsiteX551" fmla="*/ 2522092 w 5932286"/>
              <a:gd name="connsiteY551" fmla="*/ 2308573 h 6994526"/>
              <a:gd name="connsiteX552" fmla="*/ 2643609 w 5932286"/>
              <a:gd name="connsiteY552" fmla="*/ 2186355 h 6994526"/>
              <a:gd name="connsiteX553" fmla="*/ 2765829 w 5932286"/>
              <a:gd name="connsiteY553" fmla="*/ 2307872 h 6994526"/>
              <a:gd name="connsiteX554" fmla="*/ 2644311 w 5932286"/>
              <a:gd name="connsiteY554" fmla="*/ 2430091 h 6994526"/>
              <a:gd name="connsiteX555" fmla="*/ 4607189 w 5932286"/>
              <a:gd name="connsiteY555" fmla="*/ 2477047 h 6994526"/>
              <a:gd name="connsiteX556" fmla="*/ 4496974 w 5932286"/>
              <a:gd name="connsiteY556" fmla="*/ 2367540 h 6994526"/>
              <a:gd name="connsiteX557" fmla="*/ 4606480 w 5932286"/>
              <a:gd name="connsiteY557" fmla="*/ 2258034 h 6994526"/>
              <a:gd name="connsiteX558" fmla="*/ 4715986 w 5932286"/>
              <a:gd name="connsiteY558" fmla="*/ 2366832 h 6994526"/>
              <a:gd name="connsiteX559" fmla="*/ 4607189 w 5932286"/>
              <a:gd name="connsiteY559" fmla="*/ 2477047 h 6994526"/>
              <a:gd name="connsiteX560" fmla="*/ 1436119 w 5932286"/>
              <a:gd name="connsiteY560" fmla="*/ 2507032 h 6994526"/>
              <a:gd name="connsiteX561" fmla="*/ 1362943 w 5932286"/>
              <a:gd name="connsiteY561" fmla="*/ 2433856 h 6994526"/>
              <a:gd name="connsiteX562" fmla="*/ 1436119 w 5932286"/>
              <a:gd name="connsiteY562" fmla="*/ 2361043 h 6994526"/>
              <a:gd name="connsiteX563" fmla="*/ 1508933 w 5932286"/>
              <a:gd name="connsiteY563" fmla="*/ 2433856 h 6994526"/>
              <a:gd name="connsiteX564" fmla="*/ 1436119 w 5932286"/>
              <a:gd name="connsiteY564" fmla="*/ 2507032 h 6994526"/>
              <a:gd name="connsiteX565" fmla="*/ 3073391 w 5932286"/>
              <a:gd name="connsiteY565" fmla="*/ 2519230 h 6994526"/>
              <a:gd name="connsiteX566" fmla="*/ 2930680 w 5932286"/>
              <a:gd name="connsiteY566" fmla="*/ 2377923 h 6994526"/>
              <a:gd name="connsiteX567" fmla="*/ 3072690 w 5932286"/>
              <a:gd name="connsiteY567" fmla="*/ 2235211 h 6994526"/>
              <a:gd name="connsiteX568" fmla="*/ 3214699 w 5932286"/>
              <a:gd name="connsiteY568" fmla="*/ 2376512 h 6994526"/>
              <a:gd name="connsiteX569" fmla="*/ 3073391 w 5932286"/>
              <a:gd name="connsiteY569" fmla="*/ 2519230 h 6994526"/>
              <a:gd name="connsiteX570" fmla="*/ 5002631 w 5932286"/>
              <a:gd name="connsiteY570" fmla="*/ 2526666 h 6994526"/>
              <a:gd name="connsiteX571" fmla="*/ 4922794 w 5932286"/>
              <a:gd name="connsiteY571" fmla="*/ 2447531 h 6994526"/>
              <a:gd name="connsiteX572" fmla="*/ 5001923 w 5932286"/>
              <a:gd name="connsiteY572" fmla="*/ 2367693 h 6994526"/>
              <a:gd name="connsiteX573" fmla="*/ 5081758 w 5932286"/>
              <a:gd name="connsiteY573" fmla="*/ 2446830 h 6994526"/>
              <a:gd name="connsiteX574" fmla="*/ 5002631 w 5932286"/>
              <a:gd name="connsiteY574" fmla="*/ 2526666 h 6994526"/>
              <a:gd name="connsiteX575" fmla="*/ 1906866 w 5932286"/>
              <a:gd name="connsiteY575" fmla="*/ 2551213 h 6994526"/>
              <a:gd name="connsiteX576" fmla="*/ 1834027 w 5932286"/>
              <a:gd name="connsiteY576" fmla="*/ 2478424 h 6994526"/>
              <a:gd name="connsiteX577" fmla="*/ 1906866 w 5932286"/>
              <a:gd name="connsiteY577" fmla="*/ 2405585 h 6994526"/>
              <a:gd name="connsiteX578" fmla="*/ 1979655 w 5932286"/>
              <a:gd name="connsiteY578" fmla="*/ 2478424 h 6994526"/>
              <a:gd name="connsiteX579" fmla="*/ 1906866 w 5932286"/>
              <a:gd name="connsiteY579" fmla="*/ 2551213 h 6994526"/>
              <a:gd name="connsiteX580" fmla="*/ 5392571 w 5932286"/>
              <a:gd name="connsiteY580" fmla="*/ 2600889 h 6994526"/>
              <a:gd name="connsiteX581" fmla="*/ 5320655 w 5932286"/>
              <a:gd name="connsiteY581" fmla="*/ 2528971 h 6994526"/>
              <a:gd name="connsiteX582" fmla="*/ 5392571 w 5932286"/>
              <a:gd name="connsiteY582" fmla="*/ 2455250 h 6994526"/>
              <a:gd name="connsiteX583" fmla="*/ 5466306 w 5932286"/>
              <a:gd name="connsiteY583" fmla="*/ 2527169 h 6994526"/>
              <a:gd name="connsiteX584" fmla="*/ 5392571 w 5932286"/>
              <a:gd name="connsiteY584" fmla="*/ 2600889 h 6994526"/>
              <a:gd name="connsiteX585" fmla="*/ 3487827 w 5932286"/>
              <a:gd name="connsiteY585" fmla="*/ 2609541 h 6994526"/>
              <a:gd name="connsiteX586" fmla="*/ 3328867 w 5932286"/>
              <a:gd name="connsiteY586" fmla="*/ 2451992 h 6994526"/>
              <a:gd name="connsiteX587" fmla="*/ 3487119 w 5932286"/>
              <a:gd name="connsiteY587" fmla="*/ 2293032 h 6994526"/>
              <a:gd name="connsiteX588" fmla="*/ 3645370 w 5932286"/>
              <a:gd name="connsiteY588" fmla="*/ 2450581 h 6994526"/>
              <a:gd name="connsiteX589" fmla="*/ 3487827 w 5932286"/>
              <a:gd name="connsiteY589" fmla="*/ 2609541 h 6994526"/>
              <a:gd name="connsiteX590" fmla="*/ 2348242 w 5932286"/>
              <a:gd name="connsiteY590" fmla="*/ 2614712 h 6994526"/>
              <a:gd name="connsiteX591" fmla="*/ 2274851 w 5932286"/>
              <a:gd name="connsiteY591" fmla="*/ 2542504 h 6994526"/>
              <a:gd name="connsiteX592" fmla="*/ 2347057 w 5932286"/>
              <a:gd name="connsiteY592" fmla="*/ 2467926 h 6994526"/>
              <a:gd name="connsiteX593" fmla="*/ 2420459 w 5932286"/>
              <a:gd name="connsiteY593" fmla="*/ 2541319 h 6994526"/>
              <a:gd name="connsiteX594" fmla="*/ 2348242 w 5932286"/>
              <a:gd name="connsiteY594" fmla="*/ 2614712 h 6994526"/>
              <a:gd name="connsiteX595" fmla="*/ 3891496 w 5932286"/>
              <a:gd name="connsiteY595" fmla="*/ 2656743 h 6994526"/>
              <a:gd name="connsiteX596" fmla="*/ 3762915 w 5932286"/>
              <a:gd name="connsiteY596" fmla="*/ 2528866 h 6994526"/>
              <a:gd name="connsiteX597" fmla="*/ 3890795 w 5932286"/>
              <a:gd name="connsiteY597" fmla="*/ 2400287 h 6994526"/>
              <a:gd name="connsiteX598" fmla="*/ 4019375 w 5932286"/>
              <a:gd name="connsiteY598" fmla="*/ 2528165 h 6994526"/>
              <a:gd name="connsiteX599" fmla="*/ 3891496 w 5932286"/>
              <a:gd name="connsiteY599" fmla="*/ 2656743 h 6994526"/>
              <a:gd name="connsiteX600" fmla="*/ 5780553 w 5932286"/>
              <a:gd name="connsiteY600" fmla="*/ 2682276 h 6994526"/>
              <a:gd name="connsiteX601" fmla="*/ 5704742 w 5932286"/>
              <a:gd name="connsiteY601" fmla="*/ 2606451 h 6994526"/>
              <a:gd name="connsiteX602" fmla="*/ 5780553 w 5932286"/>
              <a:gd name="connsiteY602" fmla="*/ 2537470 h 6994526"/>
              <a:gd name="connsiteX603" fmla="*/ 5856433 w 5932286"/>
              <a:gd name="connsiteY603" fmla="*/ 2606451 h 6994526"/>
              <a:gd name="connsiteX604" fmla="*/ 5780553 w 5932286"/>
              <a:gd name="connsiteY604" fmla="*/ 2682276 h 6994526"/>
              <a:gd name="connsiteX605" fmla="*/ 2768743 w 5932286"/>
              <a:gd name="connsiteY605" fmla="*/ 2706584 h 6994526"/>
              <a:gd name="connsiteX606" fmla="*/ 2674075 w 5932286"/>
              <a:gd name="connsiteY606" fmla="*/ 2612623 h 6994526"/>
              <a:gd name="connsiteX607" fmla="*/ 2768035 w 5932286"/>
              <a:gd name="connsiteY607" fmla="*/ 2517955 h 6994526"/>
              <a:gd name="connsiteX608" fmla="*/ 2862704 w 5932286"/>
              <a:gd name="connsiteY608" fmla="*/ 2611916 h 6994526"/>
              <a:gd name="connsiteX609" fmla="*/ 2768743 w 5932286"/>
              <a:gd name="connsiteY609" fmla="*/ 2706584 h 6994526"/>
              <a:gd name="connsiteX610" fmla="*/ 4288014 w 5932286"/>
              <a:gd name="connsiteY610" fmla="*/ 2729299 h 6994526"/>
              <a:gd name="connsiteX611" fmla="*/ 4165795 w 5932286"/>
              <a:gd name="connsiteY611" fmla="*/ 2607782 h 6994526"/>
              <a:gd name="connsiteX612" fmla="*/ 4287313 w 5932286"/>
              <a:gd name="connsiteY612" fmla="*/ 2485563 h 6994526"/>
              <a:gd name="connsiteX613" fmla="*/ 4409531 w 5932286"/>
              <a:gd name="connsiteY613" fmla="*/ 2607081 h 6994526"/>
              <a:gd name="connsiteX614" fmla="*/ 4288014 w 5932286"/>
              <a:gd name="connsiteY614" fmla="*/ 2729299 h 6994526"/>
              <a:gd name="connsiteX615" fmla="*/ 1615861 w 5932286"/>
              <a:gd name="connsiteY615" fmla="*/ 2781335 h 6994526"/>
              <a:gd name="connsiteX616" fmla="*/ 1543048 w 5932286"/>
              <a:gd name="connsiteY616" fmla="*/ 2708552 h 6994526"/>
              <a:gd name="connsiteX617" fmla="*/ 1615861 w 5932286"/>
              <a:gd name="connsiteY617" fmla="*/ 2635406 h 6994526"/>
              <a:gd name="connsiteX618" fmla="*/ 1689037 w 5932286"/>
              <a:gd name="connsiteY618" fmla="*/ 2708552 h 6994526"/>
              <a:gd name="connsiteX619" fmla="*/ 1615861 w 5932286"/>
              <a:gd name="connsiteY619" fmla="*/ 2781335 h 6994526"/>
              <a:gd name="connsiteX620" fmla="*/ 4678737 w 5932286"/>
              <a:gd name="connsiteY620" fmla="*/ 2798847 h 6994526"/>
              <a:gd name="connsiteX621" fmla="*/ 4567813 w 5932286"/>
              <a:gd name="connsiteY621" fmla="*/ 2688632 h 6994526"/>
              <a:gd name="connsiteX622" fmla="*/ 4677320 w 5932286"/>
              <a:gd name="connsiteY622" fmla="*/ 2577714 h 6994526"/>
              <a:gd name="connsiteX623" fmla="*/ 4788944 w 5932286"/>
              <a:gd name="connsiteY623" fmla="*/ 2687931 h 6994526"/>
              <a:gd name="connsiteX624" fmla="*/ 4678737 w 5932286"/>
              <a:gd name="connsiteY624" fmla="*/ 2798847 h 6994526"/>
              <a:gd name="connsiteX625" fmla="*/ 3176997 w 5932286"/>
              <a:gd name="connsiteY625" fmla="*/ 2847261 h 6994526"/>
              <a:gd name="connsiteX626" fmla="*/ 3018037 w 5932286"/>
              <a:gd name="connsiteY626" fmla="*/ 2689712 h 6994526"/>
              <a:gd name="connsiteX627" fmla="*/ 3175580 w 5932286"/>
              <a:gd name="connsiteY627" fmla="*/ 2530752 h 6994526"/>
              <a:gd name="connsiteX628" fmla="*/ 3334540 w 5932286"/>
              <a:gd name="connsiteY628" fmla="*/ 2688302 h 6994526"/>
              <a:gd name="connsiteX629" fmla="*/ 3176997 w 5932286"/>
              <a:gd name="connsiteY629" fmla="*/ 2847261 h 6994526"/>
              <a:gd name="connsiteX630" fmla="*/ 2058885 w 5932286"/>
              <a:gd name="connsiteY630" fmla="*/ 2858028 h 6994526"/>
              <a:gd name="connsiteX631" fmla="*/ 1975640 w 5932286"/>
              <a:gd name="connsiteY631" fmla="*/ 2774702 h 6994526"/>
              <a:gd name="connsiteX632" fmla="*/ 2058885 w 5932286"/>
              <a:gd name="connsiteY632" fmla="*/ 2691376 h 6994526"/>
              <a:gd name="connsiteX633" fmla="*/ 2121267 w 5932286"/>
              <a:gd name="connsiteY633" fmla="*/ 2774702 h 6994526"/>
              <a:gd name="connsiteX634" fmla="*/ 2058885 w 5932286"/>
              <a:gd name="connsiteY634" fmla="*/ 2858028 h 6994526"/>
              <a:gd name="connsiteX635" fmla="*/ 5064001 w 5932286"/>
              <a:gd name="connsiteY635" fmla="*/ 2863705 h 6994526"/>
              <a:gd name="connsiteX636" fmla="*/ 4970750 w 5932286"/>
              <a:gd name="connsiteY636" fmla="*/ 2770454 h 6994526"/>
              <a:gd name="connsiteX637" fmla="*/ 5063300 w 5932286"/>
              <a:gd name="connsiteY637" fmla="*/ 2676496 h 6994526"/>
              <a:gd name="connsiteX638" fmla="*/ 5157259 w 5932286"/>
              <a:gd name="connsiteY638" fmla="*/ 2769746 h 6994526"/>
              <a:gd name="connsiteX639" fmla="*/ 5064001 w 5932286"/>
              <a:gd name="connsiteY639" fmla="*/ 2863705 h 6994526"/>
              <a:gd name="connsiteX640" fmla="*/ 2460230 w 5932286"/>
              <a:gd name="connsiteY640" fmla="*/ 2922733 h 6994526"/>
              <a:gd name="connsiteX641" fmla="*/ 2386755 w 5932286"/>
              <a:gd name="connsiteY641" fmla="*/ 2849258 h 6994526"/>
              <a:gd name="connsiteX642" fmla="*/ 2460230 w 5932286"/>
              <a:gd name="connsiteY642" fmla="*/ 2775783 h 6994526"/>
              <a:gd name="connsiteX643" fmla="*/ 2533705 w 5932286"/>
              <a:gd name="connsiteY643" fmla="*/ 2849258 h 6994526"/>
              <a:gd name="connsiteX644" fmla="*/ 2460230 w 5932286"/>
              <a:gd name="connsiteY644" fmla="*/ 2922733 h 6994526"/>
              <a:gd name="connsiteX645" fmla="*/ 5446926 w 5932286"/>
              <a:gd name="connsiteY645" fmla="*/ 2925236 h 6994526"/>
              <a:gd name="connsiteX646" fmla="*/ 5373435 w 5932286"/>
              <a:gd name="connsiteY646" fmla="*/ 2853085 h 6994526"/>
              <a:gd name="connsiteX647" fmla="*/ 5445586 w 5932286"/>
              <a:gd name="connsiteY647" fmla="*/ 2779595 h 6994526"/>
              <a:gd name="connsiteX648" fmla="*/ 5519075 w 5932286"/>
              <a:gd name="connsiteY648" fmla="*/ 2851746 h 6994526"/>
              <a:gd name="connsiteX649" fmla="*/ 5446926 w 5932286"/>
              <a:gd name="connsiteY649" fmla="*/ 2925236 h 6994526"/>
              <a:gd name="connsiteX650" fmla="*/ 3573998 w 5932286"/>
              <a:gd name="connsiteY650" fmla="*/ 2925247 h 6994526"/>
              <a:gd name="connsiteX651" fmla="*/ 3416450 w 5932286"/>
              <a:gd name="connsiteY651" fmla="*/ 2769118 h 6994526"/>
              <a:gd name="connsiteX652" fmla="*/ 3572588 w 5932286"/>
              <a:gd name="connsiteY652" fmla="*/ 2611564 h 6994526"/>
              <a:gd name="connsiteX653" fmla="*/ 3730136 w 5932286"/>
              <a:gd name="connsiteY653" fmla="*/ 2767701 h 6994526"/>
              <a:gd name="connsiteX654" fmla="*/ 3573998 w 5932286"/>
              <a:gd name="connsiteY654" fmla="*/ 2925247 h 6994526"/>
              <a:gd name="connsiteX655" fmla="*/ 3963753 w 5932286"/>
              <a:gd name="connsiteY655" fmla="*/ 2984913 h 6994526"/>
              <a:gd name="connsiteX656" fmla="*/ 3827399 w 5932286"/>
              <a:gd name="connsiteY656" fmla="*/ 2849975 h 6994526"/>
              <a:gd name="connsiteX657" fmla="*/ 3962336 w 5932286"/>
              <a:gd name="connsiteY657" fmla="*/ 2713620 h 6994526"/>
              <a:gd name="connsiteX658" fmla="*/ 4098690 w 5932286"/>
              <a:gd name="connsiteY658" fmla="*/ 2848558 h 6994526"/>
              <a:gd name="connsiteX659" fmla="*/ 3963753 w 5932286"/>
              <a:gd name="connsiteY659" fmla="*/ 2984913 h 6994526"/>
              <a:gd name="connsiteX660" fmla="*/ 5825099 w 5932286"/>
              <a:gd name="connsiteY660" fmla="*/ 3007771 h 6994526"/>
              <a:gd name="connsiteX661" fmla="*/ 5752285 w 5932286"/>
              <a:gd name="connsiteY661" fmla="*/ 2934958 h 6994526"/>
              <a:gd name="connsiteX662" fmla="*/ 5825099 w 5932286"/>
              <a:gd name="connsiteY662" fmla="*/ 2862144 h 6994526"/>
              <a:gd name="connsiteX663" fmla="*/ 5897912 w 5932286"/>
              <a:gd name="connsiteY663" fmla="*/ 2934958 h 6994526"/>
              <a:gd name="connsiteX664" fmla="*/ 5825099 w 5932286"/>
              <a:gd name="connsiteY664" fmla="*/ 3007771 h 6994526"/>
              <a:gd name="connsiteX665" fmla="*/ 4348053 w 5932286"/>
              <a:gd name="connsiteY665" fmla="*/ 3059068 h 6994526"/>
              <a:gd name="connsiteX666" fmla="*/ 4219472 w 5932286"/>
              <a:gd name="connsiteY666" fmla="*/ 2931189 h 6994526"/>
              <a:gd name="connsiteX667" fmla="*/ 4347351 w 5932286"/>
              <a:gd name="connsiteY667" fmla="*/ 2802609 h 6994526"/>
              <a:gd name="connsiteX668" fmla="*/ 4475931 w 5932286"/>
              <a:gd name="connsiteY668" fmla="*/ 2930488 h 6994526"/>
              <a:gd name="connsiteX669" fmla="*/ 4348053 w 5932286"/>
              <a:gd name="connsiteY669" fmla="*/ 3059068 h 6994526"/>
              <a:gd name="connsiteX670" fmla="*/ 2859391 w 5932286"/>
              <a:gd name="connsiteY670" fmla="*/ 3059363 h 6994526"/>
              <a:gd name="connsiteX671" fmla="*/ 2727985 w 5932286"/>
              <a:gd name="connsiteY671" fmla="*/ 2929368 h 6994526"/>
              <a:gd name="connsiteX672" fmla="*/ 2857981 w 5932286"/>
              <a:gd name="connsiteY672" fmla="*/ 2797962 h 6994526"/>
              <a:gd name="connsiteX673" fmla="*/ 2989386 w 5932286"/>
              <a:gd name="connsiteY673" fmla="*/ 2927959 h 6994526"/>
              <a:gd name="connsiteX674" fmla="*/ 2859391 w 5932286"/>
              <a:gd name="connsiteY674" fmla="*/ 3059363 h 6994526"/>
              <a:gd name="connsiteX675" fmla="*/ 1743677 w 5932286"/>
              <a:gd name="connsiteY675" fmla="*/ 3083119 h 6994526"/>
              <a:gd name="connsiteX676" fmla="*/ 1663481 w 5932286"/>
              <a:gd name="connsiteY676" fmla="*/ 3002945 h 6994526"/>
              <a:gd name="connsiteX677" fmla="*/ 1743677 w 5932286"/>
              <a:gd name="connsiteY677" fmla="*/ 2942863 h 6994526"/>
              <a:gd name="connsiteX678" fmla="*/ 1823871 w 5932286"/>
              <a:gd name="connsiteY678" fmla="*/ 3002945 h 6994526"/>
              <a:gd name="connsiteX679" fmla="*/ 1743677 w 5932286"/>
              <a:gd name="connsiteY679" fmla="*/ 3083119 h 6994526"/>
              <a:gd name="connsiteX680" fmla="*/ 4728714 w 5932286"/>
              <a:gd name="connsiteY680" fmla="*/ 3133603 h 6994526"/>
              <a:gd name="connsiteX681" fmla="*/ 4607197 w 5932286"/>
              <a:gd name="connsiteY681" fmla="*/ 3013499 h 6994526"/>
              <a:gd name="connsiteX682" fmla="*/ 4727297 w 5932286"/>
              <a:gd name="connsiteY682" fmla="*/ 2892688 h 6994526"/>
              <a:gd name="connsiteX683" fmla="*/ 4848814 w 5932286"/>
              <a:gd name="connsiteY683" fmla="*/ 3012792 h 6994526"/>
              <a:gd name="connsiteX684" fmla="*/ 4728714 w 5932286"/>
              <a:gd name="connsiteY684" fmla="*/ 3133603 h 6994526"/>
              <a:gd name="connsiteX685" fmla="*/ 2143589 w 5932286"/>
              <a:gd name="connsiteY685" fmla="*/ 3163085 h 6994526"/>
              <a:gd name="connsiteX686" fmla="*/ 2070773 w 5932286"/>
              <a:gd name="connsiteY686" fmla="*/ 3090277 h 6994526"/>
              <a:gd name="connsiteX687" fmla="*/ 2141377 w 5932286"/>
              <a:gd name="connsiteY687" fmla="*/ 3015258 h 6994526"/>
              <a:gd name="connsiteX688" fmla="*/ 2216405 w 5932286"/>
              <a:gd name="connsiteY688" fmla="*/ 3088066 h 6994526"/>
              <a:gd name="connsiteX689" fmla="*/ 2143589 w 5932286"/>
              <a:gd name="connsiteY689" fmla="*/ 3163085 h 6994526"/>
              <a:gd name="connsiteX690" fmla="*/ 3248651 w 5932286"/>
              <a:gd name="connsiteY690" fmla="*/ 3171303 h 6994526"/>
              <a:gd name="connsiteX691" fmla="*/ 3086161 w 5932286"/>
              <a:gd name="connsiteY691" fmla="*/ 3010224 h 6994526"/>
              <a:gd name="connsiteX692" fmla="*/ 3247240 w 5932286"/>
              <a:gd name="connsiteY692" fmla="*/ 2847728 h 6994526"/>
              <a:gd name="connsiteX693" fmla="*/ 3409736 w 5932286"/>
              <a:gd name="connsiteY693" fmla="*/ 3008808 h 6994526"/>
              <a:gd name="connsiteX694" fmla="*/ 3248651 w 5932286"/>
              <a:gd name="connsiteY694" fmla="*/ 3171303 h 6994526"/>
              <a:gd name="connsiteX695" fmla="*/ 5105157 w 5932286"/>
              <a:gd name="connsiteY695" fmla="*/ 3190027 h 6994526"/>
              <a:gd name="connsiteX696" fmla="*/ 5011906 w 5932286"/>
              <a:gd name="connsiteY696" fmla="*/ 3096777 h 6994526"/>
              <a:gd name="connsiteX697" fmla="*/ 5104456 w 5932286"/>
              <a:gd name="connsiteY697" fmla="*/ 3002818 h 6994526"/>
              <a:gd name="connsiteX698" fmla="*/ 5198415 w 5932286"/>
              <a:gd name="connsiteY698" fmla="*/ 3096069 h 6994526"/>
              <a:gd name="connsiteX699" fmla="*/ 5105157 w 5932286"/>
              <a:gd name="connsiteY699" fmla="*/ 3190027 h 6994526"/>
              <a:gd name="connsiteX700" fmla="*/ 2531890 w 5932286"/>
              <a:gd name="connsiteY700" fmla="*/ 3242602 h 6994526"/>
              <a:gd name="connsiteX701" fmla="*/ 2459071 w 5932286"/>
              <a:gd name="connsiteY701" fmla="*/ 3169791 h 6994526"/>
              <a:gd name="connsiteX702" fmla="*/ 2531890 w 5932286"/>
              <a:gd name="connsiteY702" fmla="*/ 3096972 h 6994526"/>
              <a:gd name="connsiteX703" fmla="*/ 2604699 w 5932286"/>
              <a:gd name="connsiteY703" fmla="*/ 3169791 h 6994526"/>
              <a:gd name="connsiteX704" fmla="*/ 2531890 w 5932286"/>
              <a:gd name="connsiteY704" fmla="*/ 3242602 h 6994526"/>
              <a:gd name="connsiteX705" fmla="*/ 3631618 w 5932286"/>
              <a:gd name="connsiteY705" fmla="*/ 3248662 h 6994526"/>
              <a:gd name="connsiteX706" fmla="*/ 3474070 w 5932286"/>
              <a:gd name="connsiteY706" fmla="*/ 3092525 h 6994526"/>
              <a:gd name="connsiteX707" fmla="*/ 3630208 w 5932286"/>
              <a:gd name="connsiteY707" fmla="*/ 2934977 h 6994526"/>
              <a:gd name="connsiteX708" fmla="*/ 3787756 w 5932286"/>
              <a:gd name="connsiteY708" fmla="*/ 3091116 h 6994526"/>
              <a:gd name="connsiteX709" fmla="*/ 3631618 w 5932286"/>
              <a:gd name="connsiteY709" fmla="*/ 3248662 h 6994526"/>
              <a:gd name="connsiteX710" fmla="*/ 5479755 w 5932286"/>
              <a:gd name="connsiteY710" fmla="*/ 3252835 h 6994526"/>
              <a:gd name="connsiteX711" fmla="*/ 5406364 w 5932286"/>
              <a:gd name="connsiteY711" fmla="*/ 3179450 h 6994526"/>
              <a:gd name="connsiteX712" fmla="*/ 5478567 w 5932286"/>
              <a:gd name="connsiteY712" fmla="*/ 3106064 h 6994526"/>
              <a:gd name="connsiteX713" fmla="*/ 5551956 w 5932286"/>
              <a:gd name="connsiteY713" fmla="*/ 3179450 h 6994526"/>
              <a:gd name="connsiteX714" fmla="*/ 5479755 w 5932286"/>
              <a:gd name="connsiteY714" fmla="*/ 3252835 h 6994526"/>
              <a:gd name="connsiteX715" fmla="*/ 4009150 w 5932286"/>
              <a:gd name="connsiteY715" fmla="*/ 3317439 h 6994526"/>
              <a:gd name="connsiteX716" fmla="*/ 3865733 w 5932286"/>
              <a:gd name="connsiteY716" fmla="*/ 3174722 h 6994526"/>
              <a:gd name="connsiteX717" fmla="*/ 4008449 w 5932286"/>
              <a:gd name="connsiteY717" fmla="*/ 3031305 h 6994526"/>
              <a:gd name="connsiteX718" fmla="*/ 4151867 w 5932286"/>
              <a:gd name="connsiteY718" fmla="*/ 3174021 h 6994526"/>
              <a:gd name="connsiteX719" fmla="*/ 4009150 w 5932286"/>
              <a:gd name="connsiteY719" fmla="*/ 3317439 h 6994526"/>
              <a:gd name="connsiteX720" fmla="*/ 5851244 w 5932286"/>
              <a:gd name="connsiteY720" fmla="*/ 3335538 h 6994526"/>
              <a:gd name="connsiteX721" fmla="*/ 5778430 w 5932286"/>
              <a:gd name="connsiteY721" fmla="*/ 3262725 h 6994526"/>
              <a:gd name="connsiteX722" fmla="*/ 5851244 w 5932286"/>
              <a:gd name="connsiteY722" fmla="*/ 3189911 h 6994526"/>
              <a:gd name="connsiteX723" fmla="*/ 5924057 w 5932286"/>
              <a:gd name="connsiteY723" fmla="*/ 3262725 h 6994526"/>
              <a:gd name="connsiteX724" fmla="*/ 5851244 w 5932286"/>
              <a:gd name="connsiteY724" fmla="*/ 3335538 h 6994526"/>
              <a:gd name="connsiteX725" fmla="*/ 2912537 w 5932286"/>
              <a:gd name="connsiteY725" fmla="*/ 3373262 h 6994526"/>
              <a:gd name="connsiteX726" fmla="*/ 2791726 w 5932286"/>
              <a:gd name="connsiteY726" fmla="*/ 3253156 h 6994526"/>
              <a:gd name="connsiteX727" fmla="*/ 2911127 w 5932286"/>
              <a:gd name="connsiteY727" fmla="*/ 3132342 h 6994526"/>
              <a:gd name="connsiteX728" fmla="*/ 3032639 w 5932286"/>
              <a:gd name="connsiteY728" fmla="*/ 3252447 h 6994526"/>
              <a:gd name="connsiteX729" fmla="*/ 2912537 w 5932286"/>
              <a:gd name="connsiteY729" fmla="*/ 3373262 h 6994526"/>
              <a:gd name="connsiteX730" fmla="*/ 4383877 w 5932286"/>
              <a:gd name="connsiteY730" fmla="*/ 3392229 h 6994526"/>
              <a:gd name="connsiteX731" fmla="*/ 4248936 w 5932286"/>
              <a:gd name="connsiteY731" fmla="*/ 3257999 h 6994526"/>
              <a:gd name="connsiteX732" fmla="*/ 4383170 w 5932286"/>
              <a:gd name="connsiteY732" fmla="*/ 3123058 h 6994526"/>
              <a:gd name="connsiteX733" fmla="*/ 4518118 w 5932286"/>
              <a:gd name="connsiteY733" fmla="*/ 3257297 h 6994526"/>
              <a:gd name="connsiteX734" fmla="*/ 4383877 w 5932286"/>
              <a:gd name="connsiteY734" fmla="*/ 3392229 h 6994526"/>
              <a:gd name="connsiteX735" fmla="*/ 1828141 w 5932286"/>
              <a:gd name="connsiteY735" fmla="*/ 3416801 h 6994526"/>
              <a:gd name="connsiteX736" fmla="*/ 1742375 w 5932286"/>
              <a:gd name="connsiteY736" fmla="*/ 3330997 h 6994526"/>
              <a:gd name="connsiteX737" fmla="*/ 1785258 w 5932286"/>
              <a:gd name="connsiteY737" fmla="*/ 3245603 h 6994526"/>
              <a:gd name="connsiteX738" fmla="*/ 1870599 w 5932286"/>
              <a:gd name="connsiteY738" fmla="*/ 3330997 h 6994526"/>
              <a:gd name="connsiteX739" fmla="*/ 1828141 w 5932286"/>
              <a:gd name="connsiteY739" fmla="*/ 3416801 h 6994526"/>
              <a:gd name="connsiteX740" fmla="*/ 4755713 w 5932286"/>
              <a:gd name="connsiteY740" fmla="*/ 3469142 h 6994526"/>
              <a:gd name="connsiteX741" fmla="*/ 4627133 w 5932286"/>
              <a:gd name="connsiteY741" fmla="*/ 3341275 h 6994526"/>
              <a:gd name="connsiteX742" fmla="*/ 4755012 w 5932286"/>
              <a:gd name="connsiteY742" fmla="*/ 3212695 h 6994526"/>
              <a:gd name="connsiteX743" fmla="*/ 4883593 w 5932286"/>
              <a:gd name="connsiteY743" fmla="*/ 3340574 h 6994526"/>
              <a:gd name="connsiteX744" fmla="*/ 4755713 w 5932286"/>
              <a:gd name="connsiteY744" fmla="*/ 3469142 h 6994526"/>
              <a:gd name="connsiteX745" fmla="*/ 2191543 w 5932286"/>
              <a:gd name="connsiteY745" fmla="*/ 3486615 h 6994526"/>
              <a:gd name="connsiteX746" fmla="*/ 2118711 w 5932286"/>
              <a:gd name="connsiteY746" fmla="*/ 3413786 h 6994526"/>
              <a:gd name="connsiteX747" fmla="*/ 2191543 w 5932286"/>
              <a:gd name="connsiteY747" fmla="*/ 3340969 h 6994526"/>
              <a:gd name="connsiteX748" fmla="*/ 2264373 w 5932286"/>
              <a:gd name="connsiteY748" fmla="*/ 3413786 h 6994526"/>
              <a:gd name="connsiteX749" fmla="*/ 2191543 w 5932286"/>
              <a:gd name="connsiteY749" fmla="*/ 3486615 h 6994526"/>
              <a:gd name="connsiteX750" fmla="*/ 3287758 w 5932286"/>
              <a:gd name="connsiteY750" fmla="*/ 3499834 h 6994526"/>
              <a:gd name="connsiteX751" fmla="*/ 3123150 w 5932286"/>
              <a:gd name="connsiteY751" fmla="*/ 3335945 h 6994526"/>
              <a:gd name="connsiteX752" fmla="*/ 3287049 w 5932286"/>
              <a:gd name="connsiteY752" fmla="*/ 3171337 h 6994526"/>
              <a:gd name="connsiteX753" fmla="*/ 3451657 w 5932286"/>
              <a:gd name="connsiteY753" fmla="*/ 3335238 h 6994526"/>
              <a:gd name="connsiteX754" fmla="*/ 3287758 w 5932286"/>
              <a:gd name="connsiteY754" fmla="*/ 3499834 h 6994526"/>
              <a:gd name="connsiteX755" fmla="*/ 5125121 w 5932286"/>
              <a:gd name="connsiteY755" fmla="*/ 3526285 h 6994526"/>
              <a:gd name="connsiteX756" fmla="*/ 5022681 w 5932286"/>
              <a:gd name="connsiteY756" fmla="*/ 3424547 h 6994526"/>
              <a:gd name="connsiteX757" fmla="*/ 5124413 w 5932286"/>
              <a:gd name="connsiteY757" fmla="*/ 3322113 h 6994526"/>
              <a:gd name="connsiteX758" fmla="*/ 5226859 w 5932286"/>
              <a:gd name="connsiteY758" fmla="*/ 3423846 h 6994526"/>
              <a:gd name="connsiteX759" fmla="*/ 5125121 w 5932286"/>
              <a:gd name="connsiteY759" fmla="*/ 3526285 h 6994526"/>
              <a:gd name="connsiteX760" fmla="*/ 2563137 w 5932286"/>
              <a:gd name="connsiteY760" fmla="*/ 3569844 h 6994526"/>
              <a:gd name="connsiteX761" fmla="*/ 2489304 w 5932286"/>
              <a:gd name="connsiteY761" fmla="*/ 3497047 h 6994526"/>
              <a:gd name="connsiteX762" fmla="*/ 2562124 w 5932286"/>
              <a:gd name="connsiteY762" fmla="*/ 3424229 h 6994526"/>
              <a:gd name="connsiteX763" fmla="*/ 2635946 w 5932286"/>
              <a:gd name="connsiteY763" fmla="*/ 3497047 h 6994526"/>
              <a:gd name="connsiteX764" fmla="*/ 2563137 w 5932286"/>
              <a:gd name="connsiteY764" fmla="*/ 3569844 h 6994526"/>
              <a:gd name="connsiteX765" fmla="*/ 5492972 w 5932286"/>
              <a:gd name="connsiteY765" fmla="*/ 3580517 h 6994526"/>
              <a:gd name="connsiteX766" fmla="*/ 5420153 w 5932286"/>
              <a:gd name="connsiteY766" fmla="*/ 3507717 h 6994526"/>
              <a:gd name="connsiteX767" fmla="*/ 5492972 w 5932286"/>
              <a:gd name="connsiteY767" fmla="*/ 3434897 h 6994526"/>
              <a:gd name="connsiteX768" fmla="*/ 5565780 w 5932286"/>
              <a:gd name="connsiteY768" fmla="*/ 3507717 h 6994526"/>
              <a:gd name="connsiteX769" fmla="*/ 5492972 w 5932286"/>
              <a:gd name="connsiteY769" fmla="*/ 3580517 h 6994526"/>
              <a:gd name="connsiteX770" fmla="*/ 4028026 w 5932286"/>
              <a:gd name="connsiteY770" fmla="*/ 3652007 h 6994526"/>
              <a:gd name="connsiteX771" fmla="*/ 3878251 w 5932286"/>
              <a:gd name="connsiteY771" fmla="*/ 3502969 h 6994526"/>
              <a:gd name="connsiteX772" fmla="*/ 4027319 w 5932286"/>
              <a:gd name="connsiteY772" fmla="*/ 3353209 h 6994526"/>
              <a:gd name="connsiteX773" fmla="*/ 4177100 w 5932286"/>
              <a:gd name="connsiteY773" fmla="*/ 3502260 h 6994526"/>
              <a:gd name="connsiteX774" fmla="*/ 4028026 w 5932286"/>
              <a:gd name="connsiteY774" fmla="*/ 3652007 h 6994526"/>
              <a:gd name="connsiteX775" fmla="*/ 5859473 w 5932286"/>
              <a:gd name="connsiteY775" fmla="*/ 3664284 h 6994526"/>
              <a:gd name="connsiteX776" fmla="*/ 5786659 w 5932286"/>
              <a:gd name="connsiteY776" fmla="*/ 3591471 h 6994526"/>
              <a:gd name="connsiteX777" fmla="*/ 5859473 w 5932286"/>
              <a:gd name="connsiteY777" fmla="*/ 3518657 h 6994526"/>
              <a:gd name="connsiteX778" fmla="*/ 5932286 w 5932286"/>
              <a:gd name="connsiteY778" fmla="*/ 3591471 h 6994526"/>
              <a:gd name="connsiteX779" fmla="*/ 5859473 w 5932286"/>
              <a:gd name="connsiteY779" fmla="*/ 3664284 h 6994526"/>
              <a:gd name="connsiteX780" fmla="*/ 2929967 w 5932286"/>
              <a:gd name="connsiteY780" fmla="*/ 3697434 h 6994526"/>
              <a:gd name="connsiteX781" fmla="*/ 2812692 w 5932286"/>
              <a:gd name="connsiteY781" fmla="*/ 3580873 h 6994526"/>
              <a:gd name="connsiteX782" fmla="*/ 2929259 w 5932286"/>
              <a:gd name="connsiteY782" fmla="*/ 3463632 h 6994526"/>
              <a:gd name="connsiteX783" fmla="*/ 3046541 w 5932286"/>
              <a:gd name="connsiteY783" fmla="*/ 3580164 h 6994526"/>
              <a:gd name="connsiteX784" fmla="*/ 2929967 w 5932286"/>
              <a:gd name="connsiteY784" fmla="*/ 3697434 h 6994526"/>
              <a:gd name="connsiteX785" fmla="*/ 4395129 w 5932286"/>
              <a:gd name="connsiteY785" fmla="*/ 3725385 h 6994526"/>
              <a:gd name="connsiteX786" fmla="*/ 4255238 w 5932286"/>
              <a:gd name="connsiteY786" fmla="*/ 3586212 h 6994526"/>
              <a:gd name="connsiteX787" fmla="*/ 4393712 w 5932286"/>
              <a:gd name="connsiteY787" fmla="*/ 3446354 h 6994526"/>
              <a:gd name="connsiteX788" fmla="*/ 4533596 w 5932286"/>
              <a:gd name="connsiteY788" fmla="*/ 3585503 h 6994526"/>
              <a:gd name="connsiteX789" fmla="*/ 4395129 w 5932286"/>
              <a:gd name="connsiteY789" fmla="*/ 3725385 h 6994526"/>
              <a:gd name="connsiteX790" fmla="*/ 4760666 w 5932286"/>
              <a:gd name="connsiteY790" fmla="*/ 3800894 h 6994526"/>
              <a:gd name="connsiteX791" fmla="*/ 4627843 w 5932286"/>
              <a:gd name="connsiteY791" fmla="*/ 3669497 h 6994526"/>
              <a:gd name="connsiteX792" fmla="*/ 4759959 w 5932286"/>
              <a:gd name="connsiteY792" fmla="*/ 3537409 h 6994526"/>
              <a:gd name="connsiteX793" fmla="*/ 4892075 w 5932286"/>
              <a:gd name="connsiteY793" fmla="*/ 3668791 h 6994526"/>
              <a:gd name="connsiteX794" fmla="*/ 4760666 w 5932286"/>
              <a:gd name="connsiteY794" fmla="*/ 3800894 h 6994526"/>
              <a:gd name="connsiteX795" fmla="*/ 2190569 w 5932286"/>
              <a:gd name="connsiteY795" fmla="*/ 3814783 h 6994526"/>
              <a:gd name="connsiteX796" fmla="*/ 2117735 w 5932286"/>
              <a:gd name="connsiteY796" fmla="*/ 3742003 h 6994526"/>
              <a:gd name="connsiteX797" fmla="*/ 2190569 w 5932286"/>
              <a:gd name="connsiteY797" fmla="*/ 3669172 h 6994526"/>
              <a:gd name="connsiteX798" fmla="*/ 2263362 w 5932286"/>
              <a:gd name="connsiteY798" fmla="*/ 3742003 h 6994526"/>
              <a:gd name="connsiteX799" fmla="*/ 2190569 w 5932286"/>
              <a:gd name="connsiteY799" fmla="*/ 3814783 h 6994526"/>
              <a:gd name="connsiteX800" fmla="*/ 3295022 w 5932286"/>
              <a:gd name="connsiteY800" fmla="*/ 3828033 h 6994526"/>
              <a:gd name="connsiteX801" fmla="*/ 3130408 w 5932286"/>
              <a:gd name="connsiteY801" fmla="*/ 3664146 h 6994526"/>
              <a:gd name="connsiteX802" fmla="*/ 3293607 w 5932286"/>
              <a:gd name="connsiteY802" fmla="*/ 3499577 h 6994526"/>
              <a:gd name="connsiteX803" fmla="*/ 3458929 w 5932286"/>
              <a:gd name="connsiteY803" fmla="*/ 3663442 h 6994526"/>
              <a:gd name="connsiteX804" fmla="*/ 3295022 w 5932286"/>
              <a:gd name="connsiteY804" fmla="*/ 3828033 h 6994526"/>
              <a:gd name="connsiteX805" fmla="*/ 5124152 w 5932286"/>
              <a:gd name="connsiteY805" fmla="*/ 3854992 h 6994526"/>
              <a:gd name="connsiteX806" fmla="*/ 5021712 w 5932286"/>
              <a:gd name="connsiteY806" fmla="*/ 3753265 h 6994526"/>
              <a:gd name="connsiteX807" fmla="*/ 5123451 w 5932286"/>
              <a:gd name="connsiteY807" fmla="*/ 3650833 h 6994526"/>
              <a:gd name="connsiteX808" fmla="*/ 5225890 w 5932286"/>
              <a:gd name="connsiteY808" fmla="*/ 3752562 h 6994526"/>
              <a:gd name="connsiteX809" fmla="*/ 5124152 w 5932286"/>
              <a:gd name="connsiteY809" fmla="*/ 3854992 h 6994526"/>
              <a:gd name="connsiteX810" fmla="*/ 2551031 w 5932286"/>
              <a:gd name="connsiteY810" fmla="*/ 3898047 h 6994526"/>
              <a:gd name="connsiteX811" fmla="*/ 2477198 w 5932286"/>
              <a:gd name="connsiteY811" fmla="*/ 3825241 h 6994526"/>
              <a:gd name="connsiteX812" fmla="*/ 2551031 w 5932286"/>
              <a:gd name="connsiteY812" fmla="*/ 3752438 h 6994526"/>
              <a:gd name="connsiteX813" fmla="*/ 2623840 w 5932286"/>
              <a:gd name="connsiteY813" fmla="*/ 3825241 h 6994526"/>
              <a:gd name="connsiteX814" fmla="*/ 2551031 w 5932286"/>
              <a:gd name="connsiteY814" fmla="*/ 3898047 h 6994526"/>
              <a:gd name="connsiteX815" fmla="*/ 5486679 w 5932286"/>
              <a:gd name="connsiteY815" fmla="*/ 3909244 h 6994526"/>
              <a:gd name="connsiteX816" fmla="*/ 5413859 w 5932286"/>
              <a:gd name="connsiteY816" fmla="*/ 3836436 h 6994526"/>
              <a:gd name="connsiteX817" fmla="*/ 5486679 w 5932286"/>
              <a:gd name="connsiteY817" fmla="*/ 3763621 h 6994526"/>
              <a:gd name="connsiteX818" fmla="*/ 5559487 w 5932286"/>
              <a:gd name="connsiteY818" fmla="*/ 3836436 h 6994526"/>
              <a:gd name="connsiteX819" fmla="*/ 5486679 w 5932286"/>
              <a:gd name="connsiteY819" fmla="*/ 3909244 h 6994526"/>
              <a:gd name="connsiteX820" fmla="*/ 4020280 w 5932286"/>
              <a:gd name="connsiteY820" fmla="*/ 3980226 h 6994526"/>
              <a:gd name="connsiteX821" fmla="*/ 3870505 w 5932286"/>
              <a:gd name="connsiteY821" fmla="*/ 3831156 h 6994526"/>
              <a:gd name="connsiteX822" fmla="*/ 4019570 w 5932286"/>
              <a:gd name="connsiteY822" fmla="*/ 3681406 h 6994526"/>
              <a:gd name="connsiteX823" fmla="*/ 4169346 w 5932286"/>
              <a:gd name="connsiteY823" fmla="*/ 3830452 h 6994526"/>
              <a:gd name="connsiteX824" fmla="*/ 4020280 w 5932286"/>
              <a:gd name="connsiteY824" fmla="*/ 3980226 h 6994526"/>
              <a:gd name="connsiteX825" fmla="*/ 5848846 w 5932286"/>
              <a:gd name="connsiteY825" fmla="*/ 3992529 h 6994526"/>
              <a:gd name="connsiteX826" fmla="*/ 5776006 w 5932286"/>
              <a:gd name="connsiteY826" fmla="*/ 3919742 h 6994526"/>
              <a:gd name="connsiteX827" fmla="*/ 5848846 w 5932286"/>
              <a:gd name="connsiteY827" fmla="*/ 3846903 h 6994526"/>
              <a:gd name="connsiteX828" fmla="*/ 5921633 w 5932286"/>
              <a:gd name="connsiteY828" fmla="*/ 3919742 h 6994526"/>
              <a:gd name="connsiteX829" fmla="*/ 5848846 w 5932286"/>
              <a:gd name="connsiteY829" fmla="*/ 3992529 h 6994526"/>
              <a:gd name="connsiteX830" fmla="*/ 2910711 w 5932286"/>
              <a:gd name="connsiteY830" fmla="*/ 4029206 h 6994526"/>
              <a:gd name="connsiteX831" fmla="*/ 2789194 w 5932286"/>
              <a:gd name="connsiteY831" fmla="*/ 3909103 h 6994526"/>
              <a:gd name="connsiteX832" fmla="*/ 2910002 w 5932286"/>
              <a:gd name="connsiteY832" fmla="*/ 3788302 h 6994526"/>
              <a:gd name="connsiteX833" fmla="*/ 3030811 w 5932286"/>
              <a:gd name="connsiteY833" fmla="*/ 3908395 h 6994526"/>
              <a:gd name="connsiteX834" fmla="*/ 2910711 w 5932286"/>
              <a:gd name="connsiteY834" fmla="*/ 4029206 h 6994526"/>
              <a:gd name="connsiteX835" fmla="*/ 1783865 w 5932286"/>
              <a:gd name="connsiteY835" fmla="*/ 4056998 h 6994526"/>
              <a:gd name="connsiteX836" fmla="*/ 1711051 w 5932286"/>
              <a:gd name="connsiteY836" fmla="*/ 3983854 h 6994526"/>
              <a:gd name="connsiteX837" fmla="*/ 1783865 w 5932286"/>
              <a:gd name="connsiteY837" fmla="*/ 3911070 h 6994526"/>
              <a:gd name="connsiteX838" fmla="*/ 1857041 w 5932286"/>
              <a:gd name="connsiteY838" fmla="*/ 3983854 h 6994526"/>
              <a:gd name="connsiteX839" fmla="*/ 1783865 w 5932286"/>
              <a:gd name="connsiteY839" fmla="*/ 4056998 h 6994526"/>
              <a:gd name="connsiteX840" fmla="*/ 4381567 w 5932286"/>
              <a:gd name="connsiteY840" fmla="*/ 4059873 h 6994526"/>
              <a:gd name="connsiteX841" fmla="*/ 4235325 w 5932286"/>
              <a:gd name="connsiteY841" fmla="*/ 3915045 h 6994526"/>
              <a:gd name="connsiteX842" fmla="*/ 4380157 w 5932286"/>
              <a:gd name="connsiteY842" fmla="*/ 3768805 h 6994526"/>
              <a:gd name="connsiteX843" fmla="*/ 4526399 w 5932286"/>
              <a:gd name="connsiteY843" fmla="*/ 3913637 h 6994526"/>
              <a:gd name="connsiteX844" fmla="*/ 4381567 w 5932286"/>
              <a:gd name="connsiteY844" fmla="*/ 4059873 h 6994526"/>
              <a:gd name="connsiteX845" fmla="*/ 4742160 w 5932286"/>
              <a:gd name="connsiteY845" fmla="*/ 4131976 h 6994526"/>
              <a:gd name="connsiteX846" fmla="*/ 4607219 w 5932286"/>
              <a:gd name="connsiteY846" fmla="*/ 3997732 h 6994526"/>
              <a:gd name="connsiteX847" fmla="*/ 4741451 w 5932286"/>
              <a:gd name="connsiteY847" fmla="*/ 3862794 h 6994526"/>
              <a:gd name="connsiteX848" fmla="*/ 4876399 w 5932286"/>
              <a:gd name="connsiteY848" fmla="*/ 3997026 h 6994526"/>
              <a:gd name="connsiteX849" fmla="*/ 4742160 w 5932286"/>
              <a:gd name="connsiteY849" fmla="*/ 4131976 h 6994526"/>
              <a:gd name="connsiteX850" fmla="*/ 2142321 w 5932286"/>
              <a:gd name="connsiteY850" fmla="*/ 4139916 h 6994526"/>
              <a:gd name="connsiteX851" fmla="*/ 2067635 w 5932286"/>
              <a:gd name="connsiteY851" fmla="*/ 4068935 h 6994526"/>
              <a:gd name="connsiteX852" fmla="*/ 2138577 w 5932286"/>
              <a:gd name="connsiteY852" fmla="*/ 3994249 h 6994526"/>
              <a:gd name="connsiteX853" fmla="*/ 2213299 w 5932286"/>
              <a:gd name="connsiteY853" fmla="*/ 4065194 h 6994526"/>
              <a:gd name="connsiteX854" fmla="*/ 2142321 w 5932286"/>
              <a:gd name="connsiteY854" fmla="*/ 4139916 h 6994526"/>
              <a:gd name="connsiteX855" fmla="*/ 5101884 w 5932286"/>
              <a:gd name="connsiteY855" fmla="*/ 4180058 h 6994526"/>
              <a:gd name="connsiteX856" fmla="*/ 5001564 w 5932286"/>
              <a:gd name="connsiteY856" fmla="*/ 4080433 h 6994526"/>
              <a:gd name="connsiteX857" fmla="*/ 5101176 w 5932286"/>
              <a:gd name="connsiteY857" fmla="*/ 3980819 h 6994526"/>
              <a:gd name="connsiteX858" fmla="*/ 5201495 w 5932286"/>
              <a:gd name="connsiteY858" fmla="*/ 4079734 h 6994526"/>
              <a:gd name="connsiteX859" fmla="*/ 5101884 w 5932286"/>
              <a:gd name="connsiteY859" fmla="*/ 4180058 h 6994526"/>
              <a:gd name="connsiteX860" fmla="*/ 2497738 w 5932286"/>
              <a:gd name="connsiteY860" fmla="*/ 4222683 h 6994526"/>
              <a:gd name="connsiteX861" fmla="*/ 2424452 w 5932286"/>
              <a:gd name="connsiteY861" fmla="*/ 4150337 h 6994526"/>
              <a:gd name="connsiteX862" fmla="*/ 2496805 w 5932286"/>
              <a:gd name="connsiteY862" fmla="*/ 4077044 h 6994526"/>
              <a:gd name="connsiteX863" fmla="*/ 2570091 w 5932286"/>
              <a:gd name="connsiteY863" fmla="*/ 4149395 h 6994526"/>
              <a:gd name="connsiteX864" fmla="*/ 2497738 w 5932286"/>
              <a:gd name="connsiteY864" fmla="*/ 4222683 h 6994526"/>
              <a:gd name="connsiteX865" fmla="*/ 5461432 w 5932286"/>
              <a:gd name="connsiteY865" fmla="*/ 4236788 h 6994526"/>
              <a:gd name="connsiteX866" fmla="*/ 5387939 w 5932286"/>
              <a:gd name="connsiteY866" fmla="*/ 4164637 h 6994526"/>
              <a:gd name="connsiteX867" fmla="*/ 5460092 w 5932286"/>
              <a:gd name="connsiteY867" fmla="*/ 4091148 h 6994526"/>
              <a:gd name="connsiteX868" fmla="*/ 5533586 w 5932286"/>
              <a:gd name="connsiteY868" fmla="*/ 4163297 h 6994526"/>
              <a:gd name="connsiteX869" fmla="*/ 5461432 w 5932286"/>
              <a:gd name="connsiteY869" fmla="*/ 4236788 h 6994526"/>
              <a:gd name="connsiteX870" fmla="*/ 3985425 w 5932286"/>
              <a:gd name="connsiteY870" fmla="*/ 4311155 h 6994526"/>
              <a:gd name="connsiteX871" fmla="*/ 3832112 w 5932286"/>
              <a:gd name="connsiteY871" fmla="*/ 4158562 h 6994526"/>
              <a:gd name="connsiteX872" fmla="*/ 3984016 w 5932286"/>
              <a:gd name="connsiteY872" fmla="*/ 4004543 h 6994526"/>
              <a:gd name="connsiteX873" fmla="*/ 4138029 w 5932286"/>
              <a:gd name="connsiteY873" fmla="*/ 4157148 h 6994526"/>
              <a:gd name="connsiteX874" fmla="*/ 3985425 w 5932286"/>
              <a:gd name="connsiteY874" fmla="*/ 4311155 h 6994526"/>
              <a:gd name="connsiteX875" fmla="*/ 5820258 w 5932286"/>
              <a:gd name="connsiteY875" fmla="*/ 4319815 h 6994526"/>
              <a:gd name="connsiteX876" fmla="*/ 5747444 w 5932286"/>
              <a:gd name="connsiteY876" fmla="*/ 4247003 h 6994526"/>
              <a:gd name="connsiteX877" fmla="*/ 5820258 w 5932286"/>
              <a:gd name="connsiteY877" fmla="*/ 4174188 h 6994526"/>
              <a:gd name="connsiteX878" fmla="*/ 5893071 w 5932286"/>
              <a:gd name="connsiteY878" fmla="*/ 4247003 h 6994526"/>
              <a:gd name="connsiteX879" fmla="*/ 5820258 w 5932286"/>
              <a:gd name="connsiteY879" fmla="*/ 4319815 h 6994526"/>
              <a:gd name="connsiteX880" fmla="*/ 2853847 w 5932286"/>
              <a:gd name="connsiteY880" fmla="*/ 4363108 h 6994526"/>
              <a:gd name="connsiteX881" fmla="*/ 2723143 w 5932286"/>
              <a:gd name="connsiteY881" fmla="*/ 4233115 h 6994526"/>
              <a:gd name="connsiteX882" fmla="*/ 2853139 w 5932286"/>
              <a:gd name="connsiteY882" fmla="*/ 4101708 h 6994526"/>
              <a:gd name="connsiteX883" fmla="*/ 2984545 w 5932286"/>
              <a:gd name="connsiteY883" fmla="*/ 4231704 h 6994526"/>
              <a:gd name="connsiteX884" fmla="*/ 2853847 w 5932286"/>
              <a:gd name="connsiteY884" fmla="*/ 4363108 h 6994526"/>
              <a:gd name="connsiteX885" fmla="*/ 4343810 w 5932286"/>
              <a:gd name="connsiteY885" fmla="*/ 4391141 h 6994526"/>
              <a:gd name="connsiteX886" fmla="*/ 4192625 w 5932286"/>
              <a:gd name="connsiteY886" fmla="*/ 4241360 h 6994526"/>
              <a:gd name="connsiteX887" fmla="*/ 4342400 w 5932286"/>
              <a:gd name="connsiteY887" fmla="*/ 4090175 h 6994526"/>
              <a:gd name="connsiteX888" fmla="*/ 4493593 w 5932286"/>
              <a:gd name="connsiteY888" fmla="*/ 4239950 h 6994526"/>
              <a:gd name="connsiteX889" fmla="*/ 4343810 w 5932286"/>
              <a:gd name="connsiteY889" fmla="*/ 4391141 h 6994526"/>
              <a:gd name="connsiteX890" fmla="*/ 2050073 w 5932286"/>
              <a:gd name="connsiteY890" fmla="*/ 4460270 h 6994526"/>
              <a:gd name="connsiteX891" fmla="*/ 1969897 w 5932286"/>
              <a:gd name="connsiteY891" fmla="*/ 4380074 h 6994526"/>
              <a:gd name="connsiteX892" fmla="*/ 2050073 w 5932286"/>
              <a:gd name="connsiteY892" fmla="*/ 4299880 h 6994526"/>
              <a:gd name="connsiteX893" fmla="*/ 2110154 w 5932286"/>
              <a:gd name="connsiteY893" fmla="*/ 4380074 h 6994526"/>
              <a:gd name="connsiteX894" fmla="*/ 2050073 w 5932286"/>
              <a:gd name="connsiteY894" fmla="*/ 4460270 h 6994526"/>
              <a:gd name="connsiteX895" fmla="*/ 4700999 w 5932286"/>
              <a:gd name="connsiteY895" fmla="*/ 4461819 h 6994526"/>
              <a:gd name="connsiteX896" fmla="*/ 4562520 w 5932286"/>
              <a:gd name="connsiteY896" fmla="*/ 4324050 h 6994526"/>
              <a:gd name="connsiteX897" fmla="*/ 4700291 w 5932286"/>
              <a:gd name="connsiteY897" fmla="*/ 4185572 h 6994526"/>
              <a:gd name="connsiteX898" fmla="*/ 4838769 w 5932286"/>
              <a:gd name="connsiteY898" fmla="*/ 4323343 h 6994526"/>
              <a:gd name="connsiteX899" fmla="*/ 4700999 w 5932286"/>
              <a:gd name="connsiteY899" fmla="*/ 4461819 h 6994526"/>
              <a:gd name="connsiteX900" fmla="*/ 3211374 w 5932286"/>
              <a:gd name="connsiteY900" fmla="*/ 4484756 h 6994526"/>
              <a:gd name="connsiteX901" fmla="*/ 3041110 w 5932286"/>
              <a:gd name="connsiteY901" fmla="*/ 4315900 h 6994526"/>
              <a:gd name="connsiteX902" fmla="*/ 3144531 w 5932286"/>
              <a:gd name="connsiteY902" fmla="*/ 4159429 h 6994526"/>
              <a:gd name="connsiteX903" fmla="*/ 3207351 w 5932286"/>
              <a:gd name="connsiteY903" fmla="*/ 4146334 h 6994526"/>
              <a:gd name="connsiteX904" fmla="*/ 3204562 w 5932286"/>
              <a:gd name="connsiteY904" fmla="*/ 4145781 h 6994526"/>
              <a:gd name="connsiteX905" fmla="*/ 3102036 w 5932286"/>
              <a:gd name="connsiteY905" fmla="*/ 3992481 h 6994526"/>
              <a:gd name="connsiteX906" fmla="*/ 3268061 w 5932286"/>
              <a:gd name="connsiteY906" fmla="*/ 3825056 h 6994526"/>
              <a:gd name="connsiteX907" fmla="*/ 3435495 w 5932286"/>
              <a:gd name="connsiteY907" fmla="*/ 3991068 h 6994526"/>
              <a:gd name="connsiteX908" fmla="*/ 3334257 w 5932286"/>
              <a:gd name="connsiteY908" fmla="*/ 4145366 h 6994526"/>
              <a:gd name="connsiteX909" fmla="*/ 3271954 w 5932286"/>
              <a:gd name="connsiteY909" fmla="*/ 4158006 h 6994526"/>
              <a:gd name="connsiteX910" fmla="*/ 3276406 w 5932286"/>
              <a:gd name="connsiteY910" fmla="*/ 4158911 h 6994526"/>
              <a:gd name="connsiteX911" fmla="*/ 3380229 w 5932286"/>
              <a:gd name="connsiteY911" fmla="*/ 4314495 h 6994526"/>
              <a:gd name="connsiteX912" fmla="*/ 3211374 w 5932286"/>
              <a:gd name="connsiteY912" fmla="*/ 4484756 h 6994526"/>
              <a:gd name="connsiteX913" fmla="*/ 5058310 w 5932286"/>
              <a:gd name="connsiteY913" fmla="*/ 4507182 h 6994526"/>
              <a:gd name="connsiteX914" fmla="*/ 4957274 w 5932286"/>
              <a:gd name="connsiteY914" fmla="*/ 4406854 h 6994526"/>
              <a:gd name="connsiteX915" fmla="*/ 5057602 w 5932286"/>
              <a:gd name="connsiteY915" fmla="*/ 4305820 h 6994526"/>
              <a:gd name="connsiteX916" fmla="*/ 5158637 w 5932286"/>
              <a:gd name="connsiteY916" fmla="*/ 4406147 h 6994526"/>
              <a:gd name="connsiteX917" fmla="*/ 5058310 w 5932286"/>
              <a:gd name="connsiteY917" fmla="*/ 4507182 h 6994526"/>
              <a:gd name="connsiteX918" fmla="*/ 2402623 w 5932286"/>
              <a:gd name="connsiteY918" fmla="*/ 4536670 h 6994526"/>
              <a:gd name="connsiteX919" fmla="*/ 2329797 w 5932286"/>
              <a:gd name="connsiteY919" fmla="*/ 4463841 h 6994526"/>
              <a:gd name="connsiteX920" fmla="*/ 2402623 w 5932286"/>
              <a:gd name="connsiteY920" fmla="*/ 4391011 h 6994526"/>
              <a:gd name="connsiteX921" fmla="*/ 2475448 w 5932286"/>
              <a:gd name="connsiteY921" fmla="*/ 4463841 h 6994526"/>
              <a:gd name="connsiteX922" fmla="*/ 2402623 w 5932286"/>
              <a:gd name="connsiteY922" fmla="*/ 4536670 h 6994526"/>
              <a:gd name="connsiteX923" fmla="*/ 5415506 w 5932286"/>
              <a:gd name="connsiteY923" fmla="*/ 4562365 h 6994526"/>
              <a:gd name="connsiteX924" fmla="*/ 5342692 w 5932286"/>
              <a:gd name="connsiteY924" fmla="*/ 4489553 h 6994526"/>
              <a:gd name="connsiteX925" fmla="*/ 5415506 w 5932286"/>
              <a:gd name="connsiteY925" fmla="*/ 4416739 h 6994526"/>
              <a:gd name="connsiteX926" fmla="*/ 5488319 w 5932286"/>
              <a:gd name="connsiteY926" fmla="*/ 4489553 h 6994526"/>
              <a:gd name="connsiteX927" fmla="*/ 5415506 w 5932286"/>
              <a:gd name="connsiteY927" fmla="*/ 4562365 h 6994526"/>
              <a:gd name="connsiteX928" fmla="*/ 2761855 w 5932286"/>
              <a:gd name="connsiteY928" fmla="*/ 4621031 h 6994526"/>
              <a:gd name="connsiteX929" fmla="*/ 2689041 w 5932286"/>
              <a:gd name="connsiteY929" fmla="*/ 4548216 h 6994526"/>
              <a:gd name="connsiteX930" fmla="*/ 2761086 w 5932286"/>
              <a:gd name="connsiteY930" fmla="*/ 4474635 h 6994526"/>
              <a:gd name="connsiteX931" fmla="*/ 2834676 w 5932286"/>
              <a:gd name="connsiteY931" fmla="*/ 4547449 h 6994526"/>
              <a:gd name="connsiteX932" fmla="*/ 2761855 w 5932286"/>
              <a:gd name="connsiteY932" fmla="*/ 4621031 h 6994526"/>
              <a:gd name="connsiteX933" fmla="*/ 3924421 w 5932286"/>
              <a:gd name="connsiteY933" fmla="*/ 4636800 h 6994526"/>
              <a:gd name="connsiteX934" fmla="*/ 3768284 w 5932286"/>
              <a:gd name="connsiteY934" fmla="*/ 4482081 h 6994526"/>
              <a:gd name="connsiteX935" fmla="*/ 3923713 w 5932286"/>
              <a:gd name="connsiteY935" fmla="*/ 4325235 h 6994526"/>
              <a:gd name="connsiteX936" fmla="*/ 4079848 w 5932286"/>
              <a:gd name="connsiteY936" fmla="*/ 4480662 h 6994526"/>
              <a:gd name="connsiteX937" fmla="*/ 3924421 w 5932286"/>
              <a:gd name="connsiteY937" fmla="*/ 4636800 h 6994526"/>
              <a:gd name="connsiteX938" fmla="*/ 5773294 w 5932286"/>
              <a:gd name="connsiteY938" fmla="*/ 4645164 h 6994526"/>
              <a:gd name="connsiteX939" fmla="*/ 5700479 w 5932286"/>
              <a:gd name="connsiteY939" fmla="*/ 4572352 h 6994526"/>
              <a:gd name="connsiteX940" fmla="*/ 5773294 w 5932286"/>
              <a:gd name="connsiteY940" fmla="*/ 4499536 h 6994526"/>
              <a:gd name="connsiteX941" fmla="*/ 5846107 w 5932286"/>
              <a:gd name="connsiteY941" fmla="*/ 4572352 h 6994526"/>
              <a:gd name="connsiteX942" fmla="*/ 5773294 w 5932286"/>
              <a:gd name="connsiteY942" fmla="*/ 4645164 h 6994526"/>
              <a:gd name="connsiteX943" fmla="*/ 1524353 w 5932286"/>
              <a:gd name="connsiteY943" fmla="*/ 4657347 h 6994526"/>
              <a:gd name="connsiteX944" fmla="*/ 1451540 w 5932286"/>
              <a:gd name="connsiteY944" fmla="*/ 4584207 h 6994526"/>
              <a:gd name="connsiteX945" fmla="*/ 1524353 w 5932286"/>
              <a:gd name="connsiteY945" fmla="*/ 4511422 h 6994526"/>
              <a:gd name="connsiteX946" fmla="*/ 1597529 w 5932286"/>
              <a:gd name="connsiteY946" fmla="*/ 4584207 h 6994526"/>
              <a:gd name="connsiteX947" fmla="*/ 1524353 w 5932286"/>
              <a:gd name="connsiteY947" fmla="*/ 4657347 h 6994526"/>
              <a:gd name="connsiteX948" fmla="*/ 4281357 w 5932286"/>
              <a:gd name="connsiteY948" fmla="*/ 4713592 h 6994526"/>
              <a:gd name="connsiteX949" fmla="*/ 4130162 w 5932286"/>
              <a:gd name="connsiteY949" fmla="*/ 4563106 h 6994526"/>
              <a:gd name="connsiteX950" fmla="*/ 4279940 w 5932286"/>
              <a:gd name="connsiteY950" fmla="*/ 4412621 h 6994526"/>
              <a:gd name="connsiteX951" fmla="*/ 4431134 w 5932286"/>
              <a:gd name="connsiteY951" fmla="*/ 4562401 h 6994526"/>
              <a:gd name="connsiteX952" fmla="*/ 4281357 w 5932286"/>
              <a:gd name="connsiteY952" fmla="*/ 4713592 h 6994526"/>
              <a:gd name="connsiteX953" fmla="*/ 1898609 w 5932286"/>
              <a:gd name="connsiteY953" fmla="*/ 4748603 h 6994526"/>
              <a:gd name="connsiteX954" fmla="*/ 1825795 w 5932286"/>
              <a:gd name="connsiteY954" fmla="*/ 4675769 h 6994526"/>
              <a:gd name="connsiteX955" fmla="*/ 1898609 w 5932286"/>
              <a:gd name="connsiteY955" fmla="*/ 4602937 h 6994526"/>
              <a:gd name="connsiteX956" fmla="*/ 1971423 w 5932286"/>
              <a:gd name="connsiteY956" fmla="*/ 4675769 h 6994526"/>
              <a:gd name="connsiteX957" fmla="*/ 1898609 w 5932286"/>
              <a:gd name="connsiteY957" fmla="*/ 4748603 h 6994526"/>
              <a:gd name="connsiteX958" fmla="*/ 4638170 w 5932286"/>
              <a:gd name="connsiteY958" fmla="*/ 4777091 h 6994526"/>
              <a:gd name="connsiteX959" fmla="*/ 4506766 w 5932286"/>
              <a:gd name="connsiteY959" fmla="*/ 4647098 h 6994526"/>
              <a:gd name="connsiteX960" fmla="*/ 4636761 w 5932286"/>
              <a:gd name="connsiteY960" fmla="*/ 4515689 h 6994526"/>
              <a:gd name="connsiteX961" fmla="*/ 4768165 w 5932286"/>
              <a:gd name="connsiteY961" fmla="*/ 4645688 h 6994526"/>
              <a:gd name="connsiteX962" fmla="*/ 4638170 w 5932286"/>
              <a:gd name="connsiteY962" fmla="*/ 4777091 h 6994526"/>
              <a:gd name="connsiteX963" fmla="*/ 3121323 w 5932286"/>
              <a:gd name="connsiteY963" fmla="*/ 4778306 h 6994526"/>
              <a:gd name="connsiteX964" fmla="*/ 2973667 w 5932286"/>
              <a:gd name="connsiteY964" fmla="*/ 4632064 h 6994526"/>
              <a:gd name="connsiteX965" fmla="*/ 3119908 w 5932286"/>
              <a:gd name="connsiteY965" fmla="*/ 4484404 h 6994526"/>
              <a:gd name="connsiteX966" fmla="*/ 3267565 w 5932286"/>
              <a:gd name="connsiteY966" fmla="*/ 4630646 h 6994526"/>
              <a:gd name="connsiteX967" fmla="*/ 3121323 w 5932286"/>
              <a:gd name="connsiteY967" fmla="*/ 4778306 h 6994526"/>
              <a:gd name="connsiteX968" fmla="*/ 4994396 w 5932286"/>
              <a:gd name="connsiteY968" fmla="*/ 4824678 h 6994526"/>
              <a:gd name="connsiteX969" fmla="*/ 4898311 w 5932286"/>
              <a:gd name="connsiteY969" fmla="*/ 4729297 h 6994526"/>
              <a:gd name="connsiteX970" fmla="*/ 4993694 w 5932286"/>
              <a:gd name="connsiteY970" fmla="*/ 4633212 h 6994526"/>
              <a:gd name="connsiteX971" fmla="*/ 5089779 w 5932286"/>
              <a:gd name="connsiteY971" fmla="*/ 4728596 h 6994526"/>
              <a:gd name="connsiteX972" fmla="*/ 4994396 w 5932286"/>
              <a:gd name="connsiteY972" fmla="*/ 4824678 h 6994526"/>
              <a:gd name="connsiteX973" fmla="*/ 2268509 w 5932286"/>
              <a:gd name="connsiteY973" fmla="*/ 4836828 h 6994526"/>
              <a:gd name="connsiteX974" fmla="*/ 2195689 w 5932286"/>
              <a:gd name="connsiteY974" fmla="*/ 4764020 h 6994526"/>
              <a:gd name="connsiteX975" fmla="*/ 2268509 w 5932286"/>
              <a:gd name="connsiteY975" fmla="*/ 4691195 h 6994526"/>
              <a:gd name="connsiteX976" fmla="*/ 2341317 w 5932286"/>
              <a:gd name="connsiteY976" fmla="*/ 4764020 h 6994526"/>
              <a:gd name="connsiteX977" fmla="*/ 2268509 w 5932286"/>
              <a:gd name="connsiteY977" fmla="*/ 4836828 h 6994526"/>
              <a:gd name="connsiteX978" fmla="*/ 5351112 w 5932286"/>
              <a:gd name="connsiteY978" fmla="*/ 4884809 h 6994526"/>
              <a:gd name="connsiteX979" fmla="*/ 5278298 w 5932286"/>
              <a:gd name="connsiteY979" fmla="*/ 4811995 h 6994526"/>
              <a:gd name="connsiteX980" fmla="*/ 5349853 w 5932286"/>
              <a:gd name="connsiteY980" fmla="*/ 4739179 h 6994526"/>
              <a:gd name="connsiteX981" fmla="*/ 5423925 w 5932286"/>
              <a:gd name="connsiteY981" fmla="*/ 4811995 h 6994526"/>
              <a:gd name="connsiteX982" fmla="*/ 5351112 w 5932286"/>
              <a:gd name="connsiteY982" fmla="*/ 4884809 h 6994526"/>
              <a:gd name="connsiteX983" fmla="*/ 1319439 w 5932286"/>
              <a:gd name="connsiteY983" fmla="*/ 4912984 h 6994526"/>
              <a:gd name="connsiteX984" fmla="*/ 1246262 w 5932286"/>
              <a:gd name="connsiteY984" fmla="*/ 4839838 h 6994526"/>
              <a:gd name="connsiteX985" fmla="*/ 1319439 w 5932286"/>
              <a:gd name="connsiteY985" fmla="*/ 4767055 h 6994526"/>
              <a:gd name="connsiteX986" fmla="*/ 1392251 w 5932286"/>
              <a:gd name="connsiteY986" fmla="*/ 4839838 h 6994526"/>
              <a:gd name="connsiteX987" fmla="*/ 1319439 w 5932286"/>
              <a:gd name="connsiteY987" fmla="*/ 4912984 h 6994526"/>
              <a:gd name="connsiteX988" fmla="*/ 2635603 w 5932286"/>
              <a:gd name="connsiteY988" fmla="*/ 4944521 h 6994526"/>
              <a:gd name="connsiteX989" fmla="*/ 2541642 w 5932286"/>
              <a:gd name="connsiteY989" fmla="*/ 4851268 h 6994526"/>
              <a:gd name="connsiteX990" fmla="*/ 2634901 w 5932286"/>
              <a:gd name="connsiteY990" fmla="*/ 4757313 h 6994526"/>
              <a:gd name="connsiteX991" fmla="*/ 2728860 w 5932286"/>
              <a:gd name="connsiteY991" fmla="*/ 4850558 h 6994526"/>
              <a:gd name="connsiteX992" fmla="*/ 2635603 w 5932286"/>
              <a:gd name="connsiteY992" fmla="*/ 4944521 h 6994526"/>
              <a:gd name="connsiteX993" fmla="*/ 5707448 w 5932286"/>
              <a:gd name="connsiteY993" fmla="*/ 4967166 h 6994526"/>
              <a:gd name="connsiteX994" fmla="*/ 5634633 w 5932286"/>
              <a:gd name="connsiteY994" fmla="*/ 4894348 h 6994526"/>
              <a:gd name="connsiteX995" fmla="*/ 5707448 w 5932286"/>
              <a:gd name="connsiteY995" fmla="*/ 4821530 h 6994526"/>
              <a:gd name="connsiteX996" fmla="*/ 5780261 w 5932286"/>
              <a:gd name="connsiteY996" fmla="*/ 4894348 h 6994526"/>
              <a:gd name="connsiteX997" fmla="*/ 5707448 w 5932286"/>
              <a:gd name="connsiteY997" fmla="*/ 4967166 h 6994526"/>
              <a:gd name="connsiteX998" fmla="*/ 1714008 w 5932286"/>
              <a:gd name="connsiteY998" fmla="*/ 5018904 h 6994526"/>
              <a:gd name="connsiteX999" fmla="*/ 1639021 w 5932286"/>
              <a:gd name="connsiteY999" fmla="*/ 4946134 h 6994526"/>
              <a:gd name="connsiteX1000" fmla="*/ 1711797 w 5932286"/>
              <a:gd name="connsiteY1000" fmla="*/ 4873364 h 6994526"/>
              <a:gd name="connsiteX1001" fmla="*/ 1786785 w 5932286"/>
              <a:gd name="connsiteY1001" fmla="*/ 4946134 h 6994526"/>
              <a:gd name="connsiteX1002" fmla="*/ 1714008 w 5932286"/>
              <a:gd name="connsiteY1002" fmla="*/ 5018904 h 6994526"/>
              <a:gd name="connsiteX1003" fmla="*/ 4195062 w 5932286"/>
              <a:gd name="connsiteY1003" fmla="*/ 5039784 h 6994526"/>
              <a:gd name="connsiteX1004" fmla="*/ 4035395 w 5932286"/>
              <a:gd name="connsiteY1004" fmla="*/ 4880820 h 6994526"/>
              <a:gd name="connsiteX1005" fmla="*/ 4194354 w 5932286"/>
              <a:gd name="connsiteY1005" fmla="*/ 4721149 h 6994526"/>
              <a:gd name="connsiteX1006" fmla="*/ 4354023 w 5932286"/>
              <a:gd name="connsiteY1006" fmla="*/ 4880113 h 6994526"/>
              <a:gd name="connsiteX1007" fmla="*/ 4195062 w 5932286"/>
              <a:gd name="connsiteY1007" fmla="*/ 5039784 h 6994526"/>
              <a:gd name="connsiteX1008" fmla="*/ 2999685 w 5932286"/>
              <a:gd name="connsiteY1008" fmla="*/ 5100391 h 6994526"/>
              <a:gd name="connsiteX1009" fmla="*/ 2835077 w 5932286"/>
              <a:gd name="connsiteY1009" fmla="*/ 4936484 h 6994526"/>
              <a:gd name="connsiteX1010" fmla="*/ 2998976 w 5932286"/>
              <a:gd name="connsiteY1010" fmla="*/ 4771870 h 6994526"/>
              <a:gd name="connsiteX1011" fmla="*/ 3163590 w 5932286"/>
              <a:gd name="connsiteY1011" fmla="*/ 4935771 h 6994526"/>
              <a:gd name="connsiteX1012" fmla="*/ 2999685 w 5932286"/>
              <a:gd name="connsiteY1012" fmla="*/ 5100391 h 6994526"/>
              <a:gd name="connsiteX1013" fmla="*/ 4552965 w 5932286"/>
              <a:gd name="connsiteY1013" fmla="*/ 5104582 h 6994526"/>
              <a:gd name="connsiteX1014" fmla="*/ 4411667 w 5932286"/>
              <a:gd name="connsiteY1014" fmla="*/ 4964697 h 6994526"/>
              <a:gd name="connsiteX1015" fmla="*/ 4551556 w 5932286"/>
              <a:gd name="connsiteY1015" fmla="*/ 4823400 h 6994526"/>
              <a:gd name="connsiteX1016" fmla="*/ 4692854 w 5932286"/>
              <a:gd name="connsiteY1016" fmla="*/ 4963284 h 6994526"/>
              <a:gd name="connsiteX1017" fmla="*/ 4552965 w 5932286"/>
              <a:gd name="connsiteY1017" fmla="*/ 5104582 h 6994526"/>
              <a:gd name="connsiteX1018" fmla="*/ 2097708 w 5932286"/>
              <a:gd name="connsiteY1018" fmla="*/ 5116687 h 6994526"/>
              <a:gd name="connsiteX1019" fmla="*/ 2024186 w 5932286"/>
              <a:gd name="connsiteY1019" fmla="*/ 5043869 h 6994526"/>
              <a:gd name="connsiteX1020" fmla="*/ 2097708 w 5932286"/>
              <a:gd name="connsiteY1020" fmla="*/ 4971061 h 6994526"/>
              <a:gd name="connsiteX1021" fmla="*/ 2170523 w 5932286"/>
              <a:gd name="connsiteY1021" fmla="*/ 5043869 h 6994526"/>
              <a:gd name="connsiteX1022" fmla="*/ 2097708 w 5932286"/>
              <a:gd name="connsiteY1022" fmla="*/ 5116687 h 6994526"/>
              <a:gd name="connsiteX1023" fmla="*/ 1071193 w 5932286"/>
              <a:gd name="connsiteY1023" fmla="*/ 5128439 h 6994526"/>
              <a:gd name="connsiteX1024" fmla="*/ 998378 w 5932286"/>
              <a:gd name="connsiteY1024" fmla="*/ 5055655 h 6994526"/>
              <a:gd name="connsiteX1025" fmla="*/ 1071193 w 5932286"/>
              <a:gd name="connsiteY1025" fmla="*/ 4982505 h 6994526"/>
              <a:gd name="connsiteX1026" fmla="*/ 1144367 w 5932286"/>
              <a:gd name="connsiteY1026" fmla="*/ 5055655 h 6994526"/>
              <a:gd name="connsiteX1027" fmla="*/ 1071193 w 5932286"/>
              <a:gd name="connsiteY1027" fmla="*/ 5128439 h 6994526"/>
              <a:gd name="connsiteX1028" fmla="*/ 4910268 w 5932286"/>
              <a:gd name="connsiteY1028" fmla="*/ 5156309 h 6994526"/>
              <a:gd name="connsiteX1029" fmla="*/ 4800052 w 5932286"/>
              <a:gd name="connsiteY1029" fmla="*/ 5047508 h 6994526"/>
              <a:gd name="connsiteX1030" fmla="*/ 4908851 w 5932286"/>
              <a:gd name="connsiteY1030" fmla="*/ 4937292 h 6994526"/>
              <a:gd name="connsiteX1031" fmla="*/ 5019065 w 5932286"/>
              <a:gd name="connsiteY1031" fmla="*/ 5046094 h 6994526"/>
              <a:gd name="connsiteX1032" fmla="*/ 4910268 w 5932286"/>
              <a:gd name="connsiteY1032" fmla="*/ 5156309 h 6994526"/>
              <a:gd name="connsiteX1033" fmla="*/ 5267464 w 5932286"/>
              <a:gd name="connsiteY1033" fmla="*/ 5204369 h 6994526"/>
              <a:gd name="connsiteX1034" fmla="*/ 5192570 w 5932286"/>
              <a:gd name="connsiteY1034" fmla="*/ 5130194 h 6994526"/>
              <a:gd name="connsiteX1035" fmla="*/ 5266755 w 5932286"/>
              <a:gd name="connsiteY1035" fmla="*/ 5055300 h 6994526"/>
              <a:gd name="connsiteX1036" fmla="*/ 5341640 w 5932286"/>
              <a:gd name="connsiteY1036" fmla="*/ 5129483 h 6994526"/>
              <a:gd name="connsiteX1037" fmla="*/ 5267464 w 5932286"/>
              <a:gd name="connsiteY1037" fmla="*/ 5204369 h 6994526"/>
              <a:gd name="connsiteX1038" fmla="*/ 2475354 w 5932286"/>
              <a:gd name="connsiteY1038" fmla="*/ 5255855 h 6994526"/>
              <a:gd name="connsiteX1039" fmla="*/ 2356661 w 5932286"/>
              <a:gd name="connsiteY1039" fmla="*/ 5137898 h 6994526"/>
              <a:gd name="connsiteX1040" fmla="*/ 2474646 w 5932286"/>
              <a:gd name="connsiteY1040" fmla="*/ 5019202 h 6994526"/>
              <a:gd name="connsiteX1041" fmla="*/ 2593340 w 5932286"/>
              <a:gd name="connsiteY1041" fmla="*/ 5137190 h 6994526"/>
              <a:gd name="connsiteX1042" fmla="*/ 2475354 w 5932286"/>
              <a:gd name="connsiteY1042" fmla="*/ 5255855 h 6994526"/>
              <a:gd name="connsiteX1043" fmla="*/ 1488569 w 5932286"/>
              <a:gd name="connsiteY1043" fmla="*/ 5259059 h 6994526"/>
              <a:gd name="connsiteX1044" fmla="*/ 1415715 w 5932286"/>
              <a:gd name="connsiteY1044" fmla="*/ 5186234 h 6994526"/>
              <a:gd name="connsiteX1045" fmla="*/ 1488569 w 5932286"/>
              <a:gd name="connsiteY1045" fmla="*/ 5113388 h 6994526"/>
              <a:gd name="connsiteX1046" fmla="*/ 1561423 w 5932286"/>
              <a:gd name="connsiteY1046" fmla="*/ 5186234 h 6994526"/>
              <a:gd name="connsiteX1047" fmla="*/ 1488569 w 5932286"/>
              <a:gd name="connsiteY1047" fmla="*/ 5259059 h 6994526"/>
              <a:gd name="connsiteX1048" fmla="*/ 5624659 w 5932286"/>
              <a:gd name="connsiteY1048" fmla="*/ 5285236 h 6994526"/>
              <a:gd name="connsiteX1049" fmla="*/ 5551844 w 5932286"/>
              <a:gd name="connsiteY1049" fmla="*/ 5212405 h 6994526"/>
              <a:gd name="connsiteX1050" fmla="*/ 5624659 w 5932286"/>
              <a:gd name="connsiteY1050" fmla="*/ 5139591 h 6994526"/>
              <a:gd name="connsiteX1051" fmla="*/ 5697489 w 5932286"/>
              <a:gd name="connsiteY1051" fmla="*/ 5212405 h 6994526"/>
              <a:gd name="connsiteX1052" fmla="*/ 5624659 w 5932286"/>
              <a:gd name="connsiteY1052" fmla="*/ 5285236 h 6994526"/>
              <a:gd name="connsiteX1053" fmla="*/ 4085752 w 5932286"/>
              <a:gd name="connsiteY1053" fmla="*/ 5348825 h 6994526"/>
              <a:gd name="connsiteX1054" fmla="*/ 3926789 w 5932286"/>
              <a:gd name="connsiteY1054" fmla="*/ 5191273 h 6994526"/>
              <a:gd name="connsiteX1055" fmla="*/ 4084343 w 5932286"/>
              <a:gd name="connsiteY1055" fmla="*/ 5032310 h 6994526"/>
              <a:gd name="connsiteX1056" fmla="*/ 4243305 w 5932286"/>
              <a:gd name="connsiteY1056" fmla="*/ 5189860 h 6994526"/>
              <a:gd name="connsiteX1057" fmla="*/ 4085752 w 5932286"/>
              <a:gd name="connsiteY1057" fmla="*/ 5348825 h 6994526"/>
              <a:gd name="connsiteX1058" fmla="*/ 1891993 w 5932286"/>
              <a:gd name="connsiteY1058" fmla="*/ 5373014 h 6994526"/>
              <a:gd name="connsiteX1059" fmla="*/ 1818784 w 5932286"/>
              <a:gd name="connsiteY1059" fmla="*/ 5300601 h 6994526"/>
              <a:gd name="connsiteX1060" fmla="*/ 1891195 w 5932286"/>
              <a:gd name="connsiteY1060" fmla="*/ 5227422 h 6994526"/>
              <a:gd name="connsiteX1061" fmla="*/ 1964403 w 5932286"/>
              <a:gd name="connsiteY1061" fmla="*/ 5299805 h 6994526"/>
              <a:gd name="connsiteX1062" fmla="*/ 1891993 w 5932286"/>
              <a:gd name="connsiteY1062" fmla="*/ 5373014 h 6994526"/>
              <a:gd name="connsiteX1063" fmla="*/ 2849224 w 5932286"/>
              <a:gd name="connsiteY1063" fmla="*/ 5392317 h 6994526"/>
              <a:gd name="connsiteX1064" fmla="*/ 2683906 w 5932286"/>
              <a:gd name="connsiteY1064" fmla="*/ 5228412 h 6994526"/>
              <a:gd name="connsiteX1065" fmla="*/ 2848515 w 5932286"/>
              <a:gd name="connsiteY1065" fmla="*/ 5063820 h 6994526"/>
              <a:gd name="connsiteX1066" fmla="*/ 3013126 w 5932286"/>
              <a:gd name="connsiteY1066" fmla="*/ 5227721 h 6994526"/>
              <a:gd name="connsiteX1067" fmla="*/ 2849224 w 5932286"/>
              <a:gd name="connsiteY1067" fmla="*/ 5392317 h 6994526"/>
              <a:gd name="connsiteX1068" fmla="*/ 4445965 w 5932286"/>
              <a:gd name="connsiteY1068" fmla="*/ 5414448 h 6994526"/>
              <a:gd name="connsiteX1069" fmla="*/ 4304664 w 5932286"/>
              <a:gd name="connsiteY1069" fmla="*/ 5273854 h 6994526"/>
              <a:gd name="connsiteX1070" fmla="*/ 4444556 w 5932286"/>
              <a:gd name="connsiteY1070" fmla="*/ 5133265 h 6994526"/>
              <a:gd name="connsiteX1071" fmla="*/ 4585856 w 5932286"/>
              <a:gd name="connsiteY1071" fmla="*/ 5273147 h 6994526"/>
              <a:gd name="connsiteX1072" fmla="*/ 4445965 w 5932286"/>
              <a:gd name="connsiteY1072" fmla="*/ 5414448 h 6994526"/>
              <a:gd name="connsiteX1073" fmla="*/ 4804984 w 5932286"/>
              <a:gd name="connsiteY1073" fmla="*/ 5431581 h 6994526"/>
              <a:gd name="connsiteX1074" fmla="*/ 4731509 w 5932286"/>
              <a:gd name="connsiteY1074" fmla="*/ 5358103 h 6994526"/>
              <a:gd name="connsiteX1075" fmla="*/ 4804984 w 5932286"/>
              <a:gd name="connsiteY1075" fmla="*/ 5284629 h 6994526"/>
              <a:gd name="connsiteX1076" fmla="*/ 4878459 w 5932286"/>
              <a:gd name="connsiteY1076" fmla="*/ 5358103 h 6994526"/>
              <a:gd name="connsiteX1077" fmla="*/ 4804984 w 5932286"/>
              <a:gd name="connsiteY1077" fmla="*/ 5431581 h 6994526"/>
              <a:gd name="connsiteX1078" fmla="*/ 1230962 w 5932286"/>
              <a:gd name="connsiteY1078" fmla="*/ 5462807 h 6994526"/>
              <a:gd name="connsiteX1079" fmla="*/ 1158147 w 5932286"/>
              <a:gd name="connsiteY1079" fmla="*/ 5389997 h 6994526"/>
              <a:gd name="connsiteX1080" fmla="*/ 1230962 w 5932286"/>
              <a:gd name="connsiteY1080" fmla="*/ 5317184 h 6994526"/>
              <a:gd name="connsiteX1081" fmla="*/ 1303775 w 5932286"/>
              <a:gd name="connsiteY1081" fmla="*/ 5389997 h 6994526"/>
              <a:gd name="connsiteX1082" fmla="*/ 1230962 w 5932286"/>
              <a:gd name="connsiteY1082" fmla="*/ 5462807 h 6994526"/>
              <a:gd name="connsiteX1083" fmla="*/ 5164226 w 5932286"/>
              <a:gd name="connsiteY1083" fmla="*/ 5514692 h 6994526"/>
              <a:gd name="connsiteX1084" fmla="*/ 5091412 w 5932286"/>
              <a:gd name="connsiteY1084" fmla="*/ 5441879 h 6994526"/>
              <a:gd name="connsiteX1085" fmla="*/ 5164226 w 5932286"/>
              <a:gd name="connsiteY1085" fmla="*/ 5369064 h 6994526"/>
              <a:gd name="connsiteX1086" fmla="*/ 5237039 w 5932286"/>
              <a:gd name="connsiteY1086" fmla="*/ 5441879 h 6994526"/>
              <a:gd name="connsiteX1087" fmla="*/ 5164226 w 5932286"/>
              <a:gd name="connsiteY1087" fmla="*/ 5514692 h 6994526"/>
              <a:gd name="connsiteX1088" fmla="*/ 2284587 w 5932286"/>
              <a:gd name="connsiteY1088" fmla="*/ 5518153 h 6994526"/>
              <a:gd name="connsiteX1089" fmla="*/ 2170845 w 5932286"/>
              <a:gd name="connsiteY1089" fmla="*/ 5405112 h 6994526"/>
              <a:gd name="connsiteX1090" fmla="*/ 2283887 w 5932286"/>
              <a:gd name="connsiteY1090" fmla="*/ 5291369 h 6994526"/>
              <a:gd name="connsiteX1091" fmla="*/ 2397629 w 5932286"/>
              <a:gd name="connsiteY1091" fmla="*/ 5404412 h 6994526"/>
              <a:gd name="connsiteX1092" fmla="*/ 2284587 w 5932286"/>
              <a:gd name="connsiteY1092" fmla="*/ 5518153 h 6994526"/>
              <a:gd name="connsiteX1093" fmla="*/ 5523466 w 5932286"/>
              <a:gd name="connsiteY1093" fmla="*/ 5598020 h 6994526"/>
              <a:gd name="connsiteX1094" fmla="*/ 5450652 w 5932286"/>
              <a:gd name="connsiteY1094" fmla="*/ 5525174 h 6994526"/>
              <a:gd name="connsiteX1095" fmla="*/ 5523466 w 5932286"/>
              <a:gd name="connsiteY1095" fmla="*/ 5452361 h 6994526"/>
              <a:gd name="connsiteX1096" fmla="*/ 5596310 w 5932286"/>
              <a:gd name="connsiteY1096" fmla="*/ 5525174 h 6994526"/>
              <a:gd name="connsiteX1097" fmla="*/ 5523466 w 5932286"/>
              <a:gd name="connsiteY1097" fmla="*/ 5598020 h 6994526"/>
              <a:gd name="connsiteX1098" fmla="*/ 1655079 w 5932286"/>
              <a:gd name="connsiteY1098" fmla="*/ 5600972 h 6994526"/>
              <a:gd name="connsiteX1099" fmla="*/ 1581395 w 5932286"/>
              <a:gd name="connsiteY1099" fmla="*/ 5529077 h 6994526"/>
              <a:gd name="connsiteX1100" fmla="*/ 1655079 w 5932286"/>
              <a:gd name="connsiteY1100" fmla="*/ 5455400 h 6994526"/>
              <a:gd name="connsiteX1101" fmla="*/ 1728763 w 5932286"/>
              <a:gd name="connsiteY1101" fmla="*/ 5527274 h 6994526"/>
              <a:gd name="connsiteX1102" fmla="*/ 1655079 w 5932286"/>
              <a:gd name="connsiteY1102" fmla="*/ 5600972 h 6994526"/>
              <a:gd name="connsiteX1103" fmla="*/ 956466 w 5932286"/>
              <a:gd name="connsiteY1103" fmla="*/ 5629118 h 6994526"/>
              <a:gd name="connsiteX1104" fmla="*/ 873219 w 5932286"/>
              <a:gd name="connsiteY1104" fmla="*/ 5566687 h 6994526"/>
              <a:gd name="connsiteX1105" fmla="*/ 935603 w 5932286"/>
              <a:gd name="connsiteY1105" fmla="*/ 5483376 h 6994526"/>
              <a:gd name="connsiteX1106" fmla="*/ 1018851 w 5932286"/>
              <a:gd name="connsiteY1106" fmla="*/ 5545807 h 6994526"/>
              <a:gd name="connsiteX1107" fmla="*/ 956466 w 5932286"/>
              <a:gd name="connsiteY1107" fmla="*/ 5629118 h 6994526"/>
              <a:gd name="connsiteX1108" fmla="*/ 3952984 w 5932286"/>
              <a:gd name="connsiteY1108" fmla="*/ 5631810 h 6994526"/>
              <a:gd name="connsiteX1109" fmla="*/ 3811686 w 5932286"/>
              <a:gd name="connsiteY1109" fmla="*/ 5491928 h 6994526"/>
              <a:gd name="connsiteX1110" fmla="*/ 3952276 w 5932286"/>
              <a:gd name="connsiteY1110" fmla="*/ 5350632 h 6994526"/>
              <a:gd name="connsiteX1111" fmla="*/ 4093573 w 5932286"/>
              <a:gd name="connsiteY1111" fmla="*/ 5490511 h 6994526"/>
              <a:gd name="connsiteX1112" fmla="*/ 3952984 w 5932286"/>
              <a:gd name="connsiteY1112" fmla="*/ 5631810 h 6994526"/>
              <a:gd name="connsiteX1113" fmla="*/ 2669604 w 5932286"/>
              <a:gd name="connsiteY1113" fmla="*/ 5654267 h 6994526"/>
              <a:gd name="connsiteX1114" fmla="*/ 2518412 w 5932286"/>
              <a:gd name="connsiteY1114" fmla="*/ 5504481 h 6994526"/>
              <a:gd name="connsiteX1115" fmla="*/ 2668189 w 5932286"/>
              <a:gd name="connsiteY1115" fmla="*/ 5353300 h 6994526"/>
              <a:gd name="connsiteX1116" fmla="*/ 2819381 w 5932286"/>
              <a:gd name="connsiteY1116" fmla="*/ 5503075 h 6994526"/>
              <a:gd name="connsiteX1117" fmla="*/ 2669604 w 5932286"/>
              <a:gd name="connsiteY1117" fmla="*/ 5654267 h 6994526"/>
              <a:gd name="connsiteX1118" fmla="*/ 4317552 w 5932286"/>
              <a:gd name="connsiteY1118" fmla="*/ 5689147 h 6994526"/>
              <a:gd name="connsiteX1119" fmla="*/ 4205221 w 5932286"/>
              <a:gd name="connsiteY1119" fmla="*/ 5577524 h 6994526"/>
              <a:gd name="connsiteX1120" fmla="*/ 4316844 w 5932286"/>
              <a:gd name="connsiteY1120" fmla="*/ 5465192 h 6994526"/>
              <a:gd name="connsiteX1121" fmla="*/ 4429175 w 5932286"/>
              <a:gd name="connsiteY1121" fmla="*/ 5576815 h 6994526"/>
              <a:gd name="connsiteX1122" fmla="*/ 4317552 w 5932286"/>
              <a:gd name="connsiteY1122" fmla="*/ 5689147 h 6994526"/>
              <a:gd name="connsiteX1123" fmla="*/ 4680554 w 5932286"/>
              <a:gd name="connsiteY1123" fmla="*/ 5735625 h 6994526"/>
              <a:gd name="connsiteX1124" fmla="*/ 4607079 w 5932286"/>
              <a:gd name="connsiteY1124" fmla="*/ 5662149 h 6994526"/>
              <a:gd name="connsiteX1125" fmla="*/ 4680554 w 5932286"/>
              <a:gd name="connsiteY1125" fmla="*/ 5588674 h 6994526"/>
              <a:gd name="connsiteX1126" fmla="*/ 4754030 w 5932286"/>
              <a:gd name="connsiteY1126" fmla="*/ 5662149 h 6994526"/>
              <a:gd name="connsiteX1127" fmla="*/ 4680554 w 5932286"/>
              <a:gd name="connsiteY1127" fmla="*/ 5735625 h 6994526"/>
              <a:gd name="connsiteX1128" fmla="*/ 639823 w 5932286"/>
              <a:gd name="connsiteY1128" fmla="*/ 5744752 h 6994526"/>
              <a:gd name="connsiteX1129" fmla="*/ 566990 w 5932286"/>
              <a:gd name="connsiteY1129" fmla="*/ 5671926 h 6994526"/>
              <a:gd name="connsiteX1130" fmla="*/ 639823 w 5932286"/>
              <a:gd name="connsiteY1130" fmla="*/ 5599097 h 6994526"/>
              <a:gd name="connsiteX1131" fmla="*/ 712657 w 5932286"/>
              <a:gd name="connsiteY1131" fmla="*/ 5671926 h 6994526"/>
              <a:gd name="connsiteX1132" fmla="*/ 639823 w 5932286"/>
              <a:gd name="connsiteY1132" fmla="*/ 5744752 h 6994526"/>
              <a:gd name="connsiteX1133" fmla="*/ 2064785 w 5932286"/>
              <a:gd name="connsiteY1133" fmla="*/ 5762654 h 6994526"/>
              <a:gd name="connsiteX1134" fmla="*/ 1951043 w 5932286"/>
              <a:gd name="connsiteY1134" fmla="*/ 5649612 h 6994526"/>
              <a:gd name="connsiteX1135" fmla="*/ 2064084 w 5932286"/>
              <a:gd name="connsiteY1135" fmla="*/ 5535866 h 6994526"/>
              <a:gd name="connsiteX1136" fmla="*/ 2177827 w 5932286"/>
              <a:gd name="connsiteY1136" fmla="*/ 5648908 h 6994526"/>
              <a:gd name="connsiteX1137" fmla="*/ 2064785 w 5932286"/>
              <a:gd name="connsiteY1137" fmla="*/ 5762654 h 6994526"/>
              <a:gd name="connsiteX1138" fmla="*/ 1391324 w 5932286"/>
              <a:gd name="connsiteY1138" fmla="*/ 5796155 h 6994526"/>
              <a:gd name="connsiteX1139" fmla="*/ 1318155 w 5932286"/>
              <a:gd name="connsiteY1139" fmla="*/ 5723691 h 6994526"/>
              <a:gd name="connsiteX1140" fmla="*/ 1391324 w 5932286"/>
              <a:gd name="connsiteY1140" fmla="*/ 5650520 h 6994526"/>
              <a:gd name="connsiteX1141" fmla="*/ 1463789 w 5932286"/>
              <a:gd name="connsiteY1141" fmla="*/ 5722988 h 6994526"/>
              <a:gd name="connsiteX1142" fmla="*/ 1391324 w 5932286"/>
              <a:gd name="connsiteY1142" fmla="*/ 5796155 h 6994526"/>
              <a:gd name="connsiteX1143" fmla="*/ 319820 w 5932286"/>
              <a:gd name="connsiteY1143" fmla="*/ 5816809 h 6994526"/>
              <a:gd name="connsiteX1144" fmla="*/ 246967 w 5932286"/>
              <a:gd name="connsiteY1144" fmla="*/ 5743955 h 6994526"/>
              <a:gd name="connsiteX1145" fmla="*/ 319820 w 5932286"/>
              <a:gd name="connsiteY1145" fmla="*/ 5671100 h 6994526"/>
              <a:gd name="connsiteX1146" fmla="*/ 392675 w 5932286"/>
              <a:gd name="connsiteY1146" fmla="*/ 5743955 h 6994526"/>
              <a:gd name="connsiteX1147" fmla="*/ 319820 w 5932286"/>
              <a:gd name="connsiteY1147" fmla="*/ 5816809 h 6994526"/>
              <a:gd name="connsiteX1148" fmla="*/ 5043199 w 5932286"/>
              <a:gd name="connsiteY1148" fmla="*/ 5820223 h 6994526"/>
              <a:gd name="connsiteX1149" fmla="*/ 4970373 w 5932286"/>
              <a:gd name="connsiteY1149" fmla="*/ 5747396 h 6994526"/>
              <a:gd name="connsiteX1150" fmla="*/ 5043199 w 5932286"/>
              <a:gd name="connsiteY1150" fmla="*/ 5674570 h 6994526"/>
              <a:gd name="connsiteX1151" fmla="*/ 5116025 w 5932286"/>
              <a:gd name="connsiteY1151" fmla="*/ 5747396 h 6994526"/>
              <a:gd name="connsiteX1152" fmla="*/ 5043199 w 5932286"/>
              <a:gd name="connsiteY1152" fmla="*/ 5820223 h 6994526"/>
              <a:gd name="connsiteX1153" fmla="*/ 0 w 5932286"/>
              <a:gd name="connsiteY1153" fmla="*/ 5838543 h 6994526"/>
              <a:gd name="connsiteX1154" fmla="*/ 0 w 5932286"/>
              <a:gd name="connsiteY1154" fmla="*/ 5695865 h 6994526"/>
              <a:gd name="connsiteX1155" fmla="*/ 20966 w 5932286"/>
              <a:gd name="connsiteY1155" fmla="*/ 5699865 h 6994526"/>
              <a:gd name="connsiteX1156" fmla="*/ 64931 w 5932286"/>
              <a:gd name="connsiteY1156" fmla="*/ 5767151 h 6994526"/>
              <a:gd name="connsiteX1157" fmla="*/ 20966 w 5932286"/>
              <a:gd name="connsiteY1157" fmla="*/ 5834531 h 6994526"/>
              <a:gd name="connsiteX1158" fmla="*/ 5405330 w 5932286"/>
              <a:gd name="connsiteY1158" fmla="*/ 5904968 h 6994526"/>
              <a:gd name="connsiteX1159" fmla="*/ 5325780 w 5932286"/>
              <a:gd name="connsiteY1159" fmla="*/ 5832583 h 6994526"/>
              <a:gd name="connsiteX1160" fmla="*/ 5405330 w 5932286"/>
              <a:gd name="connsiteY1160" fmla="*/ 5760274 h 6994526"/>
              <a:gd name="connsiteX1161" fmla="*/ 5484951 w 5932286"/>
              <a:gd name="connsiteY1161" fmla="*/ 5832583 h 6994526"/>
              <a:gd name="connsiteX1162" fmla="*/ 5405330 w 5932286"/>
              <a:gd name="connsiteY1162" fmla="*/ 5904968 h 6994526"/>
              <a:gd name="connsiteX1163" fmla="*/ 2463837 w 5932286"/>
              <a:gd name="connsiteY1163" fmla="*/ 5931581 h 6994526"/>
              <a:gd name="connsiteX1164" fmla="*/ 2291449 w 5932286"/>
              <a:gd name="connsiteY1164" fmla="*/ 5760610 h 6994526"/>
              <a:gd name="connsiteX1165" fmla="*/ 2462420 w 5932286"/>
              <a:gd name="connsiteY1165" fmla="*/ 5588229 h 6994526"/>
              <a:gd name="connsiteX1166" fmla="*/ 2634807 w 5932286"/>
              <a:gd name="connsiteY1166" fmla="*/ 5759200 h 6994526"/>
              <a:gd name="connsiteX1167" fmla="*/ 2463837 w 5932286"/>
              <a:gd name="connsiteY1167" fmla="*/ 5931581 h 6994526"/>
              <a:gd name="connsiteX1168" fmla="*/ 3798060 w 5932286"/>
              <a:gd name="connsiteY1168" fmla="*/ 5940306 h 6994526"/>
              <a:gd name="connsiteX1169" fmla="*/ 3638391 w 5932286"/>
              <a:gd name="connsiteY1169" fmla="*/ 5781343 h 6994526"/>
              <a:gd name="connsiteX1170" fmla="*/ 3797352 w 5932286"/>
              <a:gd name="connsiteY1170" fmla="*/ 5621676 h 6994526"/>
              <a:gd name="connsiteX1171" fmla="*/ 3957021 w 5932286"/>
              <a:gd name="connsiteY1171" fmla="*/ 5780635 h 6994526"/>
              <a:gd name="connsiteX1172" fmla="*/ 3798060 w 5932286"/>
              <a:gd name="connsiteY1172" fmla="*/ 5940306 h 6994526"/>
              <a:gd name="connsiteX1173" fmla="*/ 1104633 w 5932286"/>
              <a:gd name="connsiteY1173" fmla="*/ 5956428 h 6994526"/>
              <a:gd name="connsiteX1174" fmla="*/ 1031057 w 5932286"/>
              <a:gd name="connsiteY1174" fmla="*/ 5884367 h 6994526"/>
              <a:gd name="connsiteX1175" fmla="*/ 1103112 w 5932286"/>
              <a:gd name="connsiteY1175" fmla="*/ 5810770 h 6994526"/>
              <a:gd name="connsiteX1176" fmla="*/ 1176689 w 5932286"/>
              <a:gd name="connsiteY1176" fmla="*/ 5882834 h 6994526"/>
              <a:gd name="connsiteX1177" fmla="*/ 1104633 w 5932286"/>
              <a:gd name="connsiteY1177" fmla="*/ 5956428 h 6994526"/>
              <a:gd name="connsiteX1178" fmla="*/ 1818839 w 5932286"/>
              <a:gd name="connsiteY1178" fmla="*/ 5974160 h 6994526"/>
              <a:gd name="connsiteX1179" fmla="*/ 1711447 w 5932286"/>
              <a:gd name="connsiteY1179" fmla="*/ 5867486 h 6994526"/>
              <a:gd name="connsiteX1180" fmla="*/ 1818129 w 5932286"/>
              <a:gd name="connsiteY1180" fmla="*/ 5760094 h 6994526"/>
              <a:gd name="connsiteX1181" fmla="*/ 1925514 w 5932286"/>
              <a:gd name="connsiteY1181" fmla="*/ 5866776 h 6994526"/>
              <a:gd name="connsiteX1182" fmla="*/ 1818839 w 5932286"/>
              <a:gd name="connsiteY1182" fmla="*/ 5974160 h 6994526"/>
              <a:gd name="connsiteX1183" fmla="*/ 4168433 w 5932286"/>
              <a:gd name="connsiteY1183" fmla="*/ 5991951 h 6994526"/>
              <a:gd name="connsiteX1184" fmla="*/ 4046213 w 5932286"/>
              <a:gd name="connsiteY1184" fmla="*/ 5870441 h 6994526"/>
              <a:gd name="connsiteX1185" fmla="*/ 4167731 w 5932286"/>
              <a:gd name="connsiteY1185" fmla="*/ 5748215 h 6994526"/>
              <a:gd name="connsiteX1186" fmla="*/ 4289950 w 5932286"/>
              <a:gd name="connsiteY1186" fmla="*/ 5869732 h 6994526"/>
              <a:gd name="connsiteX1187" fmla="*/ 4168433 w 5932286"/>
              <a:gd name="connsiteY1187" fmla="*/ 5991951 h 6994526"/>
              <a:gd name="connsiteX1188" fmla="*/ 4537360 w 5932286"/>
              <a:gd name="connsiteY1188" fmla="*/ 6050417 h 6994526"/>
              <a:gd name="connsiteX1189" fmla="*/ 4444805 w 5932286"/>
              <a:gd name="connsiteY1189" fmla="*/ 5958578 h 6994526"/>
              <a:gd name="connsiteX1190" fmla="*/ 4536652 w 5932286"/>
              <a:gd name="connsiteY1190" fmla="*/ 5866023 h 6994526"/>
              <a:gd name="connsiteX1191" fmla="*/ 4629199 w 5932286"/>
              <a:gd name="connsiteY1191" fmla="*/ 5957869 h 6994526"/>
              <a:gd name="connsiteX1192" fmla="*/ 4537360 w 5932286"/>
              <a:gd name="connsiteY1192" fmla="*/ 6050417 h 6994526"/>
              <a:gd name="connsiteX1193" fmla="*/ 799114 w 5932286"/>
              <a:gd name="connsiteY1193" fmla="*/ 6078686 h 6994526"/>
              <a:gd name="connsiteX1194" fmla="*/ 726283 w 5932286"/>
              <a:gd name="connsiteY1194" fmla="*/ 6005858 h 6994526"/>
              <a:gd name="connsiteX1195" fmla="*/ 799114 w 5932286"/>
              <a:gd name="connsiteY1195" fmla="*/ 5933024 h 6994526"/>
              <a:gd name="connsiteX1196" fmla="*/ 871944 w 5932286"/>
              <a:gd name="connsiteY1196" fmla="*/ 6005858 h 6994526"/>
              <a:gd name="connsiteX1197" fmla="*/ 799114 w 5932286"/>
              <a:gd name="connsiteY1197" fmla="*/ 6078686 h 6994526"/>
              <a:gd name="connsiteX1198" fmla="*/ 4904240 w 5932286"/>
              <a:gd name="connsiteY1198" fmla="*/ 6117968 h 6994526"/>
              <a:gd name="connsiteX1199" fmla="*/ 4831419 w 5932286"/>
              <a:gd name="connsiteY1199" fmla="*/ 6045147 h 6994526"/>
              <a:gd name="connsiteX1200" fmla="*/ 4904240 w 5932286"/>
              <a:gd name="connsiteY1200" fmla="*/ 5972326 h 6994526"/>
              <a:gd name="connsiteX1201" fmla="*/ 4977060 w 5932286"/>
              <a:gd name="connsiteY1201" fmla="*/ 6045147 h 6994526"/>
              <a:gd name="connsiteX1202" fmla="*/ 4904240 w 5932286"/>
              <a:gd name="connsiteY1202" fmla="*/ 6117968 h 6994526"/>
              <a:gd name="connsiteX1203" fmla="*/ 2233269 w 5932286"/>
              <a:gd name="connsiteY1203" fmla="*/ 6138470 h 6994526"/>
              <a:gd name="connsiteX1204" fmla="*/ 2088437 w 5932286"/>
              <a:gd name="connsiteY1204" fmla="*/ 5994346 h 6994526"/>
              <a:gd name="connsiteX1205" fmla="*/ 2232561 w 5932286"/>
              <a:gd name="connsiteY1205" fmla="*/ 5849514 h 6994526"/>
              <a:gd name="connsiteX1206" fmla="*/ 2377393 w 5932286"/>
              <a:gd name="connsiteY1206" fmla="*/ 5993638 h 6994526"/>
              <a:gd name="connsiteX1207" fmla="*/ 2233269 w 5932286"/>
              <a:gd name="connsiteY1207" fmla="*/ 6138470 h 6994526"/>
              <a:gd name="connsiteX1208" fmla="*/ 481007 w 5932286"/>
              <a:gd name="connsiteY1208" fmla="*/ 6160973 h 6994526"/>
              <a:gd name="connsiteX1209" fmla="*/ 408192 w 5932286"/>
              <a:gd name="connsiteY1209" fmla="*/ 6089207 h 6994526"/>
              <a:gd name="connsiteX1210" fmla="*/ 481007 w 5932286"/>
              <a:gd name="connsiteY1210" fmla="*/ 6015334 h 6994526"/>
              <a:gd name="connsiteX1211" fmla="*/ 553830 w 5932286"/>
              <a:gd name="connsiteY1211" fmla="*/ 6088149 h 6994526"/>
              <a:gd name="connsiteX1212" fmla="*/ 481007 w 5932286"/>
              <a:gd name="connsiteY1212" fmla="*/ 6160973 h 6994526"/>
              <a:gd name="connsiteX1213" fmla="*/ 1550239 w 5932286"/>
              <a:gd name="connsiteY1213" fmla="*/ 6182436 h 6994526"/>
              <a:gd name="connsiteX1214" fmla="*/ 1423777 w 5932286"/>
              <a:gd name="connsiteY1214" fmla="*/ 6057384 h 6994526"/>
              <a:gd name="connsiteX1215" fmla="*/ 1548829 w 5932286"/>
              <a:gd name="connsiteY1215" fmla="*/ 5930918 h 6994526"/>
              <a:gd name="connsiteX1216" fmla="*/ 1675292 w 5932286"/>
              <a:gd name="connsiteY1216" fmla="*/ 6055966 h 6994526"/>
              <a:gd name="connsiteX1217" fmla="*/ 1550239 w 5932286"/>
              <a:gd name="connsiteY1217" fmla="*/ 6182436 h 6994526"/>
              <a:gd name="connsiteX1218" fmla="*/ 3622904 w 5932286"/>
              <a:gd name="connsiteY1218" fmla="*/ 6190656 h 6994526"/>
              <a:gd name="connsiteX1219" fmla="*/ 3490080 w 5932286"/>
              <a:gd name="connsiteY1219" fmla="*/ 6059245 h 6994526"/>
              <a:gd name="connsiteX1220" fmla="*/ 3622196 w 5932286"/>
              <a:gd name="connsiteY1220" fmla="*/ 5927133 h 6994526"/>
              <a:gd name="connsiteX1221" fmla="*/ 3754311 w 5932286"/>
              <a:gd name="connsiteY1221" fmla="*/ 6058537 h 6994526"/>
              <a:gd name="connsiteX1222" fmla="*/ 3622904 w 5932286"/>
              <a:gd name="connsiteY1222" fmla="*/ 6190656 h 6994526"/>
              <a:gd name="connsiteX1223" fmla="*/ 155173 w 5932286"/>
              <a:gd name="connsiteY1223" fmla="*/ 6201392 h 6994526"/>
              <a:gd name="connsiteX1224" fmla="*/ 81786 w 5932286"/>
              <a:gd name="connsiteY1224" fmla="*/ 6127999 h 6994526"/>
              <a:gd name="connsiteX1225" fmla="*/ 155173 w 5932286"/>
              <a:gd name="connsiteY1225" fmla="*/ 6055798 h 6994526"/>
              <a:gd name="connsiteX1226" fmla="*/ 228557 w 5932286"/>
              <a:gd name="connsiteY1226" fmla="*/ 6127999 h 6994526"/>
              <a:gd name="connsiteX1227" fmla="*/ 155173 w 5932286"/>
              <a:gd name="connsiteY1227" fmla="*/ 6201392 h 6994526"/>
              <a:gd name="connsiteX1228" fmla="*/ 5269637 w 5932286"/>
              <a:gd name="connsiteY1228" fmla="*/ 6204197 h 6994526"/>
              <a:gd name="connsiteX1229" fmla="*/ 5196975 w 5932286"/>
              <a:gd name="connsiteY1229" fmla="*/ 6131496 h 6994526"/>
              <a:gd name="connsiteX1230" fmla="*/ 5265842 w 5932286"/>
              <a:gd name="connsiteY1230" fmla="*/ 6058835 h 6994526"/>
              <a:gd name="connsiteX1231" fmla="*/ 5342338 w 5932286"/>
              <a:gd name="connsiteY1231" fmla="*/ 6131496 h 6994526"/>
              <a:gd name="connsiteX1232" fmla="*/ 5269637 w 5932286"/>
              <a:gd name="connsiteY1232" fmla="*/ 6204197 h 6994526"/>
              <a:gd name="connsiteX1233" fmla="*/ 3999947 w 5932286"/>
              <a:gd name="connsiteY1233" fmla="*/ 6249491 h 6994526"/>
              <a:gd name="connsiteX1234" fmla="*/ 3902452 w 5932286"/>
              <a:gd name="connsiteY1234" fmla="*/ 6152704 h 6994526"/>
              <a:gd name="connsiteX1235" fmla="*/ 3999239 w 5932286"/>
              <a:gd name="connsiteY1235" fmla="*/ 6055207 h 6994526"/>
              <a:gd name="connsiteX1236" fmla="*/ 4096735 w 5932286"/>
              <a:gd name="connsiteY1236" fmla="*/ 6151996 h 6994526"/>
              <a:gd name="connsiteX1237" fmla="*/ 3999947 w 5932286"/>
              <a:gd name="connsiteY1237" fmla="*/ 6249491 h 6994526"/>
              <a:gd name="connsiteX1238" fmla="*/ 1262057 w 5932286"/>
              <a:gd name="connsiteY1238" fmla="*/ 6307887 h 6994526"/>
              <a:gd name="connsiteX1239" fmla="*/ 1168095 w 5932286"/>
              <a:gd name="connsiteY1239" fmla="*/ 6214622 h 6994526"/>
              <a:gd name="connsiteX1240" fmla="*/ 1261350 w 5932286"/>
              <a:gd name="connsiteY1240" fmla="*/ 6120658 h 6994526"/>
              <a:gd name="connsiteX1241" fmla="*/ 1355319 w 5932286"/>
              <a:gd name="connsiteY1241" fmla="*/ 6213913 h 6994526"/>
              <a:gd name="connsiteX1242" fmla="*/ 1262057 w 5932286"/>
              <a:gd name="connsiteY1242" fmla="*/ 6307887 h 6994526"/>
              <a:gd name="connsiteX1243" fmla="*/ 4375181 w 5932286"/>
              <a:gd name="connsiteY1243" fmla="*/ 6316682 h 6994526"/>
              <a:gd name="connsiteX1244" fmla="*/ 4302000 w 5932286"/>
              <a:gd name="connsiteY1244" fmla="*/ 6244229 h 6994526"/>
              <a:gd name="connsiteX1245" fmla="*/ 4374454 w 5932286"/>
              <a:gd name="connsiteY1245" fmla="*/ 6171048 h 6994526"/>
              <a:gd name="connsiteX1246" fmla="*/ 4447635 w 5932286"/>
              <a:gd name="connsiteY1246" fmla="*/ 6243502 h 6994526"/>
              <a:gd name="connsiteX1247" fmla="*/ 4375181 w 5932286"/>
              <a:gd name="connsiteY1247" fmla="*/ 6316682 h 6994526"/>
              <a:gd name="connsiteX1248" fmla="*/ 1981139 w 5932286"/>
              <a:gd name="connsiteY1248" fmla="*/ 6352608 h 6994526"/>
              <a:gd name="connsiteX1249" fmla="*/ 1832073 w 5932286"/>
              <a:gd name="connsiteY1249" fmla="*/ 6204952 h 6994526"/>
              <a:gd name="connsiteX1250" fmla="*/ 1980438 w 5932286"/>
              <a:gd name="connsiteY1250" fmla="*/ 6056587 h 6994526"/>
              <a:gd name="connsiteX1251" fmla="*/ 2128795 w 5932286"/>
              <a:gd name="connsiteY1251" fmla="*/ 6204243 h 6994526"/>
              <a:gd name="connsiteX1252" fmla="*/ 1981139 w 5932286"/>
              <a:gd name="connsiteY1252" fmla="*/ 6352608 h 6994526"/>
              <a:gd name="connsiteX1253" fmla="*/ 4747377 w 5932286"/>
              <a:gd name="connsiteY1253" fmla="*/ 6406521 h 6994526"/>
              <a:gd name="connsiteX1254" fmla="*/ 4674556 w 5932286"/>
              <a:gd name="connsiteY1254" fmla="*/ 6333701 h 6994526"/>
              <a:gd name="connsiteX1255" fmla="*/ 4747377 w 5932286"/>
              <a:gd name="connsiteY1255" fmla="*/ 6260880 h 6994526"/>
              <a:gd name="connsiteX1256" fmla="*/ 4820184 w 5932286"/>
              <a:gd name="connsiteY1256" fmla="*/ 6333701 h 6994526"/>
              <a:gd name="connsiteX1257" fmla="*/ 4747377 w 5932286"/>
              <a:gd name="connsiteY1257" fmla="*/ 6406521 h 6994526"/>
              <a:gd name="connsiteX1258" fmla="*/ 958009 w 5932286"/>
              <a:gd name="connsiteY1258" fmla="*/ 6432315 h 6994526"/>
              <a:gd name="connsiteX1259" fmla="*/ 864045 w 5932286"/>
              <a:gd name="connsiteY1259" fmla="*/ 6339055 h 6994526"/>
              <a:gd name="connsiteX1260" fmla="*/ 957301 w 5932286"/>
              <a:gd name="connsiteY1260" fmla="*/ 6245091 h 6994526"/>
              <a:gd name="connsiteX1261" fmla="*/ 1051270 w 5932286"/>
              <a:gd name="connsiteY1261" fmla="*/ 6338347 h 6994526"/>
              <a:gd name="connsiteX1262" fmla="*/ 958009 w 5932286"/>
              <a:gd name="connsiteY1262" fmla="*/ 6432315 h 6994526"/>
              <a:gd name="connsiteX1263" fmla="*/ 3426338 w 5932286"/>
              <a:gd name="connsiteY1263" fmla="*/ 6484301 h 6994526"/>
              <a:gd name="connsiteX1264" fmla="*/ 3263843 w 5932286"/>
              <a:gd name="connsiteY1264" fmla="*/ 6323223 h 6994526"/>
              <a:gd name="connsiteX1265" fmla="*/ 3424921 w 5932286"/>
              <a:gd name="connsiteY1265" fmla="*/ 6160725 h 6994526"/>
              <a:gd name="connsiteX1266" fmla="*/ 3587416 w 5932286"/>
              <a:gd name="connsiteY1266" fmla="*/ 6321806 h 6994526"/>
              <a:gd name="connsiteX1267" fmla="*/ 3426338 w 5932286"/>
              <a:gd name="connsiteY1267" fmla="*/ 6484301 h 6994526"/>
              <a:gd name="connsiteX1268" fmla="*/ 5117751 w 5932286"/>
              <a:gd name="connsiteY1268" fmla="*/ 6495980 h 6994526"/>
              <a:gd name="connsiteX1269" fmla="*/ 5044937 w 5932286"/>
              <a:gd name="connsiteY1269" fmla="*/ 6423146 h 6994526"/>
              <a:gd name="connsiteX1270" fmla="*/ 5117751 w 5932286"/>
              <a:gd name="connsiteY1270" fmla="*/ 6350312 h 6994526"/>
              <a:gd name="connsiteX1271" fmla="*/ 5190564 w 5932286"/>
              <a:gd name="connsiteY1271" fmla="*/ 6423146 h 6994526"/>
              <a:gd name="connsiteX1272" fmla="*/ 5117751 w 5932286"/>
              <a:gd name="connsiteY1272" fmla="*/ 6495980 h 6994526"/>
              <a:gd name="connsiteX1273" fmla="*/ 2399822 w 5932286"/>
              <a:gd name="connsiteY1273" fmla="*/ 6500545 h 6994526"/>
              <a:gd name="connsiteX1274" fmla="*/ 2235207 w 5932286"/>
              <a:gd name="connsiteY1274" fmla="*/ 6336646 h 6994526"/>
              <a:gd name="connsiteX1275" fmla="*/ 2399114 w 5932286"/>
              <a:gd name="connsiteY1275" fmla="*/ 6172033 h 6994526"/>
              <a:gd name="connsiteX1276" fmla="*/ 2462988 w 5932286"/>
              <a:gd name="connsiteY1276" fmla="*/ 6184925 h 6994526"/>
              <a:gd name="connsiteX1277" fmla="*/ 2500338 w 5932286"/>
              <a:gd name="connsiteY1277" fmla="*/ 6210005 h 6994526"/>
              <a:gd name="connsiteX1278" fmla="*/ 2478864 w 5932286"/>
              <a:gd name="connsiteY1278" fmla="*/ 6178416 h 6994526"/>
              <a:gd name="connsiteX1279" fmla="*/ 2464821 w 5932286"/>
              <a:gd name="connsiteY1279" fmla="*/ 6111144 h 6994526"/>
              <a:gd name="connsiteX1280" fmla="*/ 2637204 w 5932286"/>
              <a:gd name="connsiteY1280" fmla="*/ 5937353 h 6994526"/>
              <a:gd name="connsiteX1281" fmla="*/ 2680258 w 5932286"/>
              <a:gd name="connsiteY1281" fmla="*/ 5945763 h 6994526"/>
              <a:gd name="connsiteX1282" fmla="*/ 2676188 w 5932286"/>
              <a:gd name="connsiteY1282" fmla="*/ 5939774 h 6994526"/>
              <a:gd name="connsiteX1283" fmla="*/ 2660523 w 5932286"/>
              <a:gd name="connsiteY1283" fmla="*/ 5864222 h 6994526"/>
              <a:gd name="connsiteX1284" fmla="*/ 2854103 w 5932286"/>
              <a:gd name="connsiteY1284" fmla="*/ 5669232 h 6994526"/>
              <a:gd name="connsiteX1285" fmla="*/ 2876716 w 5932286"/>
              <a:gd name="connsiteY1285" fmla="*/ 5673663 h 6994526"/>
              <a:gd name="connsiteX1286" fmla="*/ 2875899 w 5932286"/>
              <a:gd name="connsiteY1286" fmla="*/ 5672461 h 6994526"/>
              <a:gd name="connsiteX1287" fmla="*/ 2861030 w 5932286"/>
              <a:gd name="connsiteY1287" fmla="*/ 5599396 h 6994526"/>
              <a:gd name="connsiteX1288" fmla="*/ 3048249 w 5932286"/>
              <a:gd name="connsiteY1288" fmla="*/ 5410763 h 6994526"/>
              <a:gd name="connsiteX1289" fmla="*/ 3049311 w 5932286"/>
              <a:gd name="connsiteY1289" fmla="*/ 5410973 h 6994526"/>
              <a:gd name="connsiteX1290" fmla="*/ 3037902 w 5932286"/>
              <a:gd name="connsiteY1290" fmla="*/ 5394195 h 6994526"/>
              <a:gd name="connsiteX1291" fmla="*/ 3022009 w 5932286"/>
              <a:gd name="connsiteY1291" fmla="*/ 5317618 h 6994526"/>
              <a:gd name="connsiteX1292" fmla="*/ 3141127 w 5932286"/>
              <a:gd name="connsiteY1292" fmla="*/ 5136019 h 6994526"/>
              <a:gd name="connsiteX1293" fmla="*/ 3213112 w 5932286"/>
              <a:gd name="connsiteY1293" fmla="*/ 5121447 h 6994526"/>
              <a:gd name="connsiteX1294" fmla="*/ 3194016 w 5932286"/>
              <a:gd name="connsiteY1294" fmla="*/ 5093389 h 6994526"/>
              <a:gd name="connsiteX1295" fmla="*/ 3179224 w 5932286"/>
              <a:gd name="connsiteY1295" fmla="*/ 5022285 h 6994526"/>
              <a:gd name="connsiteX1296" fmla="*/ 3290395 w 5932286"/>
              <a:gd name="connsiteY1296" fmla="*/ 4853396 h 6994526"/>
              <a:gd name="connsiteX1297" fmla="*/ 3359764 w 5932286"/>
              <a:gd name="connsiteY1297" fmla="*/ 4838968 h 6994526"/>
              <a:gd name="connsiteX1298" fmla="*/ 3356937 w 5932286"/>
              <a:gd name="connsiteY1298" fmla="*/ 4837077 h 6994526"/>
              <a:gd name="connsiteX1299" fmla="*/ 3305805 w 5932286"/>
              <a:gd name="connsiteY1299" fmla="*/ 4714856 h 6994526"/>
              <a:gd name="connsiteX1300" fmla="*/ 3478185 w 5932286"/>
              <a:gd name="connsiteY1300" fmla="*/ 4541063 h 6994526"/>
              <a:gd name="connsiteX1301" fmla="*/ 3485099 w 5932286"/>
              <a:gd name="connsiteY1301" fmla="*/ 4542417 h 6994526"/>
              <a:gd name="connsiteX1302" fmla="*/ 3447824 w 5932286"/>
              <a:gd name="connsiteY1302" fmla="*/ 4517494 h 6994526"/>
              <a:gd name="connsiteX1303" fmla="*/ 3397928 w 5932286"/>
              <a:gd name="connsiteY1303" fmla="*/ 4398096 h 6994526"/>
              <a:gd name="connsiteX1304" fmla="*/ 3501057 w 5932286"/>
              <a:gd name="connsiteY1304" fmla="*/ 4241919 h 6994526"/>
              <a:gd name="connsiteX1305" fmla="*/ 3555561 w 5932286"/>
              <a:gd name="connsiteY1305" fmla="*/ 4230945 h 6994526"/>
              <a:gd name="connsiteX1306" fmla="*/ 3505082 w 5932286"/>
              <a:gd name="connsiteY1306" fmla="*/ 4197243 h 6994526"/>
              <a:gd name="connsiteX1307" fmla="*/ 3453952 w 5932286"/>
              <a:gd name="connsiteY1307" fmla="*/ 4075282 h 6994526"/>
              <a:gd name="connsiteX1308" fmla="*/ 3559164 w 5932286"/>
              <a:gd name="connsiteY1308" fmla="*/ 3915133 h 6994526"/>
              <a:gd name="connsiteX1309" fmla="*/ 3601066 w 5932286"/>
              <a:gd name="connsiteY1309" fmla="*/ 3906621 h 6994526"/>
              <a:gd name="connsiteX1310" fmla="*/ 3591780 w 5932286"/>
              <a:gd name="connsiteY1310" fmla="*/ 3904750 h 6994526"/>
              <a:gd name="connsiteX1311" fmla="*/ 3487165 w 5932286"/>
              <a:gd name="connsiteY1311" fmla="*/ 3747896 h 6994526"/>
              <a:gd name="connsiteX1312" fmla="*/ 3590884 w 5932286"/>
              <a:gd name="connsiteY1312" fmla="*/ 3590733 h 6994526"/>
              <a:gd name="connsiteX1313" fmla="*/ 3638553 w 5932286"/>
              <a:gd name="connsiteY1313" fmla="*/ 3580852 h 6994526"/>
              <a:gd name="connsiteX1314" fmla="*/ 3595297 w 5932286"/>
              <a:gd name="connsiteY1314" fmla="*/ 3572373 h 6994526"/>
              <a:gd name="connsiteX1315" fmla="*/ 3493564 w 5932286"/>
              <a:gd name="connsiteY1315" fmla="*/ 3420391 h 6994526"/>
              <a:gd name="connsiteX1316" fmla="*/ 3658886 w 5932286"/>
              <a:gd name="connsiteY1316" fmla="*/ 3253676 h 6994526"/>
              <a:gd name="connsiteX1317" fmla="*/ 3824909 w 5932286"/>
              <a:gd name="connsiteY1317" fmla="*/ 3418983 h 6994526"/>
              <a:gd name="connsiteX1318" fmla="*/ 3723868 w 5932286"/>
              <a:gd name="connsiteY1318" fmla="*/ 3571853 h 6994526"/>
              <a:gd name="connsiteX1319" fmla="*/ 3678299 w 5932286"/>
              <a:gd name="connsiteY1319" fmla="*/ 3581158 h 6994526"/>
              <a:gd name="connsiteX1320" fmla="*/ 3723682 w 5932286"/>
              <a:gd name="connsiteY1320" fmla="*/ 3590327 h 6994526"/>
              <a:gd name="connsiteX1321" fmla="*/ 3828397 w 5932286"/>
              <a:gd name="connsiteY1321" fmla="*/ 3747187 h 6994526"/>
              <a:gd name="connsiteX1322" fmla="*/ 3724380 w 5932286"/>
              <a:gd name="connsiteY1322" fmla="*/ 3904635 h 6994526"/>
              <a:gd name="connsiteX1323" fmla="*/ 3684115 w 5932286"/>
              <a:gd name="connsiteY1323" fmla="*/ 3912843 h 6994526"/>
              <a:gd name="connsiteX1324" fmla="*/ 3693627 w 5932286"/>
              <a:gd name="connsiteY1324" fmla="*/ 3914710 h 6994526"/>
              <a:gd name="connsiteX1325" fmla="*/ 3800132 w 5932286"/>
              <a:gd name="connsiteY1325" fmla="*/ 4073868 h 6994526"/>
              <a:gd name="connsiteX1326" fmla="*/ 3694919 w 5932286"/>
              <a:gd name="connsiteY1326" fmla="*/ 4233624 h 6994526"/>
              <a:gd name="connsiteX1327" fmla="*/ 3638655 w 5932286"/>
              <a:gd name="connsiteY1327" fmla="*/ 4245389 h 6994526"/>
              <a:gd name="connsiteX1328" fmla="*/ 3687241 w 5932286"/>
              <a:gd name="connsiteY1328" fmla="*/ 4277994 h 6994526"/>
              <a:gd name="connsiteX1329" fmla="*/ 3737049 w 5932286"/>
              <a:gd name="connsiteY1329" fmla="*/ 4397395 h 6994526"/>
              <a:gd name="connsiteX1330" fmla="*/ 3568192 w 5932286"/>
              <a:gd name="connsiteY1330" fmla="*/ 4566952 h 6994526"/>
              <a:gd name="connsiteX1331" fmla="*/ 3562966 w 5932286"/>
              <a:gd name="connsiteY1331" fmla="*/ 4565909 h 6994526"/>
              <a:gd name="connsiteX1332" fmla="*/ 3600850 w 5932286"/>
              <a:gd name="connsiteY1332" fmla="*/ 4591221 h 6994526"/>
              <a:gd name="connsiteX1333" fmla="*/ 3651980 w 5932286"/>
              <a:gd name="connsiteY1333" fmla="*/ 4713442 h 6994526"/>
              <a:gd name="connsiteX1334" fmla="*/ 3546870 w 5932286"/>
              <a:gd name="connsiteY1334" fmla="*/ 4873200 h 6994526"/>
              <a:gd name="connsiteX1335" fmla="*/ 3483492 w 5932286"/>
              <a:gd name="connsiteY1335" fmla="*/ 4886428 h 6994526"/>
              <a:gd name="connsiteX1336" fmla="*/ 3491228 w 5932286"/>
              <a:gd name="connsiteY1336" fmla="*/ 4891595 h 6994526"/>
              <a:gd name="connsiteX1337" fmla="*/ 3545187 w 5932286"/>
              <a:gd name="connsiteY1337" fmla="*/ 5020876 h 6994526"/>
              <a:gd name="connsiteX1338" fmla="*/ 3434112 w 5932286"/>
              <a:gd name="connsiteY1338" fmla="*/ 5190075 h 6994526"/>
              <a:gd name="connsiteX1339" fmla="*/ 3374016 w 5932286"/>
              <a:gd name="connsiteY1339" fmla="*/ 5202313 h 6994526"/>
              <a:gd name="connsiteX1340" fmla="*/ 3399316 w 5932286"/>
              <a:gd name="connsiteY1340" fmla="*/ 5239626 h 6994526"/>
              <a:gd name="connsiteX1341" fmla="*/ 3414815 w 5932286"/>
              <a:gd name="connsiteY1341" fmla="*/ 5316204 h 6994526"/>
              <a:gd name="connsiteX1342" fmla="*/ 3219121 w 5932286"/>
              <a:gd name="connsiteY1342" fmla="*/ 5513309 h 6994526"/>
              <a:gd name="connsiteX1343" fmla="*/ 3213113 w 5932286"/>
              <a:gd name="connsiteY1343" fmla="*/ 5512131 h 6994526"/>
              <a:gd name="connsiteX1344" fmla="*/ 3221715 w 5932286"/>
              <a:gd name="connsiteY1344" fmla="*/ 5524812 h 6994526"/>
              <a:gd name="connsiteX1345" fmla="*/ 3236884 w 5932286"/>
              <a:gd name="connsiteY1345" fmla="*/ 5597980 h 6994526"/>
              <a:gd name="connsiteX1346" fmla="*/ 3049665 w 5932286"/>
              <a:gd name="connsiteY1346" fmla="*/ 5786617 h 6994526"/>
              <a:gd name="connsiteX1347" fmla="*/ 3030806 w 5932286"/>
              <a:gd name="connsiteY1347" fmla="*/ 5782846 h 6994526"/>
              <a:gd name="connsiteX1348" fmla="*/ 3033734 w 5932286"/>
              <a:gd name="connsiteY1348" fmla="*/ 5787159 h 6994526"/>
              <a:gd name="connsiteX1349" fmla="*/ 3049099 w 5932286"/>
              <a:gd name="connsiteY1349" fmla="*/ 5862812 h 6994526"/>
              <a:gd name="connsiteX1350" fmla="*/ 2855519 w 5932286"/>
              <a:gd name="connsiteY1350" fmla="*/ 6057808 h 6994526"/>
              <a:gd name="connsiteX1351" fmla="*/ 2798141 w 5932286"/>
              <a:gd name="connsiteY1351" fmla="*/ 6046322 h 6994526"/>
              <a:gd name="connsiteX1352" fmla="*/ 2811002 w 5932286"/>
              <a:gd name="connsiteY1352" fmla="*/ 6109729 h 6994526"/>
              <a:gd name="connsiteX1353" fmla="*/ 2638619 w 5932286"/>
              <a:gd name="connsiteY1353" fmla="*/ 6283526 h 6994526"/>
              <a:gd name="connsiteX1354" fmla="*/ 2571325 w 5932286"/>
              <a:gd name="connsiteY1354" fmla="*/ 6270302 h 6994526"/>
              <a:gd name="connsiteX1355" fmla="*/ 2531170 w 5932286"/>
              <a:gd name="connsiteY1355" fmla="*/ 6243387 h 6994526"/>
              <a:gd name="connsiteX1356" fmla="*/ 2550725 w 5932286"/>
              <a:gd name="connsiteY1356" fmla="*/ 6272177 h 6994526"/>
              <a:gd name="connsiteX1357" fmla="*/ 2563729 w 5932286"/>
              <a:gd name="connsiteY1357" fmla="*/ 6335936 h 6994526"/>
              <a:gd name="connsiteX1358" fmla="*/ 2399822 w 5932286"/>
              <a:gd name="connsiteY1358" fmla="*/ 6500545 h 6994526"/>
              <a:gd name="connsiteX1359" fmla="*/ 3812095 w 5932286"/>
              <a:gd name="connsiteY1359" fmla="*/ 6527635 h 6994526"/>
              <a:gd name="connsiteX1360" fmla="*/ 3706118 w 5932286"/>
              <a:gd name="connsiteY1360" fmla="*/ 6422367 h 6994526"/>
              <a:gd name="connsiteX1361" fmla="*/ 3811387 w 5932286"/>
              <a:gd name="connsiteY1361" fmla="*/ 6316391 h 6994526"/>
              <a:gd name="connsiteX1362" fmla="*/ 3917363 w 5932286"/>
              <a:gd name="connsiteY1362" fmla="*/ 6421660 h 6994526"/>
              <a:gd name="connsiteX1363" fmla="*/ 3812095 w 5932286"/>
              <a:gd name="connsiteY1363" fmla="*/ 6527635 h 6994526"/>
              <a:gd name="connsiteX1364" fmla="*/ 1709037 w 5932286"/>
              <a:gd name="connsiteY1364" fmla="*/ 6537172 h 6994526"/>
              <a:gd name="connsiteX1365" fmla="*/ 1559971 w 5932286"/>
              <a:gd name="connsiteY1365" fmla="*/ 6389518 h 6994526"/>
              <a:gd name="connsiteX1366" fmla="*/ 1707627 w 5932286"/>
              <a:gd name="connsiteY1366" fmla="*/ 6240451 h 6994526"/>
              <a:gd name="connsiteX1367" fmla="*/ 1856693 w 5932286"/>
              <a:gd name="connsiteY1367" fmla="*/ 6388106 h 6994526"/>
              <a:gd name="connsiteX1368" fmla="*/ 1709037 w 5932286"/>
              <a:gd name="connsiteY1368" fmla="*/ 6537172 h 6994526"/>
              <a:gd name="connsiteX1369" fmla="*/ 642451 w 5932286"/>
              <a:gd name="connsiteY1369" fmla="*/ 6554755 h 6994526"/>
              <a:gd name="connsiteX1370" fmla="*/ 515987 w 5932286"/>
              <a:gd name="connsiteY1370" fmla="*/ 6429700 h 6994526"/>
              <a:gd name="connsiteX1371" fmla="*/ 641042 w 5932286"/>
              <a:gd name="connsiteY1371" fmla="*/ 6303240 h 6994526"/>
              <a:gd name="connsiteX1372" fmla="*/ 767505 w 5932286"/>
              <a:gd name="connsiteY1372" fmla="*/ 6428285 h 6994526"/>
              <a:gd name="connsiteX1373" fmla="*/ 642451 w 5932286"/>
              <a:gd name="connsiteY1373" fmla="*/ 6554755 h 6994526"/>
              <a:gd name="connsiteX1374" fmla="*/ 4194588 w 5932286"/>
              <a:gd name="connsiteY1374" fmla="*/ 6591200 h 6994526"/>
              <a:gd name="connsiteX1375" fmla="*/ 4121407 w 5932286"/>
              <a:gd name="connsiteY1375" fmla="*/ 6518745 h 6994526"/>
              <a:gd name="connsiteX1376" fmla="*/ 4193861 w 5932286"/>
              <a:gd name="connsiteY1376" fmla="*/ 6445565 h 6994526"/>
              <a:gd name="connsiteX1377" fmla="*/ 4267042 w 5932286"/>
              <a:gd name="connsiteY1377" fmla="*/ 6518019 h 6994526"/>
              <a:gd name="connsiteX1378" fmla="*/ 4194588 w 5932286"/>
              <a:gd name="connsiteY1378" fmla="*/ 6591200 h 6994526"/>
              <a:gd name="connsiteX1379" fmla="*/ 317955 w 5932286"/>
              <a:gd name="connsiteY1379" fmla="*/ 6594472 h 6994526"/>
              <a:gd name="connsiteX1380" fmla="*/ 205623 w 5932286"/>
              <a:gd name="connsiteY1380" fmla="*/ 6482847 h 6994526"/>
              <a:gd name="connsiteX1381" fmla="*/ 317247 w 5932286"/>
              <a:gd name="connsiteY1381" fmla="*/ 6370516 h 6994526"/>
              <a:gd name="connsiteX1382" fmla="*/ 429578 w 5932286"/>
              <a:gd name="connsiteY1382" fmla="*/ 6482138 h 6994526"/>
              <a:gd name="connsiteX1383" fmla="*/ 317955 w 5932286"/>
              <a:gd name="connsiteY1383" fmla="*/ 6594472 h 6994526"/>
              <a:gd name="connsiteX1384" fmla="*/ 0 w 5932286"/>
              <a:gd name="connsiteY1384" fmla="*/ 6602983 h 6994526"/>
              <a:gd name="connsiteX1385" fmla="*/ 0 w 5932286"/>
              <a:gd name="connsiteY1385" fmla="*/ 6395926 h 6994526"/>
              <a:gd name="connsiteX1386" fmla="*/ 30295 w 5932286"/>
              <a:gd name="connsiteY1386" fmla="*/ 6401722 h 6994526"/>
              <a:gd name="connsiteX1387" fmla="*/ 94975 w 5932286"/>
              <a:gd name="connsiteY1387" fmla="*/ 6499084 h 6994526"/>
              <a:gd name="connsiteX1388" fmla="*/ 30989 w 5932286"/>
              <a:gd name="connsiteY1388" fmla="*/ 6596667 h 6994526"/>
              <a:gd name="connsiteX1389" fmla="*/ 2809415 w 5932286"/>
              <a:gd name="connsiteY1389" fmla="*/ 6611719 h 6994526"/>
              <a:gd name="connsiteX1390" fmla="*/ 2654697 w 5932286"/>
              <a:gd name="connsiteY1390" fmla="*/ 6457689 h 6994526"/>
              <a:gd name="connsiteX1391" fmla="*/ 2808707 w 5932286"/>
              <a:gd name="connsiteY1391" fmla="*/ 6302974 h 6994526"/>
              <a:gd name="connsiteX1392" fmla="*/ 2868651 w 5932286"/>
              <a:gd name="connsiteY1392" fmla="*/ 6315017 h 6994526"/>
              <a:gd name="connsiteX1393" fmla="*/ 2909063 w 5932286"/>
              <a:gd name="connsiteY1393" fmla="*/ 6342039 h 6994526"/>
              <a:gd name="connsiteX1394" fmla="*/ 2872584 w 5932286"/>
              <a:gd name="connsiteY1394" fmla="*/ 6288313 h 6994526"/>
              <a:gd name="connsiteX1395" fmla="*/ 2858291 w 5932286"/>
              <a:gd name="connsiteY1395" fmla="*/ 6219594 h 6994526"/>
              <a:gd name="connsiteX1396" fmla="*/ 3034206 w 5932286"/>
              <a:gd name="connsiteY1396" fmla="*/ 6042271 h 6994526"/>
              <a:gd name="connsiteX1397" fmla="*/ 3077479 w 5932286"/>
              <a:gd name="connsiteY1397" fmla="*/ 6050742 h 6994526"/>
              <a:gd name="connsiteX1398" fmla="*/ 3067919 w 5932286"/>
              <a:gd name="connsiteY1398" fmla="*/ 6036652 h 6994526"/>
              <a:gd name="connsiteX1399" fmla="*/ 3052755 w 5932286"/>
              <a:gd name="connsiteY1399" fmla="*/ 5963487 h 6994526"/>
              <a:gd name="connsiteX1400" fmla="*/ 3239974 w 5932286"/>
              <a:gd name="connsiteY1400" fmla="*/ 5774851 h 6994526"/>
              <a:gd name="connsiteX1401" fmla="*/ 3262349 w 5932286"/>
              <a:gd name="connsiteY1401" fmla="*/ 5779233 h 6994526"/>
              <a:gd name="connsiteX1402" fmla="*/ 3252386 w 5932286"/>
              <a:gd name="connsiteY1402" fmla="*/ 5764547 h 6994526"/>
              <a:gd name="connsiteX1403" fmla="*/ 3237221 w 5932286"/>
              <a:gd name="connsiteY1403" fmla="*/ 5691380 h 6994526"/>
              <a:gd name="connsiteX1404" fmla="*/ 3424440 w 5932286"/>
              <a:gd name="connsiteY1404" fmla="*/ 5502744 h 6994526"/>
              <a:gd name="connsiteX1405" fmla="*/ 3449879 w 5932286"/>
              <a:gd name="connsiteY1405" fmla="*/ 5507836 h 6994526"/>
              <a:gd name="connsiteX1406" fmla="*/ 3426219 w 5932286"/>
              <a:gd name="connsiteY1406" fmla="*/ 5472952 h 6994526"/>
              <a:gd name="connsiteX1407" fmla="*/ 3412465 w 5932286"/>
              <a:gd name="connsiteY1407" fmla="*/ 5405261 h 6994526"/>
              <a:gd name="connsiteX1408" fmla="*/ 3585553 w 5932286"/>
              <a:gd name="connsiteY1408" fmla="*/ 5230046 h 6994526"/>
              <a:gd name="connsiteX1409" fmla="*/ 3608013 w 5932286"/>
              <a:gd name="connsiteY1409" fmla="*/ 5234538 h 6994526"/>
              <a:gd name="connsiteX1410" fmla="*/ 3601178 w 5932286"/>
              <a:gd name="connsiteY1410" fmla="*/ 5229950 h 6994526"/>
              <a:gd name="connsiteX1411" fmla="*/ 3549959 w 5932286"/>
              <a:gd name="connsiteY1411" fmla="*/ 5107029 h 6994526"/>
              <a:gd name="connsiteX1412" fmla="*/ 3723755 w 5932286"/>
              <a:gd name="connsiteY1412" fmla="*/ 4931805 h 6994526"/>
              <a:gd name="connsiteX1413" fmla="*/ 3748379 w 5932286"/>
              <a:gd name="connsiteY1413" fmla="*/ 4936760 h 6994526"/>
              <a:gd name="connsiteX1414" fmla="*/ 3718249 w 5932286"/>
              <a:gd name="connsiteY1414" fmla="*/ 4916569 h 6994526"/>
              <a:gd name="connsiteX1415" fmla="*/ 3668529 w 5932286"/>
              <a:gd name="connsiteY1415" fmla="*/ 4798134 h 6994526"/>
              <a:gd name="connsiteX1416" fmla="*/ 3835969 w 5932286"/>
              <a:gd name="connsiteY1416" fmla="*/ 4629284 h 6994526"/>
              <a:gd name="connsiteX1417" fmla="*/ 4004824 w 5932286"/>
              <a:gd name="connsiteY1417" fmla="*/ 4796726 h 6994526"/>
              <a:gd name="connsiteX1418" fmla="*/ 3837386 w 5932286"/>
              <a:gd name="connsiteY1418" fmla="*/ 4965582 h 6994526"/>
              <a:gd name="connsiteX1419" fmla="*/ 3814820 w 5932286"/>
              <a:gd name="connsiteY1419" fmla="*/ 4961058 h 6994526"/>
              <a:gd name="connsiteX1420" fmla="*/ 3847038 w 5932286"/>
              <a:gd name="connsiteY1420" fmla="*/ 4982675 h 6994526"/>
              <a:gd name="connsiteX1421" fmla="*/ 3898261 w 5932286"/>
              <a:gd name="connsiteY1421" fmla="*/ 5105609 h 6994526"/>
              <a:gd name="connsiteX1422" fmla="*/ 3724457 w 5932286"/>
              <a:gd name="connsiteY1422" fmla="*/ 5280821 h 6994526"/>
              <a:gd name="connsiteX1423" fmla="*/ 3702792 w 5932286"/>
              <a:gd name="connsiteY1423" fmla="*/ 5276460 h 6994526"/>
              <a:gd name="connsiteX1424" fmla="*/ 3709455 w 5932286"/>
              <a:gd name="connsiteY1424" fmla="*/ 5280914 h 6994526"/>
              <a:gd name="connsiteX1425" fmla="*/ 3760767 w 5932286"/>
              <a:gd name="connsiteY1425" fmla="*/ 5403845 h 6994526"/>
              <a:gd name="connsiteX1426" fmla="*/ 3586963 w 5932286"/>
              <a:gd name="connsiteY1426" fmla="*/ 5579062 h 6994526"/>
              <a:gd name="connsiteX1427" fmla="*/ 3569818 w 5932286"/>
              <a:gd name="connsiteY1427" fmla="*/ 5575612 h 6994526"/>
              <a:gd name="connsiteX1428" fmla="*/ 3597906 w 5932286"/>
              <a:gd name="connsiteY1428" fmla="*/ 5616900 h 6994526"/>
              <a:gd name="connsiteX1429" fmla="*/ 3613075 w 5932286"/>
              <a:gd name="connsiteY1429" fmla="*/ 5689965 h 6994526"/>
              <a:gd name="connsiteX1430" fmla="*/ 3425856 w 5932286"/>
              <a:gd name="connsiteY1430" fmla="*/ 5878600 h 6994526"/>
              <a:gd name="connsiteX1431" fmla="*/ 3403809 w 5932286"/>
              <a:gd name="connsiteY1431" fmla="*/ 5874278 h 6994526"/>
              <a:gd name="connsiteX1432" fmla="*/ 3413739 w 5932286"/>
              <a:gd name="connsiteY1432" fmla="*/ 5888904 h 6994526"/>
              <a:gd name="connsiteX1433" fmla="*/ 3428609 w 5932286"/>
              <a:gd name="connsiteY1433" fmla="*/ 5962072 h 6994526"/>
              <a:gd name="connsiteX1434" fmla="*/ 3241390 w 5932286"/>
              <a:gd name="connsiteY1434" fmla="*/ 6150705 h 6994526"/>
              <a:gd name="connsiteX1435" fmla="*/ 3191769 w 5932286"/>
              <a:gd name="connsiteY1435" fmla="*/ 6140976 h 6994526"/>
              <a:gd name="connsiteX1436" fmla="*/ 3197540 w 5932286"/>
              <a:gd name="connsiteY1436" fmla="*/ 6149466 h 6994526"/>
              <a:gd name="connsiteX1437" fmla="*/ 3211537 w 5932286"/>
              <a:gd name="connsiteY1437" fmla="*/ 6218185 h 6994526"/>
              <a:gd name="connsiteX1438" fmla="*/ 3035615 w 5932286"/>
              <a:gd name="connsiteY1438" fmla="*/ 6395516 h 6994526"/>
              <a:gd name="connsiteX1439" fmla="*/ 2966876 w 5932286"/>
              <a:gd name="connsiteY1439" fmla="*/ 6382037 h 6994526"/>
              <a:gd name="connsiteX1440" fmla="*/ 2919475 w 5932286"/>
              <a:gd name="connsiteY1440" fmla="*/ 6350290 h 6994526"/>
              <a:gd name="connsiteX1441" fmla="*/ 2951179 w 5932286"/>
              <a:gd name="connsiteY1441" fmla="*/ 6396858 h 6994526"/>
              <a:gd name="connsiteX1442" fmla="*/ 2963432 w 5932286"/>
              <a:gd name="connsiteY1442" fmla="*/ 6456987 h 6994526"/>
              <a:gd name="connsiteX1443" fmla="*/ 2809415 w 5932286"/>
              <a:gd name="connsiteY1443" fmla="*/ 6611719 h 6994526"/>
              <a:gd name="connsiteX1444" fmla="*/ 4573566 w 5932286"/>
              <a:gd name="connsiteY1444" fmla="*/ 6685393 h 6994526"/>
              <a:gd name="connsiteX1445" fmla="*/ 4500747 w 5932286"/>
              <a:gd name="connsiteY1445" fmla="*/ 6612573 h 6994526"/>
              <a:gd name="connsiteX1446" fmla="*/ 4573566 w 5932286"/>
              <a:gd name="connsiteY1446" fmla="*/ 6539751 h 6994526"/>
              <a:gd name="connsiteX1447" fmla="*/ 4646386 w 5932286"/>
              <a:gd name="connsiteY1447" fmla="*/ 6612573 h 6994526"/>
              <a:gd name="connsiteX1448" fmla="*/ 4573566 w 5932286"/>
              <a:gd name="connsiteY1448" fmla="*/ 6685393 h 6994526"/>
              <a:gd name="connsiteX1449" fmla="*/ 2142359 w 5932286"/>
              <a:gd name="connsiteY1449" fmla="*/ 6702651 h 6994526"/>
              <a:gd name="connsiteX1450" fmla="*/ 1979865 w 5932286"/>
              <a:gd name="connsiteY1450" fmla="*/ 6541555 h 6994526"/>
              <a:gd name="connsiteX1451" fmla="*/ 2140943 w 5932286"/>
              <a:gd name="connsiteY1451" fmla="*/ 6379060 h 6994526"/>
              <a:gd name="connsiteX1452" fmla="*/ 2303438 w 5932286"/>
              <a:gd name="connsiteY1452" fmla="*/ 6540139 h 6994526"/>
              <a:gd name="connsiteX1453" fmla="*/ 2142359 w 5932286"/>
              <a:gd name="connsiteY1453" fmla="*/ 6702651 h 6994526"/>
              <a:gd name="connsiteX1454" fmla="*/ 1419410 w 5932286"/>
              <a:gd name="connsiteY1454" fmla="*/ 6703796 h 6994526"/>
              <a:gd name="connsiteX1455" fmla="*/ 1259741 w 5932286"/>
              <a:gd name="connsiteY1455" fmla="*/ 6544821 h 6994526"/>
              <a:gd name="connsiteX1456" fmla="*/ 1418702 w 5932286"/>
              <a:gd name="connsiteY1456" fmla="*/ 6385151 h 6994526"/>
              <a:gd name="connsiteX1457" fmla="*/ 1578369 w 5932286"/>
              <a:gd name="connsiteY1457" fmla="*/ 6544112 h 6994526"/>
              <a:gd name="connsiteX1458" fmla="*/ 1419410 w 5932286"/>
              <a:gd name="connsiteY1458" fmla="*/ 6703796 h 6994526"/>
              <a:gd name="connsiteX1459" fmla="*/ 3211370 w 5932286"/>
              <a:gd name="connsiteY1459" fmla="*/ 6707954 h 6994526"/>
              <a:gd name="connsiteX1460" fmla="*/ 3073607 w 5932286"/>
              <a:gd name="connsiteY1460" fmla="*/ 6571591 h 6994526"/>
              <a:gd name="connsiteX1461" fmla="*/ 3210668 w 5932286"/>
              <a:gd name="connsiteY1461" fmla="*/ 6433826 h 6994526"/>
              <a:gd name="connsiteX1462" fmla="*/ 3347724 w 5932286"/>
              <a:gd name="connsiteY1462" fmla="*/ 6570182 h 6994526"/>
              <a:gd name="connsiteX1463" fmla="*/ 3211370 w 5932286"/>
              <a:gd name="connsiteY1463" fmla="*/ 6707954 h 6994526"/>
              <a:gd name="connsiteX1464" fmla="*/ 4950232 w 5932286"/>
              <a:gd name="connsiteY1464" fmla="*/ 6778374 h 6994526"/>
              <a:gd name="connsiteX1465" fmla="*/ 4877418 w 5932286"/>
              <a:gd name="connsiteY1465" fmla="*/ 6705537 h 6994526"/>
              <a:gd name="connsiteX1466" fmla="*/ 4950232 w 5932286"/>
              <a:gd name="connsiteY1466" fmla="*/ 6632724 h 6994526"/>
              <a:gd name="connsiteX1467" fmla="*/ 5023069 w 5932286"/>
              <a:gd name="connsiteY1467" fmla="*/ 6705537 h 6994526"/>
              <a:gd name="connsiteX1468" fmla="*/ 4950232 w 5932286"/>
              <a:gd name="connsiteY1468" fmla="*/ 6778374 h 6994526"/>
              <a:gd name="connsiteX1469" fmla="*/ 3606328 w 5932286"/>
              <a:gd name="connsiteY1469" fmla="*/ 6783767 h 6994526"/>
              <a:gd name="connsiteX1470" fmla="*/ 3500354 w 5932286"/>
              <a:gd name="connsiteY1470" fmla="*/ 6678501 h 6994526"/>
              <a:gd name="connsiteX1471" fmla="*/ 3605619 w 5932286"/>
              <a:gd name="connsiteY1471" fmla="*/ 6572519 h 6994526"/>
              <a:gd name="connsiteX1472" fmla="*/ 3711594 w 5932286"/>
              <a:gd name="connsiteY1472" fmla="*/ 6677794 h 6994526"/>
              <a:gd name="connsiteX1473" fmla="*/ 3606328 w 5932286"/>
              <a:gd name="connsiteY1473" fmla="*/ 6783767 h 6994526"/>
              <a:gd name="connsiteX1474" fmla="*/ 1116919 w 5932286"/>
              <a:gd name="connsiteY1474" fmla="*/ 6813582 h 6994526"/>
              <a:gd name="connsiteX1475" fmla="*/ 974210 w 5932286"/>
              <a:gd name="connsiteY1475" fmla="*/ 6672284 h 6994526"/>
              <a:gd name="connsiteX1476" fmla="*/ 1115509 w 5932286"/>
              <a:gd name="connsiteY1476" fmla="*/ 6529556 h 6994526"/>
              <a:gd name="connsiteX1477" fmla="*/ 1258223 w 5932286"/>
              <a:gd name="connsiteY1477" fmla="*/ 6670873 h 6994526"/>
              <a:gd name="connsiteX1478" fmla="*/ 1116919 w 5932286"/>
              <a:gd name="connsiteY1478" fmla="*/ 6813582 h 6994526"/>
              <a:gd name="connsiteX1479" fmla="*/ 2565027 w 5932286"/>
              <a:gd name="connsiteY1479" fmla="*/ 6835173 h 6994526"/>
              <a:gd name="connsiteX1480" fmla="*/ 2406067 w 5932286"/>
              <a:gd name="connsiteY1480" fmla="*/ 6677624 h 6994526"/>
              <a:gd name="connsiteX1481" fmla="*/ 2564319 w 5932286"/>
              <a:gd name="connsiteY1481" fmla="*/ 6518651 h 6994526"/>
              <a:gd name="connsiteX1482" fmla="*/ 2722570 w 5932286"/>
              <a:gd name="connsiteY1482" fmla="*/ 6676216 h 6994526"/>
              <a:gd name="connsiteX1483" fmla="*/ 2565027 w 5932286"/>
              <a:gd name="connsiteY1483" fmla="*/ 6835173 h 6994526"/>
              <a:gd name="connsiteX1484" fmla="*/ 3997274 w 5932286"/>
              <a:gd name="connsiteY1484" fmla="*/ 6854905 h 6994526"/>
              <a:gd name="connsiteX1485" fmla="*/ 3923884 w 5932286"/>
              <a:gd name="connsiteY1485" fmla="*/ 6782706 h 6994526"/>
              <a:gd name="connsiteX1486" fmla="*/ 3996087 w 5932286"/>
              <a:gd name="connsiteY1486" fmla="*/ 6708133 h 6994526"/>
              <a:gd name="connsiteX1487" fmla="*/ 4069476 w 5932286"/>
              <a:gd name="connsiteY1487" fmla="*/ 6781518 h 6994526"/>
              <a:gd name="connsiteX1488" fmla="*/ 3997274 w 5932286"/>
              <a:gd name="connsiteY1488" fmla="*/ 6854905 h 6994526"/>
              <a:gd name="connsiteX1489" fmla="*/ 5324485 w 5932286"/>
              <a:gd name="connsiteY1489" fmla="*/ 6869480 h 6994526"/>
              <a:gd name="connsiteX1490" fmla="*/ 5251671 w 5932286"/>
              <a:gd name="connsiteY1490" fmla="*/ 6796564 h 6994526"/>
              <a:gd name="connsiteX1491" fmla="*/ 5324485 w 5932286"/>
              <a:gd name="connsiteY1491" fmla="*/ 6723750 h 6994526"/>
              <a:gd name="connsiteX1492" fmla="*/ 5397402 w 5932286"/>
              <a:gd name="connsiteY1492" fmla="*/ 6796564 h 6994526"/>
              <a:gd name="connsiteX1493" fmla="*/ 5324485 w 5932286"/>
              <a:gd name="connsiteY1493" fmla="*/ 6869480 h 6994526"/>
              <a:gd name="connsiteX1494" fmla="*/ 1867847 w 5932286"/>
              <a:gd name="connsiteY1494" fmla="*/ 6884498 h 6994526"/>
              <a:gd name="connsiteX1495" fmla="*/ 1702529 w 5932286"/>
              <a:gd name="connsiteY1495" fmla="*/ 6720593 h 6994526"/>
              <a:gd name="connsiteX1496" fmla="*/ 1867138 w 5932286"/>
              <a:gd name="connsiteY1496" fmla="*/ 6555970 h 6994526"/>
              <a:gd name="connsiteX1497" fmla="*/ 2031749 w 5932286"/>
              <a:gd name="connsiteY1497" fmla="*/ 6719884 h 6994526"/>
              <a:gd name="connsiteX1498" fmla="*/ 1867847 w 5932286"/>
              <a:gd name="connsiteY1498" fmla="*/ 6884498 h 6994526"/>
              <a:gd name="connsiteX1499" fmla="*/ 2978008 w 5932286"/>
              <a:gd name="connsiteY1499" fmla="*/ 6936670 h 6994526"/>
              <a:gd name="connsiteX1500" fmla="*/ 2843071 w 5932286"/>
              <a:gd name="connsiteY1500" fmla="*/ 6802431 h 6994526"/>
              <a:gd name="connsiteX1501" fmla="*/ 2976598 w 5932286"/>
              <a:gd name="connsiteY1501" fmla="*/ 6667491 h 6994526"/>
              <a:gd name="connsiteX1502" fmla="*/ 3111535 w 5932286"/>
              <a:gd name="connsiteY1502" fmla="*/ 6801723 h 6994526"/>
              <a:gd name="connsiteX1503" fmla="*/ 2978008 w 5932286"/>
              <a:gd name="connsiteY1503" fmla="*/ 6936670 h 6994526"/>
              <a:gd name="connsiteX1504" fmla="*/ 4383297 w 5932286"/>
              <a:gd name="connsiteY1504" fmla="*/ 6953626 h 6994526"/>
              <a:gd name="connsiteX1505" fmla="*/ 4310471 w 5932286"/>
              <a:gd name="connsiteY1505" fmla="*/ 6880800 h 6994526"/>
              <a:gd name="connsiteX1506" fmla="*/ 4383297 w 5932286"/>
              <a:gd name="connsiteY1506" fmla="*/ 6807976 h 6994526"/>
              <a:gd name="connsiteX1507" fmla="*/ 4456124 w 5932286"/>
              <a:gd name="connsiteY1507" fmla="*/ 6880800 h 6994526"/>
              <a:gd name="connsiteX1508" fmla="*/ 4383297 w 5932286"/>
              <a:gd name="connsiteY1508" fmla="*/ 6953626 h 6994526"/>
              <a:gd name="connsiteX1509" fmla="*/ 243112 w 5932286"/>
              <a:gd name="connsiteY1509" fmla="*/ 6994526 h 6994526"/>
              <a:gd name="connsiteX1510" fmla="*/ 62124 w 5932286"/>
              <a:gd name="connsiteY1510" fmla="*/ 6994526 h 6994526"/>
              <a:gd name="connsiteX1511" fmla="*/ 37374 w 5932286"/>
              <a:gd name="connsiteY1511" fmla="*/ 6977930 h 6994526"/>
              <a:gd name="connsiteX1512" fmla="*/ 2260 w 5932286"/>
              <a:gd name="connsiteY1512" fmla="*/ 6926278 h 6994526"/>
              <a:gd name="connsiteX1513" fmla="*/ 0 w 5932286"/>
              <a:gd name="connsiteY1513" fmla="*/ 6915444 h 6994526"/>
              <a:gd name="connsiteX1514" fmla="*/ 0 w 5932286"/>
              <a:gd name="connsiteY1514" fmla="*/ 6808507 h 6994526"/>
              <a:gd name="connsiteX1515" fmla="*/ 1851 w 5932286"/>
              <a:gd name="connsiteY1515" fmla="*/ 6799275 h 6994526"/>
              <a:gd name="connsiteX1516" fmla="*/ 152272 w 5932286"/>
              <a:gd name="connsiteY1516" fmla="*/ 6699131 h 6994526"/>
              <a:gd name="connsiteX1517" fmla="*/ 315469 w 5932286"/>
              <a:gd name="connsiteY1517" fmla="*/ 6861626 h 6994526"/>
              <a:gd name="connsiteX1518" fmla="*/ 268135 w 5932286"/>
              <a:gd name="connsiteY1518" fmla="*/ 6977488 h 6994526"/>
              <a:gd name="connsiteX1519" fmla="*/ 487472 w 5932286"/>
              <a:gd name="connsiteY1519" fmla="*/ 6994526 h 6994526"/>
              <a:gd name="connsiteX1520" fmla="*/ 473965 w 5932286"/>
              <a:gd name="connsiteY1520" fmla="*/ 6994526 h 6994526"/>
              <a:gd name="connsiteX1521" fmla="*/ 415488 w 5932286"/>
              <a:gd name="connsiteY1521" fmla="*/ 6982688 h 6994526"/>
              <a:gd name="connsiteX1522" fmla="*/ 313750 w 5932286"/>
              <a:gd name="connsiteY1522" fmla="*/ 6830384 h 6994526"/>
              <a:gd name="connsiteX1523" fmla="*/ 478363 w 5932286"/>
              <a:gd name="connsiteY1523" fmla="*/ 6665065 h 6994526"/>
              <a:gd name="connsiteX1524" fmla="*/ 631266 w 5932286"/>
              <a:gd name="connsiteY1524" fmla="*/ 6765407 h 6994526"/>
              <a:gd name="connsiteX1525" fmla="*/ 631365 w 5932286"/>
              <a:gd name="connsiteY1525" fmla="*/ 6765897 h 6994526"/>
              <a:gd name="connsiteX1526" fmla="*/ 644531 w 5932286"/>
              <a:gd name="connsiteY1526" fmla="*/ 6700129 h 6994526"/>
              <a:gd name="connsiteX1527" fmla="*/ 800815 w 5932286"/>
              <a:gd name="connsiteY1527" fmla="*/ 6596193 h 6994526"/>
              <a:gd name="connsiteX1528" fmla="*/ 971789 w 5932286"/>
              <a:gd name="connsiteY1528" fmla="*/ 6765765 h 6994526"/>
              <a:gd name="connsiteX1529" fmla="*/ 802225 w 5932286"/>
              <a:gd name="connsiteY1529" fmla="*/ 6936738 h 6994526"/>
              <a:gd name="connsiteX1530" fmla="*/ 644751 w 5932286"/>
              <a:gd name="connsiteY1530" fmla="*/ 6832718 h 6994526"/>
              <a:gd name="connsiteX1531" fmla="*/ 644264 w 5932286"/>
              <a:gd name="connsiteY1531" fmla="*/ 6830328 h 6994526"/>
              <a:gd name="connsiteX1532" fmla="*/ 631785 w 5932286"/>
              <a:gd name="connsiteY1532" fmla="*/ 6894066 h 6994526"/>
              <a:gd name="connsiteX1533" fmla="*/ 528874 w 5932286"/>
              <a:gd name="connsiteY1533" fmla="*/ 6988191 h 6994526"/>
              <a:gd name="connsiteX1534" fmla="*/ 1089823 w 5932286"/>
              <a:gd name="connsiteY1534" fmla="*/ 6994526 h 6994526"/>
              <a:gd name="connsiteX1535" fmla="*/ 832853 w 5932286"/>
              <a:gd name="connsiteY1535" fmla="*/ 6994526 h 6994526"/>
              <a:gd name="connsiteX1536" fmla="*/ 840539 w 5932286"/>
              <a:gd name="connsiteY1536" fmla="*/ 6983078 h 6994526"/>
              <a:gd name="connsiteX1537" fmla="*/ 961170 w 5932286"/>
              <a:gd name="connsiteY1537" fmla="*/ 6933182 h 6994526"/>
              <a:gd name="connsiteX1538" fmla="*/ 1081625 w 5932286"/>
              <a:gd name="connsiteY1538" fmla="*/ 6982458 h 6994526"/>
              <a:gd name="connsiteX1539" fmla="*/ 1686900 w 5932286"/>
              <a:gd name="connsiteY1539" fmla="*/ 6994526 h 6994526"/>
              <a:gd name="connsiteX1540" fmla="*/ 1466869 w 5932286"/>
              <a:gd name="connsiteY1540" fmla="*/ 6994526 h 6994526"/>
              <a:gd name="connsiteX1541" fmla="*/ 1461972 w 5932286"/>
              <a:gd name="connsiteY1541" fmla="*/ 6991268 h 6994526"/>
              <a:gd name="connsiteX1542" fmla="*/ 1434489 w 5932286"/>
              <a:gd name="connsiteY1542" fmla="*/ 6950906 h 6994526"/>
              <a:gd name="connsiteX1543" fmla="*/ 1443380 w 5932286"/>
              <a:gd name="connsiteY1543" fmla="*/ 6994526 h 6994526"/>
              <a:gd name="connsiteX1544" fmla="*/ 1105323 w 5932286"/>
              <a:gd name="connsiteY1544" fmla="*/ 6994526 h 6994526"/>
              <a:gd name="connsiteX1545" fmla="*/ 1116968 w 5932286"/>
              <a:gd name="connsiteY1545" fmla="*/ 6936398 h 6994526"/>
              <a:gd name="connsiteX1546" fmla="*/ 1273939 w 5932286"/>
              <a:gd name="connsiteY1546" fmla="*/ 6832478 h 6994526"/>
              <a:gd name="connsiteX1547" fmla="*/ 1394661 w 5932286"/>
              <a:gd name="connsiteY1547" fmla="*/ 6881754 h 6994526"/>
              <a:gd name="connsiteX1548" fmla="*/ 1423761 w 5932286"/>
              <a:gd name="connsiteY1548" fmla="*/ 6924552 h 6994526"/>
              <a:gd name="connsiteX1549" fmla="*/ 1413931 w 5932286"/>
              <a:gd name="connsiteY1549" fmla="*/ 6876109 h 6994526"/>
              <a:gd name="connsiteX1550" fmla="*/ 1576424 w 5932286"/>
              <a:gd name="connsiteY1550" fmla="*/ 6712210 h 6994526"/>
              <a:gd name="connsiteX1551" fmla="*/ 1740325 w 5932286"/>
              <a:gd name="connsiteY1551" fmla="*/ 6874700 h 6994526"/>
              <a:gd name="connsiteX1552" fmla="*/ 1692726 w 5932286"/>
              <a:gd name="connsiteY1552" fmla="*/ 6990561 h 6994526"/>
              <a:gd name="connsiteX1553" fmla="*/ 2166566 w 5932286"/>
              <a:gd name="connsiteY1553" fmla="*/ 6994526 h 6994526"/>
              <a:gd name="connsiteX1554" fmla="*/ 1883474 w 5932286"/>
              <a:gd name="connsiteY1554" fmla="*/ 6994526 h 6994526"/>
              <a:gd name="connsiteX1555" fmla="*/ 1883882 w 5932286"/>
              <a:gd name="connsiteY1555" fmla="*/ 6992427 h 6994526"/>
              <a:gd name="connsiteX1556" fmla="*/ 2024861 w 5932286"/>
              <a:gd name="connsiteY1556" fmla="*/ 6898939 h 6994526"/>
              <a:gd name="connsiteX1557" fmla="*/ 2166037 w 5932286"/>
              <a:gd name="connsiteY1557" fmla="*/ 6991930 h 6994526"/>
              <a:gd name="connsiteX1558" fmla="*/ 2379658 w 5932286"/>
              <a:gd name="connsiteY1558" fmla="*/ 6994526 h 6994526"/>
              <a:gd name="connsiteX1559" fmla="*/ 2224803 w 5932286"/>
              <a:gd name="connsiteY1559" fmla="*/ 6994526 h 6994526"/>
              <a:gd name="connsiteX1560" fmla="*/ 2200153 w 5932286"/>
              <a:gd name="connsiteY1560" fmla="*/ 6978020 h 6994526"/>
              <a:gd name="connsiteX1561" fmla="*/ 2157675 w 5932286"/>
              <a:gd name="connsiteY1561" fmla="*/ 6876021 h 6994526"/>
              <a:gd name="connsiteX1562" fmla="*/ 2301799 w 5932286"/>
              <a:gd name="connsiteY1562" fmla="*/ 6731189 h 6994526"/>
              <a:gd name="connsiteX1563" fmla="*/ 2446631 w 5932286"/>
              <a:gd name="connsiteY1563" fmla="*/ 6875313 h 6994526"/>
              <a:gd name="connsiteX1564" fmla="*/ 2404507 w 5932286"/>
              <a:gd name="connsiteY1564" fmla="*/ 6977666 h 6994526"/>
              <a:gd name="connsiteX1565" fmla="*/ 2863882 w 5932286"/>
              <a:gd name="connsiteY1565" fmla="*/ 6994526 h 6994526"/>
              <a:gd name="connsiteX1566" fmla="*/ 2591274 w 5932286"/>
              <a:gd name="connsiteY1566" fmla="*/ 6994526 h 6994526"/>
              <a:gd name="connsiteX1567" fmla="*/ 2597818 w 5932286"/>
              <a:gd name="connsiteY1567" fmla="*/ 6961671 h 6994526"/>
              <a:gd name="connsiteX1568" fmla="*/ 2726779 w 5932286"/>
              <a:gd name="connsiteY1568" fmla="*/ 6875238 h 6994526"/>
              <a:gd name="connsiteX1569" fmla="*/ 2856927 w 5932286"/>
              <a:gd name="connsiteY1569" fmla="*/ 6960379 h 6994526"/>
              <a:gd name="connsiteX1570" fmla="*/ 3469436 w 5932286"/>
              <a:gd name="connsiteY1570" fmla="*/ 6994526 h 6994526"/>
              <a:gd name="connsiteX1571" fmla="*/ 3297068 w 5932286"/>
              <a:gd name="connsiteY1571" fmla="*/ 6994526 h 6994526"/>
              <a:gd name="connsiteX1572" fmla="*/ 3276916 w 5932286"/>
              <a:gd name="connsiteY1572" fmla="*/ 6964826 h 6994526"/>
              <a:gd name="connsiteX1573" fmla="*/ 3267754 w 5932286"/>
              <a:gd name="connsiteY1573" fmla="*/ 6919612 h 6994526"/>
              <a:gd name="connsiteX1574" fmla="*/ 3382915 w 5932286"/>
              <a:gd name="connsiteY1574" fmla="*/ 6803747 h 6994526"/>
              <a:gd name="connsiteX1575" fmla="*/ 3498782 w 5932286"/>
              <a:gd name="connsiteY1575" fmla="*/ 6918904 h 6994526"/>
              <a:gd name="connsiteX1576" fmla="*/ 3490026 w 5932286"/>
              <a:gd name="connsiteY1576" fmla="*/ 6963831 h 6994526"/>
              <a:gd name="connsiteX1577" fmla="*/ 3859494 w 5932286"/>
              <a:gd name="connsiteY1577" fmla="*/ 6994526 h 6994526"/>
              <a:gd name="connsiteX1578" fmla="*/ 3706722 w 5932286"/>
              <a:gd name="connsiteY1578" fmla="*/ 6994526 h 6994526"/>
              <a:gd name="connsiteX1579" fmla="*/ 3722796 w 5932286"/>
              <a:gd name="connsiteY1579" fmla="*/ 6970515 h 6994526"/>
              <a:gd name="connsiteX1580" fmla="*/ 3782936 w 5932286"/>
              <a:gd name="connsiteY1580" fmla="*/ 6945611 h 6994526"/>
              <a:gd name="connsiteX1581" fmla="*/ 3842808 w 5932286"/>
              <a:gd name="connsiteY1581" fmla="*/ 6969901 h 6994526"/>
              <a:gd name="connsiteX1582" fmla="*/ 4835937 w 5932286"/>
              <a:gd name="connsiteY1582" fmla="*/ 6994526 h 6994526"/>
              <a:gd name="connsiteX1583" fmla="*/ 4696568 w 5932286"/>
              <a:gd name="connsiteY1583" fmla="*/ 6994526 h 6994526"/>
              <a:gd name="connsiteX1584" fmla="*/ 4693436 w 5932286"/>
              <a:gd name="connsiteY1584" fmla="*/ 6978144 h 6994526"/>
              <a:gd name="connsiteX1585" fmla="*/ 4766277 w 5932286"/>
              <a:gd name="connsiteY1585" fmla="*/ 6905305 h 6994526"/>
              <a:gd name="connsiteX1586" fmla="*/ 4839064 w 5932286"/>
              <a:gd name="connsiteY1586" fmla="*/ 6978144 h 69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Lst>
            <a:rect l="l" t="t" r="r" b="b"/>
            <a:pathLst>
              <a:path w="5932286" h="6994526">
                <a:moveTo>
                  <a:pt x="4594375" y="5875"/>
                </a:moveTo>
                <a:lnTo>
                  <a:pt x="4565871" y="0"/>
                </a:lnTo>
                <a:lnTo>
                  <a:pt x="4622918" y="0"/>
                </a:lnTo>
                <a:close/>
                <a:moveTo>
                  <a:pt x="14015" y="12585"/>
                </a:moveTo>
                <a:lnTo>
                  <a:pt x="0" y="9918"/>
                </a:lnTo>
                <a:lnTo>
                  <a:pt x="0" y="0"/>
                </a:lnTo>
                <a:lnTo>
                  <a:pt x="61067" y="0"/>
                </a:lnTo>
                <a:lnTo>
                  <a:pt x="54785" y="4284"/>
                </a:lnTo>
                <a:cubicBezTo>
                  <a:pt x="42277" y="9627"/>
                  <a:pt x="28499" y="12585"/>
                  <a:pt x="14015" y="12585"/>
                </a:cubicBezTo>
                <a:close/>
                <a:moveTo>
                  <a:pt x="342166" y="27267"/>
                </a:moveTo>
                <a:cubicBezTo>
                  <a:pt x="327858" y="27267"/>
                  <a:pt x="314213" y="24396"/>
                  <a:pt x="301794" y="19197"/>
                </a:cubicBezTo>
                <a:lnTo>
                  <a:pt x="273043" y="0"/>
                </a:lnTo>
                <a:lnTo>
                  <a:pt x="410491" y="0"/>
                </a:lnTo>
                <a:lnTo>
                  <a:pt x="382423" y="19087"/>
                </a:lnTo>
                <a:cubicBezTo>
                  <a:pt x="370071" y="24353"/>
                  <a:pt x="356471" y="27267"/>
                  <a:pt x="342166" y="27267"/>
                </a:cubicBezTo>
                <a:close/>
                <a:moveTo>
                  <a:pt x="2488906" y="27452"/>
                </a:moveTo>
                <a:cubicBezTo>
                  <a:pt x="2467004" y="27452"/>
                  <a:pt x="2447045" y="18621"/>
                  <a:pt x="2432561" y="4314"/>
                </a:cubicBezTo>
                <a:lnTo>
                  <a:pt x="2429614" y="0"/>
                </a:lnTo>
                <a:lnTo>
                  <a:pt x="2547809" y="0"/>
                </a:lnTo>
                <a:lnTo>
                  <a:pt x="2545162" y="3960"/>
                </a:lnTo>
                <a:cubicBezTo>
                  <a:pt x="2530767" y="18444"/>
                  <a:pt x="2510808" y="27452"/>
                  <a:pt x="2488906" y="27452"/>
                </a:cubicBezTo>
                <a:close/>
                <a:moveTo>
                  <a:pt x="667513" y="71371"/>
                </a:moveTo>
                <a:cubicBezTo>
                  <a:pt x="625128" y="71371"/>
                  <a:pt x="588697" y="45936"/>
                  <a:pt x="573130" y="9373"/>
                </a:cubicBezTo>
                <a:lnTo>
                  <a:pt x="571230" y="0"/>
                </a:lnTo>
                <a:lnTo>
                  <a:pt x="763055" y="0"/>
                </a:lnTo>
                <a:lnTo>
                  <a:pt x="761304" y="8778"/>
                </a:lnTo>
                <a:cubicBezTo>
                  <a:pt x="745937" y="45537"/>
                  <a:pt x="709904" y="71371"/>
                  <a:pt x="667513" y="71371"/>
                </a:cubicBezTo>
                <a:close/>
                <a:moveTo>
                  <a:pt x="1907321" y="116369"/>
                </a:moveTo>
                <a:cubicBezTo>
                  <a:pt x="1855743" y="117078"/>
                  <a:pt x="1812647" y="74684"/>
                  <a:pt x="1812647" y="22405"/>
                </a:cubicBezTo>
                <a:lnTo>
                  <a:pt x="1817171" y="0"/>
                </a:lnTo>
                <a:lnTo>
                  <a:pt x="1997611" y="0"/>
                </a:lnTo>
                <a:lnTo>
                  <a:pt x="2001994" y="21697"/>
                </a:lnTo>
                <a:cubicBezTo>
                  <a:pt x="2001994" y="73983"/>
                  <a:pt x="1959601" y="116369"/>
                  <a:pt x="1907321" y="116369"/>
                </a:cubicBezTo>
                <a:close/>
                <a:moveTo>
                  <a:pt x="987061" y="144026"/>
                </a:moveTo>
                <a:cubicBezTo>
                  <a:pt x="931245" y="144727"/>
                  <a:pt x="886027" y="99516"/>
                  <a:pt x="886027" y="43701"/>
                </a:cubicBezTo>
                <a:cubicBezTo>
                  <a:pt x="886027" y="29747"/>
                  <a:pt x="888853" y="16456"/>
                  <a:pt x="893953" y="4368"/>
                </a:cubicBezTo>
                <a:lnTo>
                  <a:pt x="896887" y="0"/>
                </a:lnTo>
                <a:lnTo>
                  <a:pt x="1076886" y="0"/>
                </a:lnTo>
                <a:lnTo>
                  <a:pt x="1079447" y="3771"/>
                </a:lnTo>
                <a:cubicBezTo>
                  <a:pt x="1084559" y="15793"/>
                  <a:pt x="1087385" y="29040"/>
                  <a:pt x="1087385" y="42993"/>
                </a:cubicBezTo>
                <a:cubicBezTo>
                  <a:pt x="1088086" y="98806"/>
                  <a:pt x="1042874" y="144026"/>
                  <a:pt x="987061" y="144026"/>
                </a:cubicBezTo>
                <a:close/>
                <a:moveTo>
                  <a:pt x="3290557" y="202933"/>
                </a:moveTo>
                <a:cubicBezTo>
                  <a:pt x="3250096" y="202933"/>
                  <a:pt x="3217735" y="170560"/>
                  <a:pt x="3217735" y="130111"/>
                </a:cubicBezTo>
                <a:cubicBezTo>
                  <a:pt x="3217735" y="89652"/>
                  <a:pt x="3250096" y="56132"/>
                  <a:pt x="3289399" y="56132"/>
                </a:cubicBezTo>
                <a:cubicBezTo>
                  <a:pt x="3329858" y="56132"/>
                  <a:pt x="3363379" y="88493"/>
                  <a:pt x="3363379" y="128953"/>
                </a:cubicBezTo>
                <a:cubicBezTo>
                  <a:pt x="3363379" y="169402"/>
                  <a:pt x="3331006" y="202933"/>
                  <a:pt x="3290557" y="202933"/>
                </a:cubicBezTo>
                <a:close/>
                <a:moveTo>
                  <a:pt x="3808744" y="210107"/>
                </a:moveTo>
                <a:cubicBezTo>
                  <a:pt x="3769181" y="210107"/>
                  <a:pt x="3735026" y="177738"/>
                  <a:pt x="3735026" y="138177"/>
                </a:cubicBezTo>
                <a:cubicBezTo>
                  <a:pt x="3735026" y="98616"/>
                  <a:pt x="3767397" y="66265"/>
                  <a:pt x="3806941" y="64463"/>
                </a:cubicBezTo>
                <a:cubicBezTo>
                  <a:pt x="3848306" y="64463"/>
                  <a:pt x="3880677" y="96832"/>
                  <a:pt x="3880677" y="136393"/>
                </a:cubicBezTo>
                <a:cubicBezTo>
                  <a:pt x="3882462" y="177738"/>
                  <a:pt x="3850108" y="210107"/>
                  <a:pt x="3808744" y="210107"/>
                </a:cubicBezTo>
                <a:close/>
                <a:moveTo>
                  <a:pt x="2752770" y="223532"/>
                </a:moveTo>
                <a:cubicBezTo>
                  <a:pt x="2708967" y="223532"/>
                  <a:pt x="2672933" y="188206"/>
                  <a:pt x="2672933" y="144404"/>
                </a:cubicBezTo>
                <a:cubicBezTo>
                  <a:pt x="2672232" y="99893"/>
                  <a:pt x="2708259" y="64568"/>
                  <a:pt x="2752068" y="64568"/>
                </a:cubicBezTo>
                <a:cubicBezTo>
                  <a:pt x="2795870" y="64568"/>
                  <a:pt x="2831903" y="99893"/>
                  <a:pt x="2831903" y="143696"/>
                </a:cubicBezTo>
                <a:cubicBezTo>
                  <a:pt x="2832605" y="187498"/>
                  <a:pt x="2796579" y="223532"/>
                  <a:pt x="2752770" y="223532"/>
                </a:cubicBezTo>
                <a:close/>
                <a:moveTo>
                  <a:pt x="4310074" y="236639"/>
                </a:moveTo>
                <a:cubicBezTo>
                  <a:pt x="4268739" y="236639"/>
                  <a:pt x="4234246" y="202154"/>
                  <a:pt x="4234246" y="160757"/>
                </a:cubicBezTo>
                <a:cubicBezTo>
                  <a:pt x="4234246" y="119429"/>
                  <a:pt x="4268739" y="91855"/>
                  <a:pt x="4310074" y="84944"/>
                </a:cubicBezTo>
                <a:cubicBezTo>
                  <a:pt x="4351478" y="84944"/>
                  <a:pt x="4379057" y="119429"/>
                  <a:pt x="4379057" y="160757"/>
                </a:cubicBezTo>
                <a:cubicBezTo>
                  <a:pt x="4385969" y="202154"/>
                  <a:pt x="4351478" y="236639"/>
                  <a:pt x="4310074" y="236639"/>
                </a:cubicBezTo>
                <a:close/>
                <a:moveTo>
                  <a:pt x="1299339" y="246672"/>
                </a:moveTo>
                <a:cubicBezTo>
                  <a:pt x="1243527" y="246672"/>
                  <a:pt x="1198308" y="202163"/>
                  <a:pt x="1198308" y="146349"/>
                </a:cubicBezTo>
                <a:cubicBezTo>
                  <a:pt x="1198308" y="90537"/>
                  <a:pt x="1243527" y="45319"/>
                  <a:pt x="1298631" y="45319"/>
                </a:cubicBezTo>
                <a:cubicBezTo>
                  <a:pt x="1354444" y="45319"/>
                  <a:pt x="1399661" y="89828"/>
                  <a:pt x="1399661" y="145642"/>
                </a:cubicBezTo>
                <a:cubicBezTo>
                  <a:pt x="1399661" y="201454"/>
                  <a:pt x="1355152" y="246672"/>
                  <a:pt x="1299339" y="246672"/>
                </a:cubicBezTo>
                <a:close/>
                <a:moveTo>
                  <a:pt x="4790983" y="269478"/>
                </a:moveTo>
                <a:cubicBezTo>
                  <a:pt x="4750498" y="269478"/>
                  <a:pt x="4718128" y="237107"/>
                  <a:pt x="4718128" y="196624"/>
                </a:cubicBezTo>
                <a:cubicBezTo>
                  <a:pt x="4718128" y="156141"/>
                  <a:pt x="4750498" y="123771"/>
                  <a:pt x="4790983" y="123771"/>
                </a:cubicBezTo>
                <a:cubicBezTo>
                  <a:pt x="4831466" y="123771"/>
                  <a:pt x="4863836" y="156141"/>
                  <a:pt x="4863836" y="196624"/>
                </a:cubicBezTo>
                <a:cubicBezTo>
                  <a:pt x="4863836" y="237107"/>
                  <a:pt x="4831466" y="269478"/>
                  <a:pt x="4790983" y="269478"/>
                </a:cubicBezTo>
                <a:close/>
                <a:moveTo>
                  <a:pt x="2190175" y="296108"/>
                </a:moveTo>
                <a:cubicBezTo>
                  <a:pt x="2130836" y="296108"/>
                  <a:pt x="2082793" y="248772"/>
                  <a:pt x="2082793" y="189433"/>
                </a:cubicBezTo>
                <a:cubicBezTo>
                  <a:pt x="2082793" y="130086"/>
                  <a:pt x="2130836" y="82043"/>
                  <a:pt x="2189475" y="82043"/>
                </a:cubicBezTo>
                <a:cubicBezTo>
                  <a:pt x="2248821" y="82043"/>
                  <a:pt x="2296857" y="129379"/>
                  <a:pt x="2296857" y="188725"/>
                </a:cubicBezTo>
                <a:cubicBezTo>
                  <a:pt x="2296857" y="248071"/>
                  <a:pt x="2249522" y="296108"/>
                  <a:pt x="2190175" y="296108"/>
                </a:cubicBezTo>
                <a:close/>
                <a:moveTo>
                  <a:pt x="1600960" y="396686"/>
                </a:moveTo>
                <a:cubicBezTo>
                  <a:pt x="1534546" y="397395"/>
                  <a:pt x="1480149" y="342998"/>
                  <a:pt x="1480149" y="276581"/>
                </a:cubicBezTo>
                <a:cubicBezTo>
                  <a:pt x="1480149" y="209465"/>
                  <a:pt x="1533845" y="155768"/>
                  <a:pt x="1600252" y="155768"/>
                </a:cubicBezTo>
                <a:cubicBezTo>
                  <a:pt x="1666666" y="155060"/>
                  <a:pt x="1721063" y="208757"/>
                  <a:pt x="1721063" y="275873"/>
                </a:cubicBezTo>
                <a:cubicBezTo>
                  <a:pt x="1721771" y="342290"/>
                  <a:pt x="1667367" y="396686"/>
                  <a:pt x="1600960" y="396686"/>
                </a:cubicBezTo>
                <a:close/>
                <a:moveTo>
                  <a:pt x="12459" y="397574"/>
                </a:moveTo>
                <a:lnTo>
                  <a:pt x="0" y="395061"/>
                </a:lnTo>
                <a:lnTo>
                  <a:pt x="0" y="153466"/>
                </a:lnTo>
                <a:lnTo>
                  <a:pt x="11751" y="151009"/>
                </a:lnTo>
                <a:cubicBezTo>
                  <a:pt x="79575" y="151009"/>
                  <a:pt x="135387" y="206113"/>
                  <a:pt x="135387" y="273938"/>
                </a:cubicBezTo>
                <a:cubicBezTo>
                  <a:pt x="135387" y="341761"/>
                  <a:pt x="80283" y="397574"/>
                  <a:pt x="12459" y="397574"/>
                </a:cubicBezTo>
                <a:close/>
                <a:moveTo>
                  <a:pt x="340716" y="415001"/>
                </a:moveTo>
                <a:cubicBezTo>
                  <a:pt x="272893" y="415001"/>
                  <a:pt x="217079" y="359897"/>
                  <a:pt x="217079" y="292072"/>
                </a:cubicBezTo>
                <a:cubicBezTo>
                  <a:pt x="216372" y="224248"/>
                  <a:pt x="271484" y="168436"/>
                  <a:pt x="340009" y="168436"/>
                </a:cubicBezTo>
                <a:cubicBezTo>
                  <a:pt x="407833" y="168436"/>
                  <a:pt x="463645" y="223540"/>
                  <a:pt x="463645" y="291364"/>
                </a:cubicBezTo>
                <a:cubicBezTo>
                  <a:pt x="463645" y="359187"/>
                  <a:pt x="408541" y="415001"/>
                  <a:pt x="340716" y="415001"/>
                </a:cubicBezTo>
                <a:close/>
                <a:moveTo>
                  <a:pt x="3520665" y="437641"/>
                </a:moveTo>
                <a:cubicBezTo>
                  <a:pt x="3480174" y="437641"/>
                  <a:pt x="3447465" y="405713"/>
                  <a:pt x="3447465" y="365213"/>
                </a:cubicBezTo>
                <a:cubicBezTo>
                  <a:pt x="3447465" y="324722"/>
                  <a:pt x="3479393" y="292013"/>
                  <a:pt x="3519893" y="292013"/>
                </a:cubicBezTo>
                <a:cubicBezTo>
                  <a:pt x="3560384" y="292013"/>
                  <a:pt x="3593093" y="324722"/>
                  <a:pt x="3593093" y="364440"/>
                </a:cubicBezTo>
                <a:cubicBezTo>
                  <a:pt x="3593093" y="404932"/>
                  <a:pt x="3561165" y="437641"/>
                  <a:pt x="3520665" y="437641"/>
                </a:cubicBezTo>
                <a:close/>
                <a:moveTo>
                  <a:pt x="3001138" y="443447"/>
                </a:moveTo>
                <a:cubicBezTo>
                  <a:pt x="2954511" y="443447"/>
                  <a:pt x="2916352" y="405296"/>
                  <a:pt x="2916352" y="358669"/>
                </a:cubicBezTo>
                <a:cubicBezTo>
                  <a:pt x="2915651" y="312041"/>
                  <a:pt x="2953803" y="273891"/>
                  <a:pt x="3000431" y="274592"/>
                </a:cubicBezTo>
                <a:cubicBezTo>
                  <a:pt x="3047058" y="273891"/>
                  <a:pt x="3085210" y="312041"/>
                  <a:pt x="3085210" y="358669"/>
                </a:cubicBezTo>
                <a:cubicBezTo>
                  <a:pt x="3085918" y="405296"/>
                  <a:pt x="3047767" y="443447"/>
                  <a:pt x="3001138" y="443447"/>
                </a:cubicBezTo>
                <a:close/>
                <a:moveTo>
                  <a:pt x="4020801" y="460815"/>
                </a:moveTo>
                <a:cubicBezTo>
                  <a:pt x="3979475" y="462599"/>
                  <a:pt x="3947122" y="428461"/>
                  <a:pt x="3947122" y="388920"/>
                </a:cubicBezTo>
                <a:cubicBezTo>
                  <a:pt x="3947122" y="347595"/>
                  <a:pt x="3979475" y="315241"/>
                  <a:pt x="4019017" y="315241"/>
                </a:cubicBezTo>
                <a:cubicBezTo>
                  <a:pt x="4060342" y="315241"/>
                  <a:pt x="4092696" y="347595"/>
                  <a:pt x="4092696" y="387118"/>
                </a:cubicBezTo>
                <a:cubicBezTo>
                  <a:pt x="4094480" y="428461"/>
                  <a:pt x="4060342" y="460815"/>
                  <a:pt x="4020801" y="460815"/>
                </a:cubicBezTo>
                <a:close/>
                <a:moveTo>
                  <a:pt x="665095" y="465350"/>
                </a:moveTo>
                <a:cubicBezTo>
                  <a:pt x="597271" y="465350"/>
                  <a:pt x="541459" y="410246"/>
                  <a:pt x="541459" y="342422"/>
                </a:cubicBezTo>
                <a:cubicBezTo>
                  <a:pt x="541459" y="274597"/>
                  <a:pt x="596563" y="219493"/>
                  <a:pt x="664387" y="218785"/>
                </a:cubicBezTo>
                <a:cubicBezTo>
                  <a:pt x="732211" y="218785"/>
                  <a:pt x="788024" y="273889"/>
                  <a:pt x="788024" y="341714"/>
                </a:cubicBezTo>
                <a:cubicBezTo>
                  <a:pt x="788024" y="409537"/>
                  <a:pt x="732919" y="465350"/>
                  <a:pt x="665095" y="465350"/>
                </a:cubicBezTo>
                <a:close/>
                <a:moveTo>
                  <a:pt x="2458890" y="476012"/>
                </a:moveTo>
                <a:cubicBezTo>
                  <a:pt x="2405196" y="476012"/>
                  <a:pt x="2361395" y="432919"/>
                  <a:pt x="2361395" y="379225"/>
                </a:cubicBezTo>
                <a:cubicBezTo>
                  <a:pt x="2361395" y="325531"/>
                  <a:pt x="2404488" y="281729"/>
                  <a:pt x="2458182" y="281729"/>
                </a:cubicBezTo>
                <a:cubicBezTo>
                  <a:pt x="2511876" y="281729"/>
                  <a:pt x="2555677" y="324821"/>
                  <a:pt x="2555677" y="378517"/>
                </a:cubicBezTo>
                <a:cubicBezTo>
                  <a:pt x="2555677" y="432211"/>
                  <a:pt x="2512584" y="476012"/>
                  <a:pt x="2458890" y="476012"/>
                </a:cubicBezTo>
                <a:close/>
                <a:moveTo>
                  <a:pt x="4503358" y="497432"/>
                </a:moveTo>
                <a:cubicBezTo>
                  <a:pt x="4462572" y="497432"/>
                  <a:pt x="4430544" y="465404"/>
                  <a:pt x="4430544" y="427538"/>
                </a:cubicBezTo>
                <a:cubicBezTo>
                  <a:pt x="4430544" y="386752"/>
                  <a:pt x="4462572" y="354724"/>
                  <a:pt x="4503358" y="351805"/>
                </a:cubicBezTo>
                <a:cubicBezTo>
                  <a:pt x="4544144" y="351805"/>
                  <a:pt x="4576171" y="383832"/>
                  <a:pt x="4576171" y="424618"/>
                </a:cubicBezTo>
                <a:cubicBezTo>
                  <a:pt x="4576171" y="465404"/>
                  <a:pt x="4544144" y="497432"/>
                  <a:pt x="4503358" y="497432"/>
                </a:cubicBezTo>
                <a:close/>
                <a:moveTo>
                  <a:pt x="4972541" y="543506"/>
                </a:moveTo>
                <a:cubicBezTo>
                  <a:pt x="4932056" y="543506"/>
                  <a:pt x="4899686" y="511136"/>
                  <a:pt x="4899686" y="470653"/>
                </a:cubicBezTo>
                <a:cubicBezTo>
                  <a:pt x="4899686" y="430170"/>
                  <a:pt x="4932056" y="397799"/>
                  <a:pt x="4972541" y="397799"/>
                </a:cubicBezTo>
                <a:cubicBezTo>
                  <a:pt x="5013024" y="397799"/>
                  <a:pt x="5045394" y="430170"/>
                  <a:pt x="5045394" y="470653"/>
                </a:cubicBezTo>
                <a:cubicBezTo>
                  <a:pt x="5045394" y="511136"/>
                  <a:pt x="5013024" y="543506"/>
                  <a:pt x="4972541" y="543506"/>
                </a:cubicBezTo>
                <a:close/>
                <a:moveTo>
                  <a:pt x="983186" y="547658"/>
                </a:moveTo>
                <a:cubicBezTo>
                  <a:pt x="915361" y="547658"/>
                  <a:pt x="859549" y="492553"/>
                  <a:pt x="859549" y="424729"/>
                </a:cubicBezTo>
                <a:cubicBezTo>
                  <a:pt x="859549" y="356905"/>
                  <a:pt x="914653" y="301800"/>
                  <a:pt x="982478" y="301092"/>
                </a:cubicBezTo>
                <a:cubicBezTo>
                  <a:pt x="1050303" y="301092"/>
                  <a:pt x="1106115" y="356197"/>
                  <a:pt x="1106115" y="424021"/>
                </a:cubicBezTo>
                <a:cubicBezTo>
                  <a:pt x="1106115" y="491844"/>
                  <a:pt x="1051010" y="547658"/>
                  <a:pt x="983186" y="547658"/>
                </a:cubicBezTo>
                <a:close/>
                <a:moveTo>
                  <a:pt x="1890007" y="548606"/>
                </a:moveTo>
                <a:cubicBezTo>
                  <a:pt x="1826419" y="549307"/>
                  <a:pt x="1774139" y="497735"/>
                  <a:pt x="1774139" y="433445"/>
                </a:cubicBezTo>
                <a:cubicBezTo>
                  <a:pt x="1773431" y="369147"/>
                  <a:pt x="1825009" y="317576"/>
                  <a:pt x="1889300" y="317576"/>
                </a:cubicBezTo>
                <a:cubicBezTo>
                  <a:pt x="1952883" y="317576"/>
                  <a:pt x="2005169" y="369147"/>
                  <a:pt x="2005169" y="432737"/>
                </a:cubicBezTo>
                <a:cubicBezTo>
                  <a:pt x="2005870" y="496318"/>
                  <a:pt x="1954298" y="548606"/>
                  <a:pt x="1890007" y="548606"/>
                </a:cubicBezTo>
                <a:close/>
                <a:moveTo>
                  <a:pt x="1291591" y="664493"/>
                </a:moveTo>
                <a:cubicBezTo>
                  <a:pt x="1221648" y="664493"/>
                  <a:pt x="1164417" y="607972"/>
                  <a:pt x="1164417" y="538029"/>
                </a:cubicBezTo>
                <a:cubicBezTo>
                  <a:pt x="1164417" y="468086"/>
                  <a:pt x="1220940" y="410856"/>
                  <a:pt x="1290883" y="410856"/>
                </a:cubicBezTo>
                <a:cubicBezTo>
                  <a:pt x="1360833" y="410856"/>
                  <a:pt x="1418057" y="467377"/>
                  <a:pt x="1418057" y="537320"/>
                </a:cubicBezTo>
                <a:cubicBezTo>
                  <a:pt x="1418057" y="607262"/>
                  <a:pt x="1361534" y="664493"/>
                  <a:pt x="1291591" y="664493"/>
                </a:cubicBezTo>
                <a:close/>
                <a:moveTo>
                  <a:pt x="3232569" y="677291"/>
                </a:moveTo>
                <a:cubicBezTo>
                  <a:pt x="3185942" y="678000"/>
                  <a:pt x="3147783" y="639848"/>
                  <a:pt x="3147783" y="593221"/>
                </a:cubicBezTo>
                <a:cubicBezTo>
                  <a:pt x="3147082" y="546593"/>
                  <a:pt x="3185234" y="508435"/>
                  <a:pt x="3231861" y="508435"/>
                </a:cubicBezTo>
                <a:cubicBezTo>
                  <a:pt x="3278489" y="507734"/>
                  <a:pt x="3316641" y="545884"/>
                  <a:pt x="3316641" y="592513"/>
                </a:cubicBezTo>
                <a:cubicBezTo>
                  <a:pt x="3317349" y="639141"/>
                  <a:pt x="3279198" y="677291"/>
                  <a:pt x="3232569" y="677291"/>
                </a:cubicBezTo>
                <a:close/>
                <a:moveTo>
                  <a:pt x="3733068" y="688189"/>
                </a:moveTo>
                <a:cubicBezTo>
                  <a:pt x="3693286" y="688189"/>
                  <a:pt x="3660260" y="655915"/>
                  <a:pt x="3660260" y="615379"/>
                </a:cubicBezTo>
                <a:cubicBezTo>
                  <a:pt x="3659508" y="575588"/>
                  <a:pt x="3692533" y="542562"/>
                  <a:pt x="3733068" y="542562"/>
                </a:cubicBezTo>
                <a:cubicBezTo>
                  <a:pt x="3772858" y="542562"/>
                  <a:pt x="3805882" y="574842"/>
                  <a:pt x="3805882" y="615379"/>
                </a:cubicBezTo>
                <a:cubicBezTo>
                  <a:pt x="3805882" y="655163"/>
                  <a:pt x="3773602" y="688189"/>
                  <a:pt x="3733068" y="688189"/>
                </a:cubicBezTo>
                <a:close/>
                <a:moveTo>
                  <a:pt x="2710650" y="708304"/>
                </a:moveTo>
                <a:cubicBezTo>
                  <a:pt x="2644944" y="708304"/>
                  <a:pt x="2591957" y="655316"/>
                  <a:pt x="2591957" y="590318"/>
                </a:cubicBezTo>
                <a:cubicBezTo>
                  <a:pt x="2591957" y="525319"/>
                  <a:pt x="2644944" y="472332"/>
                  <a:pt x="2709942" y="471624"/>
                </a:cubicBezTo>
                <a:cubicBezTo>
                  <a:pt x="2774941" y="471624"/>
                  <a:pt x="2828636" y="524612"/>
                  <a:pt x="2828636" y="589610"/>
                </a:cubicBezTo>
                <a:cubicBezTo>
                  <a:pt x="2828636" y="654608"/>
                  <a:pt x="2776350" y="708304"/>
                  <a:pt x="2710650" y="708304"/>
                </a:cubicBezTo>
                <a:close/>
                <a:moveTo>
                  <a:pt x="4215782" y="724997"/>
                </a:moveTo>
                <a:cubicBezTo>
                  <a:pt x="4175430" y="724997"/>
                  <a:pt x="4142958" y="692526"/>
                  <a:pt x="4142958" y="652174"/>
                </a:cubicBezTo>
                <a:cubicBezTo>
                  <a:pt x="4141981" y="611832"/>
                  <a:pt x="4174453" y="579361"/>
                  <a:pt x="4215782" y="579361"/>
                </a:cubicBezTo>
                <a:cubicBezTo>
                  <a:pt x="4255138" y="579361"/>
                  <a:pt x="4288597" y="611832"/>
                  <a:pt x="4288597" y="652174"/>
                </a:cubicBezTo>
                <a:cubicBezTo>
                  <a:pt x="4288597" y="692526"/>
                  <a:pt x="4256124" y="724997"/>
                  <a:pt x="4215782" y="724997"/>
                </a:cubicBezTo>
                <a:close/>
                <a:moveTo>
                  <a:pt x="2163547" y="743360"/>
                </a:moveTo>
                <a:cubicBezTo>
                  <a:pt x="2092899" y="743360"/>
                  <a:pt x="2034968" y="686131"/>
                  <a:pt x="2034968" y="615481"/>
                </a:cubicBezTo>
                <a:cubicBezTo>
                  <a:pt x="2034968" y="544832"/>
                  <a:pt x="2092197" y="486901"/>
                  <a:pt x="2162847" y="486901"/>
                </a:cubicBezTo>
                <a:cubicBezTo>
                  <a:pt x="2233497" y="486901"/>
                  <a:pt x="2291427" y="544130"/>
                  <a:pt x="2291427" y="614779"/>
                </a:cubicBezTo>
                <a:cubicBezTo>
                  <a:pt x="2291427" y="685430"/>
                  <a:pt x="2234198" y="743360"/>
                  <a:pt x="2163547" y="743360"/>
                </a:cubicBezTo>
                <a:close/>
                <a:moveTo>
                  <a:pt x="11008" y="750068"/>
                </a:moveTo>
                <a:lnTo>
                  <a:pt x="0" y="747972"/>
                </a:lnTo>
                <a:lnTo>
                  <a:pt x="0" y="533205"/>
                </a:lnTo>
                <a:lnTo>
                  <a:pt x="10300" y="531042"/>
                </a:lnTo>
                <a:cubicBezTo>
                  <a:pt x="71058" y="530334"/>
                  <a:pt x="120511" y="579796"/>
                  <a:pt x="120511" y="639847"/>
                </a:cubicBezTo>
                <a:cubicBezTo>
                  <a:pt x="120511" y="700605"/>
                  <a:pt x="71765" y="750068"/>
                  <a:pt x="11008" y="750068"/>
                </a:cubicBezTo>
                <a:close/>
                <a:moveTo>
                  <a:pt x="338777" y="772141"/>
                </a:moveTo>
                <a:cubicBezTo>
                  <a:pt x="277314" y="772141"/>
                  <a:pt x="226445" y="722689"/>
                  <a:pt x="226445" y="660516"/>
                </a:cubicBezTo>
                <a:cubicBezTo>
                  <a:pt x="226445" y="599053"/>
                  <a:pt x="276605" y="548185"/>
                  <a:pt x="338068" y="548185"/>
                </a:cubicBezTo>
                <a:cubicBezTo>
                  <a:pt x="399531" y="548185"/>
                  <a:pt x="450400" y="597638"/>
                  <a:pt x="450400" y="659808"/>
                </a:cubicBezTo>
                <a:cubicBezTo>
                  <a:pt x="450400" y="721979"/>
                  <a:pt x="400948" y="772141"/>
                  <a:pt x="338777" y="772141"/>
                </a:cubicBezTo>
                <a:close/>
                <a:moveTo>
                  <a:pt x="4684710" y="773436"/>
                </a:moveTo>
                <a:cubicBezTo>
                  <a:pt x="4643089" y="773436"/>
                  <a:pt x="4610407" y="740754"/>
                  <a:pt x="4610407" y="699133"/>
                </a:cubicBezTo>
                <a:cubicBezTo>
                  <a:pt x="4610407" y="657514"/>
                  <a:pt x="4643089" y="624831"/>
                  <a:pt x="4681731" y="624831"/>
                </a:cubicBezTo>
                <a:cubicBezTo>
                  <a:pt x="4723352" y="627810"/>
                  <a:pt x="4756034" y="660493"/>
                  <a:pt x="4756034" y="699133"/>
                </a:cubicBezTo>
                <a:cubicBezTo>
                  <a:pt x="4756034" y="740754"/>
                  <a:pt x="4726330" y="773436"/>
                  <a:pt x="4684710" y="773436"/>
                </a:cubicBezTo>
                <a:close/>
                <a:moveTo>
                  <a:pt x="1587412" y="816055"/>
                </a:moveTo>
                <a:cubicBezTo>
                  <a:pt x="1513228" y="816055"/>
                  <a:pt x="1452471" y="755999"/>
                  <a:pt x="1452471" y="681815"/>
                </a:cubicBezTo>
                <a:cubicBezTo>
                  <a:pt x="1451763" y="608339"/>
                  <a:pt x="1511819" y="547582"/>
                  <a:pt x="1586704" y="546874"/>
                </a:cubicBezTo>
                <a:cubicBezTo>
                  <a:pt x="1660889" y="546874"/>
                  <a:pt x="1721651" y="606929"/>
                  <a:pt x="1721651" y="681107"/>
                </a:cubicBezTo>
                <a:cubicBezTo>
                  <a:pt x="1721651" y="755291"/>
                  <a:pt x="1661597" y="816055"/>
                  <a:pt x="1587412" y="816055"/>
                </a:cubicBezTo>
                <a:close/>
                <a:moveTo>
                  <a:pt x="5138605" y="827226"/>
                </a:moveTo>
                <a:cubicBezTo>
                  <a:pt x="5098120" y="827226"/>
                  <a:pt x="5065750" y="794855"/>
                  <a:pt x="5065750" y="754372"/>
                </a:cubicBezTo>
                <a:cubicBezTo>
                  <a:pt x="5065750" y="713889"/>
                  <a:pt x="5098120" y="681519"/>
                  <a:pt x="5138605" y="681519"/>
                </a:cubicBezTo>
                <a:cubicBezTo>
                  <a:pt x="5179088" y="681519"/>
                  <a:pt x="5211458" y="713889"/>
                  <a:pt x="5211458" y="754372"/>
                </a:cubicBezTo>
                <a:cubicBezTo>
                  <a:pt x="5211458" y="794855"/>
                  <a:pt x="5179088" y="827226"/>
                  <a:pt x="5138605" y="827226"/>
                </a:cubicBezTo>
                <a:close/>
                <a:moveTo>
                  <a:pt x="662786" y="836781"/>
                </a:moveTo>
                <a:cubicBezTo>
                  <a:pt x="595665" y="837490"/>
                  <a:pt x="541977" y="783086"/>
                  <a:pt x="541269" y="716679"/>
                </a:cubicBezTo>
                <a:cubicBezTo>
                  <a:pt x="541269" y="650271"/>
                  <a:pt x="594963" y="595867"/>
                  <a:pt x="662079" y="595867"/>
                </a:cubicBezTo>
                <a:cubicBezTo>
                  <a:pt x="728485" y="595159"/>
                  <a:pt x="782887" y="648854"/>
                  <a:pt x="782887" y="715971"/>
                </a:cubicBezTo>
                <a:cubicBezTo>
                  <a:pt x="783594" y="782385"/>
                  <a:pt x="729193" y="836781"/>
                  <a:pt x="662786" y="836781"/>
                </a:cubicBezTo>
                <a:close/>
                <a:moveTo>
                  <a:pt x="2944494" y="924405"/>
                </a:moveTo>
                <a:cubicBezTo>
                  <a:pt x="2887265" y="924405"/>
                  <a:pt x="2840638" y="878479"/>
                  <a:pt x="2840638" y="821256"/>
                </a:cubicBezTo>
                <a:cubicBezTo>
                  <a:pt x="2840638" y="764027"/>
                  <a:pt x="2886564" y="718107"/>
                  <a:pt x="2943786" y="717399"/>
                </a:cubicBezTo>
                <a:cubicBezTo>
                  <a:pt x="3001016" y="717399"/>
                  <a:pt x="3047643" y="763319"/>
                  <a:pt x="3047643" y="820548"/>
                </a:cubicBezTo>
                <a:cubicBezTo>
                  <a:pt x="3047643" y="877778"/>
                  <a:pt x="3001717" y="924405"/>
                  <a:pt x="2944494" y="924405"/>
                </a:cubicBezTo>
                <a:close/>
                <a:moveTo>
                  <a:pt x="3446189" y="927119"/>
                </a:moveTo>
                <a:cubicBezTo>
                  <a:pt x="3398854" y="927119"/>
                  <a:pt x="3361413" y="889676"/>
                  <a:pt x="3360705" y="843050"/>
                </a:cubicBezTo>
                <a:cubicBezTo>
                  <a:pt x="3360705" y="796422"/>
                  <a:pt x="3398854" y="758265"/>
                  <a:pt x="3445482" y="758265"/>
                </a:cubicBezTo>
                <a:cubicBezTo>
                  <a:pt x="3492108" y="757564"/>
                  <a:pt x="3530257" y="795714"/>
                  <a:pt x="3530257" y="842341"/>
                </a:cubicBezTo>
                <a:cubicBezTo>
                  <a:pt x="3530257" y="888968"/>
                  <a:pt x="3492816" y="927119"/>
                  <a:pt x="3446189" y="927119"/>
                </a:cubicBezTo>
                <a:close/>
                <a:moveTo>
                  <a:pt x="978459" y="935126"/>
                </a:moveTo>
                <a:cubicBezTo>
                  <a:pt x="907812" y="935126"/>
                  <a:pt x="850583" y="878604"/>
                  <a:pt x="850583" y="808664"/>
                </a:cubicBezTo>
                <a:cubicBezTo>
                  <a:pt x="850583" y="738723"/>
                  <a:pt x="907103" y="681495"/>
                  <a:pt x="977752" y="681495"/>
                </a:cubicBezTo>
                <a:cubicBezTo>
                  <a:pt x="1047693" y="681495"/>
                  <a:pt x="1104921" y="738015"/>
                  <a:pt x="1104921" y="807956"/>
                </a:cubicBezTo>
                <a:cubicBezTo>
                  <a:pt x="1104921" y="877896"/>
                  <a:pt x="1048401" y="935126"/>
                  <a:pt x="978459" y="935126"/>
                </a:cubicBezTo>
                <a:close/>
                <a:moveTo>
                  <a:pt x="2419665" y="949128"/>
                </a:moveTo>
                <a:cubicBezTo>
                  <a:pt x="2349015" y="949128"/>
                  <a:pt x="2291085" y="891899"/>
                  <a:pt x="2291085" y="821248"/>
                </a:cubicBezTo>
                <a:cubicBezTo>
                  <a:pt x="2291085" y="750599"/>
                  <a:pt x="2348314" y="692669"/>
                  <a:pt x="2418963" y="692669"/>
                </a:cubicBezTo>
                <a:cubicBezTo>
                  <a:pt x="2489612" y="692669"/>
                  <a:pt x="2547543" y="749898"/>
                  <a:pt x="2547543" y="820547"/>
                </a:cubicBezTo>
                <a:cubicBezTo>
                  <a:pt x="2547543" y="891197"/>
                  <a:pt x="2490314" y="949128"/>
                  <a:pt x="2419665" y="949128"/>
                </a:cubicBezTo>
                <a:close/>
                <a:moveTo>
                  <a:pt x="3927697" y="952547"/>
                </a:moveTo>
                <a:cubicBezTo>
                  <a:pt x="3887354" y="952547"/>
                  <a:pt x="3854883" y="920076"/>
                  <a:pt x="3854883" y="879723"/>
                </a:cubicBezTo>
                <a:cubicBezTo>
                  <a:pt x="3854883" y="839381"/>
                  <a:pt x="3887354" y="806910"/>
                  <a:pt x="3927697" y="806910"/>
                </a:cubicBezTo>
                <a:cubicBezTo>
                  <a:pt x="3968039" y="806910"/>
                  <a:pt x="4000510" y="839381"/>
                  <a:pt x="4000510" y="879723"/>
                </a:cubicBezTo>
                <a:cubicBezTo>
                  <a:pt x="4000510" y="920076"/>
                  <a:pt x="3968039" y="952547"/>
                  <a:pt x="3927697" y="952547"/>
                </a:cubicBezTo>
                <a:close/>
                <a:moveTo>
                  <a:pt x="1867364" y="989230"/>
                </a:moveTo>
                <a:cubicBezTo>
                  <a:pt x="1792473" y="989937"/>
                  <a:pt x="1731009" y="929174"/>
                  <a:pt x="1731009" y="854291"/>
                </a:cubicBezTo>
                <a:cubicBezTo>
                  <a:pt x="1730301" y="779401"/>
                  <a:pt x="1791056" y="717936"/>
                  <a:pt x="1865947" y="717936"/>
                </a:cubicBezTo>
                <a:cubicBezTo>
                  <a:pt x="1940839" y="717228"/>
                  <a:pt x="2002302" y="777990"/>
                  <a:pt x="2002302" y="852874"/>
                </a:cubicBezTo>
                <a:cubicBezTo>
                  <a:pt x="2003010" y="927765"/>
                  <a:pt x="1942248" y="989230"/>
                  <a:pt x="1867364" y="989230"/>
                </a:cubicBezTo>
                <a:close/>
                <a:moveTo>
                  <a:pt x="4394163" y="1001208"/>
                </a:moveTo>
                <a:cubicBezTo>
                  <a:pt x="4353767" y="1001208"/>
                  <a:pt x="4320878" y="969260"/>
                  <a:pt x="4320878" y="928856"/>
                </a:cubicBezTo>
                <a:cubicBezTo>
                  <a:pt x="4320878" y="888460"/>
                  <a:pt x="4353767" y="856513"/>
                  <a:pt x="4393231" y="855571"/>
                </a:cubicBezTo>
                <a:cubicBezTo>
                  <a:pt x="4433626" y="855571"/>
                  <a:pt x="4466515" y="887519"/>
                  <a:pt x="4466515" y="927923"/>
                </a:cubicBezTo>
                <a:cubicBezTo>
                  <a:pt x="4466515" y="968319"/>
                  <a:pt x="4434569" y="1001208"/>
                  <a:pt x="4394163" y="1001208"/>
                </a:cubicBezTo>
                <a:close/>
                <a:moveTo>
                  <a:pt x="1280941" y="1032300"/>
                </a:moveTo>
                <a:cubicBezTo>
                  <a:pt x="1227247" y="1032300"/>
                  <a:pt x="1183446" y="989206"/>
                  <a:pt x="1183446" y="935512"/>
                </a:cubicBezTo>
                <a:cubicBezTo>
                  <a:pt x="1183446" y="881818"/>
                  <a:pt x="1226540" y="838724"/>
                  <a:pt x="1280234" y="838017"/>
                </a:cubicBezTo>
                <a:cubicBezTo>
                  <a:pt x="1333928" y="838017"/>
                  <a:pt x="1377729" y="881109"/>
                  <a:pt x="1377729" y="934804"/>
                </a:cubicBezTo>
                <a:cubicBezTo>
                  <a:pt x="1377729" y="988498"/>
                  <a:pt x="1334635" y="1032300"/>
                  <a:pt x="1280941" y="1032300"/>
                </a:cubicBezTo>
                <a:close/>
                <a:moveTo>
                  <a:pt x="4847738" y="1057375"/>
                </a:moveTo>
                <a:cubicBezTo>
                  <a:pt x="4808175" y="1057375"/>
                  <a:pt x="4774020" y="1025006"/>
                  <a:pt x="4774020" y="985445"/>
                </a:cubicBezTo>
                <a:cubicBezTo>
                  <a:pt x="4774020" y="944100"/>
                  <a:pt x="4806392" y="911731"/>
                  <a:pt x="4845954" y="911731"/>
                </a:cubicBezTo>
                <a:cubicBezTo>
                  <a:pt x="4887300" y="911731"/>
                  <a:pt x="4919671" y="944100"/>
                  <a:pt x="4919671" y="983661"/>
                </a:cubicBezTo>
                <a:cubicBezTo>
                  <a:pt x="4921456" y="1025006"/>
                  <a:pt x="4889102" y="1057375"/>
                  <a:pt x="4847738" y="1057375"/>
                </a:cubicBezTo>
                <a:close/>
                <a:moveTo>
                  <a:pt x="9443" y="1079396"/>
                </a:moveTo>
                <a:lnTo>
                  <a:pt x="0" y="1077491"/>
                </a:lnTo>
                <a:lnTo>
                  <a:pt x="0" y="935674"/>
                </a:lnTo>
                <a:lnTo>
                  <a:pt x="9443" y="933761"/>
                </a:lnTo>
                <a:cubicBezTo>
                  <a:pt x="49156" y="933761"/>
                  <a:pt x="82257" y="966035"/>
                  <a:pt x="82257" y="1006578"/>
                </a:cubicBezTo>
                <a:cubicBezTo>
                  <a:pt x="82257" y="1046293"/>
                  <a:pt x="49156" y="1079396"/>
                  <a:pt x="9443" y="1079396"/>
                </a:cubicBezTo>
                <a:close/>
                <a:moveTo>
                  <a:pt x="336731" y="1102280"/>
                </a:moveTo>
                <a:cubicBezTo>
                  <a:pt x="296877" y="1102280"/>
                  <a:pt x="263916" y="1070087"/>
                  <a:pt x="263916" y="1029467"/>
                </a:cubicBezTo>
                <a:cubicBezTo>
                  <a:pt x="263916" y="989608"/>
                  <a:pt x="296877" y="956655"/>
                  <a:pt x="336731" y="955887"/>
                </a:cubicBezTo>
                <a:cubicBezTo>
                  <a:pt x="376591" y="955887"/>
                  <a:pt x="409551" y="988847"/>
                  <a:pt x="409551" y="1028699"/>
                </a:cubicBezTo>
                <a:cubicBezTo>
                  <a:pt x="409551" y="1069327"/>
                  <a:pt x="377351" y="1102280"/>
                  <a:pt x="336731" y="1102280"/>
                </a:cubicBezTo>
                <a:close/>
                <a:moveTo>
                  <a:pt x="5288877" y="1119568"/>
                </a:moveTo>
                <a:cubicBezTo>
                  <a:pt x="5247906" y="1119568"/>
                  <a:pt x="5216059" y="1087723"/>
                  <a:pt x="5216059" y="1046754"/>
                </a:cubicBezTo>
                <a:cubicBezTo>
                  <a:pt x="5211497" y="1005785"/>
                  <a:pt x="5243343" y="973941"/>
                  <a:pt x="5288877" y="973941"/>
                </a:cubicBezTo>
                <a:cubicBezTo>
                  <a:pt x="5329849" y="973941"/>
                  <a:pt x="5361696" y="1005785"/>
                  <a:pt x="5361696" y="1046754"/>
                </a:cubicBezTo>
                <a:cubicBezTo>
                  <a:pt x="5361696" y="1087723"/>
                  <a:pt x="5329849" y="1119568"/>
                  <a:pt x="5288877" y="1119568"/>
                </a:cubicBezTo>
                <a:close/>
                <a:moveTo>
                  <a:pt x="659772" y="1175301"/>
                </a:moveTo>
                <a:cubicBezTo>
                  <a:pt x="614553" y="1175301"/>
                  <a:pt x="577109" y="1138566"/>
                  <a:pt x="577109" y="1093346"/>
                </a:cubicBezTo>
                <a:cubicBezTo>
                  <a:pt x="577109" y="1048128"/>
                  <a:pt x="613143" y="1011393"/>
                  <a:pt x="659063" y="1010685"/>
                </a:cubicBezTo>
                <a:cubicBezTo>
                  <a:pt x="704991" y="1010685"/>
                  <a:pt x="741725" y="1047427"/>
                  <a:pt x="741725" y="1092638"/>
                </a:cubicBezTo>
                <a:cubicBezTo>
                  <a:pt x="741725" y="1138566"/>
                  <a:pt x="704991" y="1175301"/>
                  <a:pt x="659772" y="1175301"/>
                </a:cubicBezTo>
                <a:close/>
                <a:moveTo>
                  <a:pt x="2656418" y="1183530"/>
                </a:moveTo>
                <a:cubicBezTo>
                  <a:pt x="2582234" y="1183530"/>
                  <a:pt x="2521477" y="1123474"/>
                  <a:pt x="2521477" y="1049290"/>
                </a:cubicBezTo>
                <a:cubicBezTo>
                  <a:pt x="2521477" y="975106"/>
                  <a:pt x="2581533" y="915057"/>
                  <a:pt x="2655717" y="914349"/>
                </a:cubicBezTo>
                <a:cubicBezTo>
                  <a:pt x="2729895" y="914349"/>
                  <a:pt x="2789950" y="974405"/>
                  <a:pt x="2790658" y="1048582"/>
                </a:cubicBezTo>
                <a:cubicBezTo>
                  <a:pt x="2790658" y="1122767"/>
                  <a:pt x="2730602" y="1183530"/>
                  <a:pt x="2656418" y="1183530"/>
                </a:cubicBezTo>
                <a:close/>
                <a:moveTo>
                  <a:pt x="3158974" y="1188099"/>
                </a:moveTo>
                <a:cubicBezTo>
                  <a:pt x="3093976" y="1188099"/>
                  <a:pt x="3040280" y="1135112"/>
                  <a:pt x="3040280" y="1070113"/>
                </a:cubicBezTo>
                <a:cubicBezTo>
                  <a:pt x="3040280" y="1004407"/>
                  <a:pt x="3092560" y="951420"/>
                  <a:pt x="3158266" y="951420"/>
                </a:cubicBezTo>
                <a:cubicBezTo>
                  <a:pt x="3223972" y="951420"/>
                  <a:pt x="3276960" y="1004407"/>
                  <a:pt x="3276960" y="1069406"/>
                </a:cubicBezTo>
                <a:cubicBezTo>
                  <a:pt x="3276960" y="1134404"/>
                  <a:pt x="3223972" y="1187391"/>
                  <a:pt x="3158974" y="1188099"/>
                </a:cubicBezTo>
                <a:close/>
                <a:moveTo>
                  <a:pt x="3640216" y="1192069"/>
                </a:moveTo>
                <a:cubicBezTo>
                  <a:pt x="3593590" y="1192069"/>
                  <a:pt x="3555440" y="1153920"/>
                  <a:pt x="3555440" y="1107294"/>
                </a:cubicBezTo>
                <a:cubicBezTo>
                  <a:pt x="3555440" y="1059958"/>
                  <a:pt x="3592881" y="1022510"/>
                  <a:pt x="3639515" y="1022510"/>
                </a:cubicBezTo>
                <a:cubicBezTo>
                  <a:pt x="3686143" y="1021809"/>
                  <a:pt x="3724293" y="1059958"/>
                  <a:pt x="3724293" y="1106586"/>
                </a:cubicBezTo>
                <a:cubicBezTo>
                  <a:pt x="3725001" y="1153920"/>
                  <a:pt x="3686844" y="1192069"/>
                  <a:pt x="3640216" y="1192069"/>
                </a:cubicBezTo>
                <a:close/>
                <a:moveTo>
                  <a:pt x="2128210" y="1195056"/>
                </a:moveTo>
                <a:cubicBezTo>
                  <a:pt x="2049784" y="1195757"/>
                  <a:pt x="1986201" y="1132175"/>
                  <a:pt x="1986201" y="1053747"/>
                </a:cubicBezTo>
                <a:cubicBezTo>
                  <a:pt x="1985493" y="975328"/>
                  <a:pt x="2049076" y="911745"/>
                  <a:pt x="2126793" y="911037"/>
                </a:cubicBezTo>
                <a:cubicBezTo>
                  <a:pt x="2205219" y="911037"/>
                  <a:pt x="2269508" y="973919"/>
                  <a:pt x="2269508" y="1052338"/>
                </a:cubicBezTo>
                <a:cubicBezTo>
                  <a:pt x="2269508" y="1130758"/>
                  <a:pt x="2206628" y="1194347"/>
                  <a:pt x="2128210" y="1195056"/>
                </a:cubicBezTo>
                <a:close/>
                <a:moveTo>
                  <a:pt x="1568151" y="1214683"/>
                </a:moveTo>
                <a:cubicBezTo>
                  <a:pt x="1501745" y="1214683"/>
                  <a:pt x="1448049" y="1160989"/>
                  <a:pt x="1448049" y="1095283"/>
                </a:cubicBezTo>
                <a:cubicBezTo>
                  <a:pt x="1448049" y="1028876"/>
                  <a:pt x="1501035" y="975182"/>
                  <a:pt x="1566741" y="975182"/>
                </a:cubicBezTo>
                <a:cubicBezTo>
                  <a:pt x="1633147" y="975182"/>
                  <a:pt x="1686843" y="1028876"/>
                  <a:pt x="1686843" y="1094582"/>
                </a:cubicBezTo>
                <a:cubicBezTo>
                  <a:pt x="1687551" y="1160989"/>
                  <a:pt x="1633857" y="1214683"/>
                  <a:pt x="1568151" y="1214683"/>
                </a:cubicBezTo>
                <a:close/>
                <a:moveTo>
                  <a:pt x="4104539" y="1230206"/>
                </a:moveTo>
                <a:cubicBezTo>
                  <a:pt x="4063961" y="1230206"/>
                  <a:pt x="4031358" y="1197603"/>
                  <a:pt x="4031358" y="1157752"/>
                </a:cubicBezTo>
                <a:cubicBezTo>
                  <a:pt x="4031358" y="1117901"/>
                  <a:pt x="4063235" y="1085298"/>
                  <a:pt x="4103812" y="1084572"/>
                </a:cubicBezTo>
                <a:cubicBezTo>
                  <a:pt x="4143664" y="1084572"/>
                  <a:pt x="4176993" y="1117175"/>
                  <a:pt x="4176993" y="1157025"/>
                </a:cubicBezTo>
                <a:cubicBezTo>
                  <a:pt x="4176993" y="1197603"/>
                  <a:pt x="4144390" y="1230206"/>
                  <a:pt x="4104539" y="1230206"/>
                </a:cubicBezTo>
                <a:close/>
                <a:moveTo>
                  <a:pt x="4554422" y="1288307"/>
                </a:moveTo>
                <a:cubicBezTo>
                  <a:pt x="4514027" y="1288307"/>
                  <a:pt x="4481138" y="1256360"/>
                  <a:pt x="4481138" y="1215955"/>
                </a:cubicBezTo>
                <a:cubicBezTo>
                  <a:pt x="4481138" y="1176492"/>
                  <a:pt x="4514027" y="1143612"/>
                  <a:pt x="4553490" y="1142671"/>
                </a:cubicBezTo>
                <a:cubicBezTo>
                  <a:pt x="4593885" y="1142671"/>
                  <a:pt x="4626774" y="1174618"/>
                  <a:pt x="4626774" y="1215023"/>
                </a:cubicBezTo>
                <a:cubicBezTo>
                  <a:pt x="4626774" y="1255418"/>
                  <a:pt x="4594828" y="1288307"/>
                  <a:pt x="4554422" y="1288307"/>
                </a:cubicBezTo>
                <a:close/>
                <a:moveTo>
                  <a:pt x="971081" y="1294714"/>
                </a:moveTo>
                <a:cubicBezTo>
                  <a:pt x="917387" y="1294714"/>
                  <a:pt x="873585" y="1251620"/>
                  <a:pt x="873585" y="1197926"/>
                </a:cubicBezTo>
                <a:cubicBezTo>
                  <a:pt x="873585" y="1144232"/>
                  <a:pt x="916679" y="1101139"/>
                  <a:pt x="970373" y="1100431"/>
                </a:cubicBezTo>
                <a:cubicBezTo>
                  <a:pt x="1024067" y="1100431"/>
                  <a:pt x="1067869" y="1143523"/>
                  <a:pt x="1067869" y="1197219"/>
                </a:cubicBezTo>
                <a:cubicBezTo>
                  <a:pt x="1067869" y="1250913"/>
                  <a:pt x="1024775" y="1294714"/>
                  <a:pt x="971081" y="1294714"/>
                </a:cubicBezTo>
                <a:close/>
                <a:moveTo>
                  <a:pt x="4992844" y="1351992"/>
                </a:moveTo>
                <a:cubicBezTo>
                  <a:pt x="4954011" y="1351992"/>
                  <a:pt x="4920018" y="1320433"/>
                  <a:pt x="4920018" y="1279165"/>
                </a:cubicBezTo>
                <a:cubicBezTo>
                  <a:pt x="4920018" y="1240332"/>
                  <a:pt x="4951578" y="1206341"/>
                  <a:pt x="4992844" y="1206341"/>
                </a:cubicBezTo>
                <a:cubicBezTo>
                  <a:pt x="5031678" y="1206341"/>
                  <a:pt x="5065670" y="1237899"/>
                  <a:pt x="5065670" y="1279165"/>
                </a:cubicBezTo>
                <a:cubicBezTo>
                  <a:pt x="5065670" y="1320433"/>
                  <a:pt x="5034111" y="1351992"/>
                  <a:pt x="4992844" y="1351992"/>
                </a:cubicBezTo>
                <a:close/>
                <a:moveTo>
                  <a:pt x="1835303" y="1393201"/>
                </a:moveTo>
                <a:cubicBezTo>
                  <a:pt x="1775957" y="1393201"/>
                  <a:pt x="1727913" y="1345865"/>
                  <a:pt x="1727913" y="1286526"/>
                </a:cubicBezTo>
                <a:cubicBezTo>
                  <a:pt x="1727913" y="1227180"/>
                  <a:pt x="1775249" y="1179136"/>
                  <a:pt x="1834595" y="1179136"/>
                </a:cubicBezTo>
                <a:cubicBezTo>
                  <a:pt x="1893941" y="1179136"/>
                  <a:pt x="1941978" y="1226472"/>
                  <a:pt x="1941978" y="1285818"/>
                </a:cubicBezTo>
                <a:cubicBezTo>
                  <a:pt x="1941978" y="1345164"/>
                  <a:pt x="1893941" y="1393201"/>
                  <a:pt x="1835303" y="1393201"/>
                </a:cubicBezTo>
                <a:close/>
                <a:moveTo>
                  <a:pt x="1265820" y="1413937"/>
                </a:moveTo>
                <a:cubicBezTo>
                  <a:pt x="1225761" y="1413937"/>
                  <a:pt x="1193001" y="1381176"/>
                  <a:pt x="1193001" y="1341129"/>
                </a:cubicBezTo>
                <a:cubicBezTo>
                  <a:pt x="1193001" y="1301082"/>
                  <a:pt x="1225761" y="1268309"/>
                  <a:pt x="1265820" y="1268309"/>
                </a:cubicBezTo>
                <a:cubicBezTo>
                  <a:pt x="1305867" y="1268309"/>
                  <a:pt x="1338628" y="1301082"/>
                  <a:pt x="1338628" y="1341129"/>
                </a:cubicBezTo>
                <a:cubicBezTo>
                  <a:pt x="1338628" y="1381176"/>
                  <a:pt x="1305867" y="1413937"/>
                  <a:pt x="1265820" y="1413937"/>
                </a:cubicBezTo>
                <a:close/>
                <a:moveTo>
                  <a:pt x="2367864" y="1414754"/>
                </a:moveTo>
                <a:cubicBezTo>
                  <a:pt x="2292973" y="1414754"/>
                  <a:pt x="2230803" y="1353999"/>
                  <a:pt x="2230803" y="1278400"/>
                </a:cubicBezTo>
                <a:cubicBezTo>
                  <a:pt x="2230803" y="1202808"/>
                  <a:pt x="2291557" y="1141345"/>
                  <a:pt x="2366449" y="1140637"/>
                </a:cubicBezTo>
                <a:cubicBezTo>
                  <a:pt x="2442039" y="1140637"/>
                  <a:pt x="2504211" y="1201392"/>
                  <a:pt x="2504211" y="1276991"/>
                </a:cubicBezTo>
                <a:cubicBezTo>
                  <a:pt x="2504919" y="1352582"/>
                  <a:pt x="2443456" y="1414754"/>
                  <a:pt x="2367864" y="1414754"/>
                </a:cubicBezTo>
                <a:close/>
                <a:moveTo>
                  <a:pt x="5421837" y="1420312"/>
                </a:moveTo>
                <a:cubicBezTo>
                  <a:pt x="5381353" y="1420312"/>
                  <a:pt x="5348982" y="1387942"/>
                  <a:pt x="5348982" y="1347459"/>
                </a:cubicBezTo>
                <a:cubicBezTo>
                  <a:pt x="5348982" y="1306976"/>
                  <a:pt x="5373240" y="1274605"/>
                  <a:pt x="5421837" y="1274605"/>
                </a:cubicBezTo>
                <a:cubicBezTo>
                  <a:pt x="5462320" y="1274605"/>
                  <a:pt x="5494691" y="1306976"/>
                  <a:pt x="5494691" y="1347459"/>
                </a:cubicBezTo>
                <a:cubicBezTo>
                  <a:pt x="5494691" y="1387942"/>
                  <a:pt x="5462320" y="1420312"/>
                  <a:pt x="5421837" y="1420312"/>
                </a:cubicBezTo>
                <a:close/>
                <a:moveTo>
                  <a:pt x="2871869" y="1434948"/>
                </a:moveTo>
                <a:cubicBezTo>
                  <a:pt x="2795568" y="1434948"/>
                  <a:pt x="2733395" y="1373481"/>
                  <a:pt x="2733395" y="1297177"/>
                </a:cubicBezTo>
                <a:cubicBezTo>
                  <a:pt x="2732687" y="1220165"/>
                  <a:pt x="2794151" y="1158700"/>
                  <a:pt x="2871162" y="1158700"/>
                </a:cubicBezTo>
                <a:cubicBezTo>
                  <a:pt x="2947463" y="1158700"/>
                  <a:pt x="3009636" y="1220165"/>
                  <a:pt x="3009636" y="1296469"/>
                </a:cubicBezTo>
                <a:cubicBezTo>
                  <a:pt x="3009636" y="1372773"/>
                  <a:pt x="2948172" y="1434948"/>
                  <a:pt x="2871869" y="1434948"/>
                </a:cubicBezTo>
                <a:close/>
                <a:moveTo>
                  <a:pt x="8117" y="1447460"/>
                </a:moveTo>
                <a:lnTo>
                  <a:pt x="0" y="1445854"/>
                </a:lnTo>
                <a:lnTo>
                  <a:pt x="0" y="1299902"/>
                </a:lnTo>
                <a:lnTo>
                  <a:pt x="8117" y="1298248"/>
                </a:lnTo>
                <a:cubicBezTo>
                  <a:pt x="46385" y="1298248"/>
                  <a:pt x="80819" y="1328849"/>
                  <a:pt x="80819" y="1370917"/>
                </a:cubicBezTo>
                <a:cubicBezTo>
                  <a:pt x="80819" y="1413024"/>
                  <a:pt x="50219" y="1447460"/>
                  <a:pt x="8117" y="1447460"/>
                </a:cubicBezTo>
                <a:close/>
                <a:moveTo>
                  <a:pt x="3352149" y="1453897"/>
                </a:moveTo>
                <a:cubicBezTo>
                  <a:pt x="3286443" y="1453897"/>
                  <a:pt x="3233456" y="1400910"/>
                  <a:pt x="3233456" y="1335911"/>
                </a:cubicBezTo>
                <a:cubicBezTo>
                  <a:pt x="3233456" y="1270205"/>
                  <a:pt x="3286443" y="1217218"/>
                  <a:pt x="3351442" y="1217218"/>
                </a:cubicBezTo>
                <a:cubicBezTo>
                  <a:pt x="3417148" y="1217218"/>
                  <a:pt x="3470135" y="1270205"/>
                  <a:pt x="3470135" y="1335204"/>
                </a:cubicBezTo>
                <a:cubicBezTo>
                  <a:pt x="3470135" y="1400910"/>
                  <a:pt x="3417849" y="1453897"/>
                  <a:pt x="3352149" y="1453897"/>
                </a:cubicBezTo>
                <a:close/>
                <a:moveTo>
                  <a:pt x="335259" y="1471582"/>
                </a:moveTo>
                <a:cubicBezTo>
                  <a:pt x="294117" y="1471582"/>
                  <a:pt x="262435" y="1439905"/>
                  <a:pt x="262435" y="1398737"/>
                </a:cubicBezTo>
                <a:cubicBezTo>
                  <a:pt x="262435" y="1360743"/>
                  <a:pt x="297259" y="1329097"/>
                  <a:pt x="335259" y="1325924"/>
                </a:cubicBezTo>
                <a:cubicBezTo>
                  <a:pt x="376433" y="1325924"/>
                  <a:pt x="408115" y="1357601"/>
                  <a:pt x="408115" y="1398737"/>
                </a:cubicBezTo>
                <a:cubicBezTo>
                  <a:pt x="408115" y="1439905"/>
                  <a:pt x="376433" y="1471582"/>
                  <a:pt x="335259" y="1471582"/>
                </a:cubicBezTo>
                <a:close/>
                <a:moveTo>
                  <a:pt x="3814037" y="1489898"/>
                </a:moveTo>
                <a:cubicBezTo>
                  <a:pt x="3756806" y="1489898"/>
                  <a:pt x="3710179" y="1443972"/>
                  <a:pt x="3710179" y="1386749"/>
                </a:cubicBezTo>
                <a:cubicBezTo>
                  <a:pt x="3710179" y="1329520"/>
                  <a:pt x="3756098" y="1282893"/>
                  <a:pt x="3813328" y="1282893"/>
                </a:cubicBezTo>
                <a:cubicBezTo>
                  <a:pt x="3870557" y="1282893"/>
                  <a:pt x="3917186" y="1328819"/>
                  <a:pt x="3917186" y="1386042"/>
                </a:cubicBezTo>
                <a:cubicBezTo>
                  <a:pt x="3917186" y="1443271"/>
                  <a:pt x="3871258" y="1489898"/>
                  <a:pt x="3814037" y="1489898"/>
                </a:cubicBezTo>
                <a:close/>
                <a:moveTo>
                  <a:pt x="4260907" y="1522369"/>
                </a:moveTo>
                <a:cubicBezTo>
                  <a:pt x="4219222" y="1522369"/>
                  <a:pt x="4184606" y="1488460"/>
                  <a:pt x="4184606" y="1446776"/>
                </a:cubicBezTo>
                <a:cubicBezTo>
                  <a:pt x="4184606" y="1405093"/>
                  <a:pt x="4218521" y="1371184"/>
                  <a:pt x="4260199" y="1370476"/>
                </a:cubicBezTo>
                <a:cubicBezTo>
                  <a:pt x="4302591" y="1370476"/>
                  <a:pt x="4336507" y="1404384"/>
                  <a:pt x="4336507" y="1446068"/>
                </a:cubicBezTo>
                <a:cubicBezTo>
                  <a:pt x="4336507" y="1487753"/>
                  <a:pt x="4302591" y="1522369"/>
                  <a:pt x="4260907" y="1522369"/>
                </a:cubicBezTo>
                <a:close/>
                <a:moveTo>
                  <a:pt x="655315" y="1545624"/>
                </a:moveTo>
                <a:cubicBezTo>
                  <a:pt x="615775" y="1545624"/>
                  <a:pt x="582491" y="1512340"/>
                  <a:pt x="582491" y="1472820"/>
                </a:cubicBezTo>
                <a:cubicBezTo>
                  <a:pt x="582491" y="1433280"/>
                  <a:pt x="613691" y="1399997"/>
                  <a:pt x="655315" y="1399997"/>
                </a:cubicBezTo>
                <a:cubicBezTo>
                  <a:pt x="694835" y="1399997"/>
                  <a:pt x="728119" y="1431195"/>
                  <a:pt x="728119" y="1472820"/>
                </a:cubicBezTo>
                <a:cubicBezTo>
                  <a:pt x="728119" y="1512340"/>
                  <a:pt x="694835" y="1545624"/>
                  <a:pt x="655315" y="1545624"/>
                </a:cubicBezTo>
                <a:close/>
                <a:moveTo>
                  <a:pt x="4696346" y="1584587"/>
                </a:moveTo>
                <a:cubicBezTo>
                  <a:pt x="4655962" y="1585641"/>
                  <a:pt x="4623014" y="1552703"/>
                  <a:pt x="4623014" y="1512316"/>
                </a:cubicBezTo>
                <a:cubicBezTo>
                  <a:pt x="4621961" y="1471931"/>
                  <a:pt x="4654898" y="1438981"/>
                  <a:pt x="4695280" y="1438981"/>
                </a:cubicBezTo>
                <a:cubicBezTo>
                  <a:pt x="4735663" y="1437925"/>
                  <a:pt x="4768600" y="1470865"/>
                  <a:pt x="4768600" y="1511250"/>
                </a:cubicBezTo>
                <a:cubicBezTo>
                  <a:pt x="4769666" y="1551637"/>
                  <a:pt x="4736728" y="1584587"/>
                  <a:pt x="4696346" y="1584587"/>
                </a:cubicBezTo>
                <a:close/>
                <a:moveTo>
                  <a:pt x="1540823" y="1594697"/>
                </a:moveTo>
                <a:cubicBezTo>
                  <a:pt x="1500556" y="1594697"/>
                  <a:pt x="1467349" y="1561489"/>
                  <a:pt x="1467349" y="1521221"/>
                </a:cubicBezTo>
                <a:cubicBezTo>
                  <a:pt x="1467349" y="1480953"/>
                  <a:pt x="1499847" y="1447746"/>
                  <a:pt x="1540823" y="1447746"/>
                </a:cubicBezTo>
                <a:cubicBezTo>
                  <a:pt x="1581091" y="1447746"/>
                  <a:pt x="1614299" y="1480953"/>
                  <a:pt x="1614299" y="1521221"/>
                </a:cubicBezTo>
                <a:cubicBezTo>
                  <a:pt x="1614299" y="1561489"/>
                  <a:pt x="1581091" y="1594697"/>
                  <a:pt x="1540823" y="1594697"/>
                </a:cubicBezTo>
                <a:close/>
                <a:moveTo>
                  <a:pt x="2079311" y="1643271"/>
                </a:moveTo>
                <a:cubicBezTo>
                  <a:pt x="2003714" y="1643979"/>
                  <a:pt x="1942251" y="1582516"/>
                  <a:pt x="1942251" y="1506917"/>
                </a:cubicBezTo>
                <a:cubicBezTo>
                  <a:pt x="1942251" y="1431325"/>
                  <a:pt x="2003006" y="1369862"/>
                  <a:pt x="2078603" y="1369154"/>
                </a:cubicBezTo>
                <a:cubicBezTo>
                  <a:pt x="2154194" y="1369154"/>
                  <a:pt x="2215657" y="1429910"/>
                  <a:pt x="2215657" y="1505508"/>
                </a:cubicBezTo>
                <a:cubicBezTo>
                  <a:pt x="2215657" y="1581808"/>
                  <a:pt x="2154902" y="1643271"/>
                  <a:pt x="2079311" y="1643271"/>
                </a:cubicBezTo>
                <a:close/>
                <a:moveTo>
                  <a:pt x="5120664" y="1654586"/>
                </a:moveTo>
                <a:cubicBezTo>
                  <a:pt x="5079397" y="1654586"/>
                  <a:pt x="5047838" y="1620595"/>
                  <a:pt x="5047838" y="1581760"/>
                </a:cubicBezTo>
                <a:cubicBezTo>
                  <a:pt x="5047838" y="1542926"/>
                  <a:pt x="5081830" y="1508935"/>
                  <a:pt x="5120664" y="1508935"/>
                </a:cubicBezTo>
                <a:cubicBezTo>
                  <a:pt x="5159497" y="1508935"/>
                  <a:pt x="5193490" y="1540493"/>
                  <a:pt x="5193490" y="1581760"/>
                </a:cubicBezTo>
                <a:cubicBezTo>
                  <a:pt x="5193490" y="1623028"/>
                  <a:pt x="5161930" y="1654586"/>
                  <a:pt x="5120664" y="1654586"/>
                </a:cubicBezTo>
                <a:close/>
                <a:moveTo>
                  <a:pt x="960329" y="1666663"/>
                </a:moveTo>
                <a:cubicBezTo>
                  <a:pt x="920789" y="1666663"/>
                  <a:pt x="887505" y="1633379"/>
                  <a:pt x="887505" y="1593859"/>
                </a:cubicBezTo>
                <a:cubicBezTo>
                  <a:pt x="887505" y="1554319"/>
                  <a:pt x="920789" y="1521036"/>
                  <a:pt x="960329" y="1521036"/>
                </a:cubicBezTo>
                <a:cubicBezTo>
                  <a:pt x="999849" y="1521036"/>
                  <a:pt x="1033133" y="1552234"/>
                  <a:pt x="1033133" y="1593859"/>
                </a:cubicBezTo>
                <a:cubicBezTo>
                  <a:pt x="1033133" y="1633379"/>
                  <a:pt x="1001934" y="1666663"/>
                  <a:pt x="960329" y="1666663"/>
                </a:cubicBezTo>
                <a:close/>
                <a:moveTo>
                  <a:pt x="2584880" y="1671567"/>
                </a:moveTo>
                <a:cubicBezTo>
                  <a:pt x="2503630" y="1672275"/>
                  <a:pt x="2437223" y="1606569"/>
                  <a:pt x="2437223" y="1525326"/>
                </a:cubicBezTo>
                <a:cubicBezTo>
                  <a:pt x="2437223" y="1444076"/>
                  <a:pt x="2502929" y="1378377"/>
                  <a:pt x="2583464" y="1377669"/>
                </a:cubicBezTo>
                <a:cubicBezTo>
                  <a:pt x="2664714" y="1376961"/>
                  <a:pt x="2730413" y="1442666"/>
                  <a:pt x="2731121" y="1523910"/>
                </a:cubicBezTo>
                <a:cubicBezTo>
                  <a:pt x="2731121" y="1605153"/>
                  <a:pt x="2666124" y="1670858"/>
                  <a:pt x="2584880" y="1671567"/>
                </a:cubicBezTo>
                <a:close/>
                <a:moveTo>
                  <a:pt x="3064079" y="1701710"/>
                </a:moveTo>
                <a:cubicBezTo>
                  <a:pt x="2987777" y="1701710"/>
                  <a:pt x="2925604" y="1640243"/>
                  <a:pt x="2925604" y="1563939"/>
                </a:cubicBezTo>
                <a:cubicBezTo>
                  <a:pt x="2924896" y="1487636"/>
                  <a:pt x="2987069" y="1425462"/>
                  <a:pt x="3063371" y="1425462"/>
                </a:cubicBezTo>
                <a:cubicBezTo>
                  <a:pt x="3139672" y="1425462"/>
                  <a:pt x="3201845" y="1486927"/>
                  <a:pt x="3201845" y="1563231"/>
                </a:cubicBezTo>
                <a:cubicBezTo>
                  <a:pt x="3201845" y="1639535"/>
                  <a:pt x="3140381" y="1701710"/>
                  <a:pt x="3064079" y="1701710"/>
                </a:cubicBezTo>
                <a:close/>
                <a:moveTo>
                  <a:pt x="5539857" y="1729754"/>
                </a:moveTo>
                <a:cubicBezTo>
                  <a:pt x="5498223" y="1729754"/>
                  <a:pt x="5464933" y="1696465"/>
                  <a:pt x="5464933" y="1654875"/>
                </a:cubicBezTo>
                <a:cubicBezTo>
                  <a:pt x="5464933" y="1613244"/>
                  <a:pt x="5494052" y="1579955"/>
                  <a:pt x="5535684" y="1579955"/>
                </a:cubicBezTo>
                <a:cubicBezTo>
                  <a:pt x="5577318" y="1579955"/>
                  <a:pt x="5610608" y="1613244"/>
                  <a:pt x="5610608" y="1654875"/>
                </a:cubicBezTo>
                <a:cubicBezTo>
                  <a:pt x="5610608" y="1696465"/>
                  <a:pt x="5581449" y="1729754"/>
                  <a:pt x="5539857" y="1729754"/>
                </a:cubicBezTo>
                <a:close/>
                <a:moveTo>
                  <a:pt x="3523059" y="1734708"/>
                </a:moveTo>
                <a:cubicBezTo>
                  <a:pt x="3458060" y="1734708"/>
                  <a:pt x="3404365" y="1681721"/>
                  <a:pt x="3404365" y="1616723"/>
                </a:cubicBezTo>
                <a:cubicBezTo>
                  <a:pt x="3404365" y="1551724"/>
                  <a:pt x="3457353" y="1498737"/>
                  <a:pt x="3522351" y="1498029"/>
                </a:cubicBezTo>
                <a:cubicBezTo>
                  <a:pt x="3588057" y="1498029"/>
                  <a:pt x="3641044" y="1551017"/>
                  <a:pt x="3641044" y="1616015"/>
                </a:cubicBezTo>
                <a:cubicBezTo>
                  <a:pt x="3641044" y="1681013"/>
                  <a:pt x="3588057" y="1734708"/>
                  <a:pt x="3523059" y="1734708"/>
                </a:cubicBezTo>
                <a:close/>
                <a:moveTo>
                  <a:pt x="3966544" y="1783475"/>
                </a:moveTo>
                <a:cubicBezTo>
                  <a:pt x="3907904" y="1783475"/>
                  <a:pt x="3860568" y="1736848"/>
                  <a:pt x="3860568" y="1678208"/>
                </a:cubicBezTo>
                <a:cubicBezTo>
                  <a:pt x="3860568" y="1620277"/>
                  <a:pt x="3907904" y="1572234"/>
                  <a:pt x="3965836" y="1572234"/>
                </a:cubicBezTo>
                <a:cubicBezTo>
                  <a:pt x="4023774" y="1572234"/>
                  <a:pt x="4071812" y="1618862"/>
                  <a:pt x="4071812" y="1677500"/>
                </a:cubicBezTo>
                <a:cubicBezTo>
                  <a:pt x="4072520" y="1736138"/>
                  <a:pt x="4025183" y="1783475"/>
                  <a:pt x="3966544" y="1783475"/>
                </a:cubicBezTo>
                <a:close/>
                <a:moveTo>
                  <a:pt x="1790168" y="1807567"/>
                </a:moveTo>
                <a:cubicBezTo>
                  <a:pt x="1750451" y="1807567"/>
                  <a:pt x="1717359" y="1775297"/>
                  <a:pt x="1717359" y="1734758"/>
                </a:cubicBezTo>
                <a:cubicBezTo>
                  <a:pt x="1716529" y="1694219"/>
                  <a:pt x="1749621" y="1661118"/>
                  <a:pt x="1790168" y="1661948"/>
                </a:cubicBezTo>
                <a:cubicBezTo>
                  <a:pt x="1829878" y="1661948"/>
                  <a:pt x="1862977" y="1695039"/>
                  <a:pt x="1862977" y="1734758"/>
                </a:cubicBezTo>
                <a:cubicBezTo>
                  <a:pt x="1862977" y="1774468"/>
                  <a:pt x="1830707" y="1807567"/>
                  <a:pt x="1790168" y="1807567"/>
                </a:cubicBezTo>
                <a:close/>
                <a:moveTo>
                  <a:pt x="1244039" y="1832140"/>
                </a:moveTo>
                <a:cubicBezTo>
                  <a:pt x="1207663" y="1832140"/>
                  <a:pt x="1171225" y="1801838"/>
                  <a:pt x="1171225" y="1759306"/>
                </a:cubicBezTo>
                <a:cubicBezTo>
                  <a:pt x="1171225" y="1716835"/>
                  <a:pt x="1207663" y="1680388"/>
                  <a:pt x="1244039" y="1686472"/>
                </a:cubicBezTo>
                <a:cubicBezTo>
                  <a:pt x="1280475" y="1686472"/>
                  <a:pt x="1316853" y="1716835"/>
                  <a:pt x="1316853" y="1759306"/>
                </a:cubicBezTo>
                <a:cubicBezTo>
                  <a:pt x="1316853" y="1795752"/>
                  <a:pt x="1286499" y="1832140"/>
                  <a:pt x="1244039" y="1832140"/>
                </a:cubicBezTo>
                <a:close/>
                <a:moveTo>
                  <a:pt x="4397441" y="1842290"/>
                </a:moveTo>
                <a:cubicBezTo>
                  <a:pt x="4343747" y="1842290"/>
                  <a:pt x="4299945" y="1799196"/>
                  <a:pt x="4299945" y="1745502"/>
                </a:cubicBezTo>
                <a:cubicBezTo>
                  <a:pt x="4299945" y="1691808"/>
                  <a:pt x="4343039" y="1648007"/>
                  <a:pt x="4396733" y="1648007"/>
                </a:cubicBezTo>
                <a:cubicBezTo>
                  <a:pt x="4450427" y="1648007"/>
                  <a:pt x="4494229" y="1691099"/>
                  <a:pt x="4494229" y="1744794"/>
                </a:cubicBezTo>
                <a:cubicBezTo>
                  <a:pt x="4494229" y="1798488"/>
                  <a:pt x="4451136" y="1842290"/>
                  <a:pt x="4397441" y="1842290"/>
                </a:cubicBezTo>
                <a:close/>
                <a:moveTo>
                  <a:pt x="334007" y="1842774"/>
                </a:moveTo>
                <a:cubicBezTo>
                  <a:pt x="297433" y="1842774"/>
                  <a:pt x="260860" y="1806187"/>
                  <a:pt x="260860" y="1769598"/>
                </a:cubicBezTo>
                <a:cubicBezTo>
                  <a:pt x="260860" y="1733372"/>
                  <a:pt x="260860" y="1696785"/>
                  <a:pt x="334007" y="1696785"/>
                </a:cubicBezTo>
                <a:cubicBezTo>
                  <a:pt x="370217" y="1696785"/>
                  <a:pt x="406789" y="1733372"/>
                  <a:pt x="406789" y="1769598"/>
                </a:cubicBezTo>
                <a:cubicBezTo>
                  <a:pt x="406789" y="1806187"/>
                  <a:pt x="370217" y="1842774"/>
                  <a:pt x="334007" y="1842774"/>
                </a:cubicBezTo>
                <a:close/>
                <a:moveTo>
                  <a:pt x="2297175" y="1862498"/>
                </a:moveTo>
                <a:cubicBezTo>
                  <a:pt x="2236419" y="1863207"/>
                  <a:pt x="2186258" y="1813753"/>
                  <a:pt x="2186258" y="1752289"/>
                </a:cubicBezTo>
                <a:cubicBezTo>
                  <a:pt x="2186258" y="1691526"/>
                  <a:pt x="2235710" y="1641365"/>
                  <a:pt x="2296473" y="1641365"/>
                </a:cubicBezTo>
                <a:cubicBezTo>
                  <a:pt x="2357229" y="1640657"/>
                  <a:pt x="2407390" y="1690117"/>
                  <a:pt x="2407390" y="1751581"/>
                </a:cubicBezTo>
                <a:cubicBezTo>
                  <a:pt x="2408097" y="1812336"/>
                  <a:pt x="2358645" y="1862498"/>
                  <a:pt x="2297175" y="1862498"/>
                </a:cubicBezTo>
                <a:close/>
                <a:moveTo>
                  <a:pt x="4818059" y="1890035"/>
                </a:moveTo>
                <a:cubicBezTo>
                  <a:pt x="4777783" y="1890035"/>
                  <a:pt x="4744582" y="1856827"/>
                  <a:pt x="4744582" y="1816560"/>
                </a:cubicBezTo>
                <a:cubicBezTo>
                  <a:pt x="4743875" y="1775583"/>
                  <a:pt x="4777082" y="1743085"/>
                  <a:pt x="4818059" y="1743085"/>
                </a:cubicBezTo>
                <a:cubicBezTo>
                  <a:pt x="4858328" y="1743085"/>
                  <a:pt x="4891535" y="1776291"/>
                  <a:pt x="4891535" y="1816560"/>
                </a:cubicBezTo>
                <a:cubicBezTo>
                  <a:pt x="4891535" y="1856827"/>
                  <a:pt x="4858328" y="1890035"/>
                  <a:pt x="4818059" y="1890035"/>
                </a:cubicBezTo>
                <a:close/>
                <a:moveTo>
                  <a:pt x="639303" y="1930770"/>
                </a:moveTo>
                <a:cubicBezTo>
                  <a:pt x="597783" y="1930770"/>
                  <a:pt x="576920" y="1889250"/>
                  <a:pt x="576920" y="1847525"/>
                </a:cubicBezTo>
                <a:cubicBezTo>
                  <a:pt x="576920" y="1806005"/>
                  <a:pt x="597783" y="1785143"/>
                  <a:pt x="639303" y="1785143"/>
                </a:cubicBezTo>
                <a:cubicBezTo>
                  <a:pt x="681027" y="1785143"/>
                  <a:pt x="722547" y="1826868"/>
                  <a:pt x="722547" y="1868388"/>
                </a:cubicBezTo>
                <a:cubicBezTo>
                  <a:pt x="722547" y="1889250"/>
                  <a:pt x="681027" y="1930770"/>
                  <a:pt x="639303" y="1930770"/>
                </a:cubicBezTo>
                <a:close/>
                <a:moveTo>
                  <a:pt x="2775633" y="1932941"/>
                </a:moveTo>
                <a:cubicBezTo>
                  <a:pt x="2697916" y="1933650"/>
                  <a:pt x="2634335" y="1870770"/>
                  <a:pt x="2634335" y="1793059"/>
                </a:cubicBezTo>
                <a:cubicBezTo>
                  <a:pt x="2634335" y="1716050"/>
                  <a:pt x="2697215" y="1652469"/>
                  <a:pt x="2774224" y="1651761"/>
                </a:cubicBezTo>
                <a:cubicBezTo>
                  <a:pt x="2851934" y="1651053"/>
                  <a:pt x="2915522" y="1713933"/>
                  <a:pt x="2915522" y="1791642"/>
                </a:cubicBezTo>
                <a:cubicBezTo>
                  <a:pt x="2916223" y="1869359"/>
                  <a:pt x="2853350" y="1932941"/>
                  <a:pt x="2775633" y="1932941"/>
                </a:cubicBezTo>
                <a:close/>
                <a:moveTo>
                  <a:pt x="5230555" y="1964417"/>
                </a:moveTo>
                <a:cubicBezTo>
                  <a:pt x="5190386" y="1964417"/>
                  <a:pt x="5157741" y="1931772"/>
                  <a:pt x="5157741" y="1891602"/>
                </a:cubicBezTo>
                <a:cubicBezTo>
                  <a:pt x="5157741" y="1851433"/>
                  <a:pt x="5190386" y="1818789"/>
                  <a:pt x="5230555" y="1818789"/>
                </a:cubicBezTo>
                <a:cubicBezTo>
                  <a:pt x="5270737" y="1818789"/>
                  <a:pt x="5303368" y="1851433"/>
                  <a:pt x="5303368" y="1891602"/>
                </a:cubicBezTo>
                <a:cubicBezTo>
                  <a:pt x="5303368" y="1931772"/>
                  <a:pt x="5270737" y="1964417"/>
                  <a:pt x="5230555" y="1964417"/>
                </a:cubicBezTo>
                <a:close/>
                <a:moveTo>
                  <a:pt x="3231105" y="1983644"/>
                </a:moveTo>
                <a:cubicBezTo>
                  <a:pt x="3155513" y="1984352"/>
                  <a:pt x="3094050" y="1922889"/>
                  <a:pt x="3094050" y="1847290"/>
                </a:cubicBezTo>
                <a:cubicBezTo>
                  <a:pt x="3094050" y="1771698"/>
                  <a:pt x="3155513" y="1710234"/>
                  <a:pt x="3229696" y="1709526"/>
                </a:cubicBezTo>
                <a:cubicBezTo>
                  <a:pt x="3305287" y="1708818"/>
                  <a:pt x="3367459" y="1770281"/>
                  <a:pt x="3367459" y="1845880"/>
                </a:cubicBezTo>
                <a:cubicBezTo>
                  <a:pt x="3368167" y="1922180"/>
                  <a:pt x="3306704" y="1983644"/>
                  <a:pt x="3231105" y="1983644"/>
                </a:cubicBezTo>
                <a:close/>
                <a:moveTo>
                  <a:pt x="3670721" y="2029517"/>
                </a:moveTo>
                <a:cubicBezTo>
                  <a:pt x="3604312" y="2029517"/>
                  <a:pt x="3550615" y="1975820"/>
                  <a:pt x="3550615" y="1910113"/>
                </a:cubicBezTo>
                <a:cubicBezTo>
                  <a:pt x="3550615" y="1843704"/>
                  <a:pt x="3604312" y="1790009"/>
                  <a:pt x="3670019" y="1790009"/>
                </a:cubicBezTo>
                <a:cubicBezTo>
                  <a:pt x="3736428" y="1790009"/>
                  <a:pt x="3790125" y="1843704"/>
                  <a:pt x="3790125" y="1909411"/>
                </a:cubicBezTo>
                <a:cubicBezTo>
                  <a:pt x="3790125" y="1975820"/>
                  <a:pt x="3736428" y="2029517"/>
                  <a:pt x="3670721" y="2029517"/>
                </a:cubicBezTo>
                <a:close/>
                <a:moveTo>
                  <a:pt x="1501320" y="2038423"/>
                </a:moveTo>
                <a:cubicBezTo>
                  <a:pt x="1459725" y="2038423"/>
                  <a:pt x="1427585" y="2004413"/>
                  <a:pt x="1427585" y="1964718"/>
                </a:cubicBezTo>
                <a:cubicBezTo>
                  <a:pt x="1427585" y="1923129"/>
                  <a:pt x="1459725" y="1890995"/>
                  <a:pt x="1499425" y="1890995"/>
                </a:cubicBezTo>
                <a:cubicBezTo>
                  <a:pt x="1541022" y="1890995"/>
                  <a:pt x="1573143" y="1925024"/>
                  <a:pt x="1573143" y="1964718"/>
                </a:cubicBezTo>
                <a:cubicBezTo>
                  <a:pt x="1575038" y="2006288"/>
                  <a:pt x="1541022" y="2038423"/>
                  <a:pt x="1501320" y="2038423"/>
                </a:cubicBezTo>
                <a:close/>
                <a:moveTo>
                  <a:pt x="5636293" y="2041197"/>
                </a:moveTo>
                <a:cubicBezTo>
                  <a:pt x="5594664" y="2041197"/>
                  <a:pt x="5561375" y="2007909"/>
                  <a:pt x="5561375" y="1966278"/>
                </a:cubicBezTo>
                <a:cubicBezTo>
                  <a:pt x="5561375" y="1928818"/>
                  <a:pt x="5594664" y="1895529"/>
                  <a:pt x="5636293" y="1895529"/>
                </a:cubicBezTo>
                <a:cubicBezTo>
                  <a:pt x="5677882" y="1895529"/>
                  <a:pt x="5711170" y="1924647"/>
                  <a:pt x="5711170" y="1966278"/>
                </a:cubicBezTo>
                <a:cubicBezTo>
                  <a:pt x="5711170" y="2007909"/>
                  <a:pt x="5677882" y="2041197"/>
                  <a:pt x="5636293" y="2041197"/>
                </a:cubicBezTo>
                <a:close/>
                <a:moveTo>
                  <a:pt x="2009972" y="2052222"/>
                </a:moveTo>
                <a:cubicBezTo>
                  <a:pt x="1970249" y="2052222"/>
                  <a:pt x="1937153" y="2019955"/>
                  <a:pt x="1937153" y="1979410"/>
                </a:cubicBezTo>
                <a:cubicBezTo>
                  <a:pt x="1937153" y="1938858"/>
                  <a:pt x="1969427" y="1905763"/>
                  <a:pt x="2009972" y="1905763"/>
                </a:cubicBezTo>
                <a:cubicBezTo>
                  <a:pt x="2049686" y="1905763"/>
                  <a:pt x="2082789" y="1938036"/>
                  <a:pt x="2082789" y="1978581"/>
                </a:cubicBezTo>
                <a:cubicBezTo>
                  <a:pt x="2082789" y="2019125"/>
                  <a:pt x="2050515" y="2052222"/>
                  <a:pt x="2009972" y="2052222"/>
                </a:cubicBezTo>
                <a:close/>
                <a:moveTo>
                  <a:pt x="4096782" y="2085107"/>
                </a:moveTo>
                <a:cubicBezTo>
                  <a:pt x="4038850" y="2085808"/>
                  <a:pt x="3990806" y="2038473"/>
                  <a:pt x="3990806" y="1979835"/>
                </a:cubicBezTo>
                <a:cubicBezTo>
                  <a:pt x="3990806" y="1921198"/>
                  <a:pt x="4037435" y="1873862"/>
                  <a:pt x="4096074" y="1873862"/>
                </a:cubicBezTo>
                <a:cubicBezTo>
                  <a:pt x="4154012" y="1873154"/>
                  <a:pt x="4202050" y="1920490"/>
                  <a:pt x="4202050" y="1979127"/>
                </a:cubicBezTo>
                <a:cubicBezTo>
                  <a:pt x="4202758" y="2037064"/>
                  <a:pt x="4155422" y="2085107"/>
                  <a:pt x="4096782" y="2085107"/>
                </a:cubicBezTo>
                <a:close/>
                <a:moveTo>
                  <a:pt x="2486483" y="2142015"/>
                </a:moveTo>
                <a:cubicBezTo>
                  <a:pt x="2419361" y="2142015"/>
                  <a:pt x="2364257" y="2087618"/>
                  <a:pt x="2364257" y="2020497"/>
                </a:cubicBezTo>
                <a:cubicBezTo>
                  <a:pt x="2364257" y="1952681"/>
                  <a:pt x="2418660" y="1898278"/>
                  <a:pt x="2485775" y="1898278"/>
                </a:cubicBezTo>
                <a:cubicBezTo>
                  <a:pt x="2552889" y="1898278"/>
                  <a:pt x="2607994" y="1952681"/>
                  <a:pt x="2607994" y="2019795"/>
                </a:cubicBezTo>
                <a:cubicBezTo>
                  <a:pt x="2607994" y="2086911"/>
                  <a:pt x="2553598" y="2142015"/>
                  <a:pt x="2486483" y="2142015"/>
                </a:cubicBezTo>
                <a:close/>
                <a:moveTo>
                  <a:pt x="4513156" y="2162831"/>
                </a:moveTo>
                <a:cubicBezTo>
                  <a:pt x="4452391" y="2163538"/>
                  <a:pt x="4402936" y="2114785"/>
                  <a:pt x="4402936" y="2054025"/>
                </a:cubicBezTo>
                <a:cubicBezTo>
                  <a:pt x="4402936" y="1993969"/>
                  <a:pt x="4451682" y="1944513"/>
                  <a:pt x="4512446" y="1943805"/>
                </a:cubicBezTo>
                <a:cubicBezTo>
                  <a:pt x="4573204" y="1943097"/>
                  <a:pt x="4622658" y="1991851"/>
                  <a:pt x="4622658" y="2052610"/>
                </a:cubicBezTo>
                <a:cubicBezTo>
                  <a:pt x="4622658" y="2113374"/>
                  <a:pt x="4573912" y="2162831"/>
                  <a:pt x="4513156" y="2162831"/>
                </a:cubicBezTo>
                <a:close/>
                <a:moveTo>
                  <a:pt x="4920812" y="2222703"/>
                </a:moveTo>
                <a:cubicBezTo>
                  <a:pt x="4869242" y="2222703"/>
                  <a:pt x="4826849" y="2181018"/>
                  <a:pt x="4826849" y="2129441"/>
                </a:cubicBezTo>
                <a:cubicBezTo>
                  <a:pt x="4826849" y="2077871"/>
                  <a:pt x="4868534" y="2035478"/>
                  <a:pt x="4920104" y="2035478"/>
                </a:cubicBezTo>
                <a:cubicBezTo>
                  <a:pt x="4971683" y="2035478"/>
                  <a:pt x="5014067" y="2077163"/>
                  <a:pt x="5014067" y="2128734"/>
                </a:cubicBezTo>
                <a:cubicBezTo>
                  <a:pt x="5014067" y="2180311"/>
                  <a:pt x="4972390" y="2222703"/>
                  <a:pt x="4920812" y="2222703"/>
                </a:cubicBezTo>
                <a:close/>
                <a:moveTo>
                  <a:pt x="2939280" y="2228936"/>
                </a:moveTo>
                <a:cubicBezTo>
                  <a:pt x="2855202" y="2229638"/>
                  <a:pt x="2786676" y="2161820"/>
                  <a:pt x="2786676" y="2077743"/>
                </a:cubicBezTo>
                <a:cubicBezTo>
                  <a:pt x="2785968" y="1993671"/>
                  <a:pt x="2853792" y="1925139"/>
                  <a:pt x="2937863" y="1925139"/>
                </a:cubicBezTo>
                <a:cubicBezTo>
                  <a:pt x="3021941" y="1924431"/>
                  <a:pt x="3090473" y="1992255"/>
                  <a:pt x="3090473" y="2076326"/>
                </a:cubicBezTo>
                <a:cubicBezTo>
                  <a:pt x="3091174" y="2160403"/>
                  <a:pt x="3023350" y="2228936"/>
                  <a:pt x="2939280" y="2228936"/>
                </a:cubicBezTo>
                <a:close/>
                <a:moveTo>
                  <a:pt x="1209657" y="2268830"/>
                </a:moveTo>
                <a:cubicBezTo>
                  <a:pt x="1173429" y="2268830"/>
                  <a:pt x="1136842" y="2232243"/>
                  <a:pt x="1136842" y="2195654"/>
                </a:cubicBezTo>
                <a:cubicBezTo>
                  <a:pt x="1136842" y="2159429"/>
                  <a:pt x="1173429" y="2122841"/>
                  <a:pt x="1209657" y="2122841"/>
                </a:cubicBezTo>
                <a:cubicBezTo>
                  <a:pt x="1246244" y="2122841"/>
                  <a:pt x="1282831" y="2159429"/>
                  <a:pt x="1282831" y="2195654"/>
                </a:cubicBezTo>
                <a:cubicBezTo>
                  <a:pt x="1282831" y="2232243"/>
                  <a:pt x="1246244" y="2268830"/>
                  <a:pt x="1209657" y="2268830"/>
                </a:cubicBezTo>
                <a:close/>
                <a:moveTo>
                  <a:pt x="1722867" y="2280246"/>
                </a:moveTo>
                <a:cubicBezTo>
                  <a:pt x="1682980" y="2280246"/>
                  <a:pt x="1650045" y="2247294"/>
                  <a:pt x="1650045" y="2207425"/>
                </a:cubicBezTo>
                <a:cubicBezTo>
                  <a:pt x="1650045" y="2167538"/>
                  <a:pt x="1682980" y="2134604"/>
                  <a:pt x="1722867" y="2132866"/>
                </a:cubicBezTo>
                <a:cubicBezTo>
                  <a:pt x="1762738" y="2132866"/>
                  <a:pt x="1795689" y="2165800"/>
                  <a:pt x="1795689" y="2205686"/>
                </a:cubicBezTo>
                <a:cubicBezTo>
                  <a:pt x="1795689" y="2247294"/>
                  <a:pt x="1762738" y="2280246"/>
                  <a:pt x="1722867" y="2280246"/>
                </a:cubicBezTo>
                <a:close/>
                <a:moveTo>
                  <a:pt x="5321772" y="2280522"/>
                </a:moveTo>
                <a:cubicBezTo>
                  <a:pt x="5282060" y="2280522"/>
                  <a:pt x="5248524" y="2247869"/>
                  <a:pt x="5248524" y="2207271"/>
                </a:cubicBezTo>
                <a:cubicBezTo>
                  <a:pt x="5248524" y="2166673"/>
                  <a:pt x="5281176" y="2134020"/>
                  <a:pt x="5320886" y="2134020"/>
                </a:cubicBezTo>
                <a:cubicBezTo>
                  <a:pt x="5361483" y="2134020"/>
                  <a:pt x="5394134" y="2166673"/>
                  <a:pt x="5394134" y="2207271"/>
                </a:cubicBezTo>
                <a:cubicBezTo>
                  <a:pt x="5395018" y="2246984"/>
                  <a:pt x="5362367" y="2280522"/>
                  <a:pt x="5321772" y="2280522"/>
                </a:cubicBezTo>
                <a:close/>
                <a:moveTo>
                  <a:pt x="3372970" y="2292550"/>
                </a:moveTo>
                <a:cubicBezTo>
                  <a:pt x="3291018" y="2292550"/>
                  <a:pt x="3223195" y="2226136"/>
                  <a:pt x="3223195" y="2143476"/>
                </a:cubicBezTo>
                <a:cubicBezTo>
                  <a:pt x="3223195" y="2061525"/>
                  <a:pt x="3289602" y="1994410"/>
                  <a:pt x="3372261" y="1993702"/>
                </a:cubicBezTo>
                <a:cubicBezTo>
                  <a:pt x="3454921" y="1993702"/>
                  <a:pt x="3522043" y="2060109"/>
                  <a:pt x="3522043" y="2142769"/>
                </a:cubicBezTo>
                <a:cubicBezTo>
                  <a:pt x="3522043" y="2225428"/>
                  <a:pt x="3455629" y="2292550"/>
                  <a:pt x="3372970" y="2292550"/>
                </a:cubicBezTo>
                <a:close/>
                <a:moveTo>
                  <a:pt x="2197439" y="2328649"/>
                </a:moveTo>
                <a:cubicBezTo>
                  <a:pt x="2153635" y="2328649"/>
                  <a:pt x="2117601" y="2293323"/>
                  <a:pt x="2117601" y="2249514"/>
                </a:cubicBezTo>
                <a:cubicBezTo>
                  <a:pt x="2116901" y="2205710"/>
                  <a:pt x="2152927" y="2169676"/>
                  <a:pt x="2196738" y="2169676"/>
                </a:cubicBezTo>
                <a:cubicBezTo>
                  <a:pt x="2240541" y="2168975"/>
                  <a:pt x="2276575" y="2205002"/>
                  <a:pt x="2276575" y="2248813"/>
                </a:cubicBezTo>
                <a:cubicBezTo>
                  <a:pt x="2277276" y="2292615"/>
                  <a:pt x="2241249" y="2328649"/>
                  <a:pt x="2197439" y="2328649"/>
                </a:cubicBezTo>
                <a:close/>
                <a:moveTo>
                  <a:pt x="3793699" y="2347956"/>
                </a:moveTo>
                <a:cubicBezTo>
                  <a:pt x="3720224" y="2347956"/>
                  <a:pt x="3660169" y="2288610"/>
                  <a:pt x="3660169" y="2215135"/>
                </a:cubicBezTo>
                <a:cubicBezTo>
                  <a:pt x="3660169" y="2141658"/>
                  <a:pt x="3719516" y="2082312"/>
                  <a:pt x="3792991" y="2081605"/>
                </a:cubicBezTo>
                <a:cubicBezTo>
                  <a:pt x="3866467" y="2081605"/>
                  <a:pt x="3925813" y="2140951"/>
                  <a:pt x="3926522" y="2214426"/>
                </a:cubicBezTo>
                <a:cubicBezTo>
                  <a:pt x="3926522" y="2287901"/>
                  <a:pt x="3867174" y="2347956"/>
                  <a:pt x="3793699" y="2347956"/>
                </a:cubicBezTo>
                <a:close/>
                <a:moveTo>
                  <a:pt x="5717144" y="2359584"/>
                </a:moveTo>
                <a:cubicBezTo>
                  <a:pt x="5677924" y="2359584"/>
                  <a:pt x="5644317" y="2325980"/>
                  <a:pt x="5644317" y="2286787"/>
                </a:cubicBezTo>
                <a:cubicBezTo>
                  <a:pt x="5644317" y="2244760"/>
                  <a:pt x="5677924" y="2211156"/>
                  <a:pt x="5714338" y="2213962"/>
                </a:cubicBezTo>
                <a:cubicBezTo>
                  <a:pt x="5756338" y="2213962"/>
                  <a:pt x="5789944" y="2244760"/>
                  <a:pt x="5789944" y="2286787"/>
                </a:cubicBezTo>
                <a:cubicBezTo>
                  <a:pt x="5789944" y="2325980"/>
                  <a:pt x="5759146" y="2359584"/>
                  <a:pt x="5717144" y="2359584"/>
                </a:cubicBezTo>
                <a:close/>
                <a:moveTo>
                  <a:pt x="4204257" y="2406747"/>
                </a:moveTo>
                <a:cubicBezTo>
                  <a:pt x="4139968" y="2406747"/>
                  <a:pt x="4086982" y="2354463"/>
                  <a:pt x="4086982" y="2290173"/>
                </a:cubicBezTo>
                <a:cubicBezTo>
                  <a:pt x="4086982" y="2225176"/>
                  <a:pt x="4139260" y="2172898"/>
                  <a:pt x="4203556" y="2172898"/>
                </a:cubicBezTo>
                <a:cubicBezTo>
                  <a:pt x="4267845" y="2172898"/>
                  <a:pt x="4320833" y="2224467"/>
                  <a:pt x="4320833" y="2289466"/>
                </a:cubicBezTo>
                <a:cubicBezTo>
                  <a:pt x="4320833" y="2353761"/>
                  <a:pt x="4268547" y="2406747"/>
                  <a:pt x="4204257" y="2406747"/>
                </a:cubicBezTo>
                <a:close/>
                <a:moveTo>
                  <a:pt x="2644311" y="2430091"/>
                </a:moveTo>
                <a:cubicBezTo>
                  <a:pt x="2577197" y="2430091"/>
                  <a:pt x="2522800" y="2375695"/>
                  <a:pt x="2522092" y="2308573"/>
                </a:cubicBezTo>
                <a:cubicBezTo>
                  <a:pt x="2522092" y="2240750"/>
                  <a:pt x="2576496" y="2185647"/>
                  <a:pt x="2643609" y="2186355"/>
                </a:cubicBezTo>
                <a:cubicBezTo>
                  <a:pt x="2710725" y="2186355"/>
                  <a:pt x="2765829" y="2240050"/>
                  <a:pt x="2765829" y="2307872"/>
                </a:cubicBezTo>
                <a:cubicBezTo>
                  <a:pt x="2766537" y="2374987"/>
                  <a:pt x="2711432" y="2430091"/>
                  <a:pt x="2644311" y="2430091"/>
                </a:cubicBezTo>
                <a:close/>
                <a:moveTo>
                  <a:pt x="4607189" y="2477047"/>
                </a:moveTo>
                <a:cubicBezTo>
                  <a:pt x="4546426" y="2477047"/>
                  <a:pt x="4496974" y="2428296"/>
                  <a:pt x="4496974" y="2367540"/>
                </a:cubicBezTo>
                <a:cubicBezTo>
                  <a:pt x="4496974" y="2306785"/>
                  <a:pt x="4545718" y="2258034"/>
                  <a:pt x="4606480" y="2258034"/>
                </a:cubicBezTo>
                <a:cubicBezTo>
                  <a:pt x="4666534" y="2257326"/>
                  <a:pt x="4715986" y="2306077"/>
                  <a:pt x="4715986" y="2366832"/>
                </a:cubicBezTo>
                <a:cubicBezTo>
                  <a:pt x="4716687" y="2427594"/>
                  <a:pt x="4667235" y="2477047"/>
                  <a:pt x="4607189" y="2477047"/>
                </a:cubicBezTo>
                <a:close/>
                <a:moveTo>
                  <a:pt x="1436119" y="2507032"/>
                </a:moveTo>
                <a:cubicBezTo>
                  <a:pt x="1399531" y="2507032"/>
                  <a:pt x="1362943" y="2470445"/>
                  <a:pt x="1362943" y="2433856"/>
                </a:cubicBezTo>
                <a:cubicBezTo>
                  <a:pt x="1362943" y="2433856"/>
                  <a:pt x="1436119" y="2397631"/>
                  <a:pt x="1436119" y="2361043"/>
                </a:cubicBezTo>
                <a:cubicBezTo>
                  <a:pt x="1472345" y="2361043"/>
                  <a:pt x="1508933" y="2397631"/>
                  <a:pt x="1508933" y="2433856"/>
                </a:cubicBezTo>
                <a:cubicBezTo>
                  <a:pt x="1508933" y="2470445"/>
                  <a:pt x="1472345" y="2507032"/>
                  <a:pt x="1436119" y="2507032"/>
                </a:cubicBezTo>
                <a:close/>
                <a:moveTo>
                  <a:pt x="3073391" y="2519230"/>
                </a:moveTo>
                <a:cubicBezTo>
                  <a:pt x="2994972" y="2519230"/>
                  <a:pt x="2931389" y="2456349"/>
                  <a:pt x="2930680" y="2377923"/>
                </a:cubicBezTo>
                <a:cubicBezTo>
                  <a:pt x="2929972" y="2299502"/>
                  <a:pt x="2993555" y="2235919"/>
                  <a:pt x="3072690" y="2235211"/>
                </a:cubicBezTo>
                <a:cubicBezTo>
                  <a:pt x="3150402" y="2234503"/>
                  <a:pt x="3214699" y="2298086"/>
                  <a:pt x="3214699" y="2376512"/>
                </a:cubicBezTo>
                <a:cubicBezTo>
                  <a:pt x="3214699" y="2454932"/>
                  <a:pt x="3151817" y="2519230"/>
                  <a:pt x="3073391" y="2519230"/>
                </a:cubicBezTo>
                <a:close/>
                <a:moveTo>
                  <a:pt x="5002631" y="2526666"/>
                </a:moveTo>
                <a:cubicBezTo>
                  <a:pt x="4958828" y="2526666"/>
                  <a:pt x="4922794" y="2491340"/>
                  <a:pt x="4922794" y="2447531"/>
                </a:cubicBezTo>
                <a:cubicBezTo>
                  <a:pt x="4922794" y="2403019"/>
                  <a:pt x="4958120" y="2366992"/>
                  <a:pt x="5001923" y="2367693"/>
                </a:cubicBezTo>
                <a:cubicBezTo>
                  <a:pt x="5045725" y="2367693"/>
                  <a:pt x="5081758" y="2403019"/>
                  <a:pt x="5081758" y="2446830"/>
                </a:cubicBezTo>
                <a:cubicBezTo>
                  <a:pt x="5081758" y="2490632"/>
                  <a:pt x="5046434" y="2526666"/>
                  <a:pt x="5002631" y="2526666"/>
                </a:cubicBezTo>
                <a:close/>
                <a:moveTo>
                  <a:pt x="1906866" y="2551213"/>
                </a:moveTo>
                <a:cubicBezTo>
                  <a:pt x="1865259" y="2551213"/>
                  <a:pt x="1834027" y="2520032"/>
                  <a:pt x="1834027" y="2478424"/>
                </a:cubicBezTo>
                <a:cubicBezTo>
                  <a:pt x="1834027" y="2436817"/>
                  <a:pt x="1865259" y="2405585"/>
                  <a:pt x="1906866" y="2405585"/>
                </a:cubicBezTo>
                <a:cubicBezTo>
                  <a:pt x="1948475" y="2405585"/>
                  <a:pt x="1979655" y="2436817"/>
                  <a:pt x="1979655" y="2478424"/>
                </a:cubicBezTo>
                <a:cubicBezTo>
                  <a:pt x="1979655" y="2520032"/>
                  <a:pt x="1948475" y="2551213"/>
                  <a:pt x="1906866" y="2551213"/>
                </a:cubicBezTo>
                <a:close/>
                <a:moveTo>
                  <a:pt x="5392571" y="2600889"/>
                </a:moveTo>
                <a:cubicBezTo>
                  <a:pt x="5353026" y="2600889"/>
                  <a:pt x="5320655" y="2568535"/>
                  <a:pt x="5320655" y="2528971"/>
                </a:cubicBezTo>
                <a:cubicBezTo>
                  <a:pt x="5320655" y="2487605"/>
                  <a:pt x="5353026" y="2455250"/>
                  <a:pt x="5392571" y="2455250"/>
                </a:cubicBezTo>
                <a:cubicBezTo>
                  <a:pt x="5433935" y="2453448"/>
                  <a:pt x="5466306" y="2487605"/>
                  <a:pt x="5466306" y="2527169"/>
                </a:cubicBezTo>
                <a:cubicBezTo>
                  <a:pt x="5466306" y="2568535"/>
                  <a:pt x="5433935" y="2600889"/>
                  <a:pt x="5392571" y="2600889"/>
                </a:cubicBezTo>
                <a:close/>
                <a:moveTo>
                  <a:pt x="3487827" y="2609541"/>
                </a:moveTo>
                <a:cubicBezTo>
                  <a:pt x="3400224" y="2609541"/>
                  <a:pt x="3328867" y="2539594"/>
                  <a:pt x="3328867" y="2451992"/>
                </a:cubicBezTo>
                <a:cubicBezTo>
                  <a:pt x="3328159" y="2365090"/>
                  <a:pt x="3398808" y="2293740"/>
                  <a:pt x="3487119" y="2293032"/>
                </a:cubicBezTo>
                <a:cubicBezTo>
                  <a:pt x="3574021" y="2293032"/>
                  <a:pt x="3645370" y="2363680"/>
                  <a:pt x="3645370" y="2450581"/>
                </a:cubicBezTo>
                <a:cubicBezTo>
                  <a:pt x="3645370" y="2538184"/>
                  <a:pt x="3575430" y="2609541"/>
                  <a:pt x="3487827" y="2609541"/>
                </a:cubicBezTo>
                <a:close/>
                <a:moveTo>
                  <a:pt x="2348242" y="2614712"/>
                </a:moveTo>
                <a:cubicBezTo>
                  <a:pt x="2307993" y="2615897"/>
                  <a:pt x="2274851" y="2582755"/>
                  <a:pt x="2274851" y="2542504"/>
                </a:cubicBezTo>
                <a:cubicBezTo>
                  <a:pt x="2274851" y="2502255"/>
                  <a:pt x="2307993" y="2469112"/>
                  <a:pt x="2347057" y="2467926"/>
                </a:cubicBezTo>
                <a:cubicBezTo>
                  <a:pt x="2387305" y="2467926"/>
                  <a:pt x="2420459" y="2501068"/>
                  <a:pt x="2420459" y="2541319"/>
                </a:cubicBezTo>
                <a:cubicBezTo>
                  <a:pt x="2421635" y="2581569"/>
                  <a:pt x="2388493" y="2614712"/>
                  <a:pt x="2348242" y="2614712"/>
                </a:cubicBezTo>
                <a:close/>
                <a:moveTo>
                  <a:pt x="3891496" y="2656743"/>
                </a:moveTo>
                <a:cubicBezTo>
                  <a:pt x="3820846" y="2656743"/>
                  <a:pt x="3762915" y="2599514"/>
                  <a:pt x="3762915" y="2528866"/>
                </a:cubicBezTo>
                <a:cubicBezTo>
                  <a:pt x="3762915" y="2458216"/>
                  <a:pt x="3820145" y="2400995"/>
                  <a:pt x="3890795" y="2400287"/>
                </a:cubicBezTo>
                <a:cubicBezTo>
                  <a:pt x="3961444" y="2400287"/>
                  <a:pt x="4019375" y="2457515"/>
                  <a:pt x="4019375" y="2528165"/>
                </a:cubicBezTo>
                <a:cubicBezTo>
                  <a:pt x="4019375" y="2598814"/>
                  <a:pt x="3962145" y="2656743"/>
                  <a:pt x="3891496" y="2656743"/>
                </a:cubicBezTo>
                <a:close/>
                <a:moveTo>
                  <a:pt x="5780553" y="2682276"/>
                </a:moveTo>
                <a:cubicBezTo>
                  <a:pt x="5739227" y="2682276"/>
                  <a:pt x="5704742" y="2647786"/>
                  <a:pt x="5704742" y="2606451"/>
                </a:cubicBezTo>
                <a:cubicBezTo>
                  <a:pt x="5704742" y="2565049"/>
                  <a:pt x="5732316" y="2530559"/>
                  <a:pt x="5780553" y="2537470"/>
                </a:cubicBezTo>
                <a:cubicBezTo>
                  <a:pt x="5821948" y="2530559"/>
                  <a:pt x="5856433" y="2565049"/>
                  <a:pt x="5856433" y="2606451"/>
                </a:cubicBezTo>
                <a:cubicBezTo>
                  <a:pt x="5856433" y="2647786"/>
                  <a:pt x="5821948" y="2682276"/>
                  <a:pt x="5780553" y="2682276"/>
                </a:cubicBezTo>
                <a:close/>
                <a:moveTo>
                  <a:pt x="2768743" y="2706584"/>
                </a:moveTo>
                <a:cubicBezTo>
                  <a:pt x="2716466" y="2707293"/>
                  <a:pt x="2674075" y="2664902"/>
                  <a:pt x="2674075" y="2612623"/>
                </a:cubicBezTo>
                <a:cubicBezTo>
                  <a:pt x="2674075" y="2559638"/>
                  <a:pt x="2716466" y="2517247"/>
                  <a:pt x="2768035" y="2517955"/>
                </a:cubicBezTo>
                <a:cubicBezTo>
                  <a:pt x="2820312" y="2517247"/>
                  <a:pt x="2862704" y="2559638"/>
                  <a:pt x="2862704" y="2611916"/>
                </a:cubicBezTo>
                <a:cubicBezTo>
                  <a:pt x="2863412" y="2663493"/>
                  <a:pt x="2821021" y="2706584"/>
                  <a:pt x="2768743" y="2706584"/>
                </a:cubicBezTo>
                <a:close/>
                <a:moveTo>
                  <a:pt x="4288014" y="2729299"/>
                </a:moveTo>
                <a:cubicBezTo>
                  <a:pt x="4220899" y="2729299"/>
                  <a:pt x="4165795" y="2674904"/>
                  <a:pt x="4165795" y="2607782"/>
                </a:cubicBezTo>
                <a:cubicBezTo>
                  <a:pt x="4165795" y="2539966"/>
                  <a:pt x="4220198" y="2484855"/>
                  <a:pt x="4287313" y="2485563"/>
                </a:cubicBezTo>
                <a:cubicBezTo>
                  <a:pt x="4354428" y="2485563"/>
                  <a:pt x="4409531" y="2539966"/>
                  <a:pt x="4409531" y="2607081"/>
                </a:cubicBezTo>
                <a:cubicBezTo>
                  <a:pt x="4409531" y="2674195"/>
                  <a:pt x="4355136" y="2729299"/>
                  <a:pt x="4288014" y="2729299"/>
                </a:cubicBezTo>
                <a:close/>
                <a:moveTo>
                  <a:pt x="1615861" y="2781335"/>
                </a:moveTo>
                <a:cubicBezTo>
                  <a:pt x="1579635" y="2781335"/>
                  <a:pt x="1543048" y="2744762"/>
                  <a:pt x="1543048" y="2708552"/>
                </a:cubicBezTo>
                <a:cubicBezTo>
                  <a:pt x="1543048" y="2671979"/>
                  <a:pt x="1579635" y="2671979"/>
                  <a:pt x="1615861" y="2635406"/>
                </a:cubicBezTo>
                <a:cubicBezTo>
                  <a:pt x="1652449" y="2635406"/>
                  <a:pt x="1689037" y="2671979"/>
                  <a:pt x="1689037" y="2708552"/>
                </a:cubicBezTo>
                <a:cubicBezTo>
                  <a:pt x="1689037" y="2744762"/>
                  <a:pt x="1652449" y="2781335"/>
                  <a:pt x="1615861" y="2781335"/>
                </a:cubicBezTo>
                <a:close/>
                <a:moveTo>
                  <a:pt x="4678737" y="2798847"/>
                </a:moveTo>
                <a:cubicBezTo>
                  <a:pt x="4617973" y="2799557"/>
                  <a:pt x="4567813" y="2750103"/>
                  <a:pt x="4567813" y="2688632"/>
                </a:cubicBezTo>
                <a:cubicBezTo>
                  <a:pt x="4567104" y="2627168"/>
                  <a:pt x="4616564" y="2577006"/>
                  <a:pt x="4677320" y="2577714"/>
                </a:cubicBezTo>
                <a:cubicBezTo>
                  <a:pt x="4738784" y="2577006"/>
                  <a:pt x="4788236" y="2626466"/>
                  <a:pt x="4788944" y="2687931"/>
                </a:cubicBezTo>
                <a:cubicBezTo>
                  <a:pt x="4788944" y="2748687"/>
                  <a:pt x="4739492" y="2798847"/>
                  <a:pt x="4678737" y="2798847"/>
                </a:cubicBezTo>
                <a:close/>
                <a:moveTo>
                  <a:pt x="3176997" y="2847261"/>
                </a:moveTo>
                <a:cubicBezTo>
                  <a:pt x="3089388" y="2847261"/>
                  <a:pt x="3018739" y="2777314"/>
                  <a:pt x="3018037" y="2689712"/>
                </a:cubicBezTo>
                <a:cubicBezTo>
                  <a:pt x="3017330" y="2602817"/>
                  <a:pt x="3087979" y="2531460"/>
                  <a:pt x="3175580" y="2530752"/>
                </a:cubicBezTo>
                <a:cubicBezTo>
                  <a:pt x="3263191" y="2530752"/>
                  <a:pt x="3333839" y="2600692"/>
                  <a:pt x="3334540" y="2688302"/>
                </a:cubicBezTo>
                <a:cubicBezTo>
                  <a:pt x="3334540" y="2775905"/>
                  <a:pt x="3264600" y="2847261"/>
                  <a:pt x="3176997" y="2847261"/>
                </a:cubicBezTo>
                <a:close/>
                <a:moveTo>
                  <a:pt x="2058885" y="2858028"/>
                </a:moveTo>
                <a:cubicBezTo>
                  <a:pt x="1996503" y="2858028"/>
                  <a:pt x="1975640" y="2816469"/>
                  <a:pt x="1975640" y="2774702"/>
                </a:cubicBezTo>
                <a:cubicBezTo>
                  <a:pt x="1975640" y="2733143"/>
                  <a:pt x="1996503" y="2691376"/>
                  <a:pt x="2058885" y="2691376"/>
                </a:cubicBezTo>
                <a:cubicBezTo>
                  <a:pt x="2079749" y="2691376"/>
                  <a:pt x="2121267" y="2733143"/>
                  <a:pt x="2121267" y="2774702"/>
                </a:cubicBezTo>
                <a:cubicBezTo>
                  <a:pt x="2121267" y="2816469"/>
                  <a:pt x="2100611" y="2858028"/>
                  <a:pt x="2058885" y="2858028"/>
                </a:cubicBezTo>
                <a:close/>
                <a:moveTo>
                  <a:pt x="5064001" y="2863705"/>
                </a:moveTo>
                <a:cubicBezTo>
                  <a:pt x="5013141" y="2863705"/>
                  <a:pt x="4970750" y="2822029"/>
                  <a:pt x="4970750" y="2770454"/>
                </a:cubicBezTo>
                <a:cubicBezTo>
                  <a:pt x="4970750" y="2718886"/>
                  <a:pt x="5012433" y="2676496"/>
                  <a:pt x="5063300" y="2676496"/>
                </a:cubicBezTo>
                <a:cubicBezTo>
                  <a:pt x="5114868" y="2676496"/>
                  <a:pt x="5157259" y="2718178"/>
                  <a:pt x="5157259" y="2769746"/>
                </a:cubicBezTo>
                <a:cubicBezTo>
                  <a:pt x="5157259" y="2821321"/>
                  <a:pt x="5115576" y="2863705"/>
                  <a:pt x="5064001" y="2863705"/>
                </a:cubicBezTo>
                <a:close/>
                <a:moveTo>
                  <a:pt x="2460230" y="2922733"/>
                </a:moveTo>
                <a:cubicBezTo>
                  <a:pt x="2419962" y="2922733"/>
                  <a:pt x="2386755" y="2889526"/>
                  <a:pt x="2386755" y="2849258"/>
                </a:cubicBezTo>
                <a:cubicBezTo>
                  <a:pt x="2386755" y="2808282"/>
                  <a:pt x="2419253" y="2775783"/>
                  <a:pt x="2460230" y="2775783"/>
                </a:cubicBezTo>
                <a:cubicBezTo>
                  <a:pt x="2500497" y="2775783"/>
                  <a:pt x="2533705" y="2808991"/>
                  <a:pt x="2533705" y="2849258"/>
                </a:cubicBezTo>
                <a:cubicBezTo>
                  <a:pt x="2533705" y="2889526"/>
                  <a:pt x="2500497" y="2922733"/>
                  <a:pt x="2460230" y="2922733"/>
                </a:cubicBezTo>
                <a:close/>
                <a:moveTo>
                  <a:pt x="5446926" y="2925236"/>
                </a:moveTo>
                <a:cubicBezTo>
                  <a:pt x="5406838" y="2925236"/>
                  <a:pt x="5373435" y="2893172"/>
                  <a:pt x="5373435" y="2853085"/>
                </a:cubicBezTo>
                <a:cubicBezTo>
                  <a:pt x="5373435" y="2811659"/>
                  <a:pt x="5405500" y="2779595"/>
                  <a:pt x="5445586" y="2779595"/>
                </a:cubicBezTo>
                <a:cubicBezTo>
                  <a:pt x="5485673" y="2779595"/>
                  <a:pt x="5519075" y="2811659"/>
                  <a:pt x="5519075" y="2851746"/>
                </a:cubicBezTo>
                <a:cubicBezTo>
                  <a:pt x="5519075" y="2891832"/>
                  <a:pt x="5487012" y="2925236"/>
                  <a:pt x="5446926" y="2925236"/>
                </a:cubicBezTo>
                <a:close/>
                <a:moveTo>
                  <a:pt x="3573998" y="2925247"/>
                </a:moveTo>
                <a:cubicBezTo>
                  <a:pt x="3487101" y="2925955"/>
                  <a:pt x="3416450" y="2856013"/>
                  <a:pt x="3416450" y="2769118"/>
                </a:cubicBezTo>
                <a:cubicBezTo>
                  <a:pt x="3415743" y="2682922"/>
                  <a:pt x="3485685" y="2612272"/>
                  <a:pt x="3572588" y="2611564"/>
                </a:cubicBezTo>
                <a:cubicBezTo>
                  <a:pt x="3659486" y="2611564"/>
                  <a:pt x="3730136" y="2680798"/>
                  <a:pt x="3730136" y="2767701"/>
                </a:cubicBezTo>
                <a:cubicBezTo>
                  <a:pt x="3730844" y="2854597"/>
                  <a:pt x="3660901" y="2925247"/>
                  <a:pt x="3573998" y="2925247"/>
                </a:cubicBezTo>
                <a:close/>
                <a:moveTo>
                  <a:pt x="3963753" y="2984913"/>
                </a:moveTo>
                <a:cubicBezTo>
                  <a:pt x="3888862" y="2985621"/>
                  <a:pt x="3827399" y="2924860"/>
                  <a:pt x="3827399" y="2849975"/>
                </a:cubicBezTo>
                <a:cubicBezTo>
                  <a:pt x="3827399" y="2775084"/>
                  <a:pt x="3888154" y="2714329"/>
                  <a:pt x="3962336" y="2713620"/>
                </a:cubicBezTo>
                <a:cubicBezTo>
                  <a:pt x="4037227" y="2712912"/>
                  <a:pt x="4098690" y="2773675"/>
                  <a:pt x="4098690" y="2848558"/>
                </a:cubicBezTo>
                <a:cubicBezTo>
                  <a:pt x="4099399" y="2923450"/>
                  <a:pt x="4038636" y="2984913"/>
                  <a:pt x="3963753" y="2984913"/>
                </a:cubicBezTo>
                <a:close/>
                <a:moveTo>
                  <a:pt x="5825099" y="3007771"/>
                </a:moveTo>
                <a:cubicBezTo>
                  <a:pt x="5784130" y="3007771"/>
                  <a:pt x="5752285" y="2975927"/>
                  <a:pt x="5752285" y="2934958"/>
                </a:cubicBezTo>
                <a:cubicBezTo>
                  <a:pt x="5752285" y="2893990"/>
                  <a:pt x="5784130" y="2862144"/>
                  <a:pt x="5825099" y="2862144"/>
                </a:cubicBezTo>
                <a:cubicBezTo>
                  <a:pt x="5866068" y="2862144"/>
                  <a:pt x="5897912" y="2893990"/>
                  <a:pt x="5897912" y="2934958"/>
                </a:cubicBezTo>
                <a:cubicBezTo>
                  <a:pt x="5897912" y="2975927"/>
                  <a:pt x="5866068" y="3007771"/>
                  <a:pt x="5825099" y="3007771"/>
                </a:cubicBezTo>
                <a:close/>
                <a:moveTo>
                  <a:pt x="4348053" y="3059068"/>
                </a:moveTo>
                <a:cubicBezTo>
                  <a:pt x="4277402" y="3059068"/>
                  <a:pt x="4219472" y="3001839"/>
                  <a:pt x="4219472" y="2931189"/>
                </a:cubicBezTo>
                <a:cubicBezTo>
                  <a:pt x="4219472" y="2860539"/>
                  <a:pt x="4276701" y="2802609"/>
                  <a:pt x="4347351" y="2802609"/>
                </a:cubicBezTo>
                <a:cubicBezTo>
                  <a:pt x="4418000" y="2802609"/>
                  <a:pt x="4475931" y="2859838"/>
                  <a:pt x="4475931" y="2930488"/>
                </a:cubicBezTo>
                <a:cubicBezTo>
                  <a:pt x="4475931" y="3001137"/>
                  <a:pt x="4418702" y="3059068"/>
                  <a:pt x="4348053" y="3059068"/>
                </a:cubicBezTo>
                <a:close/>
                <a:moveTo>
                  <a:pt x="2859391" y="3059363"/>
                </a:moveTo>
                <a:cubicBezTo>
                  <a:pt x="2786624" y="3060071"/>
                  <a:pt x="2727985" y="3001432"/>
                  <a:pt x="2727985" y="2929368"/>
                </a:cubicBezTo>
                <a:cubicBezTo>
                  <a:pt x="2727278" y="2857309"/>
                  <a:pt x="2785916" y="2798671"/>
                  <a:pt x="2857981" y="2797962"/>
                </a:cubicBezTo>
                <a:cubicBezTo>
                  <a:pt x="2930748" y="2797254"/>
                  <a:pt x="2989386" y="2855892"/>
                  <a:pt x="2989386" y="2927959"/>
                </a:cubicBezTo>
                <a:cubicBezTo>
                  <a:pt x="2990094" y="3000017"/>
                  <a:pt x="2931456" y="3059363"/>
                  <a:pt x="2859391" y="3059363"/>
                </a:cubicBezTo>
                <a:close/>
                <a:moveTo>
                  <a:pt x="1743677" y="3083119"/>
                </a:moveTo>
                <a:cubicBezTo>
                  <a:pt x="1703678" y="3063026"/>
                  <a:pt x="1663481" y="3043131"/>
                  <a:pt x="1663481" y="3002945"/>
                </a:cubicBezTo>
                <a:cubicBezTo>
                  <a:pt x="1663481" y="2962957"/>
                  <a:pt x="1703678" y="2922770"/>
                  <a:pt x="1743677" y="2942863"/>
                </a:cubicBezTo>
                <a:cubicBezTo>
                  <a:pt x="1783872" y="2922770"/>
                  <a:pt x="1823871" y="2962957"/>
                  <a:pt x="1823871" y="3002945"/>
                </a:cubicBezTo>
                <a:cubicBezTo>
                  <a:pt x="1823871" y="3043131"/>
                  <a:pt x="1783872" y="3083119"/>
                  <a:pt x="1743677" y="3083119"/>
                </a:cubicBezTo>
                <a:close/>
                <a:moveTo>
                  <a:pt x="4728714" y="3133603"/>
                </a:moveTo>
                <a:cubicBezTo>
                  <a:pt x="4661600" y="3134311"/>
                  <a:pt x="4607197" y="3080616"/>
                  <a:pt x="4607197" y="3013499"/>
                </a:cubicBezTo>
                <a:cubicBezTo>
                  <a:pt x="4607197" y="2946384"/>
                  <a:pt x="4660891" y="2891980"/>
                  <a:pt x="4727297" y="2892688"/>
                </a:cubicBezTo>
                <a:cubicBezTo>
                  <a:pt x="4794412" y="2891980"/>
                  <a:pt x="4848814" y="2946384"/>
                  <a:pt x="4848814" y="3012792"/>
                </a:cubicBezTo>
                <a:cubicBezTo>
                  <a:pt x="4848814" y="3079207"/>
                  <a:pt x="4795120" y="3133603"/>
                  <a:pt x="4728714" y="3133603"/>
                </a:cubicBezTo>
                <a:close/>
                <a:moveTo>
                  <a:pt x="2143589" y="3163085"/>
                </a:moveTo>
                <a:cubicBezTo>
                  <a:pt x="2103863" y="3163085"/>
                  <a:pt x="2070773" y="3132189"/>
                  <a:pt x="2070773" y="3090277"/>
                </a:cubicBezTo>
                <a:cubicBezTo>
                  <a:pt x="2070773" y="3050557"/>
                  <a:pt x="2103863" y="3017471"/>
                  <a:pt x="2141377" y="3015258"/>
                </a:cubicBezTo>
                <a:cubicBezTo>
                  <a:pt x="2183315" y="3015258"/>
                  <a:pt x="2216405" y="3048345"/>
                  <a:pt x="2216405" y="3088066"/>
                </a:cubicBezTo>
                <a:cubicBezTo>
                  <a:pt x="2216405" y="3129999"/>
                  <a:pt x="2185527" y="3163085"/>
                  <a:pt x="2143589" y="3163085"/>
                </a:cubicBezTo>
                <a:close/>
                <a:moveTo>
                  <a:pt x="3248651" y="3171303"/>
                </a:moveTo>
                <a:cubicBezTo>
                  <a:pt x="3158928" y="3172011"/>
                  <a:pt x="3086161" y="3099945"/>
                  <a:pt x="3086161" y="3010224"/>
                </a:cubicBezTo>
                <a:cubicBezTo>
                  <a:pt x="3085453" y="2920495"/>
                  <a:pt x="3158220" y="2848429"/>
                  <a:pt x="3247240" y="2847728"/>
                </a:cubicBezTo>
                <a:cubicBezTo>
                  <a:pt x="3336969" y="2847020"/>
                  <a:pt x="3409736" y="2919079"/>
                  <a:pt x="3409736" y="3008808"/>
                </a:cubicBezTo>
                <a:cubicBezTo>
                  <a:pt x="3410444" y="3098536"/>
                  <a:pt x="3338378" y="3171303"/>
                  <a:pt x="3248651" y="3171303"/>
                </a:cubicBezTo>
                <a:close/>
                <a:moveTo>
                  <a:pt x="5105157" y="3190027"/>
                </a:moveTo>
                <a:cubicBezTo>
                  <a:pt x="5054297" y="3190027"/>
                  <a:pt x="5011906" y="3148351"/>
                  <a:pt x="5011906" y="3096777"/>
                </a:cubicBezTo>
                <a:cubicBezTo>
                  <a:pt x="5011906" y="3045209"/>
                  <a:pt x="5052880" y="3003526"/>
                  <a:pt x="5104456" y="3002818"/>
                </a:cubicBezTo>
                <a:cubicBezTo>
                  <a:pt x="5156023" y="3002818"/>
                  <a:pt x="5198415" y="3044500"/>
                  <a:pt x="5198415" y="3096069"/>
                </a:cubicBezTo>
                <a:cubicBezTo>
                  <a:pt x="5198415" y="3147644"/>
                  <a:pt x="5156731" y="3190027"/>
                  <a:pt x="5105157" y="3190027"/>
                </a:cubicBezTo>
                <a:close/>
                <a:moveTo>
                  <a:pt x="2531890" y="3242602"/>
                </a:moveTo>
                <a:cubicBezTo>
                  <a:pt x="2492331" y="3242602"/>
                  <a:pt x="2459071" y="3210243"/>
                  <a:pt x="2459071" y="3169791"/>
                </a:cubicBezTo>
                <a:cubicBezTo>
                  <a:pt x="2459071" y="3129330"/>
                  <a:pt x="2491430" y="3096070"/>
                  <a:pt x="2531890" y="3096972"/>
                </a:cubicBezTo>
                <a:cubicBezTo>
                  <a:pt x="2572340" y="3096972"/>
                  <a:pt x="2604699" y="3129330"/>
                  <a:pt x="2604699" y="3169791"/>
                </a:cubicBezTo>
                <a:cubicBezTo>
                  <a:pt x="2604699" y="3209342"/>
                  <a:pt x="2572340" y="3242602"/>
                  <a:pt x="2531890" y="3242602"/>
                </a:cubicBezTo>
                <a:close/>
                <a:moveTo>
                  <a:pt x="3631618" y="3248662"/>
                </a:moveTo>
                <a:cubicBezTo>
                  <a:pt x="3544720" y="3249370"/>
                  <a:pt x="3474771" y="3179428"/>
                  <a:pt x="3474070" y="3092525"/>
                </a:cubicBezTo>
                <a:cubicBezTo>
                  <a:pt x="3473362" y="3005628"/>
                  <a:pt x="3543305" y="2935686"/>
                  <a:pt x="3630208" y="2934977"/>
                </a:cubicBezTo>
                <a:cubicBezTo>
                  <a:pt x="3717105" y="2934269"/>
                  <a:pt x="3787055" y="3004211"/>
                  <a:pt x="3787756" y="3091116"/>
                </a:cubicBezTo>
                <a:cubicBezTo>
                  <a:pt x="3788464" y="3178012"/>
                  <a:pt x="3718521" y="3248662"/>
                  <a:pt x="3631618" y="3248662"/>
                </a:cubicBezTo>
                <a:close/>
                <a:moveTo>
                  <a:pt x="5479755" y="3252835"/>
                </a:moveTo>
                <a:cubicBezTo>
                  <a:pt x="5439505" y="3252835"/>
                  <a:pt x="5406364" y="3219695"/>
                  <a:pt x="5406364" y="3179450"/>
                </a:cubicBezTo>
                <a:cubicBezTo>
                  <a:pt x="5406364" y="3139203"/>
                  <a:pt x="5439505" y="3107251"/>
                  <a:pt x="5478567" y="3106064"/>
                </a:cubicBezTo>
                <a:cubicBezTo>
                  <a:pt x="5518815" y="3106064"/>
                  <a:pt x="5551956" y="3139203"/>
                  <a:pt x="5551956" y="3179450"/>
                </a:cubicBezTo>
                <a:cubicBezTo>
                  <a:pt x="5553144" y="3219695"/>
                  <a:pt x="5520003" y="3252835"/>
                  <a:pt x="5479755" y="3252835"/>
                </a:cubicBezTo>
                <a:close/>
                <a:moveTo>
                  <a:pt x="4009150" y="3317439"/>
                </a:moveTo>
                <a:cubicBezTo>
                  <a:pt x="3930731" y="3317439"/>
                  <a:pt x="3866442" y="3253850"/>
                  <a:pt x="3865733" y="3174722"/>
                </a:cubicBezTo>
                <a:cubicBezTo>
                  <a:pt x="3865733" y="3095595"/>
                  <a:pt x="3929315" y="3031305"/>
                  <a:pt x="4008449" y="3031305"/>
                </a:cubicBezTo>
                <a:cubicBezTo>
                  <a:pt x="4087576" y="3031305"/>
                  <a:pt x="4151867" y="3094887"/>
                  <a:pt x="4151867" y="3174021"/>
                </a:cubicBezTo>
                <a:cubicBezTo>
                  <a:pt x="4151867" y="3253148"/>
                  <a:pt x="4088278" y="3317439"/>
                  <a:pt x="4009150" y="3317439"/>
                </a:cubicBezTo>
                <a:close/>
                <a:moveTo>
                  <a:pt x="5851244" y="3335538"/>
                </a:moveTo>
                <a:cubicBezTo>
                  <a:pt x="5810275" y="3335538"/>
                  <a:pt x="5778430" y="3303694"/>
                  <a:pt x="5778430" y="3262725"/>
                </a:cubicBezTo>
                <a:cubicBezTo>
                  <a:pt x="5778430" y="3221756"/>
                  <a:pt x="5810275" y="3189911"/>
                  <a:pt x="5851244" y="3189911"/>
                </a:cubicBezTo>
                <a:cubicBezTo>
                  <a:pt x="5892213" y="3189911"/>
                  <a:pt x="5924057" y="3221756"/>
                  <a:pt x="5924057" y="3262725"/>
                </a:cubicBezTo>
                <a:cubicBezTo>
                  <a:pt x="5924057" y="3303694"/>
                  <a:pt x="5892213" y="3335538"/>
                  <a:pt x="5851244" y="3335538"/>
                </a:cubicBezTo>
                <a:close/>
                <a:moveTo>
                  <a:pt x="2912537" y="3373262"/>
                </a:moveTo>
                <a:cubicBezTo>
                  <a:pt x="2846129" y="3373969"/>
                  <a:pt x="2791726" y="3319565"/>
                  <a:pt x="2791726" y="3253156"/>
                </a:cubicBezTo>
                <a:cubicBezTo>
                  <a:pt x="2791726" y="3186748"/>
                  <a:pt x="2845421" y="3132342"/>
                  <a:pt x="2911127" y="3132342"/>
                </a:cubicBezTo>
                <a:cubicBezTo>
                  <a:pt x="2978243" y="3131634"/>
                  <a:pt x="3032639" y="3186038"/>
                  <a:pt x="3032639" y="3252447"/>
                </a:cubicBezTo>
                <a:cubicBezTo>
                  <a:pt x="3033347" y="3318864"/>
                  <a:pt x="2978944" y="3373262"/>
                  <a:pt x="2912537" y="3373262"/>
                </a:cubicBezTo>
                <a:close/>
                <a:moveTo>
                  <a:pt x="4383877" y="3392229"/>
                </a:moveTo>
                <a:cubicBezTo>
                  <a:pt x="4309693" y="3392229"/>
                  <a:pt x="4248936" y="3332183"/>
                  <a:pt x="4248936" y="3257999"/>
                </a:cubicBezTo>
                <a:cubicBezTo>
                  <a:pt x="4248936" y="3183814"/>
                  <a:pt x="4308993" y="3123766"/>
                  <a:pt x="4383170" y="3123058"/>
                </a:cubicBezTo>
                <a:cubicBezTo>
                  <a:pt x="4457354" y="3123058"/>
                  <a:pt x="4518118" y="3183113"/>
                  <a:pt x="4518118" y="3257297"/>
                </a:cubicBezTo>
                <a:cubicBezTo>
                  <a:pt x="4518118" y="3331475"/>
                  <a:pt x="4458062" y="3392229"/>
                  <a:pt x="4383877" y="3392229"/>
                </a:cubicBezTo>
                <a:close/>
                <a:moveTo>
                  <a:pt x="1828141" y="3416801"/>
                </a:moveTo>
                <a:cubicBezTo>
                  <a:pt x="1785258" y="3416801"/>
                  <a:pt x="1742375" y="3373907"/>
                  <a:pt x="1742375" y="3330997"/>
                </a:cubicBezTo>
                <a:cubicBezTo>
                  <a:pt x="1742375" y="3288512"/>
                  <a:pt x="1785258" y="3245603"/>
                  <a:pt x="1785258" y="3245603"/>
                </a:cubicBezTo>
                <a:cubicBezTo>
                  <a:pt x="1828141" y="3245603"/>
                  <a:pt x="1870599" y="3288512"/>
                  <a:pt x="1870599" y="3330997"/>
                </a:cubicBezTo>
                <a:cubicBezTo>
                  <a:pt x="1913482" y="3373907"/>
                  <a:pt x="1870599" y="3416801"/>
                  <a:pt x="1828141" y="3416801"/>
                </a:cubicBezTo>
                <a:close/>
                <a:moveTo>
                  <a:pt x="4755713" y="3469142"/>
                </a:moveTo>
                <a:cubicBezTo>
                  <a:pt x="4685064" y="3469142"/>
                  <a:pt x="4627133" y="3411914"/>
                  <a:pt x="4627133" y="3341275"/>
                </a:cubicBezTo>
                <a:cubicBezTo>
                  <a:pt x="4626424" y="3270626"/>
                  <a:pt x="4684355" y="3212695"/>
                  <a:pt x="4755012" y="3212695"/>
                </a:cubicBezTo>
                <a:cubicBezTo>
                  <a:pt x="4825662" y="3212695"/>
                  <a:pt x="4882883" y="3269925"/>
                  <a:pt x="4883593" y="3340574"/>
                </a:cubicBezTo>
                <a:cubicBezTo>
                  <a:pt x="4883593" y="3411211"/>
                  <a:pt x="4826363" y="3469142"/>
                  <a:pt x="4755713" y="3469142"/>
                </a:cubicBezTo>
                <a:close/>
                <a:moveTo>
                  <a:pt x="2191543" y="3486615"/>
                </a:moveTo>
                <a:cubicBezTo>
                  <a:pt x="2153407" y="3486615"/>
                  <a:pt x="2118711" y="3455398"/>
                  <a:pt x="2118711" y="3413786"/>
                </a:cubicBezTo>
                <a:cubicBezTo>
                  <a:pt x="2118711" y="3372188"/>
                  <a:pt x="2153407" y="3340969"/>
                  <a:pt x="2191543" y="3340969"/>
                </a:cubicBezTo>
                <a:cubicBezTo>
                  <a:pt x="2233155" y="3340969"/>
                  <a:pt x="2264373" y="3372188"/>
                  <a:pt x="2264373" y="3413786"/>
                </a:cubicBezTo>
                <a:cubicBezTo>
                  <a:pt x="2264373" y="3455398"/>
                  <a:pt x="2233155" y="3486615"/>
                  <a:pt x="2191543" y="3486615"/>
                </a:cubicBezTo>
                <a:close/>
                <a:moveTo>
                  <a:pt x="3287758" y="3499834"/>
                </a:moveTo>
                <a:cubicBezTo>
                  <a:pt x="3197331" y="3499834"/>
                  <a:pt x="3123150" y="3426352"/>
                  <a:pt x="3123150" y="3335945"/>
                </a:cubicBezTo>
                <a:cubicBezTo>
                  <a:pt x="3123150" y="3245519"/>
                  <a:pt x="3196623" y="3171337"/>
                  <a:pt x="3287049" y="3171337"/>
                </a:cubicBezTo>
                <a:cubicBezTo>
                  <a:pt x="3377484" y="3171337"/>
                  <a:pt x="3451657" y="3244102"/>
                  <a:pt x="3451657" y="3335238"/>
                </a:cubicBezTo>
                <a:cubicBezTo>
                  <a:pt x="3451657" y="3425654"/>
                  <a:pt x="3378893" y="3499834"/>
                  <a:pt x="3287758" y="3499834"/>
                </a:cubicBezTo>
                <a:close/>
                <a:moveTo>
                  <a:pt x="5125121" y="3526285"/>
                </a:moveTo>
                <a:cubicBezTo>
                  <a:pt x="5068601" y="3526285"/>
                  <a:pt x="5022681" y="3481067"/>
                  <a:pt x="5022681" y="3424547"/>
                </a:cubicBezTo>
                <a:cubicBezTo>
                  <a:pt x="5022681" y="3368033"/>
                  <a:pt x="5067900" y="3322113"/>
                  <a:pt x="5124413" y="3322113"/>
                </a:cubicBezTo>
                <a:cubicBezTo>
                  <a:pt x="5180933" y="3322113"/>
                  <a:pt x="5226859" y="3367331"/>
                  <a:pt x="5226859" y="3423846"/>
                </a:cubicBezTo>
                <a:cubicBezTo>
                  <a:pt x="5226859" y="3480358"/>
                  <a:pt x="5181641" y="3526285"/>
                  <a:pt x="5125121" y="3526285"/>
                </a:cubicBezTo>
                <a:close/>
                <a:moveTo>
                  <a:pt x="2563137" y="3569844"/>
                </a:moveTo>
                <a:cubicBezTo>
                  <a:pt x="2522677" y="3569844"/>
                  <a:pt x="2489304" y="3537494"/>
                  <a:pt x="2489304" y="3497047"/>
                </a:cubicBezTo>
                <a:cubicBezTo>
                  <a:pt x="2489304" y="3456590"/>
                  <a:pt x="2521664" y="3424229"/>
                  <a:pt x="2562124" y="3424229"/>
                </a:cubicBezTo>
                <a:cubicBezTo>
                  <a:pt x="2602573" y="3424229"/>
                  <a:pt x="2635946" y="3456590"/>
                  <a:pt x="2635946" y="3497047"/>
                </a:cubicBezTo>
                <a:cubicBezTo>
                  <a:pt x="2635946" y="3536477"/>
                  <a:pt x="2603586" y="3569844"/>
                  <a:pt x="2563137" y="3569844"/>
                </a:cubicBezTo>
                <a:close/>
                <a:moveTo>
                  <a:pt x="5492972" y="3580517"/>
                </a:moveTo>
                <a:cubicBezTo>
                  <a:pt x="5452913" y="3580517"/>
                  <a:pt x="5420153" y="3547765"/>
                  <a:pt x="5420153" y="3507717"/>
                </a:cubicBezTo>
                <a:cubicBezTo>
                  <a:pt x="5420153" y="3467670"/>
                  <a:pt x="5452913" y="3434897"/>
                  <a:pt x="5492972" y="3434897"/>
                </a:cubicBezTo>
                <a:cubicBezTo>
                  <a:pt x="5533020" y="3434897"/>
                  <a:pt x="5565780" y="3467670"/>
                  <a:pt x="5565780" y="3507717"/>
                </a:cubicBezTo>
                <a:cubicBezTo>
                  <a:pt x="5565780" y="3547765"/>
                  <a:pt x="5533020" y="3580517"/>
                  <a:pt x="5492972" y="3580517"/>
                </a:cubicBezTo>
                <a:close/>
                <a:moveTo>
                  <a:pt x="4028026" y="3652007"/>
                </a:moveTo>
                <a:cubicBezTo>
                  <a:pt x="3946074" y="3652007"/>
                  <a:pt x="3878961" y="3585592"/>
                  <a:pt x="3878251" y="3502969"/>
                </a:cubicBezTo>
                <a:cubicBezTo>
                  <a:pt x="3878251" y="3421015"/>
                  <a:pt x="3944659" y="3353917"/>
                  <a:pt x="4027319" y="3353209"/>
                </a:cubicBezTo>
                <a:cubicBezTo>
                  <a:pt x="4109277" y="3353209"/>
                  <a:pt x="4177100" y="3419600"/>
                  <a:pt x="4177100" y="3502260"/>
                </a:cubicBezTo>
                <a:cubicBezTo>
                  <a:pt x="4177100" y="3584882"/>
                  <a:pt x="4110686" y="3652007"/>
                  <a:pt x="4028026" y="3652007"/>
                </a:cubicBezTo>
                <a:close/>
                <a:moveTo>
                  <a:pt x="5859473" y="3664284"/>
                </a:moveTo>
                <a:cubicBezTo>
                  <a:pt x="5818504" y="3664284"/>
                  <a:pt x="5786659" y="3632440"/>
                  <a:pt x="5786659" y="3591471"/>
                </a:cubicBezTo>
                <a:cubicBezTo>
                  <a:pt x="5786659" y="3555064"/>
                  <a:pt x="5818504" y="3518657"/>
                  <a:pt x="5859473" y="3518657"/>
                </a:cubicBezTo>
                <a:cubicBezTo>
                  <a:pt x="5900442" y="3518657"/>
                  <a:pt x="5932286" y="3550502"/>
                  <a:pt x="5932286" y="3591471"/>
                </a:cubicBezTo>
                <a:cubicBezTo>
                  <a:pt x="5932286" y="3632440"/>
                  <a:pt x="5900442" y="3664284"/>
                  <a:pt x="5859473" y="3664284"/>
                </a:cubicBezTo>
                <a:close/>
                <a:moveTo>
                  <a:pt x="2929967" y="3697434"/>
                </a:moveTo>
                <a:cubicBezTo>
                  <a:pt x="2865678" y="3698135"/>
                  <a:pt x="2812692" y="3645865"/>
                  <a:pt x="2812692" y="3580873"/>
                </a:cubicBezTo>
                <a:cubicBezTo>
                  <a:pt x="2812692" y="3515906"/>
                  <a:pt x="2864970" y="3463632"/>
                  <a:pt x="2929259" y="3463632"/>
                </a:cubicBezTo>
                <a:cubicBezTo>
                  <a:pt x="2993555" y="3463632"/>
                  <a:pt x="3046541" y="3515205"/>
                  <a:pt x="3046541" y="3580164"/>
                </a:cubicBezTo>
                <a:cubicBezTo>
                  <a:pt x="3046541" y="3644454"/>
                  <a:pt x="2994256" y="3697434"/>
                  <a:pt x="2929967" y="3697434"/>
                </a:cubicBezTo>
                <a:close/>
                <a:moveTo>
                  <a:pt x="4395129" y="3725385"/>
                </a:moveTo>
                <a:cubicBezTo>
                  <a:pt x="4318119" y="3725385"/>
                  <a:pt x="4255238" y="3663217"/>
                  <a:pt x="4255238" y="3586212"/>
                </a:cubicBezTo>
                <a:cubicBezTo>
                  <a:pt x="4255238" y="3509233"/>
                  <a:pt x="4317411" y="3446354"/>
                  <a:pt x="4393712" y="3446354"/>
                </a:cubicBezTo>
                <a:cubicBezTo>
                  <a:pt x="4470721" y="3446354"/>
                  <a:pt x="4533596" y="3508525"/>
                  <a:pt x="4533596" y="3585503"/>
                </a:cubicBezTo>
                <a:cubicBezTo>
                  <a:pt x="4534304" y="3662514"/>
                  <a:pt x="4472132" y="3725385"/>
                  <a:pt x="4395129" y="3725385"/>
                </a:cubicBezTo>
                <a:close/>
                <a:moveTo>
                  <a:pt x="4760666" y="3800894"/>
                </a:moveTo>
                <a:cubicBezTo>
                  <a:pt x="4687190" y="3800894"/>
                  <a:pt x="4627843" y="3742261"/>
                  <a:pt x="4627843" y="3669497"/>
                </a:cubicBezTo>
                <a:cubicBezTo>
                  <a:pt x="4627133" y="3596026"/>
                  <a:pt x="4686482" y="3536701"/>
                  <a:pt x="4759959" y="3537409"/>
                </a:cubicBezTo>
                <a:cubicBezTo>
                  <a:pt x="4832727" y="3536701"/>
                  <a:pt x="4892075" y="3596026"/>
                  <a:pt x="4892075" y="3668791"/>
                </a:cubicBezTo>
                <a:cubicBezTo>
                  <a:pt x="4892783" y="3741558"/>
                  <a:pt x="4833435" y="3800894"/>
                  <a:pt x="4760666" y="3800894"/>
                </a:cubicBezTo>
                <a:close/>
                <a:moveTo>
                  <a:pt x="2190569" y="3814783"/>
                </a:moveTo>
                <a:cubicBezTo>
                  <a:pt x="2150096" y="3814783"/>
                  <a:pt x="2117735" y="3782423"/>
                  <a:pt x="2117735" y="3742003"/>
                </a:cubicBezTo>
                <a:cubicBezTo>
                  <a:pt x="2117735" y="3701527"/>
                  <a:pt x="2150096" y="3669172"/>
                  <a:pt x="2190569" y="3669172"/>
                </a:cubicBezTo>
                <a:cubicBezTo>
                  <a:pt x="2231001" y="3669172"/>
                  <a:pt x="2263362" y="3701527"/>
                  <a:pt x="2263362" y="3742003"/>
                </a:cubicBezTo>
                <a:cubicBezTo>
                  <a:pt x="2263362" y="3782423"/>
                  <a:pt x="2231001" y="3814783"/>
                  <a:pt x="2190569" y="3814783"/>
                </a:cubicBezTo>
                <a:close/>
                <a:moveTo>
                  <a:pt x="3295022" y="3828033"/>
                </a:moveTo>
                <a:cubicBezTo>
                  <a:pt x="3204592" y="3828033"/>
                  <a:pt x="3130408" y="3754561"/>
                  <a:pt x="3130408" y="3664146"/>
                </a:cubicBezTo>
                <a:cubicBezTo>
                  <a:pt x="3129700" y="3573020"/>
                  <a:pt x="3203176" y="3499577"/>
                  <a:pt x="3293607" y="3499577"/>
                </a:cubicBezTo>
                <a:cubicBezTo>
                  <a:pt x="3384751" y="3499577"/>
                  <a:pt x="3458228" y="3573020"/>
                  <a:pt x="3458929" y="3663442"/>
                </a:cubicBezTo>
                <a:cubicBezTo>
                  <a:pt x="3458929" y="3753868"/>
                  <a:pt x="3385452" y="3827325"/>
                  <a:pt x="3295022" y="3828033"/>
                </a:cubicBezTo>
                <a:close/>
                <a:moveTo>
                  <a:pt x="5124152" y="3854992"/>
                </a:moveTo>
                <a:cubicBezTo>
                  <a:pt x="5067632" y="3854992"/>
                  <a:pt x="5021712" y="3809774"/>
                  <a:pt x="5021712" y="3753265"/>
                </a:cubicBezTo>
                <a:cubicBezTo>
                  <a:pt x="5021712" y="3696745"/>
                  <a:pt x="5066931" y="3650833"/>
                  <a:pt x="5123451" y="3650833"/>
                </a:cubicBezTo>
                <a:cubicBezTo>
                  <a:pt x="5179964" y="3650833"/>
                  <a:pt x="5225890" y="3696042"/>
                  <a:pt x="5225890" y="3752562"/>
                </a:cubicBezTo>
                <a:cubicBezTo>
                  <a:pt x="5225890" y="3809068"/>
                  <a:pt x="5180672" y="3854992"/>
                  <a:pt x="5124152" y="3854992"/>
                </a:cubicBezTo>
                <a:close/>
                <a:moveTo>
                  <a:pt x="2551031" y="3898047"/>
                </a:moveTo>
                <a:cubicBezTo>
                  <a:pt x="2510571" y="3898047"/>
                  <a:pt x="2477198" y="3865688"/>
                  <a:pt x="2477198" y="3825241"/>
                </a:cubicBezTo>
                <a:cubicBezTo>
                  <a:pt x="2477198" y="3784786"/>
                  <a:pt x="2510571" y="3752438"/>
                  <a:pt x="2551031" y="3752438"/>
                </a:cubicBezTo>
                <a:cubicBezTo>
                  <a:pt x="2590467" y="3752438"/>
                  <a:pt x="2623840" y="3784786"/>
                  <a:pt x="2623840" y="3825241"/>
                </a:cubicBezTo>
                <a:cubicBezTo>
                  <a:pt x="2623840" y="3864670"/>
                  <a:pt x="2591480" y="3898047"/>
                  <a:pt x="2551031" y="3898047"/>
                </a:cubicBezTo>
                <a:close/>
                <a:moveTo>
                  <a:pt x="5486679" y="3909244"/>
                </a:moveTo>
                <a:cubicBezTo>
                  <a:pt x="5446632" y="3909244"/>
                  <a:pt x="5413859" y="3876485"/>
                  <a:pt x="5413859" y="3836436"/>
                </a:cubicBezTo>
                <a:cubicBezTo>
                  <a:pt x="5413859" y="3796379"/>
                  <a:pt x="5446632" y="3763621"/>
                  <a:pt x="5486679" y="3763621"/>
                </a:cubicBezTo>
                <a:cubicBezTo>
                  <a:pt x="5526727" y="3763621"/>
                  <a:pt x="5559487" y="3796379"/>
                  <a:pt x="5559487" y="3836436"/>
                </a:cubicBezTo>
                <a:cubicBezTo>
                  <a:pt x="5559487" y="3876485"/>
                  <a:pt x="5526727" y="3909244"/>
                  <a:pt x="5486679" y="3909244"/>
                </a:cubicBezTo>
                <a:close/>
                <a:moveTo>
                  <a:pt x="4020280" y="3980226"/>
                </a:moveTo>
                <a:cubicBezTo>
                  <a:pt x="3938328" y="3980226"/>
                  <a:pt x="3870505" y="3913812"/>
                  <a:pt x="3870505" y="3831156"/>
                </a:cubicBezTo>
                <a:cubicBezTo>
                  <a:pt x="3869795" y="3748518"/>
                  <a:pt x="3936911" y="3681406"/>
                  <a:pt x="4019570" y="3681406"/>
                </a:cubicBezTo>
                <a:cubicBezTo>
                  <a:pt x="4101523" y="3681406"/>
                  <a:pt x="4169346" y="3747806"/>
                  <a:pt x="4169346" y="3830452"/>
                </a:cubicBezTo>
                <a:cubicBezTo>
                  <a:pt x="4169346" y="3913107"/>
                  <a:pt x="4102939" y="3980226"/>
                  <a:pt x="4020280" y="3980226"/>
                </a:cubicBezTo>
                <a:close/>
                <a:moveTo>
                  <a:pt x="5848846" y="3992529"/>
                </a:moveTo>
                <a:cubicBezTo>
                  <a:pt x="5807238" y="3992529"/>
                  <a:pt x="5776006" y="3961348"/>
                  <a:pt x="5776006" y="3919742"/>
                </a:cubicBezTo>
                <a:cubicBezTo>
                  <a:pt x="5776006" y="3878134"/>
                  <a:pt x="5807238" y="3846903"/>
                  <a:pt x="5848846" y="3846903"/>
                </a:cubicBezTo>
                <a:cubicBezTo>
                  <a:pt x="5890454" y="3846903"/>
                  <a:pt x="5921633" y="3878134"/>
                  <a:pt x="5921633" y="3919742"/>
                </a:cubicBezTo>
                <a:cubicBezTo>
                  <a:pt x="5921633" y="3961348"/>
                  <a:pt x="5890454" y="3992529"/>
                  <a:pt x="5848846" y="3992529"/>
                </a:cubicBezTo>
                <a:close/>
                <a:moveTo>
                  <a:pt x="2910711" y="4029206"/>
                </a:moveTo>
                <a:cubicBezTo>
                  <a:pt x="2843596" y="4029915"/>
                  <a:pt x="2789194" y="3975513"/>
                  <a:pt x="2789194" y="3909103"/>
                </a:cubicBezTo>
                <a:cubicBezTo>
                  <a:pt x="2789194" y="3842694"/>
                  <a:pt x="2842888" y="3788302"/>
                  <a:pt x="2910002" y="3788302"/>
                </a:cubicBezTo>
                <a:cubicBezTo>
                  <a:pt x="2976416" y="3787591"/>
                  <a:pt x="3030811" y="3841988"/>
                  <a:pt x="3030811" y="3908395"/>
                </a:cubicBezTo>
                <a:cubicBezTo>
                  <a:pt x="3031519" y="3974806"/>
                  <a:pt x="2977117" y="4029206"/>
                  <a:pt x="2910711" y="4029206"/>
                </a:cubicBezTo>
                <a:close/>
                <a:moveTo>
                  <a:pt x="1783865" y="4056998"/>
                </a:moveTo>
                <a:cubicBezTo>
                  <a:pt x="1747639" y="4056998"/>
                  <a:pt x="1711051" y="4020426"/>
                  <a:pt x="1711051" y="3983854"/>
                </a:cubicBezTo>
                <a:cubicBezTo>
                  <a:pt x="1711051" y="3947641"/>
                  <a:pt x="1747639" y="3947641"/>
                  <a:pt x="1783865" y="3911070"/>
                </a:cubicBezTo>
                <a:cubicBezTo>
                  <a:pt x="1820453" y="3911070"/>
                  <a:pt x="1857041" y="3947641"/>
                  <a:pt x="1857041" y="3983854"/>
                </a:cubicBezTo>
                <a:cubicBezTo>
                  <a:pt x="1857041" y="4020426"/>
                  <a:pt x="1820453" y="4056998"/>
                  <a:pt x="1783865" y="4056998"/>
                </a:cubicBezTo>
                <a:close/>
                <a:moveTo>
                  <a:pt x="4381567" y="4059873"/>
                </a:moveTo>
                <a:cubicBezTo>
                  <a:pt x="4301031" y="4060583"/>
                  <a:pt x="4235325" y="3995583"/>
                  <a:pt x="4235325" y="3915045"/>
                </a:cubicBezTo>
                <a:cubicBezTo>
                  <a:pt x="4235325" y="3834511"/>
                  <a:pt x="4300323" y="3768805"/>
                  <a:pt x="4380157" y="3768805"/>
                </a:cubicBezTo>
                <a:cubicBezTo>
                  <a:pt x="4460700" y="3768096"/>
                  <a:pt x="4526399" y="3833093"/>
                  <a:pt x="4526399" y="3913637"/>
                </a:cubicBezTo>
                <a:cubicBezTo>
                  <a:pt x="4527107" y="3994167"/>
                  <a:pt x="4462109" y="4059873"/>
                  <a:pt x="4381567" y="4059873"/>
                </a:cubicBezTo>
                <a:close/>
                <a:moveTo>
                  <a:pt x="4742160" y="4131976"/>
                </a:moveTo>
                <a:cubicBezTo>
                  <a:pt x="4667976" y="4131976"/>
                  <a:pt x="4607219" y="4071920"/>
                  <a:pt x="4607219" y="3997732"/>
                </a:cubicBezTo>
                <a:cubicBezTo>
                  <a:pt x="4606510" y="3923553"/>
                  <a:pt x="4666566" y="3862794"/>
                  <a:pt x="4741451" y="3862794"/>
                </a:cubicBezTo>
                <a:cubicBezTo>
                  <a:pt x="4815635" y="3862794"/>
                  <a:pt x="4876399" y="3922849"/>
                  <a:pt x="4876399" y="3997026"/>
                </a:cubicBezTo>
                <a:cubicBezTo>
                  <a:pt x="4876399" y="4071213"/>
                  <a:pt x="4816343" y="4131976"/>
                  <a:pt x="4742160" y="4131976"/>
                </a:cubicBezTo>
                <a:close/>
                <a:moveTo>
                  <a:pt x="2142321" y="4139916"/>
                </a:moveTo>
                <a:cubicBezTo>
                  <a:pt x="2101253" y="4139916"/>
                  <a:pt x="2067635" y="4110041"/>
                  <a:pt x="2067635" y="4068935"/>
                </a:cubicBezTo>
                <a:cubicBezTo>
                  <a:pt x="2067635" y="4031614"/>
                  <a:pt x="2101253" y="3997991"/>
                  <a:pt x="2138577" y="3994249"/>
                </a:cubicBezTo>
                <a:cubicBezTo>
                  <a:pt x="2179681" y="3994249"/>
                  <a:pt x="2213299" y="4024128"/>
                  <a:pt x="2213299" y="4065194"/>
                </a:cubicBezTo>
                <a:cubicBezTo>
                  <a:pt x="2213299" y="4106299"/>
                  <a:pt x="2183425" y="4139916"/>
                  <a:pt x="2142321" y="4139916"/>
                </a:cubicBezTo>
                <a:close/>
                <a:moveTo>
                  <a:pt x="5101884" y="4180058"/>
                </a:moveTo>
                <a:cubicBezTo>
                  <a:pt x="5046781" y="4180058"/>
                  <a:pt x="5001564" y="4135545"/>
                  <a:pt x="5001564" y="4080433"/>
                </a:cubicBezTo>
                <a:cubicBezTo>
                  <a:pt x="5001564" y="4025328"/>
                  <a:pt x="5046073" y="3980108"/>
                  <a:pt x="5101176" y="3980819"/>
                </a:cubicBezTo>
                <a:cubicBezTo>
                  <a:pt x="5156286" y="3980108"/>
                  <a:pt x="5201495" y="4024622"/>
                  <a:pt x="5201495" y="4079734"/>
                </a:cubicBezTo>
                <a:cubicBezTo>
                  <a:pt x="5201495" y="4134837"/>
                  <a:pt x="5156987" y="4180058"/>
                  <a:pt x="5101884" y="4180058"/>
                </a:cubicBezTo>
                <a:close/>
                <a:moveTo>
                  <a:pt x="2497738" y="4222683"/>
                </a:moveTo>
                <a:cubicBezTo>
                  <a:pt x="2457342" y="4222683"/>
                  <a:pt x="2424452" y="4190735"/>
                  <a:pt x="2424452" y="4150337"/>
                </a:cubicBezTo>
                <a:cubicBezTo>
                  <a:pt x="2423511" y="4110869"/>
                  <a:pt x="2456401" y="4077985"/>
                  <a:pt x="2496805" y="4077044"/>
                </a:cubicBezTo>
                <a:cubicBezTo>
                  <a:pt x="2537202" y="4077044"/>
                  <a:pt x="2570091" y="4108994"/>
                  <a:pt x="2570091" y="4149395"/>
                </a:cubicBezTo>
                <a:cubicBezTo>
                  <a:pt x="2570091" y="4189793"/>
                  <a:pt x="2538144" y="4222683"/>
                  <a:pt x="2497738" y="4222683"/>
                </a:cubicBezTo>
                <a:close/>
                <a:moveTo>
                  <a:pt x="5461432" y="4236788"/>
                </a:moveTo>
                <a:cubicBezTo>
                  <a:pt x="5421344" y="4236788"/>
                  <a:pt x="5387939" y="4204724"/>
                  <a:pt x="5387939" y="4164637"/>
                </a:cubicBezTo>
                <a:cubicBezTo>
                  <a:pt x="5387939" y="4123210"/>
                  <a:pt x="5421344" y="4091148"/>
                  <a:pt x="5460092" y="4091148"/>
                </a:cubicBezTo>
                <a:cubicBezTo>
                  <a:pt x="5500181" y="4091148"/>
                  <a:pt x="5533586" y="4123210"/>
                  <a:pt x="5533586" y="4163297"/>
                </a:cubicBezTo>
                <a:cubicBezTo>
                  <a:pt x="5534926" y="4203386"/>
                  <a:pt x="5501521" y="4236788"/>
                  <a:pt x="5461432" y="4236788"/>
                </a:cubicBezTo>
                <a:close/>
                <a:moveTo>
                  <a:pt x="3985425" y="4311155"/>
                </a:moveTo>
                <a:cubicBezTo>
                  <a:pt x="3901347" y="4311155"/>
                  <a:pt x="3832112" y="4243335"/>
                  <a:pt x="3832112" y="4158562"/>
                </a:cubicBezTo>
                <a:cubicBezTo>
                  <a:pt x="3832112" y="4073781"/>
                  <a:pt x="3899938" y="4005251"/>
                  <a:pt x="3984016" y="4004543"/>
                </a:cubicBezTo>
                <a:cubicBezTo>
                  <a:pt x="4068796" y="4004543"/>
                  <a:pt x="4137328" y="4072367"/>
                  <a:pt x="4138029" y="4157148"/>
                </a:cubicBezTo>
                <a:cubicBezTo>
                  <a:pt x="4138029" y="4241919"/>
                  <a:pt x="4070205" y="4311155"/>
                  <a:pt x="3985425" y="4311155"/>
                </a:cubicBezTo>
                <a:close/>
                <a:moveTo>
                  <a:pt x="5820258" y="4319815"/>
                </a:moveTo>
                <a:cubicBezTo>
                  <a:pt x="5779289" y="4319815"/>
                  <a:pt x="5747444" y="4287971"/>
                  <a:pt x="5747444" y="4247003"/>
                </a:cubicBezTo>
                <a:cubicBezTo>
                  <a:pt x="5747444" y="4206033"/>
                  <a:pt x="5779289" y="4174188"/>
                  <a:pt x="5820258" y="4174188"/>
                </a:cubicBezTo>
                <a:cubicBezTo>
                  <a:pt x="5861227" y="4174188"/>
                  <a:pt x="5893071" y="4206033"/>
                  <a:pt x="5893071" y="4247003"/>
                </a:cubicBezTo>
                <a:cubicBezTo>
                  <a:pt x="5893071" y="4287971"/>
                  <a:pt x="5861227" y="4319815"/>
                  <a:pt x="5820258" y="4319815"/>
                </a:cubicBezTo>
                <a:close/>
                <a:moveTo>
                  <a:pt x="2853847" y="4363108"/>
                </a:moveTo>
                <a:cubicBezTo>
                  <a:pt x="2781781" y="4363814"/>
                  <a:pt x="2723143" y="4305177"/>
                  <a:pt x="2723143" y="4233115"/>
                </a:cubicBezTo>
                <a:cubicBezTo>
                  <a:pt x="2723143" y="4161055"/>
                  <a:pt x="2781073" y="4102417"/>
                  <a:pt x="2853139" y="4101708"/>
                </a:cubicBezTo>
                <a:cubicBezTo>
                  <a:pt x="2925198" y="4101002"/>
                  <a:pt x="2984545" y="4159638"/>
                  <a:pt x="2984545" y="4231704"/>
                </a:cubicBezTo>
                <a:cubicBezTo>
                  <a:pt x="2984545" y="4304470"/>
                  <a:pt x="2925907" y="4363108"/>
                  <a:pt x="2853847" y="4363108"/>
                </a:cubicBezTo>
                <a:close/>
                <a:moveTo>
                  <a:pt x="4343810" y="4391141"/>
                </a:moveTo>
                <a:cubicBezTo>
                  <a:pt x="4260448" y="4391845"/>
                  <a:pt x="4192625" y="4324729"/>
                  <a:pt x="4192625" y="4241360"/>
                </a:cubicBezTo>
                <a:cubicBezTo>
                  <a:pt x="4191916" y="4157999"/>
                  <a:pt x="4259741" y="4090175"/>
                  <a:pt x="4342400" y="4090175"/>
                </a:cubicBezTo>
                <a:cubicBezTo>
                  <a:pt x="4425769" y="4089467"/>
                  <a:pt x="4493593" y="4156580"/>
                  <a:pt x="4493593" y="4239950"/>
                </a:cubicBezTo>
                <a:cubicBezTo>
                  <a:pt x="4494294" y="4323320"/>
                  <a:pt x="4427179" y="4391141"/>
                  <a:pt x="4343810" y="4391141"/>
                </a:cubicBezTo>
                <a:close/>
                <a:moveTo>
                  <a:pt x="2050073" y="4460270"/>
                </a:moveTo>
                <a:cubicBezTo>
                  <a:pt x="1989991" y="4460270"/>
                  <a:pt x="1969897" y="4420272"/>
                  <a:pt x="1969897" y="4380074"/>
                </a:cubicBezTo>
                <a:cubicBezTo>
                  <a:pt x="1969897" y="4340076"/>
                  <a:pt x="1989991" y="4299880"/>
                  <a:pt x="2050073" y="4299880"/>
                </a:cubicBezTo>
                <a:cubicBezTo>
                  <a:pt x="2090259" y="4299880"/>
                  <a:pt x="2110154" y="4340076"/>
                  <a:pt x="2110154" y="4380074"/>
                </a:cubicBezTo>
                <a:cubicBezTo>
                  <a:pt x="2130247" y="4420272"/>
                  <a:pt x="2090259" y="4460270"/>
                  <a:pt x="2050073" y="4460270"/>
                </a:cubicBezTo>
                <a:close/>
                <a:moveTo>
                  <a:pt x="4700999" y="4461819"/>
                </a:moveTo>
                <a:cubicBezTo>
                  <a:pt x="4624695" y="4461819"/>
                  <a:pt x="4562520" y="4400354"/>
                  <a:pt x="4562520" y="4324050"/>
                </a:cubicBezTo>
                <a:cubicBezTo>
                  <a:pt x="4562520" y="4247746"/>
                  <a:pt x="4623987" y="4185572"/>
                  <a:pt x="4700291" y="4185572"/>
                </a:cubicBezTo>
                <a:cubicBezTo>
                  <a:pt x="4776594" y="4185572"/>
                  <a:pt x="4838769" y="4247039"/>
                  <a:pt x="4838769" y="4323343"/>
                </a:cubicBezTo>
                <a:cubicBezTo>
                  <a:pt x="4838769" y="4399645"/>
                  <a:pt x="4777303" y="4461819"/>
                  <a:pt x="4700999" y="4461819"/>
                </a:cubicBezTo>
                <a:close/>
                <a:moveTo>
                  <a:pt x="3211374" y="4484756"/>
                </a:moveTo>
                <a:cubicBezTo>
                  <a:pt x="3117411" y="4484756"/>
                  <a:pt x="3041110" y="4409167"/>
                  <a:pt x="3041110" y="4315900"/>
                </a:cubicBezTo>
                <a:cubicBezTo>
                  <a:pt x="3041110" y="4245966"/>
                  <a:pt x="3083631" y="4185561"/>
                  <a:pt x="3144531" y="4159429"/>
                </a:cubicBezTo>
                <a:lnTo>
                  <a:pt x="3207351" y="4146334"/>
                </a:lnTo>
                <a:lnTo>
                  <a:pt x="3204562" y="4145781"/>
                </a:lnTo>
                <a:cubicBezTo>
                  <a:pt x="3144556" y="4120714"/>
                  <a:pt x="3102036" y="4061371"/>
                  <a:pt x="3102036" y="3992481"/>
                </a:cubicBezTo>
                <a:cubicBezTo>
                  <a:pt x="3102036" y="3900639"/>
                  <a:pt x="3176218" y="3825056"/>
                  <a:pt x="3268061" y="3825056"/>
                </a:cubicBezTo>
                <a:cubicBezTo>
                  <a:pt x="3359898" y="3824346"/>
                  <a:pt x="3435495" y="3899224"/>
                  <a:pt x="3435495" y="3991068"/>
                </a:cubicBezTo>
                <a:cubicBezTo>
                  <a:pt x="3436025" y="4060484"/>
                  <a:pt x="3394032" y="4119967"/>
                  <a:pt x="3334257" y="4145366"/>
                </a:cubicBezTo>
                <a:lnTo>
                  <a:pt x="3271954" y="4158006"/>
                </a:lnTo>
                <a:lnTo>
                  <a:pt x="3276406" y="4158911"/>
                </a:lnTo>
                <a:cubicBezTo>
                  <a:pt x="3337045" y="4184541"/>
                  <a:pt x="3379697" y="4244548"/>
                  <a:pt x="3380229" y="4314495"/>
                </a:cubicBezTo>
                <a:cubicBezTo>
                  <a:pt x="3380229" y="4408458"/>
                  <a:pt x="3304637" y="4484756"/>
                  <a:pt x="3211374" y="4484756"/>
                </a:cubicBezTo>
                <a:close/>
                <a:moveTo>
                  <a:pt x="5058310" y="4507182"/>
                </a:moveTo>
                <a:cubicBezTo>
                  <a:pt x="5002495" y="4507890"/>
                  <a:pt x="4957274" y="4462667"/>
                  <a:pt x="4957274" y="4406854"/>
                </a:cubicBezTo>
                <a:cubicBezTo>
                  <a:pt x="4957274" y="4351038"/>
                  <a:pt x="5002495" y="4305820"/>
                  <a:pt x="5057602" y="4305820"/>
                </a:cubicBezTo>
                <a:cubicBezTo>
                  <a:pt x="5112709" y="4305111"/>
                  <a:pt x="5158637" y="4350334"/>
                  <a:pt x="5158637" y="4406147"/>
                </a:cubicBezTo>
                <a:cubicBezTo>
                  <a:pt x="5159338" y="4461961"/>
                  <a:pt x="5114125" y="4507182"/>
                  <a:pt x="5058310" y="4507182"/>
                </a:cubicBezTo>
                <a:close/>
                <a:moveTo>
                  <a:pt x="2402623" y="4536670"/>
                </a:moveTo>
                <a:cubicBezTo>
                  <a:pt x="2363788" y="4536670"/>
                  <a:pt x="2329797" y="4505109"/>
                  <a:pt x="2329797" y="4463841"/>
                </a:cubicBezTo>
                <a:cubicBezTo>
                  <a:pt x="2329797" y="4422571"/>
                  <a:pt x="2361355" y="4391011"/>
                  <a:pt x="2402623" y="4391011"/>
                </a:cubicBezTo>
                <a:cubicBezTo>
                  <a:pt x="2443889" y="4391011"/>
                  <a:pt x="2475448" y="4425009"/>
                  <a:pt x="2475448" y="4463841"/>
                </a:cubicBezTo>
                <a:cubicBezTo>
                  <a:pt x="2475448" y="4505109"/>
                  <a:pt x="2441457" y="4536670"/>
                  <a:pt x="2402623" y="4536670"/>
                </a:cubicBezTo>
                <a:close/>
                <a:moveTo>
                  <a:pt x="5415506" y="4562365"/>
                </a:moveTo>
                <a:cubicBezTo>
                  <a:pt x="5375336" y="4562365"/>
                  <a:pt x="5342692" y="4529724"/>
                  <a:pt x="5342692" y="4489553"/>
                </a:cubicBezTo>
                <a:cubicBezTo>
                  <a:pt x="5342692" y="4449378"/>
                  <a:pt x="5375336" y="4416739"/>
                  <a:pt x="5415506" y="4416739"/>
                </a:cubicBezTo>
                <a:cubicBezTo>
                  <a:pt x="5455676" y="4416739"/>
                  <a:pt x="5488319" y="4449378"/>
                  <a:pt x="5488319" y="4489553"/>
                </a:cubicBezTo>
                <a:cubicBezTo>
                  <a:pt x="5488319" y="4529724"/>
                  <a:pt x="5455676" y="4562365"/>
                  <a:pt x="5415506" y="4562365"/>
                </a:cubicBezTo>
                <a:close/>
                <a:moveTo>
                  <a:pt x="2761855" y="4621031"/>
                </a:moveTo>
                <a:cubicBezTo>
                  <a:pt x="2722002" y="4621031"/>
                  <a:pt x="2689041" y="4588840"/>
                  <a:pt x="2689041" y="4548216"/>
                </a:cubicBezTo>
                <a:cubicBezTo>
                  <a:pt x="2689041" y="4508366"/>
                  <a:pt x="2721234" y="4475410"/>
                  <a:pt x="2761086" y="4474635"/>
                </a:cubicBezTo>
                <a:cubicBezTo>
                  <a:pt x="2801715" y="4474635"/>
                  <a:pt x="2834676" y="4506828"/>
                  <a:pt x="2834676" y="4547449"/>
                </a:cubicBezTo>
                <a:cubicBezTo>
                  <a:pt x="2834676" y="4588077"/>
                  <a:pt x="2802483" y="4621031"/>
                  <a:pt x="2761855" y="4621031"/>
                </a:cubicBezTo>
                <a:close/>
                <a:moveTo>
                  <a:pt x="3924421" y="4636800"/>
                </a:moveTo>
                <a:cubicBezTo>
                  <a:pt x="3838225" y="4637515"/>
                  <a:pt x="3768284" y="4568278"/>
                  <a:pt x="3768284" y="4482081"/>
                </a:cubicBezTo>
                <a:cubicBezTo>
                  <a:pt x="3768284" y="4395879"/>
                  <a:pt x="3837524" y="4325937"/>
                  <a:pt x="3923713" y="4325235"/>
                </a:cubicBezTo>
                <a:cubicBezTo>
                  <a:pt x="4009906" y="4325235"/>
                  <a:pt x="4079146" y="4394472"/>
                  <a:pt x="4079848" y="4480662"/>
                </a:cubicBezTo>
                <a:cubicBezTo>
                  <a:pt x="4079848" y="4566862"/>
                  <a:pt x="4010614" y="4636800"/>
                  <a:pt x="3924421" y="4636800"/>
                </a:cubicBezTo>
                <a:close/>
                <a:moveTo>
                  <a:pt x="5773294" y="4645164"/>
                </a:moveTo>
                <a:cubicBezTo>
                  <a:pt x="5732325" y="4645164"/>
                  <a:pt x="5700479" y="4613319"/>
                  <a:pt x="5700479" y="4572352"/>
                </a:cubicBezTo>
                <a:cubicBezTo>
                  <a:pt x="5700479" y="4531381"/>
                  <a:pt x="5732325" y="4499536"/>
                  <a:pt x="5773294" y="4499536"/>
                </a:cubicBezTo>
                <a:cubicBezTo>
                  <a:pt x="5814262" y="4499536"/>
                  <a:pt x="5846107" y="4531381"/>
                  <a:pt x="5846107" y="4572352"/>
                </a:cubicBezTo>
                <a:cubicBezTo>
                  <a:pt x="5846107" y="4613319"/>
                  <a:pt x="5814262" y="4645164"/>
                  <a:pt x="5773294" y="4645164"/>
                </a:cubicBezTo>
                <a:close/>
                <a:moveTo>
                  <a:pt x="1524353" y="4657347"/>
                </a:moveTo>
                <a:cubicBezTo>
                  <a:pt x="1488127" y="4657347"/>
                  <a:pt x="1451540" y="4620777"/>
                  <a:pt x="1451540" y="4584207"/>
                </a:cubicBezTo>
                <a:cubicBezTo>
                  <a:pt x="1451540" y="4547990"/>
                  <a:pt x="1488127" y="4511422"/>
                  <a:pt x="1524353" y="4511422"/>
                </a:cubicBezTo>
                <a:cubicBezTo>
                  <a:pt x="1560942" y="4511422"/>
                  <a:pt x="1597529" y="4584207"/>
                  <a:pt x="1597529" y="4584207"/>
                </a:cubicBezTo>
                <a:cubicBezTo>
                  <a:pt x="1597529" y="4620777"/>
                  <a:pt x="1560942" y="4657347"/>
                  <a:pt x="1524353" y="4657347"/>
                </a:cubicBezTo>
                <a:close/>
                <a:moveTo>
                  <a:pt x="4281357" y="4713592"/>
                </a:moveTo>
                <a:cubicBezTo>
                  <a:pt x="4197986" y="4713592"/>
                  <a:pt x="4130162" y="4646474"/>
                  <a:pt x="4130162" y="4563106"/>
                </a:cubicBezTo>
                <a:cubicBezTo>
                  <a:pt x="4130162" y="4479739"/>
                  <a:pt x="4197278" y="4412621"/>
                  <a:pt x="4279940" y="4412621"/>
                </a:cubicBezTo>
                <a:cubicBezTo>
                  <a:pt x="4363310" y="4411913"/>
                  <a:pt x="4431134" y="4479030"/>
                  <a:pt x="4431134" y="4562401"/>
                </a:cubicBezTo>
                <a:cubicBezTo>
                  <a:pt x="4431843" y="4645768"/>
                  <a:pt x="4364727" y="4713592"/>
                  <a:pt x="4281357" y="4713592"/>
                </a:cubicBezTo>
                <a:close/>
                <a:moveTo>
                  <a:pt x="1898609" y="4748603"/>
                </a:moveTo>
                <a:cubicBezTo>
                  <a:pt x="1856150" y="4748603"/>
                  <a:pt x="1825795" y="4718241"/>
                  <a:pt x="1825795" y="4675769"/>
                </a:cubicBezTo>
                <a:cubicBezTo>
                  <a:pt x="1825795" y="4633296"/>
                  <a:pt x="1862233" y="4596848"/>
                  <a:pt x="1898609" y="4602937"/>
                </a:cubicBezTo>
                <a:cubicBezTo>
                  <a:pt x="1935046" y="4602937"/>
                  <a:pt x="1971423" y="4633296"/>
                  <a:pt x="1971423" y="4675769"/>
                </a:cubicBezTo>
                <a:cubicBezTo>
                  <a:pt x="1971423" y="4718241"/>
                  <a:pt x="1941069" y="4748603"/>
                  <a:pt x="1898609" y="4748603"/>
                </a:cubicBezTo>
                <a:close/>
                <a:moveTo>
                  <a:pt x="4638170" y="4777091"/>
                </a:moveTo>
                <a:cubicBezTo>
                  <a:pt x="4565404" y="4777798"/>
                  <a:pt x="4506766" y="4719161"/>
                  <a:pt x="4506766" y="4647098"/>
                </a:cubicBezTo>
                <a:cubicBezTo>
                  <a:pt x="4506766" y="4575039"/>
                  <a:pt x="4564696" y="4516399"/>
                  <a:pt x="4636761" y="4515689"/>
                </a:cubicBezTo>
                <a:cubicBezTo>
                  <a:pt x="4709527" y="4514984"/>
                  <a:pt x="4768165" y="4573621"/>
                  <a:pt x="4768165" y="4645688"/>
                </a:cubicBezTo>
                <a:cubicBezTo>
                  <a:pt x="4768873" y="4718455"/>
                  <a:pt x="4710235" y="4777091"/>
                  <a:pt x="4638170" y="4777091"/>
                </a:cubicBezTo>
                <a:close/>
                <a:moveTo>
                  <a:pt x="3121323" y="4778306"/>
                </a:moveTo>
                <a:cubicBezTo>
                  <a:pt x="3040074" y="4779019"/>
                  <a:pt x="2973667" y="4713312"/>
                  <a:pt x="2973667" y="4632064"/>
                </a:cubicBezTo>
                <a:cubicBezTo>
                  <a:pt x="2972959" y="4551524"/>
                  <a:pt x="3038665" y="4485115"/>
                  <a:pt x="3119908" y="4484404"/>
                </a:cubicBezTo>
                <a:cubicBezTo>
                  <a:pt x="3201159" y="4483698"/>
                  <a:pt x="3267565" y="4549403"/>
                  <a:pt x="3267565" y="4630646"/>
                </a:cubicBezTo>
                <a:cubicBezTo>
                  <a:pt x="3267565" y="4711902"/>
                  <a:pt x="3202568" y="4778306"/>
                  <a:pt x="3121323" y="4778306"/>
                </a:cubicBezTo>
                <a:close/>
                <a:moveTo>
                  <a:pt x="4994396" y="4824678"/>
                </a:moveTo>
                <a:cubicBezTo>
                  <a:pt x="4941407" y="4824678"/>
                  <a:pt x="4898311" y="4782289"/>
                  <a:pt x="4898311" y="4729297"/>
                </a:cubicBezTo>
                <a:cubicBezTo>
                  <a:pt x="4898311" y="4676310"/>
                  <a:pt x="4941407" y="4633212"/>
                  <a:pt x="4993694" y="4633212"/>
                </a:cubicBezTo>
                <a:cubicBezTo>
                  <a:pt x="5046683" y="4633212"/>
                  <a:pt x="5089779" y="4675608"/>
                  <a:pt x="5089779" y="4728596"/>
                </a:cubicBezTo>
                <a:cubicBezTo>
                  <a:pt x="5090487" y="4781587"/>
                  <a:pt x="5047384" y="4824678"/>
                  <a:pt x="4994396" y="4824678"/>
                </a:cubicBezTo>
                <a:close/>
                <a:moveTo>
                  <a:pt x="2268509" y="4836828"/>
                </a:moveTo>
                <a:cubicBezTo>
                  <a:pt x="2228462" y="4836828"/>
                  <a:pt x="2195689" y="4804063"/>
                  <a:pt x="2195689" y="4764020"/>
                </a:cubicBezTo>
                <a:cubicBezTo>
                  <a:pt x="2195689" y="4723972"/>
                  <a:pt x="2228462" y="4691195"/>
                  <a:pt x="2268509" y="4691195"/>
                </a:cubicBezTo>
                <a:cubicBezTo>
                  <a:pt x="2308556" y="4691195"/>
                  <a:pt x="2341317" y="4723972"/>
                  <a:pt x="2341317" y="4764020"/>
                </a:cubicBezTo>
                <a:cubicBezTo>
                  <a:pt x="2341317" y="4804063"/>
                  <a:pt x="2308556" y="4836828"/>
                  <a:pt x="2268509" y="4836828"/>
                </a:cubicBezTo>
                <a:close/>
                <a:moveTo>
                  <a:pt x="5351112" y="4884809"/>
                </a:moveTo>
                <a:cubicBezTo>
                  <a:pt x="5310943" y="4884809"/>
                  <a:pt x="5278298" y="4852163"/>
                  <a:pt x="5278298" y="4811995"/>
                </a:cubicBezTo>
                <a:cubicBezTo>
                  <a:pt x="5278298" y="4773082"/>
                  <a:pt x="5310943" y="4739179"/>
                  <a:pt x="5349853" y="4739179"/>
                </a:cubicBezTo>
                <a:cubicBezTo>
                  <a:pt x="5391282" y="4739179"/>
                  <a:pt x="5423925" y="4771824"/>
                  <a:pt x="5423925" y="4811995"/>
                </a:cubicBezTo>
                <a:cubicBezTo>
                  <a:pt x="5423925" y="4852163"/>
                  <a:pt x="5391282" y="4884809"/>
                  <a:pt x="5351112" y="4884809"/>
                </a:cubicBezTo>
                <a:close/>
                <a:moveTo>
                  <a:pt x="1319439" y="4912984"/>
                </a:moveTo>
                <a:cubicBezTo>
                  <a:pt x="1282849" y="4912984"/>
                  <a:pt x="1246262" y="4876414"/>
                  <a:pt x="1246262" y="4839838"/>
                </a:cubicBezTo>
                <a:cubicBezTo>
                  <a:pt x="1246262" y="4803627"/>
                  <a:pt x="1246262" y="4767055"/>
                  <a:pt x="1319439" y="4767055"/>
                </a:cubicBezTo>
                <a:cubicBezTo>
                  <a:pt x="1355664" y="4767055"/>
                  <a:pt x="1392251" y="4803627"/>
                  <a:pt x="1392251" y="4839838"/>
                </a:cubicBezTo>
                <a:cubicBezTo>
                  <a:pt x="1392251" y="4876414"/>
                  <a:pt x="1355664" y="4912984"/>
                  <a:pt x="1319439" y="4912984"/>
                </a:cubicBezTo>
                <a:close/>
                <a:moveTo>
                  <a:pt x="2635603" y="4944521"/>
                </a:moveTo>
                <a:cubicBezTo>
                  <a:pt x="2584033" y="4944521"/>
                  <a:pt x="2541642" y="4902847"/>
                  <a:pt x="2541642" y="4851268"/>
                </a:cubicBezTo>
                <a:cubicBezTo>
                  <a:pt x="2540935" y="4799698"/>
                  <a:pt x="2582618" y="4758019"/>
                  <a:pt x="2634901" y="4757313"/>
                </a:cubicBezTo>
                <a:cubicBezTo>
                  <a:pt x="2686471" y="4757313"/>
                  <a:pt x="2728860" y="4798991"/>
                  <a:pt x="2728860" y="4850558"/>
                </a:cubicBezTo>
                <a:cubicBezTo>
                  <a:pt x="2728860" y="4902137"/>
                  <a:pt x="2687178" y="4944521"/>
                  <a:pt x="2635603" y="4944521"/>
                </a:cubicBezTo>
                <a:close/>
                <a:moveTo>
                  <a:pt x="5707448" y="4967166"/>
                </a:moveTo>
                <a:cubicBezTo>
                  <a:pt x="5667278" y="4967166"/>
                  <a:pt x="5634633" y="4934520"/>
                  <a:pt x="5634633" y="4894348"/>
                </a:cubicBezTo>
                <a:cubicBezTo>
                  <a:pt x="5634633" y="4854177"/>
                  <a:pt x="5667278" y="4820271"/>
                  <a:pt x="5707448" y="4821530"/>
                </a:cubicBezTo>
                <a:cubicBezTo>
                  <a:pt x="5747617" y="4821530"/>
                  <a:pt x="5780261" y="4854177"/>
                  <a:pt x="5780261" y="4894348"/>
                </a:cubicBezTo>
                <a:cubicBezTo>
                  <a:pt x="5780261" y="4934520"/>
                  <a:pt x="5747617" y="4967166"/>
                  <a:pt x="5707448" y="4967166"/>
                </a:cubicBezTo>
                <a:close/>
                <a:moveTo>
                  <a:pt x="1714008" y="5018904"/>
                </a:moveTo>
                <a:cubicBezTo>
                  <a:pt x="1672093" y="5018904"/>
                  <a:pt x="1639021" y="4988015"/>
                  <a:pt x="1639021" y="4946134"/>
                </a:cubicBezTo>
                <a:cubicBezTo>
                  <a:pt x="1639021" y="4904221"/>
                  <a:pt x="1672093" y="4871153"/>
                  <a:pt x="1711797" y="4873364"/>
                </a:cubicBezTo>
                <a:cubicBezTo>
                  <a:pt x="1753691" y="4871153"/>
                  <a:pt x="1786785" y="4904221"/>
                  <a:pt x="1786785" y="4946134"/>
                </a:cubicBezTo>
                <a:cubicBezTo>
                  <a:pt x="1788995" y="4985828"/>
                  <a:pt x="1755901" y="5018904"/>
                  <a:pt x="1714008" y="5018904"/>
                </a:cubicBezTo>
                <a:close/>
                <a:moveTo>
                  <a:pt x="4195062" y="5039784"/>
                </a:moveTo>
                <a:cubicBezTo>
                  <a:pt x="4107453" y="5039784"/>
                  <a:pt x="4036096" y="4969132"/>
                  <a:pt x="4035395" y="4880820"/>
                </a:cubicBezTo>
                <a:cubicBezTo>
                  <a:pt x="4034685" y="4793217"/>
                  <a:pt x="4106044" y="4721149"/>
                  <a:pt x="4194354" y="4721149"/>
                </a:cubicBezTo>
                <a:cubicBezTo>
                  <a:pt x="4281957" y="4721149"/>
                  <a:pt x="4353314" y="4791800"/>
                  <a:pt x="4354023" y="4880113"/>
                </a:cubicBezTo>
                <a:cubicBezTo>
                  <a:pt x="4354023" y="4967716"/>
                  <a:pt x="4283374" y="5039784"/>
                  <a:pt x="4195062" y="5039784"/>
                </a:cubicBezTo>
                <a:close/>
                <a:moveTo>
                  <a:pt x="2999685" y="5100391"/>
                </a:moveTo>
                <a:cubicBezTo>
                  <a:pt x="2909257" y="5100391"/>
                  <a:pt x="2835077" y="5027616"/>
                  <a:pt x="2835077" y="4936484"/>
                </a:cubicBezTo>
                <a:cubicBezTo>
                  <a:pt x="2835077" y="4845342"/>
                  <a:pt x="2907842" y="4771870"/>
                  <a:pt x="2998976" y="4771870"/>
                </a:cubicBezTo>
                <a:cubicBezTo>
                  <a:pt x="3089410" y="4771870"/>
                  <a:pt x="3163590" y="4844639"/>
                  <a:pt x="3163590" y="4935771"/>
                </a:cubicBezTo>
                <a:cubicBezTo>
                  <a:pt x="3163590" y="5026202"/>
                  <a:pt x="3090111" y="5099686"/>
                  <a:pt x="2999685" y="5100391"/>
                </a:cubicBezTo>
                <a:close/>
                <a:moveTo>
                  <a:pt x="4552965" y="5104582"/>
                </a:moveTo>
                <a:cubicBezTo>
                  <a:pt x="4475256" y="5105287"/>
                  <a:pt x="4411667" y="5042414"/>
                  <a:pt x="4411667" y="4964697"/>
                </a:cubicBezTo>
                <a:cubicBezTo>
                  <a:pt x="4411667" y="4887690"/>
                  <a:pt x="4473839" y="4824108"/>
                  <a:pt x="4551556" y="4823400"/>
                </a:cubicBezTo>
                <a:cubicBezTo>
                  <a:pt x="4629266" y="4822693"/>
                  <a:pt x="4692854" y="4885568"/>
                  <a:pt x="4692854" y="4963284"/>
                </a:cubicBezTo>
                <a:cubicBezTo>
                  <a:pt x="4693555" y="5040998"/>
                  <a:pt x="4630682" y="5104582"/>
                  <a:pt x="4552965" y="5104582"/>
                </a:cubicBezTo>
                <a:close/>
                <a:moveTo>
                  <a:pt x="2097708" y="5116687"/>
                </a:moveTo>
                <a:cubicBezTo>
                  <a:pt x="2057023" y="5116687"/>
                  <a:pt x="2024186" y="5083846"/>
                  <a:pt x="2024186" y="5043869"/>
                </a:cubicBezTo>
                <a:cubicBezTo>
                  <a:pt x="2024186" y="5003182"/>
                  <a:pt x="2056307" y="4970345"/>
                  <a:pt x="2097708" y="4971061"/>
                </a:cubicBezTo>
                <a:cubicBezTo>
                  <a:pt x="2137687" y="4971061"/>
                  <a:pt x="2170523" y="5003897"/>
                  <a:pt x="2170523" y="5043869"/>
                </a:cubicBezTo>
                <a:cubicBezTo>
                  <a:pt x="2170523" y="5083846"/>
                  <a:pt x="2137687" y="5116687"/>
                  <a:pt x="2097708" y="5116687"/>
                </a:cubicBezTo>
                <a:close/>
                <a:moveTo>
                  <a:pt x="1071193" y="5128439"/>
                </a:moveTo>
                <a:cubicBezTo>
                  <a:pt x="1034965" y="5128439"/>
                  <a:pt x="998378" y="5091862"/>
                  <a:pt x="998378" y="5055655"/>
                </a:cubicBezTo>
                <a:cubicBezTo>
                  <a:pt x="998378" y="5019079"/>
                  <a:pt x="998378" y="5019079"/>
                  <a:pt x="1071193" y="4982505"/>
                </a:cubicBezTo>
                <a:cubicBezTo>
                  <a:pt x="1107779" y="4982505"/>
                  <a:pt x="1144367" y="5019079"/>
                  <a:pt x="1144367" y="5055655"/>
                </a:cubicBezTo>
                <a:cubicBezTo>
                  <a:pt x="1144367" y="5091862"/>
                  <a:pt x="1107779" y="5128439"/>
                  <a:pt x="1071193" y="5128439"/>
                </a:cubicBezTo>
                <a:close/>
                <a:moveTo>
                  <a:pt x="4910268" y="5156309"/>
                </a:moveTo>
                <a:cubicBezTo>
                  <a:pt x="4849505" y="5157020"/>
                  <a:pt x="4800052" y="5107560"/>
                  <a:pt x="4800052" y="5047508"/>
                </a:cubicBezTo>
                <a:cubicBezTo>
                  <a:pt x="4800052" y="4986745"/>
                  <a:pt x="4848797" y="4938001"/>
                  <a:pt x="4908851" y="4937292"/>
                </a:cubicBezTo>
                <a:cubicBezTo>
                  <a:pt x="4969606" y="4936585"/>
                  <a:pt x="5019065" y="4985337"/>
                  <a:pt x="5019065" y="5046094"/>
                </a:cubicBezTo>
                <a:cubicBezTo>
                  <a:pt x="5019766" y="5106856"/>
                  <a:pt x="4971022" y="5156309"/>
                  <a:pt x="4910268" y="5156309"/>
                </a:cubicBezTo>
                <a:close/>
                <a:moveTo>
                  <a:pt x="5267464" y="5204369"/>
                </a:moveTo>
                <a:cubicBezTo>
                  <a:pt x="5226487" y="5205079"/>
                  <a:pt x="5192570" y="5171170"/>
                  <a:pt x="5192570" y="5130194"/>
                </a:cubicBezTo>
                <a:cubicBezTo>
                  <a:pt x="5192570" y="5089218"/>
                  <a:pt x="5225778" y="5055300"/>
                  <a:pt x="5266755" y="5055300"/>
                </a:cubicBezTo>
                <a:cubicBezTo>
                  <a:pt x="5307731" y="5055300"/>
                  <a:pt x="5341640" y="5088505"/>
                  <a:pt x="5341640" y="5129483"/>
                </a:cubicBezTo>
                <a:cubicBezTo>
                  <a:pt x="5341640" y="5170462"/>
                  <a:pt x="5308441" y="5204369"/>
                  <a:pt x="5267464" y="5204369"/>
                </a:cubicBezTo>
                <a:close/>
                <a:moveTo>
                  <a:pt x="2475354" y="5255855"/>
                </a:moveTo>
                <a:cubicBezTo>
                  <a:pt x="2410355" y="5255855"/>
                  <a:pt x="2356661" y="5202900"/>
                  <a:pt x="2356661" y="5137898"/>
                </a:cubicBezTo>
                <a:cubicBezTo>
                  <a:pt x="2356661" y="5072188"/>
                  <a:pt x="2409648" y="5019202"/>
                  <a:pt x="2474646" y="5019202"/>
                </a:cubicBezTo>
                <a:cubicBezTo>
                  <a:pt x="2539644" y="5019202"/>
                  <a:pt x="2593340" y="5072188"/>
                  <a:pt x="2593340" y="5137190"/>
                </a:cubicBezTo>
                <a:cubicBezTo>
                  <a:pt x="2593340" y="5202192"/>
                  <a:pt x="2541053" y="5255855"/>
                  <a:pt x="2475354" y="5255855"/>
                </a:cubicBezTo>
                <a:close/>
                <a:moveTo>
                  <a:pt x="1488569" y="5259059"/>
                </a:moveTo>
                <a:cubicBezTo>
                  <a:pt x="1448086" y="5259059"/>
                  <a:pt x="1415715" y="5226718"/>
                  <a:pt x="1415715" y="5186234"/>
                </a:cubicBezTo>
                <a:cubicBezTo>
                  <a:pt x="1415715" y="5145753"/>
                  <a:pt x="1448086" y="5113388"/>
                  <a:pt x="1488569" y="5113388"/>
                </a:cubicBezTo>
                <a:cubicBezTo>
                  <a:pt x="1529052" y="5113388"/>
                  <a:pt x="1561423" y="5145753"/>
                  <a:pt x="1561423" y="5186234"/>
                </a:cubicBezTo>
                <a:cubicBezTo>
                  <a:pt x="1561423" y="5226718"/>
                  <a:pt x="1529052" y="5259059"/>
                  <a:pt x="1488569" y="5259059"/>
                </a:cubicBezTo>
                <a:close/>
                <a:moveTo>
                  <a:pt x="5624659" y="5285236"/>
                </a:moveTo>
                <a:cubicBezTo>
                  <a:pt x="5584942" y="5285236"/>
                  <a:pt x="5551844" y="5252138"/>
                  <a:pt x="5551844" y="5212405"/>
                </a:cubicBezTo>
                <a:cubicBezTo>
                  <a:pt x="5551844" y="5172687"/>
                  <a:pt x="5583282" y="5139591"/>
                  <a:pt x="5624659" y="5139591"/>
                </a:cubicBezTo>
                <a:cubicBezTo>
                  <a:pt x="5664391" y="5139591"/>
                  <a:pt x="5697489" y="5172687"/>
                  <a:pt x="5697489" y="5212405"/>
                </a:cubicBezTo>
                <a:cubicBezTo>
                  <a:pt x="5697489" y="5252138"/>
                  <a:pt x="5664391" y="5285236"/>
                  <a:pt x="5624659" y="5285236"/>
                </a:cubicBezTo>
                <a:close/>
                <a:moveTo>
                  <a:pt x="4085752" y="5348825"/>
                </a:moveTo>
                <a:cubicBezTo>
                  <a:pt x="3998148" y="5348825"/>
                  <a:pt x="3927499" y="5278175"/>
                  <a:pt x="3926789" y="5191273"/>
                </a:cubicBezTo>
                <a:cubicBezTo>
                  <a:pt x="3926789" y="5104381"/>
                  <a:pt x="3996732" y="5033020"/>
                  <a:pt x="4084343" y="5032310"/>
                </a:cubicBezTo>
                <a:cubicBezTo>
                  <a:pt x="4171947" y="5032310"/>
                  <a:pt x="4243305" y="5102255"/>
                  <a:pt x="4243305" y="5189860"/>
                </a:cubicBezTo>
                <a:cubicBezTo>
                  <a:pt x="4243305" y="5277468"/>
                  <a:pt x="4172655" y="5348116"/>
                  <a:pt x="4085752" y="5348825"/>
                </a:cubicBezTo>
                <a:close/>
                <a:moveTo>
                  <a:pt x="1891993" y="5373014"/>
                </a:moveTo>
                <a:cubicBezTo>
                  <a:pt x="1851408" y="5373014"/>
                  <a:pt x="1818784" y="5341187"/>
                  <a:pt x="1818784" y="5300601"/>
                </a:cubicBezTo>
                <a:cubicBezTo>
                  <a:pt x="1817986" y="5260017"/>
                  <a:pt x="1850610" y="5227422"/>
                  <a:pt x="1891195" y="5227422"/>
                </a:cubicBezTo>
                <a:cubicBezTo>
                  <a:pt x="1931779" y="5226623"/>
                  <a:pt x="1964403" y="5259217"/>
                  <a:pt x="1964403" y="5299805"/>
                </a:cubicBezTo>
                <a:cubicBezTo>
                  <a:pt x="1964403" y="5340388"/>
                  <a:pt x="1931779" y="5373014"/>
                  <a:pt x="1891993" y="5373014"/>
                </a:cubicBezTo>
                <a:close/>
                <a:moveTo>
                  <a:pt x="2849224" y="5392317"/>
                </a:moveTo>
                <a:cubicBezTo>
                  <a:pt x="2758087" y="5392317"/>
                  <a:pt x="2683906" y="5318840"/>
                  <a:pt x="2683906" y="5228412"/>
                </a:cubicBezTo>
                <a:cubicBezTo>
                  <a:pt x="2683906" y="5137297"/>
                  <a:pt x="2756672" y="5063820"/>
                  <a:pt x="2848515" y="5063820"/>
                </a:cubicBezTo>
                <a:cubicBezTo>
                  <a:pt x="2938944" y="5063820"/>
                  <a:pt x="3013126" y="5136588"/>
                  <a:pt x="3013126" y="5227721"/>
                </a:cubicBezTo>
                <a:cubicBezTo>
                  <a:pt x="3013126" y="5318138"/>
                  <a:pt x="2940360" y="5391610"/>
                  <a:pt x="2849224" y="5392317"/>
                </a:cubicBezTo>
                <a:close/>
                <a:moveTo>
                  <a:pt x="4445965" y="5414448"/>
                </a:moveTo>
                <a:cubicBezTo>
                  <a:pt x="4368246" y="5414448"/>
                  <a:pt x="4304664" y="5351573"/>
                  <a:pt x="4304664" y="5273854"/>
                </a:cubicBezTo>
                <a:cubicBezTo>
                  <a:pt x="4304664" y="5196145"/>
                  <a:pt x="4366837" y="5132555"/>
                  <a:pt x="4444556" y="5133265"/>
                </a:cubicBezTo>
                <a:cubicBezTo>
                  <a:pt x="4522267" y="5132555"/>
                  <a:pt x="4585856" y="5195434"/>
                  <a:pt x="4585856" y="5273147"/>
                </a:cubicBezTo>
                <a:cubicBezTo>
                  <a:pt x="4586558" y="5350864"/>
                  <a:pt x="4523683" y="5414448"/>
                  <a:pt x="4445965" y="5414448"/>
                </a:cubicBezTo>
                <a:close/>
                <a:moveTo>
                  <a:pt x="4804984" y="5431581"/>
                </a:moveTo>
                <a:cubicBezTo>
                  <a:pt x="4764716" y="5431581"/>
                  <a:pt x="4731509" y="5398373"/>
                  <a:pt x="4731509" y="5358103"/>
                </a:cubicBezTo>
                <a:cubicBezTo>
                  <a:pt x="4731509" y="5317837"/>
                  <a:pt x="4764008" y="5284629"/>
                  <a:pt x="4804984" y="5284629"/>
                </a:cubicBezTo>
                <a:cubicBezTo>
                  <a:pt x="4845253" y="5284629"/>
                  <a:pt x="4878459" y="5317837"/>
                  <a:pt x="4878459" y="5358103"/>
                </a:cubicBezTo>
                <a:cubicBezTo>
                  <a:pt x="4878459" y="5398373"/>
                  <a:pt x="4845253" y="5431581"/>
                  <a:pt x="4804984" y="5431581"/>
                </a:cubicBezTo>
                <a:close/>
                <a:moveTo>
                  <a:pt x="1230962" y="5462807"/>
                </a:moveTo>
                <a:cubicBezTo>
                  <a:pt x="1194585" y="5462807"/>
                  <a:pt x="1158147" y="5432454"/>
                  <a:pt x="1158147" y="5389997"/>
                </a:cubicBezTo>
                <a:cubicBezTo>
                  <a:pt x="1158147" y="5347535"/>
                  <a:pt x="1194585" y="5317184"/>
                  <a:pt x="1230962" y="5317184"/>
                </a:cubicBezTo>
                <a:cubicBezTo>
                  <a:pt x="1267397" y="5317184"/>
                  <a:pt x="1303775" y="5347535"/>
                  <a:pt x="1303775" y="5389997"/>
                </a:cubicBezTo>
                <a:cubicBezTo>
                  <a:pt x="1303775" y="5426430"/>
                  <a:pt x="1273421" y="5462807"/>
                  <a:pt x="1230962" y="5462807"/>
                </a:cubicBezTo>
                <a:close/>
                <a:moveTo>
                  <a:pt x="5164226" y="5514692"/>
                </a:moveTo>
                <a:cubicBezTo>
                  <a:pt x="5124057" y="5514692"/>
                  <a:pt x="5091412" y="5482049"/>
                  <a:pt x="5091412" y="5441879"/>
                </a:cubicBezTo>
                <a:cubicBezTo>
                  <a:pt x="5091412" y="5401710"/>
                  <a:pt x="5124057" y="5369064"/>
                  <a:pt x="5164226" y="5369064"/>
                </a:cubicBezTo>
                <a:cubicBezTo>
                  <a:pt x="5204396" y="5369064"/>
                  <a:pt x="5237039" y="5401710"/>
                  <a:pt x="5237039" y="5441879"/>
                </a:cubicBezTo>
                <a:cubicBezTo>
                  <a:pt x="5237039" y="5482049"/>
                  <a:pt x="5204396" y="5514692"/>
                  <a:pt x="5164226" y="5514692"/>
                </a:cubicBezTo>
                <a:close/>
                <a:moveTo>
                  <a:pt x="2284587" y="5518153"/>
                </a:moveTo>
                <a:cubicBezTo>
                  <a:pt x="2221715" y="5518153"/>
                  <a:pt x="2170845" y="5467992"/>
                  <a:pt x="2170845" y="5405112"/>
                </a:cubicBezTo>
                <a:cubicBezTo>
                  <a:pt x="2170137" y="5342240"/>
                  <a:pt x="2221007" y="5291369"/>
                  <a:pt x="2283887" y="5291369"/>
                </a:cubicBezTo>
                <a:cubicBezTo>
                  <a:pt x="2346760" y="5291369"/>
                  <a:pt x="2397629" y="5342240"/>
                  <a:pt x="2397629" y="5404412"/>
                </a:cubicBezTo>
                <a:cubicBezTo>
                  <a:pt x="2397629" y="5467285"/>
                  <a:pt x="2346760" y="5518153"/>
                  <a:pt x="2284587" y="5518153"/>
                </a:cubicBezTo>
                <a:close/>
                <a:moveTo>
                  <a:pt x="5523466" y="5598020"/>
                </a:moveTo>
                <a:cubicBezTo>
                  <a:pt x="5482329" y="5598020"/>
                  <a:pt x="5450652" y="5566343"/>
                  <a:pt x="5450652" y="5525174"/>
                </a:cubicBezTo>
                <a:cubicBezTo>
                  <a:pt x="5450652" y="5484038"/>
                  <a:pt x="5485472" y="5452361"/>
                  <a:pt x="5523466" y="5452361"/>
                </a:cubicBezTo>
                <a:cubicBezTo>
                  <a:pt x="5564633" y="5452361"/>
                  <a:pt x="5596310" y="5484038"/>
                  <a:pt x="5596310" y="5525174"/>
                </a:cubicBezTo>
                <a:cubicBezTo>
                  <a:pt x="5596310" y="5566343"/>
                  <a:pt x="5561491" y="5598020"/>
                  <a:pt x="5523466" y="5598020"/>
                </a:cubicBezTo>
                <a:close/>
                <a:moveTo>
                  <a:pt x="1655079" y="5600972"/>
                </a:moveTo>
                <a:cubicBezTo>
                  <a:pt x="1613751" y="5602758"/>
                  <a:pt x="1581395" y="5568620"/>
                  <a:pt x="1581395" y="5529077"/>
                </a:cubicBezTo>
                <a:cubicBezTo>
                  <a:pt x="1581395" y="5489536"/>
                  <a:pt x="1613751" y="5455400"/>
                  <a:pt x="1655079" y="5455400"/>
                </a:cubicBezTo>
                <a:cubicBezTo>
                  <a:pt x="1696425" y="5455400"/>
                  <a:pt x="1728763" y="5487752"/>
                  <a:pt x="1728763" y="5527274"/>
                </a:cubicBezTo>
                <a:cubicBezTo>
                  <a:pt x="1728763" y="5568620"/>
                  <a:pt x="1694623" y="5600972"/>
                  <a:pt x="1655079" y="5600972"/>
                </a:cubicBezTo>
                <a:close/>
                <a:moveTo>
                  <a:pt x="956466" y="5629118"/>
                </a:moveTo>
                <a:cubicBezTo>
                  <a:pt x="914946" y="5629118"/>
                  <a:pt x="873219" y="5608239"/>
                  <a:pt x="873219" y="5566687"/>
                </a:cubicBezTo>
                <a:cubicBezTo>
                  <a:pt x="873219" y="5524928"/>
                  <a:pt x="914946" y="5483376"/>
                  <a:pt x="935603" y="5483376"/>
                </a:cubicBezTo>
                <a:cubicBezTo>
                  <a:pt x="977330" y="5462499"/>
                  <a:pt x="1018851" y="5504257"/>
                  <a:pt x="1018851" y="5545807"/>
                </a:cubicBezTo>
                <a:cubicBezTo>
                  <a:pt x="1018851" y="5587566"/>
                  <a:pt x="998194" y="5629118"/>
                  <a:pt x="956466" y="5629118"/>
                </a:cubicBezTo>
                <a:close/>
                <a:moveTo>
                  <a:pt x="3952984" y="5631810"/>
                </a:moveTo>
                <a:cubicBezTo>
                  <a:pt x="3875275" y="5632518"/>
                  <a:pt x="3811686" y="5569647"/>
                  <a:pt x="3811686" y="5491928"/>
                </a:cubicBezTo>
                <a:cubicBezTo>
                  <a:pt x="3811686" y="5414212"/>
                  <a:pt x="3874566" y="5350632"/>
                  <a:pt x="3952276" y="5350632"/>
                </a:cubicBezTo>
                <a:cubicBezTo>
                  <a:pt x="4029992" y="5349922"/>
                  <a:pt x="4093573" y="5412804"/>
                  <a:pt x="4093573" y="5490511"/>
                </a:cubicBezTo>
                <a:cubicBezTo>
                  <a:pt x="4093573" y="5568231"/>
                  <a:pt x="4030701" y="5631810"/>
                  <a:pt x="3952984" y="5631810"/>
                </a:cubicBezTo>
                <a:close/>
                <a:moveTo>
                  <a:pt x="2669604" y="5654267"/>
                </a:moveTo>
                <a:cubicBezTo>
                  <a:pt x="2586237" y="5654968"/>
                  <a:pt x="2518412" y="5587852"/>
                  <a:pt x="2518412" y="5504481"/>
                </a:cubicBezTo>
                <a:cubicBezTo>
                  <a:pt x="2518412" y="5421121"/>
                  <a:pt x="2585527" y="5353300"/>
                  <a:pt x="2668189" y="5353300"/>
                </a:cubicBezTo>
                <a:cubicBezTo>
                  <a:pt x="2751556" y="5352593"/>
                  <a:pt x="2818673" y="5419706"/>
                  <a:pt x="2819381" y="5503075"/>
                </a:cubicBezTo>
                <a:cubicBezTo>
                  <a:pt x="2820089" y="5586444"/>
                  <a:pt x="2752967" y="5654267"/>
                  <a:pt x="2669604" y="5654267"/>
                </a:cubicBezTo>
                <a:close/>
                <a:moveTo>
                  <a:pt x="4317552" y="5689147"/>
                </a:moveTo>
                <a:cubicBezTo>
                  <a:pt x="4255381" y="5689147"/>
                  <a:pt x="4205221" y="5639694"/>
                  <a:pt x="4205221" y="5577524"/>
                </a:cubicBezTo>
                <a:cubicBezTo>
                  <a:pt x="4204512" y="5516060"/>
                  <a:pt x="4254674" y="5465900"/>
                  <a:pt x="4316844" y="5465192"/>
                </a:cubicBezTo>
                <a:cubicBezTo>
                  <a:pt x="4379015" y="5465192"/>
                  <a:pt x="4429175" y="5514644"/>
                  <a:pt x="4429175" y="5576815"/>
                </a:cubicBezTo>
                <a:cubicBezTo>
                  <a:pt x="4429175" y="5638278"/>
                  <a:pt x="4379015" y="5689147"/>
                  <a:pt x="4317552" y="5689147"/>
                </a:cubicBezTo>
                <a:close/>
                <a:moveTo>
                  <a:pt x="4680554" y="5735625"/>
                </a:moveTo>
                <a:cubicBezTo>
                  <a:pt x="4640287" y="5735625"/>
                  <a:pt x="4607079" y="5702417"/>
                  <a:pt x="4607079" y="5662149"/>
                </a:cubicBezTo>
                <a:cubicBezTo>
                  <a:pt x="4607079" y="5621882"/>
                  <a:pt x="4639579" y="5588674"/>
                  <a:pt x="4680554" y="5588674"/>
                </a:cubicBezTo>
                <a:cubicBezTo>
                  <a:pt x="4720823" y="5588674"/>
                  <a:pt x="4754030" y="5621882"/>
                  <a:pt x="4754030" y="5662149"/>
                </a:cubicBezTo>
                <a:cubicBezTo>
                  <a:pt x="4754030" y="5702417"/>
                  <a:pt x="4720823" y="5735625"/>
                  <a:pt x="4680554" y="5735625"/>
                </a:cubicBezTo>
                <a:close/>
                <a:moveTo>
                  <a:pt x="639823" y="5744752"/>
                </a:moveTo>
                <a:cubicBezTo>
                  <a:pt x="601686" y="5744752"/>
                  <a:pt x="566990" y="5713535"/>
                  <a:pt x="566990" y="5671926"/>
                </a:cubicBezTo>
                <a:cubicBezTo>
                  <a:pt x="566990" y="5630313"/>
                  <a:pt x="601686" y="5595619"/>
                  <a:pt x="639823" y="5599097"/>
                </a:cubicBezTo>
                <a:cubicBezTo>
                  <a:pt x="677961" y="5599097"/>
                  <a:pt x="712657" y="5630313"/>
                  <a:pt x="712657" y="5671926"/>
                </a:cubicBezTo>
                <a:cubicBezTo>
                  <a:pt x="712657" y="5713535"/>
                  <a:pt x="681437" y="5744752"/>
                  <a:pt x="639823" y="5744752"/>
                </a:cubicBezTo>
                <a:close/>
                <a:moveTo>
                  <a:pt x="2064785" y="5762654"/>
                </a:moveTo>
                <a:cubicBezTo>
                  <a:pt x="2001911" y="5762654"/>
                  <a:pt x="1951043" y="5712492"/>
                  <a:pt x="1951043" y="5649612"/>
                </a:cubicBezTo>
                <a:cubicBezTo>
                  <a:pt x="1950335" y="5587447"/>
                  <a:pt x="2001204" y="5536575"/>
                  <a:pt x="2064084" y="5535866"/>
                </a:cubicBezTo>
                <a:cubicBezTo>
                  <a:pt x="2126957" y="5535866"/>
                  <a:pt x="2177827" y="5586738"/>
                  <a:pt x="2177827" y="5648908"/>
                </a:cubicBezTo>
                <a:cubicBezTo>
                  <a:pt x="2177827" y="5711785"/>
                  <a:pt x="2126957" y="5762654"/>
                  <a:pt x="2064785" y="5762654"/>
                </a:cubicBezTo>
                <a:close/>
                <a:moveTo>
                  <a:pt x="1391324" y="5796155"/>
                </a:moveTo>
                <a:cubicBezTo>
                  <a:pt x="1350833" y="5796155"/>
                  <a:pt x="1318155" y="5763478"/>
                  <a:pt x="1318155" y="5723691"/>
                </a:cubicBezTo>
                <a:cubicBezTo>
                  <a:pt x="1318155" y="5683203"/>
                  <a:pt x="1350121" y="5650520"/>
                  <a:pt x="1391324" y="5650520"/>
                </a:cubicBezTo>
                <a:cubicBezTo>
                  <a:pt x="1431110" y="5650520"/>
                  <a:pt x="1463789" y="5682490"/>
                  <a:pt x="1463789" y="5722988"/>
                </a:cubicBezTo>
                <a:cubicBezTo>
                  <a:pt x="1463789" y="5763478"/>
                  <a:pt x="1431110" y="5796155"/>
                  <a:pt x="1391324" y="5796155"/>
                </a:cubicBezTo>
                <a:close/>
                <a:moveTo>
                  <a:pt x="319820" y="5816809"/>
                </a:moveTo>
                <a:cubicBezTo>
                  <a:pt x="279337" y="5816809"/>
                  <a:pt x="246967" y="5784436"/>
                  <a:pt x="246967" y="5743955"/>
                </a:cubicBezTo>
                <a:cubicBezTo>
                  <a:pt x="246967" y="5703474"/>
                  <a:pt x="279337" y="5671100"/>
                  <a:pt x="319820" y="5671100"/>
                </a:cubicBezTo>
                <a:cubicBezTo>
                  <a:pt x="360303" y="5671100"/>
                  <a:pt x="392675" y="5703474"/>
                  <a:pt x="392675" y="5743955"/>
                </a:cubicBezTo>
                <a:cubicBezTo>
                  <a:pt x="392675" y="5784436"/>
                  <a:pt x="360303" y="5816809"/>
                  <a:pt x="319820" y="5816809"/>
                </a:cubicBezTo>
                <a:close/>
                <a:moveTo>
                  <a:pt x="5043199" y="5820223"/>
                </a:moveTo>
                <a:cubicBezTo>
                  <a:pt x="5004365" y="5820223"/>
                  <a:pt x="4970373" y="5788664"/>
                  <a:pt x="4970373" y="5747396"/>
                </a:cubicBezTo>
                <a:cubicBezTo>
                  <a:pt x="4970373" y="5708563"/>
                  <a:pt x="5004365" y="5674570"/>
                  <a:pt x="5043199" y="5674570"/>
                </a:cubicBezTo>
                <a:cubicBezTo>
                  <a:pt x="5084465" y="5674570"/>
                  <a:pt x="5116025" y="5706130"/>
                  <a:pt x="5116025" y="5747396"/>
                </a:cubicBezTo>
                <a:cubicBezTo>
                  <a:pt x="5116025" y="5788664"/>
                  <a:pt x="5084465" y="5820223"/>
                  <a:pt x="5043199" y="5820223"/>
                </a:cubicBezTo>
                <a:close/>
                <a:moveTo>
                  <a:pt x="0" y="5838543"/>
                </a:moveTo>
                <a:lnTo>
                  <a:pt x="0" y="5695865"/>
                </a:lnTo>
                <a:lnTo>
                  <a:pt x="20966" y="5699865"/>
                </a:lnTo>
                <a:cubicBezTo>
                  <a:pt x="47328" y="5710588"/>
                  <a:pt x="64931" y="5735936"/>
                  <a:pt x="64931" y="5767151"/>
                </a:cubicBezTo>
                <a:cubicBezTo>
                  <a:pt x="64931" y="5798370"/>
                  <a:pt x="47328" y="5823778"/>
                  <a:pt x="20966" y="5834531"/>
                </a:cubicBezTo>
                <a:close/>
                <a:moveTo>
                  <a:pt x="5405330" y="5904968"/>
                </a:moveTo>
                <a:cubicBezTo>
                  <a:pt x="5361965" y="5904968"/>
                  <a:pt x="5325780" y="5876028"/>
                  <a:pt x="5325780" y="5832583"/>
                </a:cubicBezTo>
                <a:cubicBezTo>
                  <a:pt x="5325780" y="5789212"/>
                  <a:pt x="5361965" y="5760274"/>
                  <a:pt x="5405330" y="5760274"/>
                </a:cubicBezTo>
                <a:cubicBezTo>
                  <a:pt x="5448766" y="5753021"/>
                  <a:pt x="5484951" y="5789212"/>
                  <a:pt x="5484951" y="5832583"/>
                </a:cubicBezTo>
                <a:cubicBezTo>
                  <a:pt x="5484951" y="5868776"/>
                  <a:pt x="5448766" y="5904968"/>
                  <a:pt x="5405330" y="5904968"/>
                </a:cubicBezTo>
                <a:close/>
                <a:moveTo>
                  <a:pt x="2463837" y="5931581"/>
                </a:moveTo>
                <a:cubicBezTo>
                  <a:pt x="2369166" y="5932287"/>
                  <a:pt x="2291449" y="5855281"/>
                  <a:pt x="2291449" y="5760610"/>
                </a:cubicBezTo>
                <a:cubicBezTo>
                  <a:pt x="2291449" y="5665939"/>
                  <a:pt x="2367749" y="5588229"/>
                  <a:pt x="2462420" y="5588229"/>
                </a:cubicBezTo>
                <a:cubicBezTo>
                  <a:pt x="2557090" y="5587520"/>
                  <a:pt x="2634807" y="5664529"/>
                  <a:pt x="2634807" y="5759200"/>
                </a:cubicBezTo>
                <a:cubicBezTo>
                  <a:pt x="2635509" y="5853870"/>
                  <a:pt x="2558500" y="5931581"/>
                  <a:pt x="2463837" y="5931581"/>
                </a:cubicBezTo>
                <a:close/>
                <a:moveTo>
                  <a:pt x="3798060" y="5940306"/>
                </a:moveTo>
                <a:cubicBezTo>
                  <a:pt x="3710449" y="5940306"/>
                  <a:pt x="3638391" y="5869655"/>
                  <a:pt x="3638391" y="5781343"/>
                </a:cubicBezTo>
                <a:cubicBezTo>
                  <a:pt x="3638391" y="5693740"/>
                  <a:pt x="3709040" y="5621676"/>
                  <a:pt x="3797352" y="5621676"/>
                </a:cubicBezTo>
                <a:cubicBezTo>
                  <a:pt x="3884955" y="5621676"/>
                  <a:pt x="3957021" y="5692325"/>
                  <a:pt x="3957021" y="5780635"/>
                </a:cubicBezTo>
                <a:cubicBezTo>
                  <a:pt x="3957021" y="5868238"/>
                  <a:pt x="3885663" y="5940306"/>
                  <a:pt x="3798060" y="5940306"/>
                </a:cubicBezTo>
                <a:close/>
                <a:moveTo>
                  <a:pt x="1104633" y="5956428"/>
                </a:moveTo>
                <a:cubicBezTo>
                  <a:pt x="1063251" y="5957950"/>
                  <a:pt x="1031057" y="5924232"/>
                  <a:pt x="1031057" y="5884367"/>
                </a:cubicBezTo>
                <a:cubicBezTo>
                  <a:pt x="1031057" y="5842968"/>
                  <a:pt x="1063251" y="5810770"/>
                  <a:pt x="1103112" y="5810770"/>
                </a:cubicBezTo>
                <a:cubicBezTo>
                  <a:pt x="1144495" y="5809249"/>
                  <a:pt x="1176689" y="5842968"/>
                  <a:pt x="1176689" y="5882834"/>
                </a:cubicBezTo>
                <a:cubicBezTo>
                  <a:pt x="1176689" y="5924232"/>
                  <a:pt x="1144495" y="5956428"/>
                  <a:pt x="1104633" y="5956428"/>
                </a:cubicBezTo>
                <a:close/>
                <a:moveTo>
                  <a:pt x="1818839" y="5974160"/>
                </a:moveTo>
                <a:cubicBezTo>
                  <a:pt x="1760193" y="5974160"/>
                  <a:pt x="1711447" y="5926824"/>
                  <a:pt x="1711447" y="5867486"/>
                </a:cubicBezTo>
                <a:cubicBezTo>
                  <a:pt x="1710739" y="5808139"/>
                  <a:pt x="1758783" y="5760094"/>
                  <a:pt x="1818129" y="5760094"/>
                </a:cubicBezTo>
                <a:cubicBezTo>
                  <a:pt x="1877477" y="5760094"/>
                  <a:pt x="1925514" y="5807431"/>
                  <a:pt x="1925514" y="5866776"/>
                </a:cubicBezTo>
                <a:cubicBezTo>
                  <a:pt x="1925514" y="5926123"/>
                  <a:pt x="1878185" y="5974160"/>
                  <a:pt x="1818839" y="5974160"/>
                </a:cubicBezTo>
                <a:close/>
                <a:moveTo>
                  <a:pt x="4168433" y="5991951"/>
                </a:moveTo>
                <a:cubicBezTo>
                  <a:pt x="4101318" y="5991951"/>
                  <a:pt x="4046213" y="5938263"/>
                  <a:pt x="4046213" y="5870441"/>
                </a:cubicBezTo>
                <a:cubicBezTo>
                  <a:pt x="4046213" y="5803317"/>
                  <a:pt x="4100616" y="5748215"/>
                  <a:pt x="4167731" y="5748215"/>
                </a:cubicBezTo>
                <a:cubicBezTo>
                  <a:pt x="4234847" y="5748215"/>
                  <a:pt x="4289950" y="5801909"/>
                  <a:pt x="4289950" y="5869732"/>
                </a:cubicBezTo>
                <a:cubicBezTo>
                  <a:pt x="4289950" y="5936847"/>
                  <a:pt x="4235554" y="5991951"/>
                  <a:pt x="4168433" y="5991951"/>
                </a:cubicBezTo>
                <a:close/>
                <a:moveTo>
                  <a:pt x="4537360" y="6050417"/>
                </a:moveTo>
                <a:cubicBezTo>
                  <a:pt x="4486489" y="6050417"/>
                  <a:pt x="4444805" y="6009440"/>
                  <a:pt x="4444805" y="5958578"/>
                </a:cubicBezTo>
                <a:cubicBezTo>
                  <a:pt x="4444805" y="5908416"/>
                  <a:pt x="4485782" y="5866731"/>
                  <a:pt x="4536652" y="5866023"/>
                </a:cubicBezTo>
                <a:cubicBezTo>
                  <a:pt x="4587515" y="5866023"/>
                  <a:pt x="4629199" y="5907000"/>
                  <a:pt x="4629199" y="5957869"/>
                </a:cubicBezTo>
                <a:cubicBezTo>
                  <a:pt x="4629199" y="6008740"/>
                  <a:pt x="4588223" y="6050417"/>
                  <a:pt x="4537360" y="6050417"/>
                </a:cubicBezTo>
                <a:close/>
                <a:moveTo>
                  <a:pt x="799114" y="6078686"/>
                </a:moveTo>
                <a:cubicBezTo>
                  <a:pt x="760977" y="6078686"/>
                  <a:pt x="726283" y="6047469"/>
                  <a:pt x="726283" y="6005858"/>
                </a:cubicBezTo>
                <a:cubicBezTo>
                  <a:pt x="726283" y="5964244"/>
                  <a:pt x="757501" y="5933024"/>
                  <a:pt x="799114" y="5933024"/>
                </a:cubicBezTo>
                <a:cubicBezTo>
                  <a:pt x="837250" y="5933024"/>
                  <a:pt x="871944" y="5964244"/>
                  <a:pt x="871944" y="6005858"/>
                </a:cubicBezTo>
                <a:cubicBezTo>
                  <a:pt x="871944" y="6047469"/>
                  <a:pt x="840727" y="6078686"/>
                  <a:pt x="799114" y="6078686"/>
                </a:cubicBezTo>
                <a:close/>
                <a:moveTo>
                  <a:pt x="4904240" y="6117968"/>
                </a:moveTo>
                <a:cubicBezTo>
                  <a:pt x="4864252" y="6117968"/>
                  <a:pt x="4831419" y="6085121"/>
                  <a:pt x="4831419" y="6045147"/>
                </a:cubicBezTo>
                <a:cubicBezTo>
                  <a:pt x="4831419" y="6005173"/>
                  <a:pt x="4862835" y="5972326"/>
                  <a:pt x="4904240" y="5972326"/>
                </a:cubicBezTo>
                <a:cubicBezTo>
                  <a:pt x="4944215" y="5972326"/>
                  <a:pt x="4977060" y="6005173"/>
                  <a:pt x="4977060" y="6045147"/>
                </a:cubicBezTo>
                <a:cubicBezTo>
                  <a:pt x="4977060" y="6085121"/>
                  <a:pt x="4944215" y="6117968"/>
                  <a:pt x="4904240" y="6117968"/>
                </a:cubicBezTo>
                <a:close/>
                <a:moveTo>
                  <a:pt x="2233269" y="6138470"/>
                </a:moveTo>
                <a:cubicBezTo>
                  <a:pt x="2153435" y="6138470"/>
                  <a:pt x="2088437" y="6074180"/>
                  <a:pt x="2088437" y="5994346"/>
                </a:cubicBezTo>
                <a:cubicBezTo>
                  <a:pt x="2088437" y="5914511"/>
                  <a:pt x="2152727" y="5849514"/>
                  <a:pt x="2232561" y="5849514"/>
                </a:cubicBezTo>
                <a:cubicBezTo>
                  <a:pt x="2312397" y="5849514"/>
                  <a:pt x="2377393" y="5913803"/>
                  <a:pt x="2377393" y="5993638"/>
                </a:cubicBezTo>
                <a:cubicBezTo>
                  <a:pt x="2377393" y="6073470"/>
                  <a:pt x="2313105" y="6138470"/>
                  <a:pt x="2233269" y="6138470"/>
                </a:cubicBezTo>
                <a:close/>
                <a:moveTo>
                  <a:pt x="481007" y="6160973"/>
                </a:moveTo>
                <a:cubicBezTo>
                  <a:pt x="440913" y="6160973"/>
                  <a:pt x="408192" y="6129310"/>
                  <a:pt x="408192" y="6089207"/>
                </a:cubicBezTo>
                <a:cubicBezTo>
                  <a:pt x="408192" y="6048057"/>
                  <a:pt x="440913" y="6016395"/>
                  <a:pt x="481007" y="6015334"/>
                </a:cubicBezTo>
                <a:cubicBezTo>
                  <a:pt x="521109" y="6015334"/>
                  <a:pt x="553830" y="6048057"/>
                  <a:pt x="553830" y="6088149"/>
                </a:cubicBezTo>
                <a:cubicBezTo>
                  <a:pt x="553830" y="6128251"/>
                  <a:pt x="521109" y="6160973"/>
                  <a:pt x="481007" y="6160973"/>
                </a:cubicBezTo>
                <a:close/>
                <a:moveTo>
                  <a:pt x="1550239" y="6182436"/>
                </a:moveTo>
                <a:cubicBezTo>
                  <a:pt x="1480299" y="6183137"/>
                  <a:pt x="1423777" y="6126624"/>
                  <a:pt x="1423777" y="6057384"/>
                </a:cubicBezTo>
                <a:cubicBezTo>
                  <a:pt x="1423777" y="5988145"/>
                  <a:pt x="1480299" y="5931629"/>
                  <a:pt x="1548829" y="5930918"/>
                </a:cubicBezTo>
                <a:cubicBezTo>
                  <a:pt x="1618771" y="5930212"/>
                  <a:pt x="1675292" y="5986732"/>
                  <a:pt x="1675292" y="6055966"/>
                </a:cubicBezTo>
                <a:cubicBezTo>
                  <a:pt x="1675999" y="6125913"/>
                  <a:pt x="1619479" y="6182436"/>
                  <a:pt x="1550239" y="6182436"/>
                </a:cubicBezTo>
                <a:close/>
                <a:moveTo>
                  <a:pt x="3622904" y="6190656"/>
                </a:moveTo>
                <a:cubicBezTo>
                  <a:pt x="3549427" y="6191357"/>
                  <a:pt x="3490080" y="6132011"/>
                  <a:pt x="3490080" y="6059245"/>
                </a:cubicBezTo>
                <a:cubicBezTo>
                  <a:pt x="3489372" y="5986481"/>
                  <a:pt x="3548719" y="5927133"/>
                  <a:pt x="3622196" y="5927133"/>
                </a:cubicBezTo>
                <a:cubicBezTo>
                  <a:pt x="3694963" y="5926427"/>
                  <a:pt x="3754311" y="5985772"/>
                  <a:pt x="3754311" y="6058537"/>
                </a:cubicBezTo>
                <a:cubicBezTo>
                  <a:pt x="3754311" y="6131308"/>
                  <a:pt x="3695671" y="6190656"/>
                  <a:pt x="3622904" y="6190656"/>
                </a:cubicBezTo>
                <a:close/>
                <a:moveTo>
                  <a:pt x="155173" y="6201392"/>
                </a:moveTo>
                <a:cubicBezTo>
                  <a:pt x="114926" y="6201392"/>
                  <a:pt x="81786" y="6168247"/>
                  <a:pt x="81786" y="6127999"/>
                </a:cubicBezTo>
                <a:cubicBezTo>
                  <a:pt x="81786" y="6087750"/>
                  <a:pt x="113739" y="6054611"/>
                  <a:pt x="155173" y="6055798"/>
                </a:cubicBezTo>
                <a:cubicBezTo>
                  <a:pt x="195418" y="6054611"/>
                  <a:pt x="228557" y="6087750"/>
                  <a:pt x="228557" y="6127999"/>
                </a:cubicBezTo>
                <a:cubicBezTo>
                  <a:pt x="228557" y="6168247"/>
                  <a:pt x="195418" y="6201392"/>
                  <a:pt x="155173" y="6201392"/>
                </a:cubicBezTo>
                <a:close/>
                <a:moveTo>
                  <a:pt x="5269637" y="6204197"/>
                </a:moveTo>
                <a:cubicBezTo>
                  <a:pt x="5231408" y="6204197"/>
                  <a:pt x="5196975" y="6173561"/>
                  <a:pt x="5196975" y="6131496"/>
                </a:cubicBezTo>
                <a:cubicBezTo>
                  <a:pt x="5196975" y="6089433"/>
                  <a:pt x="5231408" y="6055000"/>
                  <a:pt x="5265842" y="6058835"/>
                </a:cubicBezTo>
                <a:cubicBezTo>
                  <a:pt x="5307905" y="6058835"/>
                  <a:pt x="5342338" y="6089433"/>
                  <a:pt x="5342338" y="6131496"/>
                </a:cubicBezTo>
                <a:cubicBezTo>
                  <a:pt x="5346172" y="6169764"/>
                  <a:pt x="5311739" y="6204197"/>
                  <a:pt x="5269637" y="6204197"/>
                </a:cubicBezTo>
                <a:close/>
                <a:moveTo>
                  <a:pt x="3999947" y="6249491"/>
                </a:moveTo>
                <a:cubicBezTo>
                  <a:pt x="3946253" y="6249491"/>
                  <a:pt x="3902452" y="6206399"/>
                  <a:pt x="3902452" y="6152704"/>
                </a:cubicBezTo>
                <a:cubicBezTo>
                  <a:pt x="3902452" y="6099717"/>
                  <a:pt x="3945545" y="6055916"/>
                  <a:pt x="3999239" y="6055207"/>
                </a:cubicBezTo>
                <a:cubicBezTo>
                  <a:pt x="4052933" y="6055207"/>
                  <a:pt x="4096735" y="6098300"/>
                  <a:pt x="4096735" y="6151996"/>
                </a:cubicBezTo>
                <a:cubicBezTo>
                  <a:pt x="4096735" y="6205690"/>
                  <a:pt x="4053643" y="6249491"/>
                  <a:pt x="3999947" y="6249491"/>
                </a:cubicBezTo>
                <a:close/>
                <a:moveTo>
                  <a:pt x="1262057" y="6307887"/>
                </a:moveTo>
                <a:cubicBezTo>
                  <a:pt x="1210487" y="6307887"/>
                  <a:pt x="1168095" y="6266198"/>
                  <a:pt x="1168095" y="6214622"/>
                </a:cubicBezTo>
                <a:cubicBezTo>
                  <a:pt x="1168095" y="6163051"/>
                  <a:pt x="1209779" y="6121366"/>
                  <a:pt x="1261350" y="6120658"/>
                </a:cubicBezTo>
                <a:cubicBezTo>
                  <a:pt x="1312927" y="6120658"/>
                  <a:pt x="1355319" y="6162341"/>
                  <a:pt x="1355319" y="6213913"/>
                </a:cubicBezTo>
                <a:cubicBezTo>
                  <a:pt x="1355319" y="6265493"/>
                  <a:pt x="1313636" y="6307887"/>
                  <a:pt x="1262057" y="6307887"/>
                </a:cubicBezTo>
                <a:close/>
                <a:moveTo>
                  <a:pt x="4375181" y="6316682"/>
                </a:moveTo>
                <a:cubicBezTo>
                  <a:pt x="4334603" y="6316682"/>
                  <a:pt x="4302000" y="6284079"/>
                  <a:pt x="4302000" y="6244229"/>
                </a:cubicBezTo>
                <a:cubicBezTo>
                  <a:pt x="4302000" y="6204376"/>
                  <a:pt x="4333877" y="6171773"/>
                  <a:pt x="4374454" y="6171048"/>
                </a:cubicBezTo>
                <a:cubicBezTo>
                  <a:pt x="4415032" y="6171048"/>
                  <a:pt x="4447635" y="6203651"/>
                  <a:pt x="4447635" y="6243502"/>
                </a:cubicBezTo>
                <a:cubicBezTo>
                  <a:pt x="4447635" y="6284079"/>
                  <a:pt x="4415032" y="6316682"/>
                  <a:pt x="4375181" y="6316682"/>
                </a:cubicBezTo>
                <a:close/>
                <a:moveTo>
                  <a:pt x="1981139" y="6352608"/>
                </a:moveTo>
                <a:cubicBezTo>
                  <a:pt x="1899187" y="6352608"/>
                  <a:pt x="1832781" y="6286904"/>
                  <a:pt x="1832073" y="6204952"/>
                </a:cubicBezTo>
                <a:cubicBezTo>
                  <a:pt x="1832073" y="6123700"/>
                  <a:pt x="1898479" y="6057296"/>
                  <a:pt x="1980438" y="6056587"/>
                </a:cubicBezTo>
                <a:cubicBezTo>
                  <a:pt x="2061681" y="6056587"/>
                  <a:pt x="2128795" y="6122292"/>
                  <a:pt x="2128795" y="6204243"/>
                </a:cubicBezTo>
                <a:cubicBezTo>
                  <a:pt x="2128795" y="6285486"/>
                  <a:pt x="2063097" y="6352608"/>
                  <a:pt x="1981139" y="6352608"/>
                </a:cubicBezTo>
                <a:close/>
                <a:moveTo>
                  <a:pt x="4747377" y="6406521"/>
                </a:moveTo>
                <a:cubicBezTo>
                  <a:pt x="4707389" y="6406521"/>
                  <a:pt x="4674556" y="6373675"/>
                  <a:pt x="4674556" y="6333701"/>
                </a:cubicBezTo>
                <a:cubicBezTo>
                  <a:pt x="4674556" y="6293726"/>
                  <a:pt x="4705972" y="6260880"/>
                  <a:pt x="4747377" y="6260880"/>
                </a:cubicBezTo>
                <a:cubicBezTo>
                  <a:pt x="4787352" y="6260880"/>
                  <a:pt x="4820184" y="6293726"/>
                  <a:pt x="4820184" y="6333701"/>
                </a:cubicBezTo>
                <a:cubicBezTo>
                  <a:pt x="4820184" y="6373675"/>
                  <a:pt x="4787352" y="6406521"/>
                  <a:pt x="4747377" y="6406521"/>
                </a:cubicBezTo>
                <a:close/>
                <a:moveTo>
                  <a:pt x="958009" y="6432315"/>
                </a:moveTo>
                <a:cubicBezTo>
                  <a:pt x="906438" y="6432315"/>
                  <a:pt x="864045" y="6390633"/>
                  <a:pt x="864045" y="6339055"/>
                </a:cubicBezTo>
                <a:cubicBezTo>
                  <a:pt x="864045" y="6287483"/>
                  <a:pt x="905730" y="6245091"/>
                  <a:pt x="957301" y="6245091"/>
                </a:cubicBezTo>
                <a:cubicBezTo>
                  <a:pt x="1008877" y="6245091"/>
                  <a:pt x="1051270" y="6286776"/>
                  <a:pt x="1051270" y="6338347"/>
                </a:cubicBezTo>
                <a:cubicBezTo>
                  <a:pt x="1051270" y="6389922"/>
                  <a:pt x="1009587" y="6432315"/>
                  <a:pt x="958009" y="6432315"/>
                </a:cubicBezTo>
                <a:close/>
                <a:moveTo>
                  <a:pt x="3426338" y="6484301"/>
                </a:moveTo>
                <a:cubicBezTo>
                  <a:pt x="3337318" y="6485010"/>
                  <a:pt x="3264550" y="6412944"/>
                  <a:pt x="3263843" y="6323223"/>
                </a:cubicBezTo>
                <a:cubicBezTo>
                  <a:pt x="3263843" y="6233493"/>
                  <a:pt x="3335901" y="6161426"/>
                  <a:pt x="3424921" y="6160725"/>
                </a:cubicBezTo>
                <a:cubicBezTo>
                  <a:pt x="3513941" y="6160017"/>
                  <a:pt x="3586708" y="6232076"/>
                  <a:pt x="3587416" y="6321806"/>
                </a:cubicBezTo>
                <a:cubicBezTo>
                  <a:pt x="3588124" y="6410825"/>
                  <a:pt x="3515358" y="6484301"/>
                  <a:pt x="3426338" y="6484301"/>
                </a:cubicBezTo>
                <a:close/>
                <a:moveTo>
                  <a:pt x="5117751" y="6495980"/>
                </a:moveTo>
                <a:cubicBezTo>
                  <a:pt x="5081374" y="6495980"/>
                  <a:pt x="5044937" y="6465676"/>
                  <a:pt x="5044937" y="6423146"/>
                </a:cubicBezTo>
                <a:cubicBezTo>
                  <a:pt x="5044937" y="6380675"/>
                  <a:pt x="5081374" y="6344229"/>
                  <a:pt x="5117751" y="6350312"/>
                </a:cubicBezTo>
                <a:cubicBezTo>
                  <a:pt x="5160210" y="6350312"/>
                  <a:pt x="5190564" y="6380675"/>
                  <a:pt x="5190564" y="6423146"/>
                </a:cubicBezTo>
                <a:cubicBezTo>
                  <a:pt x="5190564" y="6465676"/>
                  <a:pt x="5160210" y="6495980"/>
                  <a:pt x="5117751" y="6495980"/>
                </a:cubicBezTo>
                <a:close/>
                <a:moveTo>
                  <a:pt x="2399822" y="6500545"/>
                </a:moveTo>
                <a:cubicBezTo>
                  <a:pt x="2309391" y="6500545"/>
                  <a:pt x="2235207" y="6427073"/>
                  <a:pt x="2235207" y="6336646"/>
                </a:cubicBezTo>
                <a:cubicBezTo>
                  <a:pt x="2234499" y="6245508"/>
                  <a:pt x="2307976" y="6172033"/>
                  <a:pt x="2399114" y="6172033"/>
                </a:cubicBezTo>
                <a:cubicBezTo>
                  <a:pt x="2421723" y="6172033"/>
                  <a:pt x="2443317" y="6176625"/>
                  <a:pt x="2462988" y="6184925"/>
                </a:cubicBezTo>
                <a:lnTo>
                  <a:pt x="2500338" y="6210005"/>
                </a:lnTo>
                <a:lnTo>
                  <a:pt x="2478864" y="6178416"/>
                </a:lnTo>
                <a:cubicBezTo>
                  <a:pt x="2469988" y="6157729"/>
                  <a:pt x="2464999" y="6134990"/>
                  <a:pt x="2464821" y="6111144"/>
                </a:cubicBezTo>
                <a:cubicBezTo>
                  <a:pt x="2464114" y="6015770"/>
                  <a:pt x="2541830" y="5938053"/>
                  <a:pt x="2637204" y="5937353"/>
                </a:cubicBezTo>
                <a:lnTo>
                  <a:pt x="2680258" y="5945763"/>
                </a:lnTo>
                <a:lnTo>
                  <a:pt x="2676188" y="5939774"/>
                </a:lnTo>
                <a:cubicBezTo>
                  <a:pt x="2666264" y="5916591"/>
                  <a:pt x="2660699" y="5891068"/>
                  <a:pt x="2660523" y="5864222"/>
                </a:cubicBezTo>
                <a:cubicBezTo>
                  <a:pt x="2660523" y="5756836"/>
                  <a:pt x="2747419" y="5669232"/>
                  <a:pt x="2854103" y="5669232"/>
                </a:cubicBezTo>
                <a:lnTo>
                  <a:pt x="2876716" y="5673663"/>
                </a:lnTo>
                <a:lnTo>
                  <a:pt x="2875899" y="5672461"/>
                </a:lnTo>
                <a:cubicBezTo>
                  <a:pt x="2866328" y="5650042"/>
                  <a:pt x="2861030" y="5625360"/>
                  <a:pt x="2861030" y="5599396"/>
                </a:cubicBezTo>
                <a:cubicBezTo>
                  <a:pt x="2860322" y="5495539"/>
                  <a:pt x="2944392" y="5411464"/>
                  <a:pt x="3048249" y="5410763"/>
                </a:cubicBezTo>
                <a:lnTo>
                  <a:pt x="3049311" y="5410973"/>
                </a:lnTo>
                <a:lnTo>
                  <a:pt x="3037902" y="5394195"/>
                </a:lnTo>
                <a:cubicBezTo>
                  <a:pt x="3027835" y="5370692"/>
                  <a:pt x="3022184" y="5344819"/>
                  <a:pt x="3022009" y="5317618"/>
                </a:cubicBezTo>
                <a:cubicBezTo>
                  <a:pt x="3021477" y="5236016"/>
                  <a:pt x="3070623" y="5165955"/>
                  <a:pt x="3141127" y="5136019"/>
                </a:cubicBezTo>
                <a:lnTo>
                  <a:pt x="3213112" y="5121447"/>
                </a:lnTo>
                <a:lnTo>
                  <a:pt x="3194016" y="5093389"/>
                </a:lnTo>
                <a:cubicBezTo>
                  <a:pt x="3184655" y="5071574"/>
                  <a:pt x="3179400" y="5047546"/>
                  <a:pt x="3179224" y="5022285"/>
                </a:cubicBezTo>
                <a:cubicBezTo>
                  <a:pt x="3179224" y="4946521"/>
                  <a:pt x="3224923" y="4881477"/>
                  <a:pt x="3290395" y="4853396"/>
                </a:cubicBezTo>
                <a:lnTo>
                  <a:pt x="3359764" y="4838968"/>
                </a:lnTo>
                <a:lnTo>
                  <a:pt x="3356937" y="4837077"/>
                </a:lnTo>
                <a:cubicBezTo>
                  <a:pt x="3325410" y="4805817"/>
                  <a:pt x="3305805" y="4762542"/>
                  <a:pt x="3305805" y="4714856"/>
                </a:cubicBezTo>
                <a:cubicBezTo>
                  <a:pt x="3305098" y="4618775"/>
                  <a:pt x="3382814" y="4541063"/>
                  <a:pt x="3478185" y="4541063"/>
                </a:cubicBezTo>
                <a:lnTo>
                  <a:pt x="3485099" y="4542417"/>
                </a:lnTo>
                <a:lnTo>
                  <a:pt x="3447824" y="4517494"/>
                </a:lnTo>
                <a:cubicBezTo>
                  <a:pt x="3417003" y="4486940"/>
                  <a:pt x="3397928" y="4444728"/>
                  <a:pt x="3397928" y="4398096"/>
                </a:cubicBezTo>
                <a:cubicBezTo>
                  <a:pt x="3397928" y="4328154"/>
                  <a:pt x="3440055" y="4267752"/>
                  <a:pt x="3501057" y="4241919"/>
                </a:cubicBezTo>
                <a:lnTo>
                  <a:pt x="3555561" y="4230945"/>
                </a:lnTo>
                <a:lnTo>
                  <a:pt x="3505082" y="4197243"/>
                </a:lnTo>
                <a:cubicBezTo>
                  <a:pt x="3473555" y="4166069"/>
                  <a:pt x="3453952" y="4122974"/>
                  <a:pt x="3453952" y="4075282"/>
                </a:cubicBezTo>
                <a:cubicBezTo>
                  <a:pt x="3453952" y="4003221"/>
                  <a:pt x="3497269" y="3941494"/>
                  <a:pt x="3559164" y="3915133"/>
                </a:cubicBezTo>
                <a:lnTo>
                  <a:pt x="3601066" y="3906621"/>
                </a:lnTo>
                <a:lnTo>
                  <a:pt x="3591780" y="3904750"/>
                </a:lnTo>
                <a:cubicBezTo>
                  <a:pt x="3530482" y="3878885"/>
                  <a:pt x="3487165" y="3818351"/>
                  <a:pt x="3487165" y="3747896"/>
                </a:cubicBezTo>
                <a:cubicBezTo>
                  <a:pt x="3487165" y="3677432"/>
                  <a:pt x="3529685" y="3616900"/>
                  <a:pt x="3590884" y="3590733"/>
                </a:cubicBezTo>
                <a:lnTo>
                  <a:pt x="3638553" y="3580852"/>
                </a:lnTo>
                <a:lnTo>
                  <a:pt x="3595297" y="3572373"/>
                </a:lnTo>
                <a:cubicBezTo>
                  <a:pt x="3535952" y="3547558"/>
                  <a:pt x="3494095" y="3488746"/>
                  <a:pt x="3493564" y="3420391"/>
                </a:cubicBezTo>
                <a:cubicBezTo>
                  <a:pt x="3492856" y="3329269"/>
                  <a:pt x="3567040" y="3254384"/>
                  <a:pt x="3658886" y="3253676"/>
                </a:cubicBezTo>
                <a:cubicBezTo>
                  <a:pt x="3750024" y="3253676"/>
                  <a:pt x="3824909" y="3327860"/>
                  <a:pt x="3824909" y="3418983"/>
                </a:cubicBezTo>
                <a:cubicBezTo>
                  <a:pt x="3824909" y="3487333"/>
                  <a:pt x="3783181" y="3546545"/>
                  <a:pt x="3723868" y="3571853"/>
                </a:cubicBezTo>
                <a:lnTo>
                  <a:pt x="3678299" y="3581158"/>
                </a:lnTo>
                <a:lnTo>
                  <a:pt x="3723682" y="3590327"/>
                </a:lnTo>
                <a:cubicBezTo>
                  <a:pt x="3784815" y="3616191"/>
                  <a:pt x="3827865" y="3676723"/>
                  <a:pt x="3828397" y="3747187"/>
                </a:cubicBezTo>
                <a:cubicBezTo>
                  <a:pt x="3828397" y="3817642"/>
                  <a:pt x="3785478" y="3878575"/>
                  <a:pt x="3724380" y="3904635"/>
                </a:cubicBezTo>
                <a:lnTo>
                  <a:pt x="3684115" y="3912843"/>
                </a:lnTo>
                <a:lnTo>
                  <a:pt x="3693627" y="3914710"/>
                </a:lnTo>
                <a:cubicBezTo>
                  <a:pt x="3755752" y="3940741"/>
                  <a:pt x="3799601" y="4002340"/>
                  <a:pt x="3800132" y="4073868"/>
                </a:cubicBezTo>
                <a:cubicBezTo>
                  <a:pt x="3800132" y="4145406"/>
                  <a:pt x="3756815" y="4206996"/>
                  <a:pt x="3694919" y="4233624"/>
                </a:cubicBezTo>
                <a:lnTo>
                  <a:pt x="3638655" y="4245389"/>
                </a:lnTo>
                <a:lnTo>
                  <a:pt x="3687241" y="4277994"/>
                </a:lnTo>
                <a:cubicBezTo>
                  <a:pt x="3717973" y="4308548"/>
                  <a:pt x="3737049" y="4350765"/>
                  <a:pt x="3737049" y="4397395"/>
                </a:cubicBezTo>
                <a:cubicBezTo>
                  <a:pt x="3737049" y="4490650"/>
                  <a:pt x="3661455" y="4566952"/>
                  <a:pt x="3568192" y="4566952"/>
                </a:cubicBezTo>
                <a:lnTo>
                  <a:pt x="3562966" y="4565909"/>
                </a:lnTo>
                <a:lnTo>
                  <a:pt x="3600850" y="4591221"/>
                </a:lnTo>
                <a:cubicBezTo>
                  <a:pt x="3632376" y="4622488"/>
                  <a:pt x="3651980" y="4665759"/>
                  <a:pt x="3651980" y="4713442"/>
                </a:cubicBezTo>
                <a:cubicBezTo>
                  <a:pt x="3652511" y="4784976"/>
                  <a:pt x="3608929" y="4846575"/>
                  <a:pt x="3546870" y="4873200"/>
                </a:cubicBezTo>
                <a:lnTo>
                  <a:pt x="3483492" y="4886428"/>
                </a:lnTo>
                <a:lnTo>
                  <a:pt x="3491228" y="4891595"/>
                </a:lnTo>
                <a:cubicBezTo>
                  <a:pt x="3524521" y="4924620"/>
                  <a:pt x="3545187" y="4970365"/>
                  <a:pt x="3545187" y="5020876"/>
                </a:cubicBezTo>
                <a:cubicBezTo>
                  <a:pt x="3545717" y="5096652"/>
                  <a:pt x="3499749" y="5162089"/>
                  <a:pt x="3434112" y="5190075"/>
                </a:cubicBezTo>
                <a:lnTo>
                  <a:pt x="3374016" y="5202313"/>
                </a:lnTo>
                <a:lnTo>
                  <a:pt x="3399316" y="5239626"/>
                </a:lnTo>
                <a:cubicBezTo>
                  <a:pt x="3409295" y="5263124"/>
                  <a:pt x="3414815" y="5289000"/>
                  <a:pt x="3414815" y="5316204"/>
                </a:cubicBezTo>
                <a:cubicBezTo>
                  <a:pt x="3415523" y="5424299"/>
                  <a:pt x="3327920" y="5513309"/>
                  <a:pt x="3219121" y="5513309"/>
                </a:cubicBezTo>
                <a:lnTo>
                  <a:pt x="3213113" y="5512131"/>
                </a:lnTo>
                <a:lnTo>
                  <a:pt x="3221715" y="5524812"/>
                </a:lnTo>
                <a:cubicBezTo>
                  <a:pt x="3231319" y="5547290"/>
                  <a:pt x="3236706" y="5572017"/>
                  <a:pt x="3236884" y="5597980"/>
                </a:cubicBezTo>
                <a:cubicBezTo>
                  <a:pt x="3237592" y="5701838"/>
                  <a:pt x="3153515" y="5785909"/>
                  <a:pt x="3049665" y="5786617"/>
                </a:cubicBezTo>
                <a:lnTo>
                  <a:pt x="3030806" y="5782846"/>
                </a:lnTo>
                <a:lnTo>
                  <a:pt x="3033734" y="5787159"/>
                </a:lnTo>
                <a:cubicBezTo>
                  <a:pt x="3043624" y="5810397"/>
                  <a:pt x="3049099" y="5835963"/>
                  <a:pt x="3049099" y="5862812"/>
                </a:cubicBezTo>
                <a:cubicBezTo>
                  <a:pt x="3049099" y="5970204"/>
                  <a:pt x="2962904" y="6057808"/>
                  <a:pt x="2855519" y="6057808"/>
                </a:cubicBezTo>
                <a:lnTo>
                  <a:pt x="2798141" y="6046322"/>
                </a:lnTo>
                <a:lnTo>
                  <a:pt x="2811002" y="6109729"/>
                </a:lnTo>
                <a:cubicBezTo>
                  <a:pt x="2811710" y="6205107"/>
                  <a:pt x="2733993" y="6283526"/>
                  <a:pt x="2638619" y="6283526"/>
                </a:cubicBezTo>
                <a:cubicBezTo>
                  <a:pt x="2614774" y="6283703"/>
                  <a:pt x="2592034" y="6278980"/>
                  <a:pt x="2571325" y="6270302"/>
                </a:cubicBezTo>
                <a:lnTo>
                  <a:pt x="2531170" y="6243387"/>
                </a:lnTo>
                <a:lnTo>
                  <a:pt x="2550725" y="6272177"/>
                </a:lnTo>
                <a:cubicBezTo>
                  <a:pt x="2559092" y="6291783"/>
                  <a:pt x="2563729" y="6313330"/>
                  <a:pt x="2563729" y="6335936"/>
                </a:cubicBezTo>
                <a:cubicBezTo>
                  <a:pt x="2563729" y="6426370"/>
                  <a:pt x="2490252" y="6500545"/>
                  <a:pt x="2399822" y="6500545"/>
                </a:cubicBezTo>
                <a:close/>
                <a:moveTo>
                  <a:pt x="3812095" y="6527635"/>
                </a:moveTo>
                <a:cubicBezTo>
                  <a:pt x="3754163" y="6528344"/>
                  <a:pt x="3706118" y="6481007"/>
                  <a:pt x="3706118" y="6422367"/>
                </a:cubicBezTo>
                <a:cubicBezTo>
                  <a:pt x="3706118" y="6363728"/>
                  <a:pt x="3753455" y="6316391"/>
                  <a:pt x="3811387" y="6316391"/>
                </a:cubicBezTo>
                <a:cubicBezTo>
                  <a:pt x="3869325" y="6316391"/>
                  <a:pt x="3917363" y="6363019"/>
                  <a:pt x="3917363" y="6421660"/>
                </a:cubicBezTo>
                <a:cubicBezTo>
                  <a:pt x="3918071" y="6479598"/>
                  <a:pt x="3870734" y="6527635"/>
                  <a:pt x="3812095" y="6527635"/>
                </a:cubicBezTo>
                <a:close/>
                <a:moveTo>
                  <a:pt x="1709037" y="6537172"/>
                </a:moveTo>
                <a:cubicBezTo>
                  <a:pt x="1627085" y="6537172"/>
                  <a:pt x="1560679" y="6471475"/>
                  <a:pt x="1559971" y="6389518"/>
                </a:cubicBezTo>
                <a:cubicBezTo>
                  <a:pt x="1559971" y="6307568"/>
                  <a:pt x="1626377" y="6241158"/>
                  <a:pt x="1707627" y="6240451"/>
                </a:cubicBezTo>
                <a:cubicBezTo>
                  <a:pt x="1789579" y="6240451"/>
                  <a:pt x="1856693" y="6306159"/>
                  <a:pt x="1856693" y="6388106"/>
                </a:cubicBezTo>
                <a:cubicBezTo>
                  <a:pt x="1856693" y="6470057"/>
                  <a:pt x="1790995" y="6537172"/>
                  <a:pt x="1709037" y="6537172"/>
                </a:cubicBezTo>
                <a:close/>
                <a:moveTo>
                  <a:pt x="642451" y="6554755"/>
                </a:moveTo>
                <a:cubicBezTo>
                  <a:pt x="572509" y="6555458"/>
                  <a:pt x="515987" y="6498940"/>
                  <a:pt x="515987" y="6429700"/>
                </a:cubicBezTo>
                <a:cubicBezTo>
                  <a:pt x="515279" y="6360462"/>
                  <a:pt x="571801" y="6303948"/>
                  <a:pt x="641042" y="6303240"/>
                </a:cubicBezTo>
                <a:cubicBezTo>
                  <a:pt x="710983" y="6302531"/>
                  <a:pt x="767505" y="6359052"/>
                  <a:pt x="767505" y="6428285"/>
                </a:cubicBezTo>
                <a:cubicBezTo>
                  <a:pt x="768206" y="6498232"/>
                  <a:pt x="711691" y="6554755"/>
                  <a:pt x="642451" y="6554755"/>
                </a:cubicBezTo>
                <a:close/>
                <a:moveTo>
                  <a:pt x="4194588" y="6591200"/>
                </a:moveTo>
                <a:cubicBezTo>
                  <a:pt x="4154736" y="6591200"/>
                  <a:pt x="4121407" y="6558597"/>
                  <a:pt x="4121407" y="6518745"/>
                </a:cubicBezTo>
                <a:cubicBezTo>
                  <a:pt x="4121407" y="6478169"/>
                  <a:pt x="4154010" y="6445565"/>
                  <a:pt x="4193861" y="6445565"/>
                </a:cubicBezTo>
                <a:cubicBezTo>
                  <a:pt x="4234439" y="6445565"/>
                  <a:pt x="4267042" y="6478169"/>
                  <a:pt x="4267042" y="6518019"/>
                </a:cubicBezTo>
                <a:cubicBezTo>
                  <a:pt x="4267042" y="6558597"/>
                  <a:pt x="4235157" y="6591200"/>
                  <a:pt x="4194588" y="6591200"/>
                </a:cubicBezTo>
                <a:close/>
                <a:moveTo>
                  <a:pt x="317955" y="6594472"/>
                </a:moveTo>
                <a:cubicBezTo>
                  <a:pt x="255784" y="6594472"/>
                  <a:pt x="205623" y="6545019"/>
                  <a:pt x="205623" y="6482847"/>
                </a:cubicBezTo>
                <a:cubicBezTo>
                  <a:pt x="204915" y="6421384"/>
                  <a:pt x="255075" y="6370516"/>
                  <a:pt x="317247" y="6370516"/>
                </a:cubicBezTo>
                <a:cubicBezTo>
                  <a:pt x="379418" y="6369810"/>
                  <a:pt x="429578" y="6419968"/>
                  <a:pt x="429578" y="6482138"/>
                </a:cubicBezTo>
                <a:cubicBezTo>
                  <a:pt x="429578" y="6543601"/>
                  <a:pt x="380126" y="6594472"/>
                  <a:pt x="317955" y="6594472"/>
                </a:cubicBezTo>
                <a:close/>
                <a:moveTo>
                  <a:pt x="0" y="6602983"/>
                </a:moveTo>
                <a:lnTo>
                  <a:pt x="0" y="6395926"/>
                </a:lnTo>
                <a:lnTo>
                  <a:pt x="30295" y="6401722"/>
                </a:lnTo>
                <a:cubicBezTo>
                  <a:pt x="68348" y="6417483"/>
                  <a:pt x="94975" y="6455104"/>
                  <a:pt x="94975" y="6499084"/>
                </a:cubicBezTo>
                <a:cubicBezTo>
                  <a:pt x="95502" y="6542540"/>
                  <a:pt x="69007" y="6580435"/>
                  <a:pt x="30989" y="6596667"/>
                </a:cubicBezTo>
                <a:close/>
                <a:moveTo>
                  <a:pt x="2809415" y="6611719"/>
                </a:moveTo>
                <a:cubicBezTo>
                  <a:pt x="2724638" y="6611719"/>
                  <a:pt x="2654697" y="6543179"/>
                  <a:pt x="2654697" y="6457689"/>
                </a:cubicBezTo>
                <a:cubicBezTo>
                  <a:pt x="2653989" y="6372203"/>
                  <a:pt x="2722521" y="6302974"/>
                  <a:pt x="2808707" y="6302974"/>
                </a:cubicBezTo>
                <a:cubicBezTo>
                  <a:pt x="2829903" y="6302974"/>
                  <a:pt x="2850171" y="6307255"/>
                  <a:pt x="2868651" y="6315017"/>
                </a:cubicBezTo>
                <a:lnTo>
                  <a:pt x="2909063" y="6342039"/>
                </a:lnTo>
                <a:lnTo>
                  <a:pt x="2872584" y="6288313"/>
                </a:lnTo>
                <a:cubicBezTo>
                  <a:pt x="2863544" y="6267196"/>
                  <a:pt x="2858466" y="6243968"/>
                  <a:pt x="2858291" y="6219594"/>
                </a:cubicBezTo>
                <a:cubicBezTo>
                  <a:pt x="2857584" y="6121395"/>
                  <a:pt x="2936710" y="6042271"/>
                  <a:pt x="3034206" y="6042271"/>
                </a:cubicBezTo>
                <a:lnTo>
                  <a:pt x="3077479" y="6050742"/>
                </a:lnTo>
                <a:lnTo>
                  <a:pt x="3067919" y="6036652"/>
                </a:lnTo>
                <a:cubicBezTo>
                  <a:pt x="3058317" y="6014177"/>
                  <a:pt x="3052930" y="5989452"/>
                  <a:pt x="3052755" y="5963487"/>
                </a:cubicBezTo>
                <a:cubicBezTo>
                  <a:pt x="3052047" y="5859631"/>
                  <a:pt x="3136117" y="5774851"/>
                  <a:pt x="3239974" y="5774851"/>
                </a:cubicBezTo>
                <a:lnTo>
                  <a:pt x="3262349" y="5779233"/>
                </a:lnTo>
                <a:lnTo>
                  <a:pt x="3252386" y="5764547"/>
                </a:lnTo>
                <a:cubicBezTo>
                  <a:pt x="3242783" y="5742072"/>
                  <a:pt x="3237396" y="5717345"/>
                  <a:pt x="3237221" y="5691380"/>
                </a:cubicBezTo>
                <a:cubicBezTo>
                  <a:pt x="3236513" y="5587525"/>
                  <a:pt x="3320583" y="5502744"/>
                  <a:pt x="3424440" y="5502744"/>
                </a:cubicBezTo>
                <a:lnTo>
                  <a:pt x="3449879" y="5507836"/>
                </a:lnTo>
                <a:lnTo>
                  <a:pt x="3426219" y="5472952"/>
                </a:lnTo>
                <a:cubicBezTo>
                  <a:pt x="3417366" y="5452155"/>
                  <a:pt x="3412465" y="5429282"/>
                  <a:pt x="3412465" y="5405261"/>
                </a:cubicBezTo>
                <a:cubicBezTo>
                  <a:pt x="3411757" y="5309172"/>
                  <a:pt x="3489474" y="5230753"/>
                  <a:pt x="3585553" y="5230046"/>
                </a:cubicBezTo>
                <a:lnTo>
                  <a:pt x="3608013" y="5234538"/>
                </a:lnTo>
                <a:lnTo>
                  <a:pt x="3601178" y="5229950"/>
                </a:lnTo>
                <a:cubicBezTo>
                  <a:pt x="3569563" y="5198515"/>
                  <a:pt x="3549959" y="5155066"/>
                  <a:pt x="3549959" y="5107029"/>
                </a:cubicBezTo>
                <a:cubicBezTo>
                  <a:pt x="3549251" y="5010937"/>
                  <a:pt x="3626968" y="4932514"/>
                  <a:pt x="3723755" y="4931805"/>
                </a:cubicBezTo>
                <a:lnTo>
                  <a:pt x="3748379" y="4936760"/>
                </a:lnTo>
                <a:lnTo>
                  <a:pt x="3718249" y="4916569"/>
                </a:lnTo>
                <a:cubicBezTo>
                  <a:pt x="3687782" y="4886272"/>
                  <a:pt x="3668883" y="4844414"/>
                  <a:pt x="3668529" y="4798134"/>
                </a:cubicBezTo>
                <a:cubicBezTo>
                  <a:pt x="3668529" y="4704877"/>
                  <a:pt x="3743422" y="4629985"/>
                  <a:pt x="3835969" y="4629284"/>
                </a:cubicBezTo>
                <a:cubicBezTo>
                  <a:pt x="3929232" y="4628575"/>
                  <a:pt x="4004824" y="4704167"/>
                  <a:pt x="4004824" y="4796726"/>
                </a:cubicBezTo>
                <a:cubicBezTo>
                  <a:pt x="4005533" y="4889984"/>
                  <a:pt x="3929933" y="4965582"/>
                  <a:pt x="3837386" y="4965582"/>
                </a:cubicBezTo>
                <a:lnTo>
                  <a:pt x="3814820" y="4961058"/>
                </a:lnTo>
                <a:lnTo>
                  <a:pt x="3847038" y="4982675"/>
                </a:lnTo>
                <a:cubicBezTo>
                  <a:pt x="3878655" y="5014114"/>
                  <a:pt x="3898261" y="5057565"/>
                  <a:pt x="3898261" y="5105609"/>
                </a:cubicBezTo>
                <a:cubicBezTo>
                  <a:pt x="3898261" y="5202397"/>
                  <a:pt x="3820544" y="5280821"/>
                  <a:pt x="3724457" y="5280821"/>
                </a:cubicBezTo>
                <a:lnTo>
                  <a:pt x="3702792" y="5276460"/>
                </a:lnTo>
                <a:lnTo>
                  <a:pt x="3709455" y="5280914"/>
                </a:lnTo>
                <a:cubicBezTo>
                  <a:pt x="3741161" y="5312354"/>
                  <a:pt x="3760767" y="5355804"/>
                  <a:pt x="3760767" y="5403845"/>
                </a:cubicBezTo>
                <a:cubicBezTo>
                  <a:pt x="3760767" y="5500635"/>
                  <a:pt x="3683050" y="5579062"/>
                  <a:pt x="3586963" y="5579062"/>
                </a:cubicBezTo>
                <a:lnTo>
                  <a:pt x="3569818" y="5575612"/>
                </a:lnTo>
                <a:lnTo>
                  <a:pt x="3597906" y="5616900"/>
                </a:lnTo>
                <a:cubicBezTo>
                  <a:pt x="3607510" y="5639318"/>
                  <a:pt x="3612897" y="5664003"/>
                  <a:pt x="3613075" y="5689965"/>
                </a:cubicBezTo>
                <a:cubicBezTo>
                  <a:pt x="3613783" y="5793820"/>
                  <a:pt x="3529706" y="5877898"/>
                  <a:pt x="3425856" y="5878600"/>
                </a:cubicBezTo>
                <a:lnTo>
                  <a:pt x="3403809" y="5874278"/>
                </a:lnTo>
                <a:lnTo>
                  <a:pt x="3413739" y="5888904"/>
                </a:lnTo>
                <a:cubicBezTo>
                  <a:pt x="3423311" y="5911379"/>
                  <a:pt x="3428609" y="5936107"/>
                  <a:pt x="3428609" y="5962072"/>
                </a:cubicBezTo>
                <a:cubicBezTo>
                  <a:pt x="3429317" y="6065929"/>
                  <a:pt x="3345240" y="6150705"/>
                  <a:pt x="3241390" y="6150705"/>
                </a:cubicBezTo>
                <a:lnTo>
                  <a:pt x="3191769" y="6140976"/>
                </a:lnTo>
                <a:lnTo>
                  <a:pt x="3197540" y="6149466"/>
                </a:lnTo>
                <a:cubicBezTo>
                  <a:pt x="3206547" y="6170585"/>
                  <a:pt x="3211537" y="6193812"/>
                  <a:pt x="3211537" y="6218185"/>
                </a:cubicBezTo>
                <a:cubicBezTo>
                  <a:pt x="3212245" y="6315683"/>
                  <a:pt x="3133112" y="6395516"/>
                  <a:pt x="3035615" y="6395516"/>
                </a:cubicBezTo>
                <a:cubicBezTo>
                  <a:pt x="3011241" y="6395692"/>
                  <a:pt x="2988015" y="6390880"/>
                  <a:pt x="2966876" y="6382037"/>
                </a:cubicBezTo>
                <a:lnTo>
                  <a:pt x="2919475" y="6350290"/>
                </a:lnTo>
                <a:lnTo>
                  <a:pt x="2951179" y="6396858"/>
                </a:lnTo>
                <a:cubicBezTo>
                  <a:pt x="2959061" y="6415304"/>
                  <a:pt x="2963432" y="6435616"/>
                  <a:pt x="2963432" y="6456987"/>
                </a:cubicBezTo>
                <a:cubicBezTo>
                  <a:pt x="2963432" y="6541764"/>
                  <a:pt x="2894901" y="6611719"/>
                  <a:pt x="2809415" y="6611719"/>
                </a:cubicBezTo>
                <a:close/>
                <a:moveTo>
                  <a:pt x="4573566" y="6685393"/>
                </a:moveTo>
                <a:cubicBezTo>
                  <a:pt x="4533355" y="6685393"/>
                  <a:pt x="4500747" y="6652785"/>
                  <a:pt x="4500747" y="6612573"/>
                </a:cubicBezTo>
                <a:cubicBezTo>
                  <a:pt x="4500747" y="6572358"/>
                  <a:pt x="4533355" y="6539751"/>
                  <a:pt x="4573566" y="6539751"/>
                </a:cubicBezTo>
                <a:cubicBezTo>
                  <a:pt x="4613777" y="6539751"/>
                  <a:pt x="4646386" y="6572358"/>
                  <a:pt x="4646386" y="6612573"/>
                </a:cubicBezTo>
                <a:cubicBezTo>
                  <a:pt x="4646386" y="6652785"/>
                  <a:pt x="4613777" y="6685393"/>
                  <a:pt x="4573566" y="6685393"/>
                </a:cubicBezTo>
                <a:close/>
                <a:moveTo>
                  <a:pt x="2142359" y="6702651"/>
                </a:moveTo>
                <a:cubicBezTo>
                  <a:pt x="2052632" y="6703359"/>
                  <a:pt x="1979865" y="6631291"/>
                  <a:pt x="1979865" y="6541555"/>
                </a:cubicBezTo>
                <a:cubicBezTo>
                  <a:pt x="1979865" y="6452533"/>
                  <a:pt x="2051931" y="6379760"/>
                  <a:pt x="2140943" y="6379060"/>
                </a:cubicBezTo>
                <a:cubicBezTo>
                  <a:pt x="2230671" y="6378350"/>
                  <a:pt x="2302730" y="6450415"/>
                  <a:pt x="2303438" y="6540139"/>
                </a:cubicBezTo>
                <a:cubicBezTo>
                  <a:pt x="2304145" y="6629176"/>
                  <a:pt x="2232081" y="6702651"/>
                  <a:pt x="2142359" y="6702651"/>
                </a:cubicBezTo>
                <a:close/>
                <a:moveTo>
                  <a:pt x="1419410" y="6703796"/>
                </a:moveTo>
                <a:cubicBezTo>
                  <a:pt x="1331807" y="6703796"/>
                  <a:pt x="1259741" y="6632439"/>
                  <a:pt x="1259741" y="6544821"/>
                </a:cubicBezTo>
                <a:cubicBezTo>
                  <a:pt x="1259741" y="6456509"/>
                  <a:pt x="1330390" y="6385151"/>
                  <a:pt x="1418702" y="6385151"/>
                </a:cubicBezTo>
                <a:cubicBezTo>
                  <a:pt x="1506305" y="6385151"/>
                  <a:pt x="1578369" y="6456509"/>
                  <a:pt x="1578369" y="6544112"/>
                </a:cubicBezTo>
                <a:cubicBezTo>
                  <a:pt x="1578369" y="6631730"/>
                  <a:pt x="1507013" y="6703796"/>
                  <a:pt x="1419410" y="6703796"/>
                </a:cubicBezTo>
                <a:close/>
                <a:moveTo>
                  <a:pt x="3211370" y="6707954"/>
                </a:moveTo>
                <a:cubicBezTo>
                  <a:pt x="3135778" y="6708664"/>
                  <a:pt x="3073607" y="6647193"/>
                  <a:pt x="3073607" y="6571591"/>
                </a:cubicBezTo>
                <a:cubicBezTo>
                  <a:pt x="3073607" y="6495998"/>
                  <a:pt x="3134362" y="6434535"/>
                  <a:pt x="3210668" y="6433826"/>
                </a:cubicBezTo>
                <a:cubicBezTo>
                  <a:pt x="3285553" y="6433118"/>
                  <a:pt x="3347724" y="6494582"/>
                  <a:pt x="3347724" y="6570182"/>
                </a:cubicBezTo>
                <a:cubicBezTo>
                  <a:pt x="3347724" y="6645784"/>
                  <a:pt x="3286968" y="6707954"/>
                  <a:pt x="3211370" y="6707954"/>
                </a:cubicBezTo>
                <a:close/>
                <a:moveTo>
                  <a:pt x="4950232" y="6778374"/>
                </a:moveTo>
                <a:cubicBezTo>
                  <a:pt x="4909286" y="6778374"/>
                  <a:pt x="4877418" y="6744224"/>
                  <a:pt x="4877418" y="6705537"/>
                </a:cubicBezTo>
                <a:cubicBezTo>
                  <a:pt x="4877418" y="6666850"/>
                  <a:pt x="4909286" y="6632724"/>
                  <a:pt x="4950232" y="6632724"/>
                </a:cubicBezTo>
                <a:cubicBezTo>
                  <a:pt x="4991201" y="6632724"/>
                  <a:pt x="5023069" y="6664590"/>
                  <a:pt x="5023069" y="6705537"/>
                </a:cubicBezTo>
                <a:cubicBezTo>
                  <a:pt x="5023069" y="6746506"/>
                  <a:pt x="4988920" y="6778374"/>
                  <a:pt x="4950232" y="6778374"/>
                </a:cubicBezTo>
                <a:close/>
                <a:moveTo>
                  <a:pt x="3606328" y="6783767"/>
                </a:moveTo>
                <a:cubicBezTo>
                  <a:pt x="3548398" y="6783767"/>
                  <a:pt x="3500354" y="6737140"/>
                  <a:pt x="3500354" y="6678501"/>
                </a:cubicBezTo>
                <a:cubicBezTo>
                  <a:pt x="3500354" y="6619863"/>
                  <a:pt x="3547689" y="6572519"/>
                  <a:pt x="3605619" y="6572519"/>
                </a:cubicBezTo>
                <a:cubicBezTo>
                  <a:pt x="3664259" y="6572519"/>
                  <a:pt x="3711594" y="6619157"/>
                  <a:pt x="3711594" y="6677794"/>
                </a:cubicBezTo>
                <a:cubicBezTo>
                  <a:pt x="3711594" y="6735731"/>
                  <a:pt x="3664967" y="6783767"/>
                  <a:pt x="3606328" y="6783767"/>
                </a:cubicBezTo>
                <a:close/>
                <a:moveTo>
                  <a:pt x="1116919" y="6813582"/>
                </a:moveTo>
                <a:cubicBezTo>
                  <a:pt x="1038501" y="6813582"/>
                  <a:pt x="974210" y="6750709"/>
                  <a:pt x="974210" y="6672284"/>
                </a:cubicBezTo>
                <a:cubicBezTo>
                  <a:pt x="974210" y="6594558"/>
                  <a:pt x="1037090" y="6530265"/>
                  <a:pt x="1115509" y="6529556"/>
                </a:cubicBezTo>
                <a:cubicBezTo>
                  <a:pt x="1193927" y="6528846"/>
                  <a:pt x="1258223" y="6592432"/>
                  <a:pt x="1258223" y="6670873"/>
                </a:cubicBezTo>
                <a:cubicBezTo>
                  <a:pt x="1258223" y="6749293"/>
                  <a:pt x="1195343" y="6813582"/>
                  <a:pt x="1116919" y="6813582"/>
                </a:cubicBezTo>
                <a:close/>
                <a:moveTo>
                  <a:pt x="2565027" y="6835173"/>
                </a:moveTo>
                <a:cubicBezTo>
                  <a:pt x="2477417" y="6835173"/>
                  <a:pt x="2406067" y="6765225"/>
                  <a:pt x="2406067" y="6677624"/>
                </a:cubicBezTo>
                <a:cubicBezTo>
                  <a:pt x="2405359" y="6590009"/>
                  <a:pt x="2476008" y="6519359"/>
                  <a:pt x="2564319" y="6518651"/>
                </a:cubicBezTo>
                <a:cubicBezTo>
                  <a:pt x="2651221" y="6518651"/>
                  <a:pt x="2721868" y="6588594"/>
                  <a:pt x="2722570" y="6676216"/>
                </a:cubicBezTo>
                <a:cubicBezTo>
                  <a:pt x="2722570" y="6763818"/>
                  <a:pt x="2652630" y="6835173"/>
                  <a:pt x="2565027" y="6835173"/>
                </a:cubicBezTo>
                <a:close/>
                <a:moveTo>
                  <a:pt x="3997274" y="6854905"/>
                </a:moveTo>
                <a:cubicBezTo>
                  <a:pt x="3957025" y="6854905"/>
                  <a:pt x="3923884" y="6822952"/>
                  <a:pt x="3923884" y="6782706"/>
                </a:cubicBezTo>
                <a:cubicBezTo>
                  <a:pt x="3923884" y="6742459"/>
                  <a:pt x="3957025" y="6709320"/>
                  <a:pt x="3996087" y="6708133"/>
                </a:cubicBezTo>
                <a:cubicBezTo>
                  <a:pt x="4036335" y="6708133"/>
                  <a:pt x="4069476" y="6741273"/>
                  <a:pt x="4069476" y="6781518"/>
                </a:cubicBezTo>
                <a:cubicBezTo>
                  <a:pt x="4070663" y="6821765"/>
                  <a:pt x="4037522" y="6854905"/>
                  <a:pt x="3997274" y="6854905"/>
                </a:cubicBezTo>
                <a:close/>
                <a:moveTo>
                  <a:pt x="5324485" y="6869480"/>
                </a:moveTo>
                <a:cubicBezTo>
                  <a:pt x="5282862" y="6869480"/>
                  <a:pt x="5251671" y="6838186"/>
                  <a:pt x="5251671" y="6796564"/>
                </a:cubicBezTo>
                <a:cubicBezTo>
                  <a:pt x="5251671" y="6754941"/>
                  <a:pt x="5282862" y="6723750"/>
                  <a:pt x="5324485" y="6723750"/>
                </a:cubicBezTo>
                <a:cubicBezTo>
                  <a:pt x="5366107" y="6723750"/>
                  <a:pt x="5397402" y="6754941"/>
                  <a:pt x="5397402" y="6796564"/>
                </a:cubicBezTo>
                <a:cubicBezTo>
                  <a:pt x="5397402" y="6838186"/>
                  <a:pt x="5366107" y="6869480"/>
                  <a:pt x="5324485" y="6869480"/>
                </a:cubicBezTo>
                <a:close/>
                <a:moveTo>
                  <a:pt x="1867847" y="6884498"/>
                </a:moveTo>
                <a:cubicBezTo>
                  <a:pt x="1776711" y="6884498"/>
                  <a:pt x="1703237" y="6811020"/>
                  <a:pt x="1702529" y="6720593"/>
                </a:cubicBezTo>
                <a:cubicBezTo>
                  <a:pt x="1702529" y="6629459"/>
                  <a:pt x="1775295" y="6555970"/>
                  <a:pt x="1867138" y="6555970"/>
                </a:cubicBezTo>
                <a:cubicBezTo>
                  <a:pt x="1957567" y="6555970"/>
                  <a:pt x="2031749" y="6629459"/>
                  <a:pt x="2031749" y="6719884"/>
                </a:cubicBezTo>
                <a:cubicBezTo>
                  <a:pt x="2031749" y="6810318"/>
                  <a:pt x="1958275" y="6884498"/>
                  <a:pt x="1867847" y="6884498"/>
                </a:cubicBezTo>
                <a:close/>
                <a:moveTo>
                  <a:pt x="2978008" y="6936670"/>
                </a:moveTo>
                <a:cubicBezTo>
                  <a:pt x="2903826" y="6936670"/>
                  <a:pt x="2843071" y="6876614"/>
                  <a:pt x="2843071" y="6802431"/>
                </a:cubicBezTo>
                <a:cubicBezTo>
                  <a:pt x="2843071" y="6728246"/>
                  <a:pt x="2902417" y="6667491"/>
                  <a:pt x="2976598" y="6667491"/>
                </a:cubicBezTo>
                <a:cubicBezTo>
                  <a:pt x="3050780" y="6667491"/>
                  <a:pt x="3111535" y="6727545"/>
                  <a:pt x="3111535" y="6801723"/>
                </a:cubicBezTo>
                <a:cubicBezTo>
                  <a:pt x="3112243" y="6875906"/>
                  <a:pt x="3052189" y="6936670"/>
                  <a:pt x="2978008" y="6936670"/>
                </a:cubicBezTo>
                <a:close/>
                <a:moveTo>
                  <a:pt x="4383297" y="6953626"/>
                </a:moveTo>
                <a:cubicBezTo>
                  <a:pt x="4344464" y="6953626"/>
                  <a:pt x="4310471" y="6922068"/>
                  <a:pt x="4310471" y="6880800"/>
                </a:cubicBezTo>
                <a:cubicBezTo>
                  <a:pt x="4310471" y="6839534"/>
                  <a:pt x="4342031" y="6807976"/>
                  <a:pt x="4383297" y="6807976"/>
                </a:cubicBezTo>
                <a:cubicBezTo>
                  <a:pt x="4424564" y="6807976"/>
                  <a:pt x="4456124" y="6841968"/>
                  <a:pt x="4456124" y="6880800"/>
                </a:cubicBezTo>
                <a:cubicBezTo>
                  <a:pt x="4456124" y="6922068"/>
                  <a:pt x="4424564" y="6953626"/>
                  <a:pt x="4383297" y="6953626"/>
                </a:cubicBezTo>
                <a:close/>
                <a:moveTo>
                  <a:pt x="243112" y="6994526"/>
                </a:moveTo>
                <a:lnTo>
                  <a:pt x="62124" y="6994526"/>
                </a:lnTo>
                <a:lnTo>
                  <a:pt x="37374" y="6977930"/>
                </a:lnTo>
                <a:cubicBezTo>
                  <a:pt x="22582" y="6963226"/>
                  <a:pt x="10594" y="6945718"/>
                  <a:pt x="2260" y="6926278"/>
                </a:cubicBezTo>
                <a:lnTo>
                  <a:pt x="0" y="6915444"/>
                </a:lnTo>
                <a:lnTo>
                  <a:pt x="0" y="6808507"/>
                </a:lnTo>
                <a:lnTo>
                  <a:pt x="1851" y="6799275"/>
                </a:lnTo>
                <a:cubicBezTo>
                  <a:pt x="26556" y="6740461"/>
                  <a:pt x="84444" y="6699131"/>
                  <a:pt x="152272" y="6699131"/>
                </a:cubicBezTo>
                <a:cubicBezTo>
                  <a:pt x="241993" y="6699131"/>
                  <a:pt x="315469" y="6771899"/>
                  <a:pt x="315469" y="6861626"/>
                </a:cubicBezTo>
                <a:cubicBezTo>
                  <a:pt x="315469" y="6906840"/>
                  <a:pt x="297454" y="6947816"/>
                  <a:pt x="268135" y="6977488"/>
                </a:cubicBezTo>
                <a:close/>
                <a:moveTo>
                  <a:pt x="487472" y="6994526"/>
                </a:moveTo>
                <a:lnTo>
                  <a:pt x="473965" y="6994526"/>
                </a:lnTo>
                <a:lnTo>
                  <a:pt x="415488" y="6982688"/>
                </a:lnTo>
                <a:cubicBezTo>
                  <a:pt x="356142" y="6957552"/>
                  <a:pt x="314280" y="6898737"/>
                  <a:pt x="313750" y="6830384"/>
                </a:cubicBezTo>
                <a:cubicBezTo>
                  <a:pt x="313750" y="6738538"/>
                  <a:pt x="387225" y="6664357"/>
                  <a:pt x="478363" y="6665065"/>
                </a:cubicBezTo>
                <a:cubicBezTo>
                  <a:pt x="546715" y="6664533"/>
                  <a:pt x="605931" y="6706129"/>
                  <a:pt x="631266" y="6765407"/>
                </a:cubicBezTo>
                <a:lnTo>
                  <a:pt x="631365" y="6765897"/>
                </a:lnTo>
                <a:lnTo>
                  <a:pt x="644531" y="6700129"/>
                </a:lnTo>
                <a:cubicBezTo>
                  <a:pt x="670195" y="6638862"/>
                  <a:pt x="730337" y="6595664"/>
                  <a:pt x="800815" y="6596193"/>
                </a:cubicBezTo>
                <a:cubicBezTo>
                  <a:pt x="894779" y="6595486"/>
                  <a:pt x="971789" y="6671802"/>
                  <a:pt x="971789" y="6765765"/>
                </a:cubicBezTo>
                <a:cubicBezTo>
                  <a:pt x="972490" y="6859729"/>
                  <a:pt x="896189" y="6936029"/>
                  <a:pt x="802225" y="6936738"/>
                </a:cubicBezTo>
                <a:cubicBezTo>
                  <a:pt x="731752" y="6936738"/>
                  <a:pt x="670815" y="6893818"/>
                  <a:pt x="644751" y="6832718"/>
                </a:cubicBezTo>
                <a:lnTo>
                  <a:pt x="644264" y="6830328"/>
                </a:lnTo>
                <a:lnTo>
                  <a:pt x="631785" y="6894066"/>
                </a:lnTo>
                <a:cubicBezTo>
                  <a:pt x="613157" y="6938700"/>
                  <a:pt x="575416" y="6973554"/>
                  <a:pt x="528874" y="6988191"/>
                </a:cubicBezTo>
                <a:close/>
                <a:moveTo>
                  <a:pt x="1089823" y="6994526"/>
                </a:moveTo>
                <a:lnTo>
                  <a:pt x="832853" y="6994526"/>
                </a:lnTo>
                <a:lnTo>
                  <a:pt x="840539" y="6983078"/>
                </a:lnTo>
                <a:cubicBezTo>
                  <a:pt x="871270" y="6952257"/>
                  <a:pt x="913835" y="6933182"/>
                  <a:pt x="961170" y="6933182"/>
                </a:cubicBezTo>
                <a:cubicBezTo>
                  <a:pt x="1008151" y="6932828"/>
                  <a:pt x="1050717" y="6951726"/>
                  <a:pt x="1081625" y="6982458"/>
                </a:cubicBezTo>
                <a:close/>
                <a:moveTo>
                  <a:pt x="1686900" y="6994526"/>
                </a:moveTo>
                <a:lnTo>
                  <a:pt x="1466869" y="6994526"/>
                </a:lnTo>
                <a:lnTo>
                  <a:pt x="1461972" y="6991268"/>
                </a:lnTo>
                <a:lnTo>
                  <a:pt x="1434489" y="6950906"/>
                </a:lnTo>
                <a:lnTo>
                  <a:pt x="1443380" y="6994526"/>
                </a:lnTo>
                <a:lnTo>
                  <a:pt x="1105323" y="6994526"/>
                </a:lnTo>
                <a:lnTo>
                  <a:pt x="1116968" y="6936398"/>
                </a:lnTo>
                <a:cubicBezTo>
                  <a:pt x="1142666" y="6875131"/>
                  <a:pt x="1202937" y="6831946"/>
                  <a:pt x="1273939" y="6832478"/>
                </a:cubicBezTo>
                <a:cubicBezTo>
                  <a:pt x="1320921" y="6832123"/>
                  <a:pt x="1363663" y="6851022"/>
                  <a:pt x="1394661" y="6881754"/>
                </a:cubicBezTo>
                <a:lnTo>
                  <a:pt x="1423761" y="6924552"/>
                </a:lnTo>
                <a:lnTo>
                  <a:pt x="1413931" y="6876109"/>
                </a:lnTo>
                <a:cubicBezTo>
                  <a:pt x="1413223" y="6786392"/>
                  <a:pt x="1485989" y="6712920"/>
                  <a:pt x="1576424" y="6712210"/>
                </a:cubicBezTo>
                <a:cubicBezTo>
                  <a:pt x="1666851" y="6712210"/>
                  <a:pt x="1740325" y="6784975"/>
                  <a:pt x="1740325" y="6874700"/>
                </a:cubicBezTo>
                <a:cubicBezTo>
                  <a:pt x="1740325" y="6919914"/>
                  <a:pt x="1722133" y="6960889"/>
                  <a:pt x="1692726" y="6990561"/>
                </a:cubicBezTo>
                <a:close/>
                <a:moveTo>
                  <a:pt x="2166566" y="6994526"/>
                </a:moveTo>
                <a:lnTo>
                  <a:pt x="1883474" y="6994526"/>
                </a:lnTo>
                <a:lnTo>
                  <a:pt x="1883882" y="6992427"/>
                </a:lnTo>
                <a:cubicBezTo>
                  <a:pt x="1906832" y="6937222"/>
                  <a:pt x="1961277" y="6898407"/>
                  <a:pt x="2024861" y="6898939"/>
                </a:cubicBezTo>
                <a:cubicBezTo>
                  <a:pt x="2087913" y="6898939"/>
                  <a:pt x="2142623" y="6937089"/>
                  <a:pt x="2166037" y="6991930"/>
                </a:cubicBezTo>
                <a:close/>
                <a:moveTo>
                  <a:pt x="2379658" y="6994526"/>
                </a:moveTo>
                <a:lnTo>
                  <a:pt x="2224803" y="6994526"/>
                </a:lnTo>
                <a:lnTo>
                  <a:pt x="2200153" y="6978020"/>
                </a:lnTo>
                <a:cubicBezTo>
                  <a:pt x="2173924" y="6951968"/>
                  <a:pt x="2157675" y="6915937"/>
                  <a:pt x="2157675" y="6876021"/>
                </a:cubicBezTo>
                <a:cubicBezTo>
                  <a:pt x="2157675" y="6796187"/>
                  <a:pt x="2221963" y="6731896"/>
                  <a:pt x="2301799" y="6731189"/>
                </a:cubicBezTo>
                <a:cubicBezTo>
                  <a:pt x="2381634" y="6731189"/>
                  <a:pt x="2446631" y="6795478"/>
                  <a:pt x="2446631" y="6875313"/>
                </a:cubicBezTo>
                <a:cubicBezTo>
                  <a:pt x="2446631" y="6915230"/>
                  <a:pt x="2430559" y="6951438"/>
                  <a:pt x="2404507" y="6977666"/>
                </a:cubicBezTo>
                <a:close/>
                <a:moveTo>
                  <a:pt x="2863882" y="6994526"/>
                </a:moveTo>
                <a:lnTo>
                  <a:pt x="2591274" y="6994526"/>
                </a:lnTo>
                <a:lnTo>
                  <a:pt x="2597818" y="6961671"/>
                </a:lnTo>
                <a:cubicBezTo>
                  <a:pt x="2618947" y="6911003"/>
                  <a:pt x="2668491" y="6875238"/>
                  <a:pt x="2726779" y="6875238"/>
                </a:cubicBezTo>
                <a:cubicBezTo>
                  <a:pt x="2785061" y="6874708"/>
                  <a:pt x="2835400" y="6909944"/>
                  <a:pt x="2856927" y="6960379"/>
                </a:cubicBezTo>
                <a:close/>
                <a:moveTo>
                  <a:pt x="3469436" y="6994526"/>
                </a:moveTo>
                <a:lnTo>
                  <a:pt x="3297068" y="6994526"/>
                </a:lnTo>
                <a:lnTo>
                  <a:pt x="3276916" y="6964826"/>
                </a:lnTo>
                <a:cubicBezTo>
                  <a:pt x="3271021" y="6950961"/>
                  <a:pt x="3267754" y="6935684"/>
                  <a:pt x="3267754" y="6919612"/>
                </a:cubicBezTo>
                <a:cubicBezTo>
                  <a:pt x="3267046" y="6855323"/>
                  <a:pt x="3318625" y="6803038"/>
                  <a:pt x="3382915" y="6803747"/>
                </a:cubicBezTo>
                <a:cubicBezTo>
                  <a:pt x="3446496" y="6803747"/>
                  <a:pt x="3498782" y="6855323"/>
                  <a:pt x="3498782" y="6918904"/>
                </a:cubicBezTo>
                <a:cubicBezTo>
                  <a:pt x="3498957" y="6934799"/>
                  <a:pt x="3495821" y="6949988"/>
                  <a:pt x="3490026" y="6963831"/>
                </a:cubicBezTo>
                <a:close/>
                <a:moveTo>
                  <a:pt x="3859494" y="6994526"/>
                </a:moveTo>
                <a:lnTo>
                  <a:pt x="3706722" y="6994526"/>
                </a:lnTo>
                <a:lnTo>
                  <a:pt x="3722796" y="6970515"/>
                </a:lnTo>
                <a:cubicBezTo>
                  <a:pt x="3738074" y="6955148"/>
                  <a:pt x="3759268" y="6945611"/>
                  <a:pt x="3782936" y="6945611"/>
                </a:cubicBezTo>
                <a:cubicBezTo>
                  <a:pt x="3806249" y="6945261"/>
                  <a:pt x="3827443" y="6954623"/>
                  <a:pt x="3842808" y="6969901"/>
                </a:cubicBezTo>
                <a:close/>
                <a:moveTo>
                  <a:pt x="4835937" y="6994526"/>
                </a:moveTo>
                <a:lnTo>
                  <a:pt x="4696568" y="6994526"/>
                </a:lnTo>
                <a:lnTo>
                  <a:pt x="4693436" y="6978144"/>
                </a:lnTo>
                <a:cubicBezTo>
                  <a:pt x="4693436" y="6936537"/>
                  <a:pt x="4729830" y="6905305"/>
                  <a:pt x="4766277" y="6905305"/>
                </a:cubicBezTo>
                <a:cubicBezTo>
                  <a:pt x="4807884" y="6905305"/>
                  <a:pt x="4839064" y="6936537"/>
                  <a:pt x="4839064" y="6978144"/>
                </a:cubicBezTo>
                <a:close/>
              </a:path>
            </a:pathLst>
          </a:custGeom>
          <a:solidFill>
            <a:schemeClr val="tx2">
              <a:alpha val="24000"/>
            </a:schemeClr>
          </a:solidFill>
          <a:ln w="10076"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a:stretch>
            <a:fillRect/>
          </a:stretch>
        </p:blipFill>
        <p:spPr bwMode="black">
          <a:xfrm>
            <a:off x="572717" y="574354"/>
            <a:ext cx="1339387" cy="286897"/>
          </a:xfrm>
          <a:prstGeom prst="rect">
            <a:avLst/>
          </a:prstGeom>
        </p:spPr>
      </p:pic>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89"/>
            <a:ext cx="5557834"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sp>
        <p:nvSpPr>
          <p:cNvPr id="55" name="Rectangle 54">
            <a:extLst>
              <a:ext uri="{FF2B5EF4-FFF2-40B4-BE49-F238E27FC236}">
                <a16:creationId xmlns:a16="http://schemas.microsoft.com/office/drawing/2014/main" id="{37F90016-C9B1-4545-AA33-82E51F625163}"/>
              </a:ext>
            </a:extLst>
          </p:cNvPr>
          <p:cNvSpPr/>
          <p:nvPr userDrawn="1"/>
        </p:nvSpPr>
        <p:spPr>
          <a:xfrm>
            <a:off x="588263" y="6598452"/>
            <a:ext cx="1232049" cy="135796"/>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Sans Text"/>
                <a:ea typeface="+mn-ea"/>
                <a:cs typeface="+mn-cs"/>
              </a:rPr>
              <a:t>Microsoft Confidential</a:t>
            </a:r>
          </a:p>
        </p:txBody>
      </p:sp>
      <p:sp>
        <p:nvSpPr>
          <p:cNvPr id="1725" name="Freeform: Shape 1724">
            <a:extLst>
              <a:ext uri="{FF2B5EF4-FFF2-40B4-BE49-F238E27FC236}">
                <a16:creationId xmlns:a16="http://schemas.microsoft.com/office/drawing/2014/main" id="{5BADBCA2-EDBE-4FD3-BE04-5E67773566A6}"/>
              </a:ext>
              <a:ext uri="{C183D7F6-B498-43B3-948B-1728B52AA6E4}">
                <adec:decorative xmlns:adec="http://schemas.microsoft.com/office/drawing/2017/decorative" val="1"/>
              </a:ext>
            </a:extLst>
          </p:cNvPr>
          <p:cNvSpPr/>
          <p:nvPr/>
        </p:nvSpPr>
        <p:spPr>
          <a:xfrm flipH="1" flipV="1">
            <a:off x="8546220" y="1"/>
            <a:ext cx="3645781" cy="6858000"/>
          </a:xfrm>
          <a:custGeom>
            <a:avLst/>
            <a:gdLst>
              <a:gd name="connsiteX0" fmla="*/ 1629926 w 3718887"/>
              <a:gd name="connsiteY0" fmla="*/ 82914 h 6994525"/>
              <a:gd name="connsiteX1" fmla="*/ 1564429 w 3718887"/>
              <a:gd name="connsiteY1" fmla="*/ 19002 h 6994525"/>
              <a:gd name="connsiteX2" fmla="*/ 1567987 w 3718887"/>
              <a:gd name="connsiteY2" fmla="*/ 0 h 6994525"/>
              <a:gd name="connsiteX3" fmla="*/ 1690282 w 3718887"/>
              <a:gd name="connsiteY3" fmla="*/ 0 h 6994525"/>
              <a:gd name="connsiteX4" fmla="*/ 1693837 w 3718887"/>
              <a:gd name="connsiteY4" fmla="*/ 17401 h 6994525"/>
              <a:gd name="connsiteX5" fmla="*/ 1629926 w 3718887"/>
              <a:gd name="connsiteY5" fmla="*/ 82914 h 6994525"/>
              <a:gd name="connsiteX6" fmla="*/ 2087064 w 3718887"/>
              <a:gd name="connsiteY6" fmla="*/ 91005 h 6994525"/>
              <a:gd name="connsiteX7" fmla="*/ 2022351 w 3718887"/>
              <a:gd name="connsiteY7" fmla="*/ 26297 h 6994525"/>
              <a:gd name="connsiteX8" fmla="*/ 2027263 w 3718887"/>
              <a:gd name="connsiteY8" fmla="*/ 155 h 6994525"/>
              <a:gd name="connsiteX9" fmla="*/ 2027362 w 3718887"/>
              <a:gd name="connsiteY9" fmla="*/ 0 h 6994525"/>
              <a:gd name="connsiteX10" fmla="*/ 2146021 w 3718887"/>
              <a:gd name="connsiteY10" fmla="*/ 0 h 6994525"/>
              <a:gd name="connsiteX11" fmla="*/ 2146432 w 3718887"/>
              <a:gd name="connsiteY11" fmla="*/ 589 h 6994525"/>
              <a:gd name="connsiteX12" fmla="*/ 2151778 w 3718887"/>
              <a:gd name="connsiteY12" fmla="*/ 26297 h 6994525"/>
              <a:gd name="connsiteX13" fmla="*/ 2087064 w 3718887"/>
              <a:gd name="connsiteY13" fmla="*/ 91005 h 6994525"/>
              <a:gd name="connsiteX14" fmla="*/ 1154122 w 3718887"/>
              <a:gd name="connsiteY14" fmla="*/ 92359 h 6994525"/>
              <a:gd name="connsiteX15" fmla="*/ 1089083 w 3718887"/>
              <a:gd name="connsiteY15" fmla="*/ 28006 h 6994525"/>
              <a:gd name="connsiteX16" fmla="*/ 1094175 w 3718887"/>
              <a:gd name="connsiteY16" fmla="*/ 2666 h 6994525"/>
              <a:gd name="connsiteX17" fmla="*/ 1095961 w 3718887"/>
              <a:gd name="connsiteY17" fmla="*/ 0 h 6994525"/>
              <a:gd name="connsiteX18" fmla="*/ 1211952 w 3718887"/>
              <a:gd name="connsiteY18" fmla="*/ 0 h 6994525"/>
              <a:gd name="connsiteX19" fmla="*/ 1213372 w 3718887"/>
              <a:gd name="connsiteY19" fmla="*/ 2084 h 6994525"/>
              <a:gd name="connsiteX20" fmla="*/ 1218475 w 3718887"/>
              <a:gd name="connsiteY20" fmla="*/ 27319 h 6994525"/>
              <a:gd name="connsiteX21" fmla="*/ 1154122 w 3718887"/>
              <a:gd name="connsiteY21" fmla="*/ 92359 h 6994525"/>
              <a:gd name="connsiteX22" fmla="*/ 2530133 w 3718887"/>
              <a:gd name="connsiteY22" fmla="*/ 112239 h 6994525"/>
              <a:gd name="connsiteX23" fmla="*/ 2462774 w 3718887"/>
              <a:gd name="connsiteY23" fmla="*/ 44867 h 6994525"/>
              <a:gd name="connsiteX24" fmla="*/ 2468135 w 3718887"/>
              <a:gd name="connsiteY24" fmla="*/ 18907 h 6994525"/>
              <a:gd name="connsiteX25" fmla="*/ 2481370 w 3718887"/>
              <a:gd name="connsiteY25" fmla="*/ 0 h 6994525"/>
              <a:gd name="connsiteX26" fmla="*/ 2578949 w 3718887"/>
              <a:gd name="connsiteY26" fmla="*/ 0 h 6994525"/>
              <a:gd name="connsiteX27" fmla="*/ 2592191 w 3718887"/>
              <a:gd name="connsiteY27" fmla="*/ 18907 h 6994525"/>
              <a:gd name="connsiteX28" fmla="*/ 2597553 w 3718887"/>
              <a:gd name="connsiteY28" fmla="*/ 44867 h 6994525"/>
              <a:gd name="connsiteX29" fmla="*/ 2530133 w 3718887"/>
              <a:gd name="connsiteY29" fmla="*/ 112239 h 6994525"/>
              <a:gd name="connsiteX30" fmla="*/ 659393 w 3718887"/>
              <a:gd name="connsiteY30" fmla="*/ 131409 h 6994525"/>
              <a:gd name="connsiteX31" fmla="*/ 588456 w 3718887"/>
              <a:gd name="connsiteY31" fmla="*/ 61102 h 6994525"/>
              <a:gd name="connsiteX32" fmla="*/ 609015 w 3718887"/>
              <a:gd name="connsiteY32" fmla="*/ 10804 h 6994525"/>
              <a:gd name="connsiteX33" fmla="*/ 624986 w 3718887"/>
              <a:gd name="connsiteY33" fmla="*/ 0 h 6994525"/>
              <a:gd name="connsiteX34" fmla="*/ 692744 w 3718887"/>
              <a:gd name="connsiteY34" fmla="*/ 0 h 6994525"/>
              <a:gd name="connsiteX35" fmla="*/ 708826 w 3718887"/>
              <a:gd name="connsiteY35" fmla="*/ 10726 h 6994525"/>
              <a:gd name="connsiteX36" fmla="*/ 729700 w 3718887"/>
              <a:gd name="connsiteY36" fmla="*/ 60473 h 6994525"/>
              <a:gd name="connsiteX37" fmla="*/ 659393 w 3718887"/>
              <a:gd name="connsiteY37" fmla="*/ 131409 h 6994525"/>
              <a:gd name="connsiteX38" fmla="*/ 142646 w 3718887"/>
              <a:gd name="connsiteY38" fmla="*/ 210413 h 6994525"/>
              <a:gd name="connsiteX39" fmla="*/ 58527 w 3718887"/>
              <a:gd name="connsiteY39" fmla="*/ 126923 h 6994525"/>
              <a:gd name="connsiteX40" fmla="*/ 142646 w 3718887"/>
              <a:gd name="connsiteY40" fmla="*/ 42805 h 6994525"/>
              <a:gd name="connsiteX41" fmla="*/ 226764 w 3718887"/>
              <a:gd name="connsiteY41" fmla="*/ 126294 h 6994525"/>
              <a:gd name="connsiteX42" fmla="*/ 142646 w 3718887"/>
              <a:gd name="connsiteY42" fmla="*/ 210413 h 6994525"/>
              <a:gd name="connsiteX43" fmla="*/ 1371671 w 3718887"/>
              <a:gd name="connsiteY43" fmla="*/ 287327 h 6994525"/>
              <a:gd name="connsiteX44" fmla="*/ 1306968 w 3718887"/>
              <a:gd name="connsiteY44" fmla="*/ 222624 h 6994525"/>
              <a:gd name="connsiteX45" fmla="*/ 1370642 w 3718887"/>
              <a:gd name="connsiteY45" fmla="*/ 156892 h 6994525"/>
              <a:gd name="connsiteX46" fmla="*/ 1436374 w 3718887"/>
              <a:gd name="connsiteY46" fmla="*/ 221595 h 6994525"/>
              <a:gd name="connsiteX47" fmla="*/ 1371671 w 3718887"/>
              <a:gd name="connsiteY47" fmla="*/ 287327 h 6994525"/>
              <a:gd name="connsiteX48" fmla="*/ 1832087 w 3718887"/>
              <a:gd name="connsiteY48" fmla="*/ 293701 h 6994525"/>
              <a:gd name="connsiteX49" fmla="*/ 1766588 w 3718887"/>
              <a:gd name="connsiteY49" fmla="*/ 229789 h 6994525"/>
              <a:gd name="connsiteX50" fmla="*/ 1830486 w 3718887"/>
              <a:gd name="connsiteY50" fmla="*/ 164293 h 6994525"/>
              <a:gd name="connsiteX51" fmla="*/ 1896001 w 3718887"/>
              <a:gd name="connsiteY51" fmla="*/ 228204 h 6994525"/>
              <a:gd name="connsiteX52" fmla="*/ 1832087 w 3718887"/>
              <a:gd name="connsiteY52" fmla="*/ 293701 h 6994525"/>
              <a:gd name="connsiteX53" fmla="*/ 893839 w 3718887"/>
              <a:gd name="connsiteY53" fmla="*/ 305629 h 6994525"/>
              <a:gd name="connsiteX54" fmla="*/ 822903 w 3718887"/>
              <a:gd name="connsiteY54" fmla="*/ 235322 h 6994525"/>
              <a:gd name="connsiteX55" fmla="*/ 893216 w 3718887"/>
              <a:gd name="connsiteY55" fmla="*/ 164387 h 6994525"/>
              <a:gd name="connsiteX56" fmla="*/ 964151 w 3718887"/>
              <a:gd name="connsiteY56" fmla="*/ 234693 h 6994525"/>
              <a:gd name="connsiteX57" fmla="*/ 893839 w 3718887"/>
              <a:gd name="connsiteY57" fmla="*/ 305629 h 6994525"/>
              <a:gd name="connsiteX58" fmla="*/ 2277527 w 3718887"/>
              <a:gd name="connsiteY58" fmla="*/ 317275 h 6994525"/>
              <a:gd name="connsiteX59" fmla="*/ 2210154 w 3718887"/>
              <a:gd name="connsiteY59" fmla="*/ 249853 h 6994525"/>
              <a:gd name="connsiteX60" fmla="*/ 2277527 w 3718887"/>
              <a:gd name="connsiteY60" fmla="*/ 182492 h 6994525"/>
              <a:gd name="connsiteX61" fmla="*/ 2338820 w 3718887"/>
              <a:gd name="connsiteY61" fmla="*/ 249853 h 6994525"/>
              <a:gd name="connsiteX62" fmla="*/ 2277527 w 3718887"/>
              <a:gd name="connsiteY62" fmla="*/ 317275 h 6994525"/>
              <a:gd name="connsiteX63" fmla="*/ 2704822 w 3718887"/>
              <a:gd name="connsiteY63" fmla="*/ 346452 h 6994525"/>
              <a:gd name="connsiteX64" fmla="*/ 2640090 w 3718887"/>
              <a:gd name="connsiteY64" fmla="*/ 281720 h 6994525"/>
              <a:gd name="connsiteX65" fmla="*/ 2704822 w 3718887"/>
              <a:gd name="connsiteY65" fmla="*/ 216989 h 6994525"/>
              <a:gd name="connsiteX66" fmla="*/ 2769553 w 3718887"/>
              <a:gd name="connsiteY66" fmla="*/ 281720 h 6994525"/>
              <a:gd name="connsiteX67" fmla="*/ 2704822 w 3718887"/>
              <a:gd name="connsiteY67" fmla="*/ 346452 h 6994525"/>
              <a:gd name="connsiteX68" fmla="*/ 393966 w 3718887"/>
              <a:gd name="connsiteY68" fmla="*/ 370114 h 6994525"/>
              <a:gd name="connsiteX69" fmla="*/ 298555 w 3718887"/>
              <a:gd name="connsiteY69" fmla="*/ 275332 h 6994525"/>
              <a:gd name="connsiteX70" fmla="*/ 393343 w 3718887"/>
              <a:gd name="connsiteY70" fmla="*/ 179915 h 6994525"/>
              <a:gd name="connsiteX71" fmla="*/ 488754 w 3718887"/>
              <a:gd name="connsiteY71" fmla="*/ 274703 h 6994525"/>
              <a:gd name="connsiteX72" fmla="*/ 393966 w 3718887"/>
              <a:gd name="connsiteY72" fmla="*/ 370114 h 6994525"/>
              <a:gd name="connsiteX73" fmla="*/ 1576126 w 3718887"/>
              <a:gd name="connsiteY73" fmla="*/ 495868 h 6994525"/>
              <a:gd name="connsiteX74" fmla="*/ 1511087 w 3718887"/>
              <a:gd name="connsiteY74" fmla="*/ 431515 h 6994525"/>
              <a:gd name="connsiteX75" fmla="*/ 1575440 w 3718887"/>
              <a:gd name="connsiteY75" fmla="*/ 366476 h 6994525"/>
              <a:gd name="connsiteX76" fmla="*/ 1640479 w 3718887"/>
              <a:gd name="connsiteY76" fmla="*/ 430828 h 6994525"/>
              <a:gd name="connsiteX77" fmla="*/ 1576126 w 3718887"/>
              <a:gd name="connsiteY77" fmla="*/ 495868 h 6994525"/>
              <a:gd name="connsiteX78" fmla="*/ 1114519 w 3718887"/>
              <a:gd name="connsiteY78" fmla="*/ 501027 h 6994525"/>
              <a:gd name="connsiteX79" fmla="*/ 1039185 w 3718887"/>
              <a:gd name="connsiteY79" fmla="*/ 425700 h 6994525"/>
              <a:gd name="connsiteX80" fmla="*/ 1113889 w 3718887"/>
              <a:gd name="connsiteY80" fmla="*/ 350997 h 6994525"/>
              <a:gd name="connsiteX81" fmla="*/ 1189217 w 3718887"/>
              <a:gd name="connsiteY81" fmla="*/ 425700 h 6994525"/>
              <a:gd name="connsiteX82" fmla="*/ 1114519 w 3718887"/>
              <a:gd name="connsiteY82" fmla="*/ 501027 h 6994525"/>
              <a:gd name="connsiteX83" fmla="*/ 2020504 w 3718887"/>
              <a:gd name="connsiteY83" fmla="*/ 516458 h 6994525"/>
              <a:gd name="connsiteX84" fmla="*/ 1955039 w 3718887"/>
              <a:gd name="connsiteY84" fmla="*/ 452578 h 6994525"/>
              <a:gd name="connsiteX85" fmla="*/ 2018919 w 3718887"/>
              <a:gd name="connsiteY85" fmla="*/ 387114 h 6994525"/>
              <a:gd name="connsiteX86" fmla="*/ 2084383 w 3718887"/>
              <a:gd name="connsiteY86" fmla="*/ 450978 h 6994525"/>
              <a:gd name="connsiteX87" fmla="*/ 2020504 w 3718887"/>
              <a:gd name="connsiteY87" fmla="*/ 516458 h 6994525"/>
              <a:gd name="connsiteX88" fmla="*/ 632723 w 3718887"/>
              <a:gd name="connsiteY88" fmla="*/ 529961 h 6994525"/>
              <a:gd name="connsiteX89" fmla="*/ 546096 w 3718887"/>
              <a:gd name="connsiteY89" fmla="*/ 443963 h 6994525"/>
              <a:gd name="connsiteX90" fmla="*/ 632093 w 3718887"/>
              <a:gd name="connsiteY90" fmla="*/ 357337 h 6994525"/>
              <a:gd name="connsiteX91" fmla="*/ 718720 w 3718887"/>
              <a:gd name="connsiteY91" fmla="*/ 443334 h 6994525"/>
              <a:gd name="connsiteX92" fmla="*/ 632723 w 3718887"/>
              <a:gd name="connsiteY92" fmla="*/ 529961 h 6994525"/>
              <a:gd name="connsiteX93" fmla="*/ 2449263 w 3718887"/>
              <a:gd name="connsiteY93" fmla="*/ 548993 h 6994525"/>
              <a:gd name="connsiteX94" fmla="*/ 2384567 w 3718887"/>
              <a:gd name="connsiteY94" fmla="*/ 486891 h 6994525"/>
              <a:gd name="connsiteX95" fmla="*/ 2449263 w 3718887"/>
              <a:gd name="connsiteY95" fmla="*/ 419601 h 6994525"/>
              <a:gd name="connsiteX96" fmla="*/ 2513959 w 3718887"/>
              <a:gd name="connsiteY96" fmla="*/ 484297 h 6994525"/>
              <a:gd name="connsiteX97" fmla="*/ 2449263 w 3718887"/>
              <a:gd name="connsiteY97" fmla="*/ 548993 h 6994525"/>
              <a:gd name="connsiteX98" fmla="*/ 2866138 w 3718887"/>
              <a:gd name="connsiteY98" fmla="*/ 589931 h 6994525"/>
              <a:gd name="connsiteX99" fmla="*/ 2801406 w 3718887"/>
              <a:gd name="connsiteY99" fmla="*/ 525199 h 6994525"/>
              <a:gd name="connsiteX100" fmla="*/ 2866138 w 3718887"/>
              <a:gd name="connsiteY100" fmla="*/ 460468 h 6994525"/>
              <a:gd name="connsiteX101" fmla="*/ 2930869 w 3718887"/>
              <a:gd name="connsiteY101" fmla="*/ 525199 h 6994525"/>
              <a:gd name="connsiteX102" fmla="*/ 2866138 w 3718887"/>
              <a:gd name="connsiteY102" fmla="*/ 589931 h 6994525"/>
              <a:gd name="connsiteX103" fmla="*/ 127263 w 3718887"/>
              <a:gd name="connsiteY103" fmla="*/ 594462 h 6994525"/>
              <a:gd name="connsiteX104" fmla="*/ 24311 w 3718887"/>
              <a:gd name="connsiteY104" fmla="*/ 492139 h 6994525"/>
              <a:gd name="connsiteX105" fmla="*/ 126633 w 3718887"/>
              <a:gd name="connsiteY105" fmla="*/ 389188 h 6994525"/>
              <a:gd name="connsiteX106" fmla="*/ 229585 w 3718887"/>
              <a:gd name="connsiteY106" fmla="*/ 491510 h 6994525"/>
              <a:gd name="connsiteX107" fmla="*/ 127263 w 3718887"/>
              <a:gd name="connsiteY107" fmla="*/ 594462 h 6994525"/>
              <a:gd name="connsiteX108" fmla="*/ 1320149 w 3718887"/>
              <a:gd name="connsiteY108" fmla="*/ 708802 h 6994525"/>
              <a:gd name="connsiteX109" fmla="*/ 1244815 w 3718887"/>
              <a:gd name="connsiteY109" fmla="*/ 634103 h 6994525"/>
              <a:gd name="connsiteX110" fmla="*/ 1319519 w 3718887"/>
              <a:gd name="connsiteY110" fmla="*/ 558770 h 6994525"/>
              <a:gd name="connsiteX111" fmla="*/ 1394847 w 3718887"/>
              <a:gd name="connsiteY111" fmla="*/ 633474 h 6994525"/>
              <a:gd name="connsiteX112" fmla="*/ 1320149 w 3718887"/>
              <a:gd name="connsiteY112" fmla="*/ 708802 h 6994525"/>
              <a:gd name="connsiteX113" fmla="*/ 1764849 w 3718887"/>
              <a:gd name="connsiteY113" fmla="*/ 718484 h 6994525"/>
              <a:gd name="connsiteX114" fmla="*/ 1700159 w 3718887"/>
              <a:gd name="connsiteY114" fmla="*/ 653791 h 6994525"/>
              <a:gd name="connsiteX115" fmla="*/ 1764849 w 3718887"/>
              <a:gd name="connsiteY115" fmla="*/ 589092 h 6994525"/>
              <a:gd name="connsiteX116" fmla="*/ 1829546 w 3718887"/>
              <a:gd name="connsiteY116" fmla="*/ 653791 h 6994525"/>
              <a:gd name="connsiteX117" fmla="*/ 1764849 w 3718887"/>
              <a:gd name="connsiteY117" fmla="*/ 718484 h 6994525"/>
              <a:gd name="connsiteX118" fmla="*/ 856415 w 3718887"/>
              <a:gd name="connsiteY118" fmla="*/ 736355 h 6994525"/>
              <a:gd name="connsiteX119" fmla="*/ 750953 w 3718887"/>
              <a:gd name="connsiteY119" fmla="*/ 631522 h 6994525"/>
              <a:gd name="connsiteX120" fmla="*/ 855785 w 3718887"/>
              <a:gd name="connsiteY120" fmla="*/ 526061 h 6994525"/>
              <a:gd name="connsiteX121" fmla="*/ 961247 w 3718887"/>
              <a:gd name="connsiteY121" fmla="*/ 630893 h 6994525"/>
              <a:gd name="connsiteX122" fmla="*/ 856415 w 3718887"/>
              <a:gd name="connsiteY122" fmla="*/ 736355 h 6994525"/>
              <a:gd name="connsiteX123" fmla="*/ 2193747 w 3718887"/>
              <a:gd name="connsiteY123" fmla="*/ 751188 h 6994525"/>
              <a:gd name="connsiteX124" fmla="*/ 2129041 w 3718887"/>
              <a:gd name="connsiteY124" fmla="*/ 686484 h 6994525"/>
              <a:gd name="connsiteX125" fmla="*/ 2193747 w 3718887"/>
              <a:gd name="connsiteY125" fmla="*/ 621788 h 6994525"/>
              <a:gd name="connsiteX126" fmla="*/ 2258444 w 3718887"/>
              <a:gd name="connsiteY126" fmla="*/ 686484 h 6994525"/>
              <a:gd name="connsiteX127" fmla="*/ 2193747 w 3718887"/>
              <a:gd name="connsiteY127" fmla="*/ 751188 h 6994525"/>
              <a:gd name="connsiteX128" fmla="*/ 370307 w 3718887"/>
              <a:gd name="connsiteY128" fmla="*/ 767504 h 6994525"/>
              <a:gd name="connsiteX129" fmla="*/ 256062 w 3718887"/>
              <a:gd name="connsiteY129" fmla="*/ 653882 h 6994525"/>
              <a:gd name="connsiteX130" fmla="*/ 369684 w 3718887"/>
              <a:gd name="connsiteY130" fmla="*/ 539637 h 6994525"/>
              <a:gd name="connsiteX131" fmla="*/ 483929 w 3718887"/>
              <a:gd name="connsiteY131" fmla="*/ 653259 h 6994525"/>
              <a:gd name="connsiteX132" fmla="*/ 370307 w 3718887"/>
              <a:gd name="connsiteY132" fmla="*/ 767504 h 6994525"/>
              <a:gd name="connsiteX133" fmla="*/ 2610398 w 3718887"/>
              <a:gd name="connsiteY133" fmla="*/ 794227 h 6994525"/>
              <a:gd name="connsiteX134" fmla="*/ 2544378 w 3718887"/>
              <a:gd name="connsiteY134" fmla="*/ 728208 h 6994525"/>
              <a:gd name="connsiteX135" fmla="*/ 2607750 w 3718887"/>
              <a:gd name="connsiteY135" fmla="*/ 662189 h 6994525"/>
              <a:gd name="connsiteX136" fmla="*/ 2673770 w 3718887"/>
              <a:gd name="connsiteY136" fmla="*/ 728208 h 6994525"/>
              <a:gd name="connsiteX137" fmla="*/ 2610398 w 3718887"/>
              <a:gd name="connsiteY137" fmla="*/ 794227 h 6994525"/>
              <a:gd name="connsiteX138" fmla="*/ 3013689 w 3718887"/>
              <a:gd name="connsiteY138" fmla="*/ 842020 h 6994525"/>
              <a:gd name="connsiteX139" fmla="*/ 2948957 w 3718887"/>
              <a:gd name="connsiteY139" fmla="*/ 777288 h 6994525"/>
              <a:gd name="connsiteX140" fmla="*/ 3013689 w 3718887"/>
              <a:gd name="connsiteY140" fmla="*/ 712557 h 6994525"/>
              <a:gd name="connsiteX141" fmla="*/ 3078420 w 3718887"/>
              <a:gd name="connsiteY141" fmla="*/ 777288 h 6994525"/>
              <a:gd name="connsiteX142" fmla="*/ 3013689 w 3718887"/>
              <a:gd name="connsiteY142" fmla="*/ 842020 h 6994525"/>
              <a:gd name="connsiteX143" fmla="*/ 1064190 w 3718887"/>
              <a:gd name="connsiteY143" fmla="*/ 928366 h 6994525"/>
              <a:gd name="connsiteX144" fmla="*/ 971911 w 3718887"/>
              <a:gd name="connsiteY144" fmla="*/ 836716 h 6994525"/>
              <a:gd name="connsiteX145" fmla="*/ 1063561 w 3718887"/>
              <a:gd name="connsiteY145" fmla="*/ 744438 h 6994525"/>
              <a:gd name="connsiteX146" fmla="*/ 1155839 w 3718887"/>
              <a:gd name="connsiteY146" fmla="*/ 836087 h 6994525"/>
              <a:gd name="connsiteX147" fmla="*/ 1064190 w 3718887"/>
              <a:gd name="connsiteY147" fmla="*/ 928366 h 6994525"/>
              <a:gd name="connsiteX148" fmla="*/ 1509952 w 3718887"/>
              <a:gd name="connsiteY148" fmla="*/ 930776 h 6994525"/>
              <a:gd name="connsiteX149" fmla="*/ 1433998 w 3718887"/>
              <a:gd name="connsiteY149" fmla="*/ 856080 h 6994525"/>
              <a:gd name="connsiteX150" fmla="*/ 1509323 w 3718887"/>
              <a:gd name="connsiteY150" fmla="*/ 780748 h 6994525"/>
              <a:gd name="connsiteX151" fmla="*/ 1584648 w 3718887"/>
              <a:gd name="connsiteY151" fmla="*/ 855450 h 6994525"/>
              <a:gd name="connsiteX152" fmla="*/ 1509952 w 3718887"/>
              <a:gd name="connsiteY152" fmla="*/ 930776 h 6994525"/>
              <a:gd name="connsiteX153" fmla="*/ 597871 w 3718887"/>
              <a:gd name="connsiteY153" fmla="*/ 950331 h 6994525"/>
              <a:gd name="connsiteX154" fmla="*/ 483626 w 3718887"/>
              <a:gd name="connsiteY154" fmla="*/ 836709 h 6994525"/>
              <a:gd name="connsiteX155" fmla="*/ 597248 w 3718887"/>
              <a:gd name="connsiteY155" fmla="*/ 722464 h 6994525"/>
              <a:gd name="connsiteX156" fmla="*/ 711493 w 3718887"/>
              <a:gd name="connsiteY156" fmla="*/ 836086 h 6994525"/>
              <a:gd name="connsiteX157" fmla="*/ 597871 w 3718887"/>
              <a:gd name="connsiteY157" fmla="*/ 950331 h 6994525"/>
              <a:gd name="connsiteX158" fmla="*/ 1937779 w 3718887"/>
              <a:gd name="connsiteY158" fmla="*/ 953370 h 6994525"/>
              <a:gd name="connsiteX159" fmla="*/ 1873083 w 3718887"/>
              <a:gd name="connsiteY159" fmla="*/ 888666 h 6994525"/>
              <a:gd name="connsiteX160" fmla="*/ 1937779 w 3718887"/>
              <a:gd name="connsiteY160" fmla="*/ 823970 h 6994525"/>
              <a:gd name="connsiteX161" fmla="*/ 2002475 w 3718887"/>
              <a:gd name="connsiteY161" fmla="*/ 888666 h 6994525"/>
              <a:gd name="connsiteX162" fmla="*/ 1937779 w 3718887"/>
              <a:gd name="connsiteY162" fmla="*/ 953370 h 6994525"/>
              <a:gd name="connsiteX163" fmla="*/ 107143 w 3718887"/>
              <a:gd name="connsiteY163" fmla="*/ 985963 h 6994525"/>
              <a:gd name="connsiteX164" fmla="*/ 21613 w 3718887"/>
              <a:gd name="connsiteY164" fmla="*/ 951202 h 6994525"/>
              <a:gd name="connsiteX165" fmla="*/ 0 w 3718887"/>
              <a:gd name="connsiteY165" fmla="*/ 919474 h 6994525"/>
              <a:gd name="connsiteX166" fmla="*/ 0 w 3718887"/>
              <a:gd name="connsiteY166" fmla="*/ 811706 h 6994525"/>
              <a:gd name="connsiteX167" fmla="*/ 20748 w 3718887"/>
              <a:gd name="connsiteY167" fmla="*/ 780538 h 6994525"/>
              <a:gd name="connsiteX168" fmla="*/ 105885 w 3718887"/>
              <a:gd name="connsiteY168" fmla="*/ 744914 h 6994525"/>
              <a:gd name="connsiteX169" fmla="*/ 227038 w 3718887"/>
              <a:gd name="connsiteY169" fmla="*/ 864809 h 6994525"/>
              <a:gd name="connsiteX170" fmla="*/ 107143 w 3718887"/>
              <a:gd name="connsiteY170" fmla="*/ 985963 h 6994525"/>
              <a:gd name="connsiteX171" fmla="*/ 2352242 w 3718887"/>
              <a:gd name="connsiteY171" fmla="*/ 996605 h 6994525"/>
              <a:gd name="connsiteX172" fmla="*/ 2287128 w 3718887"/>
              <a:gd name="connsiteY172" fmla="*/ 932319 h 6994525"/>
              <a:gd name="connsiteX173" fmla="*/ 2351414 w 3718887"/>
              <a:gd name="connsiteY173" fmla="*/ 867205 h 6994525"/>
              <a:gd name="connsiteX174" fmla="*/ 2416528 w 3718887"/>
              <a:gd name="connsiteY174" fmla="*/ 931491 h 6994525"/>
              <a:gd name="connsiteX175" fmla="*/ 2352242 w 3718887"/>
              <a:gd name="connsiteY175" fmla="*/ 996605 h 6994525"/>
              <a:gd name="connsiteX176" fmla="*/ 2755248 w 3718887"/>
              <a:gd name="connsiteY176" fmla="*/ 1046513 h 6994525"/>
              <a:gd name="connsiteX177" fmla="*/ 2689749 w 3718887"/>
              <a:gd name="connsiteY177" fmla="*/ 982601 h 6994525"/>
              <a:gd name="connsiteX178" fmla="*/ 2753663 w 3718887"/>
              <a:gd name="connsiteY178" fmla="*/ 917105 h 6994525"/>
              <a:gd name="connsiteX179" fmla="*/ 2819162 w 3718887"/>
              <a:gd name="connsiteY179" fmla="*/ 981016 h 6994525"/>
              <a:gd name="connsiteX180" fmla="*/ 2755248 w 3718887"/>
              <a:gd name="connsiteY180" fmla="*/ 1046513 h 6994525"/>
              <a:gd name="connsiteX181" fmla="*/ 3147209 w 3718887"/>
              <a:gd name="connsiteY181" fmla="*/ 1101770 h 6994525"/>
              <a:gd name="connsiteX182" fmla="*/ 3082509 w 3718887"/>
              <a:gd name="connsiteY182" fmla="*/ 1037074 h 6994525"/>
              <a:gd name="connsiteX183" fmla="*/ 3147209 w 3718887"/>
              <a:gd name="connsiteY183" fmla="*/ 972378 h 6994525"/>
              <a:gd name="connsiteX184" fmla="*/ 3211909 w 3718887"/>
              <a:gd name="connsiteY184" fmla="*/ 1037074 h 6994525"/>
              <a:gd name="connsiteX185" fmla="*/ 3147209 w 3718887"/>
              <a:gd name="connsiteY185" fmla="*/ 1101770 h 6994525"/>
              <a:gd name="connsiteX186" fmla="*/ 808229 w 3718887"/>
              <a:gd name="connsiteY186" fmla="*/ 1158601 h 6994525"/>
              <a:gd name="connsiteX187" fmla="*/ 688332 w 3718887"/>
              <a:gd name="connsiteY187" fmla="*/ 1039327 h 6994525"/>
              <a:gd name="connsiteX188" fmla="*/ 807606 w 3718887"/>
              <a:gd name="connsiteY188" fmla="*/ 919430 h 6994525"/>
              <a:gd name="connsiteX189" fmla="*/ 927503 w 3718887"/>
              <a:gd name="connsiteY189" fmla="*/ 1038698 h 6994525"/>
              <a:gd name="connsiteX190" fmla="*/ 808229 w 3718887"/>
              <a:gd name="connsiteY190" fmla="*/ 1158601 h 6994525"/>
              <a:gd name="connsiteX191" fmla="*/ 1254758 w 3718887"/>
              <a:gd name="connsiteY191" fmla="*/ 1162662 h 6994525"/>
              <a:gd name="connsiteX192" fmla="*/ 1149296 w 3718887"/>
              <a:gd name="connsiteY192" fmla="*/ 1057829 h 6994525"/>
              <a:gd name="connsiteX193" fmla="*/ 1254129 w 3718887"/>
              <a:gd name="connsiteY193" fmla="*/ 952368 h 6994525"/>
              <a:gd name="connsiteX194" fmla="*/ 1359590 w 3718887"/>
              <a:gd name="connsiteY194" fmla="*/ 1057200 h 6994525"/>
              <a:gd name="connsiteX195" fmla="*/ 1254758 w 3718887"/>
              <a:gd name="connsiteY195" fmla="*/ 1162662 h 6994525"/>
              <a:gd name="connsiteX196" fmla="*/ 1682350 w 3718887"/>
              <a:gd name="connsiteY196" fmla="*/ 1166189 h 6994525"/>
              <a:gd name="connsiteX197" fmla="*/ 1607025 w 3718887"/>
              <a:gd name="connsiteY197" fmla="*/ 1090864 h 6994525"/>
              <a:gd name="connsiteX198" fmla="*/ 1681727 w 3718887"/>
              <a:gd name="connsiteY198" fmla="*/ 1015533 h 6994525"/>
              <a:gd name="connsiteX199" fmla="*/ 1757053 w 3718887"/>
              <a:gd name="connsiteY199" fmla="*/ 1090235 h 6994525"/>
              <a:gd name="connsiteX200" fmla="*/ 1682350 w 3718887"/>
              <a:gd name="connsiteY200" fmla="*/ 1166189 h 6994525"/>
              <a:gd name="connsiteX201" fmla="*/ 338908 w 3718887"/>
              <a:gd name="connsiteY201" fmla="*/ 1168843 h 6994525"/>
              <a:gd name="connsiteX202" fmla="*/ 212732 w 3718887"/>
              <a:gd name="connsiteY202" fmla="*/ 1043289 h 6994525"/>
              <a:gd name="connsiteX203" fmla="*/ 337649 w 3718887"/>
              <a:gd name="connsiteY203" fmla="*/ 916489 h 6994525"/>
              <a:gd name="connsiteX204" fmla="*/ 464454 w 3718887"/>
              <a:gd name="connsiteY204" fmla="*/ 1042037 h 6994525"/>
              <a:gd name="connsiteX205" fmla="*/ 338908 w 3718887"/>
              <a:gd name="connsiteY205" fmla="*/ 1168843 h 6994525"/>
              <a:gd name="connsiteX206" fmla="*/ 2094906 w 3718887"/>
              <a:gd name="connsiteY206" fmla="*/ 1200074 h 6994525"/>
              <a:gd name="connsiteX207" fmla="*/ 2029884 w 3718887"/>
              <a:gd name="connsiteY207" fmla="*/ 1135698 h 6994525"/>
              <a:gd name="connsiteX208" fmla="*/ 2094261 w 3718887"/>
              <a:gd name="connsiteY208" fmla="*/ 1070676 h 6994525"/>
              <a:gd name="connsiteX209" fmla="*/ 2159282 w 3718887"/>
              <a:gd name="connsiteY209" fmla="*/ 1135052 h 6994525"/>
              <a:gd name="connsiteX210" fmla="*/ 2094906 w 3718887"/>
              <a:gd name="connsiteY210" fmla="*/ 1200074 h 6994525"/>
              <a:gd name="connsiteX211" fmla="*/ 2494634 w 3718887"/>
              <a:gd name="connsiteY211" fmla="*/ 1251698 h 6994525"/>
              <a:gd name="connsiteX212" fmla="*/ 2429520 w 3718887"/>
              <a:gd name="connsiteY212" fmla="*/ 1187412 h 6994525"/>
              <a:gd name="connsiteX213" fmla="*/ 2493806 w 3718887"/>
              <a:gd name="connsiteY213" fmla="*/ 1122298 h 6994525"/>
              <a:gd name="connsiteX214" fmla="*/ 2558920 w 3718887"/>
              <a:gd name="connsiteY214" fmla="*/ 1186584 h 6994525"/>
              <a:gd name="connsiteX215" fmla="*/ 2494634 w 3718887"/>
              <a:gd name="connsiteY215" fmla="*/ 1251698 h 6994525"/>
              <a:gd name="connsiteX216" fmla="*/ 2884179 w 3718887"/>
              <a:gd name="connsiteY216" fmla="*/ 1308282 h 6994525"/>
              <a:gd name="connsiteX217" fmla="*/ 2819472 w 3718887"/>
              <a:gd name="connsiteY217" fmla="*/ 1243575 h 6994525"/>
              <a:gd name="connsiteX218" fmla="*/ 2884179 w 3718887"/>
              <a:gd name="connsiteY218" fmla="*/ 1178869 h 6994525"/>
              <a:gd name="connsiteX219" fmla="*/ 2948885 w 3718887"/>
              <a:gd name="connsiteY219" fmla="*/ 1243575 h 6994525"/>
              <a:gd name="connsiteX220" fmla="*/ 2884179 w 3718887"/>
              <a:gd name="connsiteY220" fmla="*/ 1308282 h 6994525"/>
              <a:gd name="connsiteX221" fmla="*/ 78656 w 3718887"/>
              <a:gd name="connsiteY221" fmla="*/ 1344897 h 6994525"/>
              <a:gd name="connsiteX222" fmla="*/ 11174 w 3718887"/>
              <a:gd name="connsiteY222" fmla="*/ 1317278 h 6994525"/>
              <a:gd name="connsiteX223" fmla="*/ 0 w 3718887"/>
              <a:gd name="connsiteY223" fmla="*/ 1300819 h 6994525"/>
              <a:gd name="connsiteX224" fmla="*/ 0 w 3718887"/>
              <a:gd name="connsiteY224" fmla="*/ 1198917 h 6994525"/>
              <a:gd name="connsiteX225" fmla="*/ 10859 w 3718887"/>
              <a:gd name="connsiteY225" fmla="*/ 1182633 h 6994525"/>
              <a:gd name="connsiteX226" fmla="*/ 78027 w 3718887"/>
              <a:gd name="connsiteY226" fmla="*/ 1154698 h 6994525"/>
              <a:gd name="connsiteX227" fmla="*/ 173438 w 3718887"/>
              <a:gd name="connsiteY227" fmla="*/ 1249486 h 6994525"/>
              <a:gd name="connsiteX228" fmla="*/ 78656 w 3718887"/>
              <a:gd name="connsiteY228" fmla="*/ 1344897 h 6994525"/>
              <a:gd name="connsiteX229" fmla="*/ 551846 w 3718887"/>
              <a:gd name="connsiteY229" fmla="*/ 1364048 h 6994525"/>
              <a:gd name="connsiteX230" fmla="*/ 430064 w 3718887"/>
              <a:gd name="connsiteY230" fmla="*/ 1242895 h 6994525"/>
              <a:gd name="connsiteX231" fmla="*/ 550587 w 3718887"/>
              <a:gd name="connsiteY231" fmla="*/ 1120490 h 6994525"/>
              <a:gd name="connsiteX232" fmla="*/ 672992 w 3718887"/>
              <a:gd name="connsiteY232" fmla="*/ 1241643 h 6994525"/>
              <a:gd name="connsiteX233" fmla="*/ 551846 w 3718887"/>
              <a:gd name="connsiteY233" fmla="*/ 1364048 h 6994525"/>
              <a:gd name="connsiteX234" fmla="*/ 3265345 w 3718887"/>
              <a:gd name="connsiteY234" fmla="*/ 1368986 h 6994525"/>
              <a:gd name="connsiteX235" fmla="*/ 3200613 w 3718887"/>
              <a:gd name="connsiteY235" fmla="*/ 1304254 h 6994525"/>
              <a:gd name="connsiteX236" fmla="*/ 3265345 w 3718887"/>
              <a:gd name="connsiteY236" fmla="*/ 1239523 h 6994525"/>
              <a:gd name="connsiteX237" fmla="*/ 3330076 w 3718887"/>
              <a:gd name="connsiteY237" fmla="*/ 1304254 h 6994525"/>
              <a:gd name="connsiteX238" fmla="*/ 3265345 w 3718887"/>
              <a:gd name="connsiteY238" fmla="*/ 1368986 h 6994525"/>
              <a:gd name="connsiteX239" fmla="*/ 999660 w 3718887"/>
              <a:gd name="connsiteY239" fmla="*/ 1381990 h 6994525"/>
              <a:gd name="connsiteX240" fmla="*/ 876623 w 3718887"/>
              <a:gd name="connsiteY240" fmla="*/ 1259579 h 6994525"/>
              <a:gd name="connsiteX241" fmla="*/ 999031 w 3718887"/>
              <a:gd name="connsiteY241" fmla="*/ 1136539 h 6994525"/>
              <a:gd name="connsiteX242" fmla="*/ 1122068 w 3718887"/>
              <a:gd name="connsiteY242" fmla="*/ 1258950 h 6994525"/>
              <a:gd name="connsiteX243" fmla="*/ 999660 w 3718887"/>
              <a:gd name="connsiteY243" fmla="*/ 1381990 h 6994525"/>
              <a:gd name="connsiteX244" fmla="*/ 1426398 w 3718887"/>
              <a:gd name="connsiteY244" fmla="*/ 1398827 h 6994525"/>
              <a:gd name="connsiteX245" fmla="*/ 1320936 w 3718887"/>
              <a:gd name="connsiteY245" fmla="*/ 1293994 h 6994525"/>
              <a:gd name="connsiteX246" fmla="*/ 1425769 w 3718887"/>
              <a:gd name="connsiteY246" fmla="*/ 1188533 h 6994525"/>
              <a:gd name="connsiteX247" fmla="*/ 1531230 w 3718887"/>
              <a:gd name="connsiteY247" fmla="*/ 1293365 h 6994525"/>
              <a:gd name="connsiteX248" fmla="*/ 1426398 w 3718887"/>
              <a:gd name="connsiteY248" fmla="*/ 1398827 h 6994525"/>
              <a:gd name="connsiteX249" fmla="*/ 1836790 w 3718887"/>
              <a:gd name="connsiteY249" fmla="*/ 1430815 h 6994525"/>
              <a:gd name="connsiteX250" fmla="*/ 1744511 w 3718887"/>
              <a:gd name="connsiteY250" fmla="*/ 1339165 h 6994525"/>
              <a:gd name="connsiteX251" fmla="*/ 1836161 w 3718887"/>
              <a:gd name="connsiteY251" fmla="*/ 1246887 h 6994525"/>
              <a:gd name="connsiteX252" fmla="*/ 1928439 w 3718887"/>
              <a:gd name="connsiteY252" fmla="*/ 1338536 h 6994525"/>
              <a:gd name="connsiteX253" fmla="*/ 1836790 w 3718887"/>
              <a:gd name="connsiteY253" fmla="*/ 1430815 h 6994525"/>
              <a:gd name="connsiteX254" fmla="*/ 2233842 w 3718887"/>
              <a:gd name="connsiteY254" fmla="*/ 1459666 h 6994525"/>
              <a:gd name="connsiteX255" fmla="*/ 2166047 w 3718887"/>
              <a:gd name="connsiteY255" fmla="*/ 1392500 h 6994525"/>
              <a:gd name="connsiteX256" fmla="*/ 2233212 w 3718887"/>
              <a:gd name="connsiteY256" fmla="*/ 1324706 h 6994525"/>
              <a:gd name="connsiteX257" fmla="*/ 2301013 w 3718887"/>
              <a:gd name="connsiteY257" fmla="*/ 1391871 h 6994525"/>
              <a:gd name="connsiteX258" fmla="*/ 2233842 w 3718887"/>
              <a:gd name="connsiteY258" fmla="*/ 1459666 h 6994525"/>
              <a:gd name="connsiteX259" fmla="*/ 2620735 w 3718887"/>
              <a:gd name="connsiteY259" fmla="*/ 1514947 h 6994525"/>
              <a:gd name="connsiteX260" fmla="*/ 2555580 w 3718887"/>
              <a:gd name="connsiteY260" fmla="*/ 1450734 h 6994525"/>
              <a:gd name="connsiteX261" fmla="*/ 2619788 w 3718887"/>
              <a:gd name="connsiteY261" fmla="*/ 1385573 h 6994525"/>
              <a:gd name="connsiteX262" fmla="*/ 2684934 w 3718887"/>
              <a:gd name="connsiteY262" fmla="*/ 1449787 h 6994525"/>
              <a:gd name="connsiteX263" fmla="*/ 2620735 w 3718887"/>
              <a:gd name="connsiteY263" fmla="*/ 1514947 h 6994525"/>
              <a:gd name="connsiteX264" fmla="*/ 295462 w 3718887"/>
              <a:gd name="connsiteY264" fmla="*/ 1567089 h 6994525"/>
              <a:gd name="connsiteX265" fmla="*/ 173681 w 3718887"/>
              <a:gd name="connsiteY265" fmla="*/ 1445936 h 6994525"/>
              <a:gd name="connsiteX266" fmla="*/ 294833 w 3718887"/>
              <a:gd name="connsiteY266" fmla="*/ 1323531 h 6994525"/>
              <a:gd name="connsiteX267" fmla="*/ 416607 w 3718887"/>
              <a:gd name="connsiteY267" fmla="*/ 1444684 h 6994525"/>
              <a:gd name="connsiteX268" fmla="*/ 295462 w 3718887"/>
              <a:gd name="connsiteY268" fmla="*/ 1567089 h 6994525"/>
              <a:gd name="connsiteX269" fmla="*/ 2997749 w 3718887"/>
              <a:gd name="connsiteY269" fmla="*/ 1577142 h 6994525"/>
              <a:gd name="connsiteX270" fmla="*/ 2933042 w 3718887"/>
              <a:gd name="connsiteY270" fmla="*/ 1512435 h 6994525"/>
              <a:gd name="connsiteX271" fmla="*/ 2997749 w 3718887"/>
              <a:gd name="connsiteY271" fmla="*/ 1447729 h 6994525"/>
              <a:gd name="connsiteX272" fmla="*/ 3062455 w 3718887"/>
              <a:gd name="connsiteY272" fmla="*/ 1512435 h 6994525"/>
              <a:gd name="connsiteX273" fmla="*/ 2997749 w 3718887"/>
              <a:gd name="connsiteY273" fmla="*/ 1577142 h 6994525"/>
              <a:gd name="connsiteX274" fmla="*/ 744666 w 3718887"/>
              <a:gd name="connsiteY274" fmla="*/ 1592229 h 6994525"/>
              <a:gd name="connsiteX275" fmla="*/ 613470 w 3718887"/>
              <a:gd name="connsiteY275" fmla="*/ 1462292 h 6994525"/>
              <a:gd name="connsiteX276" fmla="*/ 743407 w 3718887"/>
              <a:gd name="connsiteY276" fmla="*/ 1331096 h 6994525"/>
              <a:gd name="connsiteX277" fmla="*/ 874603 w 3718887"/>
              <a:gd name="connsiteY277" fmla="*/ 1461033 h 6994525"/>
              <a:gd name="connsiteX278" fmla="*/ 744666 w 3718887"/>
              <a:gd name="connsiteY278" fmla="*/ 1592229 h 6994525"/>
              <a:gd name="connsiteX279" fmla="*/ 1170441 w 3718887"/>
              <a:gd name="connsiteY279" fmla="*/ 1619012 h 6994525"/>
              <a:gd name="connsiteX280" fmla="*/ 1047404 w 3718887"/>
              <a:gd name="connsiteY280" fmla="*/ 1496601 h 6994525"/>
              <a:gd name="connsiteX281" fmla="*/ 1169812 w 3718887"/>
              <a:gd name="connsiteY281" fmla="*/ 1373561 h 6994525"/>
              <a:gd name="connsiteX282" fmla="*/ 1292849 w 3718887"/>
              <a:gd name="connsiteY282" fmla="*/ 1495972 h 6994525"/>
              <a:gd name="connsiteX283" fmla="*/ 1170441 w 3718887"/>
              <a:gd name="connsiteY283" fmla="*/ 1619012 h 6994525"/>
              <a:gd name="connsiteX284" fmla="*/ 3370208 w 3718887"/>
              <a:gd name="connsiteY284" fmla="*/ 1643930 h 6994525"/>
              <a:gd name="connsiteX285" fmla="*/ 3303638 w 3718887"/>
              <a:gd name="connsiteY285" fmla="*/ 1577399 h 6994525"/>
              <a:gd name="connsiteX286" fmla="*/ 3366501 w 3718887"/>
              <a:gd name="connsiteY286" fmla="*/ 1510831 h 6994525"/>
              <a:gd name="connsiteX287" fmla="*/ 3433071 w 3718887"/>
              <a:gd name="connsiteY287" fmla="*/ 1577399 h 6994525"/>
              <a:gd name="connsiteX288" fmla="*/ 3370208 w 3718887"/>
              <a:gd name="connsiteY288" fmla="*/ 1643930 h 6994525"/>
              <a:gd name="connsiteX289" fmla="*/ 1578253 w 3718887"/>
              <a:gd name="connsiteY289" fmla="*/ 1648332 h 6994525"/>
              <a:gd name="connsiteX290" fmla="*/ 1472791 w 3718887"/>
              <a:gd name="connsiteY290" fmla="*/ 1543499 h 6994525"/>
              <a:gd name="connsiteX291" fmla="*/ 1577623 w 3718887"/>
              <a:gd name="connsiteY291" fmla="*/ 1438038 h 6994525"/>
              <a:gd name="connsiteX292" fmla="*/ 1683085 w 3718887"/>
              <a:gd name="connsiteY292" fmla="*/ 1542870 h 6994525"/>
              <a:gd name="connsiteX293" fmla="*/ 1578253 w 3718887"/>
              <a:gd name="connsiteY293" fmla="*/ 1648332 h 6994525"/>
              <a:gd name="connsiteX294" fmla="*/ 1972296 w 3718887"/>
              <a:gd name="connsiteY294" fmla="*/ 1691662 h 6994525"/>
              <a:gd name="connsiteX295" fmla="*/ 1878134 w 3718887"/>
              <a:gd name="connsiteY295" fmla="*/ 1598131 h 6994525"/>
              <a:gd name="connsiteX296" fmla="*/ 1971666 w 3718887"/>
              <a:gd name="connsiteY296" fmla="*/ 1503972 h 6994525"/>
              <a:gd name="connsiteX297" fmla="*/ 2065828 w 3718887"/>
              <a:gd name="connsiteY297" fmla="*/ 1597502 h 6994525"/>
              <a:gd name="connsiteX298" fmla="*/ 1972296 w 3718887"/>
              <a:gd name="connsiteY298" fmla="*/ 1691662 h 6994525"/>
              <a:gd name="connsiteX299" fmla="*/ 38554 w 3718887"/>
              <a:gd name="connsiteY299" fmla="*/ 1713067 h 6994525"/>
              <a:gd name="connsiteX300" fmla="*/ 13558 w 3718887"/>
              <a:gd name="connsiteY300" fmla="*/ 1708024 h 6994525"/>
              <a:gd name="connsiteX301" fmla="*/ 0 w 3718887"/>
              <a:gd name="connsiteY301" fmla="*/ 1698937 h 6994525"/>
              <a:gd name="connsiteX302" fmla="*/ 0 w 3718887"/>
              <a:gd name="connsiteY302" fmla="*/ 1597187 h 6994525"/>
              <a:gd name="connsiteX303" fmla="*/ 13143 w 3718887"/>
              <a:gd name="connsiteY303" fmla="*/ 1588414 h 6994525"/>
              <a:gd name="connsiteX304" fmla="*/ 38554 w 3718887"/>
              <a:gd name="connsiteY304" fmla="*/ 1583682 h 6994525"/>
              <a:gd name="connsiteX305" fmla="*/ 103246 w 3718887"/>
              <a:gd name="connsiteY305" fmla="*/ 1648375 h 6994525"/>
              <a:gd name="connsiteX306" fmla="*/ 38554 w 3718887"/>
              <a:gd name="connsiteY306" fmla="*/ 1713067 h 6994525"/>
              <a:gd name="connsiteX307" fmla="*/ 2355155 w 3718887"/>
              <a:gd name="connsiteY307" fmla="*/ 1743920 h 6994525"/>
              <a:gd name="connsiteX308" fmla="*/ 2268528 w 3718887"/>
              <a:gd name="connsiteY308" fmla="*/ 1657922 h 6994525"/>
              <a:gd name="connsiteX309" fmla="*/ 2354525 w 3718887"/>
              <a:gd name="connsiteY309" fmla="*/ 1571296 h 6994525"/>
              <a:gd name="connsiteX310" fmla="*/ 2441152 w 3718887"/>
              <a:gd name="connsiteY310" fmla="*/ 1657293 h 6994525"/>
              <a:gd name="connsiteX311" fmla="*/ 2355155 w 3718887"/>
              <a:gd name="connsiteY311" fmla="*/ 1743920 h 6994525"/>
              <a:gd name="connsiteX312" fmla="*/ 489035 w 3718887"/>
              <a:gd name="connsiteY312" fmla="*/ 1761875 h 6994525"/>
              <a:gd name="connsiteX313" fmla="*/ 390484 w 3718887"/>
              <a:gd name="connsiteY313" fmla="*/ 1663952 h 6994525"/>
              <a:gd name="connsiteX314" fmla="*/ 488412 w 3718887"/>
              <a:gd name="connsiteY314" fmla="*/ 1565394 h 6994525"/>
              <a:gd name="connsiteX315" fmla="*/ 586963 w 3718887"/>
              <a:gd name="connsiteY315" fmla="*/ 1663323 h 6994525"/>
              <a:gd name="connsiteX316" fmla="*/ 489035 w 3718887"/>
              <a:gd name="connsiteY316" fmla="*/ 1761875 h 6994525"/>
              <a:gd name="connsiteX317" fmla="*/ 2728879 w 3718887"/>
              <a:gd name="connsiteY317" fmla="*/ 1786342 h 6994525"/>
              <a:gd name="connsiteX318" fmla="*/ 2663594 w 3718887"/>
              <a:gd name="connsiteY318" fmla="*/ 1721058 h 6994525"/>
              <a:gd name="connsiteX319" fmla="*/ 2728879 w 3718887"/>
              <a:gd name="connsiteY319" fmla="*/ 1655774 h 6994525"/>
              <a:gd name="connsiteX320" fmla="*/ 2794164 w 3718887"/>
              <a:gd name="connsiteY320" fmla="*/ 1721058 h 6994525"/>
              <a:gd name="connsiteX321" fmla="*/ 2728879 w 3718887"/>
              <a:gd name="connsiteY321" fmla="*/ 1786342 h 6994525"/>
              <a:gd name="connsiteX322" fmla="*/ 914154 w 3718887"/>
              <a:gd name="connsiteY322" fmla="*/ 1824465 h 6994525"/>
              <a:gd name="connsiteX323" fmla="*/ 788608 w 3718887"/>
              <a:gd name="connsiteY323" fmla="*/ 1700177 h 6994525"/>
              <a:gd name="connsiteX324" fmla="*/ 912901 w 3718887"/>
              <a:gd name="connsiteY324" fmla="*/ 1574632 h 6994525"/>
              <a:gd name="connsiteX325" fmla="*/ 1038447 w 3718887"/>
              <a:gd name="connsiteY325" fmla="*/ 1698919 h 6994525"/>
              <a:gd name="connsiteX326" fmla="*/ 914154 w 3718887"/>
              <a:gd name="connsiteY326" fmla="*/ 1824465 h 6994525"/>
              <a:gd name="connsiteX327" fmla="*/ 3095388 w 3718887"/>
              <a:gd name="connsiteY327" fmla="*/ 1852431 h 6994525"/>
              <a:gd name="connsiteX328" fmla="*/ 3030692 w 3718887"/>
              <a:gd name="connsiteY328" fmla="*/ 1787735 h 6994525"/>
              <a:gd name="connsiteX329" fmla="*/ 3095388 w 3718887"/>
              <a:gd name="connsiteY329" fmla="*/ 1723039 h 6994525"/>
              <a:gd name="connsiteX330" fmla="*/ 3160084 w 3718887"/>
              <a:gd name="connsiteY330" fmla="*/ 1787735 h 6994525"/>
              <a:gd name="connsiteX331" fmla="*/ 3095388 w 3718887"/>
              <a:gd name="connsiteY331" fmla="*/ 1852431 h 6994525"/>
              <a:gd name="connsiteX332" fmla="*/ 1318847 w 3718887"/>
              <a:gd name="connsiteY332" fmla="*/ 1869515 h 6994525"/>
              <a:gd name="connsiteX333" fmla="*/ 1197072 w 3718887"/>
              <a:gd name="connsiteY333" fmla="*/ 1748362 h 6994525"/>
              <a:gd name="connsiteX334" fmla="*/ 1317595 w 3718887"/>
              <a:gd name="connsiteY334" fmla="*/ 1625957 h 6994525"/>
              <a:gd name="connsiteX335" fmla="*/ 1440000 w 3718887"/>
              <a:gd name="connsiteY335" fmla="*/ 1747110 h 6994525"/>
              <a:gd name="connsiteX336" fmla="*/ 1318847 w 3718887"/>
              <a:gd name="connsiteY336" fmla="*/ 1869515 h 6994525"/>
              <a:gd name="connsiteX337" fmla="*/ 1709452 w 3718887"/>
              <a:gd name="connsiteY337" fmla="*/ 1910274 h 6994525"/>
              <a:gd name="connsiteX338" fmla="*/ 1602737 w 3718887"/>
              <a:gd name="connsiteY338" fmla="*/ 1804182 h 6994525"/>
              <a:gd name="connsiteX339" fmla="*/ 1708829 w 3718887"/>
              <a:gd name="connsiteY339" fmla="*/ 1697467 h 6994525"/>
              <a:gd name="connsiteX340" fmla="*/ 1815544 w 3718887"/>
              <a:gd name="connsiteY340" fmla="*/ 1803559 h 6994525"/>
              <a:gd name="connsiteX341" fmla="*/ 1709452 w 3718887"/>
              <a:gd name="connsiteY341" fmla="*/ 1910274 h 6994525"/>
              <a:gd name="connsiteX342" fmla="*/ 3455893 w 3718887"/>
              <a:gd name="connsiteY342" fmla="*/ 1920652 h 6994525"/>
              <a:gd name="connsiteX343" fmla="*/ 3389327 w 3718887"/>
              <a:gd name="connsiteY343" fmla="*/ 1854085 h 6994525"/>
              <a:gd name="connsiteX344" fmla="*/ 3455893 w 3718887"/>
              <a:gd name="connsiteY344" fmla="*/ 1791224 h 6994525"/>
              <a:gd name="connsiteX345" fmla="*/ 3522422 w 3718887"/>
              <a:gd name="connsiteY345" fmla="*/ 1854085 h 6994525"/>
              <a:gd name="connsiteX346" fmla="*/ 3455893 w 3718887"/>
              <a:gd name="connsiteY346" fmla="*/ 1920652 h 6994525"/>
              <a:gd name="connsiteX347" fmla="*/ 233853 w 3718887"/>
              <a:gd name="connsiteY347" fmla="*/ 1930447 h 6994525"/>
              <a:gd name="connsiteX348" fmla="*/ 169153 w 3718887"/>
              <a:gd name="connsiteY348" fmla="*/ 1865753 h 6994525"/>
              <a:gd name="connsiteX349" fmla="*/ 233853 w 3718887"/>
              <a:gd name="connsiteY349" fmla="*/ 1800316 h 6994525"/>
              <a:gd name="connsiteX350" fmla="*/ 298552 w 3718887"/>
              <a:gd name="connsiteY350" fmla="*/ 1865016 h 6994525"/>
              <a:gd name="connsiteX351" fmla="*/ 233853 w 3718887"/>
              <a:gd name="connsiteY351" fmla="*/ 1930447 h 6994525"/>
              <a:gd name="connsiteX352" fmla="*/ 2088014 w 3718887"/>
              <a:gd name="connsiteY352" fmla="*/ 1959666 h 6994525"/>
              <a:gd name="connsiteX353" fmla="*/ 1993852 w 3718887"/>
              <a:gd name="connsiteY353" fmla="*/ 1866130 h 6994525"/>
              <a:gd name="connsiteX354" fmla="*/ 2087384 w 3718887"/>
              <a:gd name="connsiteY354" fmla="*/ 1771972 h 6994525"/>
              <a:gd name="connsiteX355" fmla="*/ 2181546 w 3718887"/>
              <a:gd name="connsiteY355" fmla="*/ 1865501 h 6994525"/>
              <a:gd name="connsiteX356" fmla="*/ 2088014 w 3718887"/>
              <a:gd name="connsiteY356" fmla="*/ 1959666 h 6994525"/>
              <a:gd name="connsiteX357" fmla="*/ 657239 w 3718887"/>
              <a:gd name="connsiteY357" fmla="*/ 2010230 h 6994525"/>
              <a:gd name="connsiteX358" fmla="*/ 548639 w 3718887"/>
              <a:gd name="connsiteY358" fmla="*/ 1902259 h 6994525"/>
              <a:gd name="connsiteX359" fmla="*/ 656610 w 3718887"/>
              <a:gd name="connsiteY359" fmla="*/ 1793666 h 6994525"/>
              <a:gd name="connsiteX360" fmla="*/ 765203 w 3718887"/>
              <a:gd name="connsiteY360" fmla="*/ 1901636 h 6994525"/>
              <a:gd name="connsiteX361" fmla="*/ 657239 w 3718887"/>
              <a:gd name="connsiteY361" fmla="*/ 2010230 h 6994525"/>
              <a:gd name="connsiteX362" fmla="*/ 2457967 w 3718887"/>
              <a:gd name="connsiteY362" fmla="*/ 2028725 h 6994525"/>
              <a:gd name="connsiteX363" fmla="*/ 2360037 w 3718887"/>
              <a:gd name="connsiteY363" fmla="*/ 1932050 h 6994525"/>
              <a:gd name="connsiteX364" fmla="*/ 2457338 w 3718887"/>
              <a:gd name="connsiteY364" fmla="*/ 1834117 h 6994525"/>
              <a:gd name="connsiteX365" fmla="*/ 2555262 w 3718887"/>
              <a:gd name="connsiteY365" fmla="*/ 1930792 h 6994525"/>
              <a:gd name="connsiteX366" fmla="*/ 2457967 w 3718887"/>
              <a:gd name="connsiteY366" fmla="*/ 2028725 h 6994525"/>
              <a:gd name="connsiteX367" fmla="*/ 2820177 w 3718887"/>
              <a:gd name="connsiteY367" fmla="*/ 2081922 h 6994525"/>
              <a:gd name="connsiteX368" fmla="*/ 2736689 w 3718887"/>
              <a:gd name="connsiteY368" fmla="*/ 1999057 h 6994525"/>
              <a:gd name="connsiteX369" fmla="*/ 2819547 w 3718887"/>
              <a:gd name="connsiteY369" fmla="*/ 1915570 h 6994525"/>
              <a:gd name="connsiteX370" fmla="*/ 2903035 w 3718887"/>
              <a:gd name="connsiteY370" fmla="*/ 1998428 h 6994525"/>
              <a:gd name="connsiteX371" fmla="*/ 2820177 w 3718887"/>
              <a:gd name="connsiteY371" fmla="*/ 2081922 h 6994525"/>
              <a:gd name="connsiteX372" fmla="*/ 1059555 w 3718887"/>
              <a:gd name="connsiteY372" fmla="*/ 2087461 h 6994525"/>
              <a:gd name="connsiteX373" fmla="*/ 923965 w 3718887"/>
              <a:gd name="connsiteY373" fmla="*/ 1953123 h 6994525"/>
              <a:gd name="connsiteX374" fmla="*/ 1058297 w 3718887"/>
              <a:gd name="connsiteY374" fmla="*/ 1817533 h 6994525"/>
              <a:gd name="connsiteX375" fmla="*/ 1193893 w 3718887"/>
              <a:gd name="connsiteY375" fmla="*/ 1951865 h 6994525"/>
              <a:gd name="connsiteX376" fmla="*/ 1059555 w 3718887"/>
              <a:gd name="connsiteY376" fmla="*/ 2087461 h 6994525"/>
              <a:gd name="connsiteX377" fmla="*/ 0 w 3718887"/>
              <a:gd name="connsiteY377" fmla="*/ 2128682 h 6994525"/>
              <a:gd name="connsiteX378" fmla="*/ 0 w 3718887"/>
              <a:gd name="connsiteY378" fmla="*/ 2006448 h 6994525"/>
              <a:gd name="connsiteX379" fmla="*/ 3811 w 3718887"/>
              <a:gd name="connsiteY379" fmla="*/ 2007227 h 6994525"/>
              <a:gd name="connsiteX380" fmla="*/ 43459 w 3718887"/>
              <a:gd name="connsiteY380" fmla="*/ 2066803 h 6994525"/>
              <a:gd name="connsiteX381" fmla="*/ 3811 w 3718887"/>
              <a:gd name="connsiteY381" fmla="*/ 2127898 h 6994525"/>
              <a:gd name="connsiteX382" fmla="*/ 3176435 w 3718887"/>
              <a:gd name="connsiteY382" fmla="*/ 2133296 h 6994525"/>
              <a:gd name="connsiteX383" fmla="*/ 3111354 w 3718887"/>
              <a:gd name="connsiteY383" fmla="*/ 2068211 h 6994525"/>
              <a:gd name="connsiteX384" fmla="*/ 3175649 w 3718887"/>
              <a:gd name="connsiteY384" fmla="*/ 2003127 h 6994525"/>
              <a:gd name="connsiteX385" fmla="*/ 3240730 w 3718887"/>
              <a:gd name="connsiteY385" fmla="*/ 2068211 h 6994525"/>
              <a:gd name="connsiteX386" fmla="*/ 3176435 w 3718887"/>
              <a:gd name="connsiteY386" fmla="*/ 2133296 h 6994525"/>
              <a:gd name="connsiteX387" fmla="*/ 1444896 w 3718887"/>
              <a:gd name="connsiteY387" fmla="*/ 2143982 h 6994525"/>
              <a:gd name="connsiteX388" fmla="*/ 1311819 w 3718887"/>
              <a:gd name="connsiteY388" fmla="*/ 2011528 h 6994525"/>
              <a:gd name="connsiteX389" fmla="*/ 1444267 w 3718887"/>
              <a:gd name="connsiteY389" fmla="*/ 1878451 h 6994525"/>
              <a:gd name="connsiteX390" fmla="*/ 1577350 w 3718887"/>
              <a:gd name="connsiteY390" fmla="*/ 2010899 h 6994525"/>
              <a:gd name="connsiteX391" fmla="*/ 1444896 w 3718887"/>
              <a:gd name="connsiteY391" fmla="*/ 2143982 h 6994525"/>
              <a:gd name="connsiteX392" fmla="*/ 400419 w 3718887"/>
              <a:gd name="connsiteY392" fmla="*/ 2176057 h 6994525"/>
              <a:gd name="connsiteX393" fmla="*/ 329482 w 3718887"/>
              <a:gd name="connsiteY393" fmla="*/ 2105743 h 6994525"/>
              <a:gd name="connsiteX394" fmla="*/ 399796 w 3718887"/>
              <a:gd name="connsiteY394" fmla="*/ 2034807 h 6994525"/>
              <a:gd name="connsiteX395" fmla="*/ 470732 w 3718887"/>
              <a:gd name="connsiteY395" fmla="*/ 2105120 h 6994525"/>
              <a:gd name="connsiteX396" fmla="*/ 400419 w 3718887"/>
              <a:gd name="connsiteY396" fmla="*/ 2176057 h 6994525"/>
              <a:gd name="connsiteX397" fmla="*/ 1818721 w 3718887"/>
              <a:gd name="connsiteY397" fmla="*/ 2193212 h 6994525"/>
              <a:gd name="connsiteX398" fmla="*/ 1700077 w 3718887"/>
              <a:gd name="connsiteY398" fmla="*/ 2075197 h 6994525"/>
              <a:gd name="connsiteX399" fmla="*/ 1818091 w 3718887"/>
              <a:gd name="connsiteY399" fmla="*/ 1956554 h 6994525"/>
              <a:gd name="connsiteX400" fmla="*/ 1936735 w 3718887"/>
              <a:gd name="connsiteY400" fmla="*/ 2074568 h 6994525"/>
              <a:gd name="connsiteX401" fmla="*/ 1818721 w 3718887"/>
              <a:gd name="connsiteY401" fmla="*/ 2193212 h 6994525"/>
              <a:gd name="connsiteX402" fmla="*/ 3527730 w 3718887"/>
              <a:gd name="connsiteY402" fmla="*/ 2203544 h 6994525"/>
              <a:gd name="connsiteX403" fmla="*/ 3463022 w 3718887"/>
              <a:gd name="connsiteY403" fmla="*/ 2138863 h 6994525"/>
              <a:gd name="connsiteX404" fmla="*/ 3525236 w 3718887"/>
              <a:gd name="connsiteY404" fmla="*/ 2074157 h 6994525"/>
              <a:gd name="connsiteX405" fmla="*/ 3592414 w 3718887"/>
              <a:gd name="connsiteY405" fmla="*/ 2138863 h 6994525"/>
              <a:gd name="connsiteX406" fmla="*/ 3527730 w 3718887"/>
              <a:gd name="connsiteY406" fmla="*/ 2203544 h 6994525"/>
              <a:gd name="connsiteX407" fmla="*/ 2183507 w 3718887"/>
              <a:gd name="connsiteY407" fmla="*/ 2245449 h 6994525"/>
              <a:gd name="connsiteX408" fmla="*/ 2079306 w 3718887"/>
              <a:gd name="connsiteY408" fmla="*/ 2141871 h 6994525"/>
              <a:gd name="connsiteX409" fmla="*/ 2182884 w 3718887"/>
              <a:gd name="connsiteY409" fmla="*/ 2037670 h 6994525"/>
              <a:gd name="connsiteX410" fmla="*/ 2287085 w 3718887"/>
              <a:gd name="connsiteY410" fmla="*/ 2141242 h 6994525"/>
              <a:gd name="connsiteX411" fmla="*/ 2183507 w 3718887"/>
              <a:gd name="connsiteY411" fmla="*/ 2245449 h 6994525"/>
              <a:gd name="connsiteX412" fmla="*/ 797472 w 3718887"/>
              <a:gd name="connsiteY412" fmla="*/ 2266190 h 6994525"/>
              <a:gd name="connsiteX413" fmla="*/ 688879 w 3718887"/>
              <a:gd name="connsiteY413" fmla="*/ 2158219 h 6994525"/>
              <a:gd name="connsiteX414" fmla="*/ 796849 w 3718887"/>
              <a:gd name="connsiteY414" fmla="*/ 2049626 h 6994525"/>
              <a:gd name="connsiteX415" fmla="*/ 905443 w 3718887"/>
              <a:gd name="connsiteY415" fmla="*/ 2157596 h 6994525"/>
              <a:gd name="connsiteX416" fmla="*/ 797472 w 3718887"/>
              <a:gd name="connsiteY416" fmla="*/ 2266190 h 6994525"/>
              <a:gd name="connsiteX417" fmla="*/ 2541517 w 3718887"/>
              <a:gd name="connsiteY417" fmla="*/ 2307910 h 6994525"/>
              <a:gd name="connsiteX418" fmla="*/ 2443590 w 3718887"/>
              <a:gd name="connsiteY418" fmla="*/ 2210612 h 6994525"/>
              <a:gd name="connsiteX419" fmla="*/ 2540888 w 3718887"/>
              <a:gd name="connsiteY419" fmla="*/ 2113314 h 6994525"/>
              <a:gd name="connsiteX420" fmla="*/ 2638186 w 3718887"/>
              <a:gd name="connsiteY420" fmla="*/ 2209983 h 6994525"/>
              <a:gd name="connsiteX421" fmla="*/ 2541517 w 3718887"/>
              <a:gd name="connsiteY421" fmla="*/ 2307910 h 6994525"/>
              <a:gd name="connsiteX422" fmla="*/ 1178716 w 3718887"/>
              <a:gd name="connsiteY422" fmla="*/ 2345391 h 6994525"/>
              <a:gd name="connsiteX423" fmla="*/ 1051916 w 3718887"/>
              <a:gd name="connsiteY423" fmla="*/ 2219837 h 6994525"/>
              <a:gd name="connsiteX424" fmla="*/ 1178093 w 3718887"/>
              <a:gd name="connsiteY424" fmla="*/ 2093037 h 6994525"/>
              <a:gd name="connsiteX425" fmla="*/ 1304270 w 3718887"/>
              <a:gd name="connsiteY425" fmla="*/ 2218585 h 6994525"/>
              <a:gd name="connsiteX426" fmla="*/ 1178716 w 3718887"/>
              <a:gd name="connsiteY426" fmla="*/ 2345391 h 6994525"/>
              <a:gd name="connsiteX427" fmla="*/ 2892874 w 3718887"/>
              <a:gd name="connsiteY427" fmla="*/ 2351999 h 6994525"/>
              <a:gd name="connsiteX428" fmla="*/ 2821938 w 3718887"/>
              <a:gd name="connsiteY428" fmla="*/ 2281685 h 6994525"/>
              <a:gd name="connsiteX429" fmla="*/ 2892244 w 3718887"/>
              <a:gd name="connsiteY429" fmla="*/ 2210749 h 6994525"/>
              <a:gd name="connsiteX430" fmla="*/ 2963180 w 3718887"/>
              <a:gd name="connsiteY430" fmla="*/ 2281062 h 6994525"/>
              <a:gd name="connsiteX431" fmla="*/ 2892874 w 3718887"/>
              <a:gd name="connsiteY431" fmla="*/ 2351999 h 6994525"/>
              <a:gd name="connsiteX432" fmla="*/ 142242 w 3718887"/>
              <a:gd name="connsiteY432" fmla="*/ 2373807 h 6994525"/>
              <a:gd name="connsiteX433" fmla="*/ 77523 w 3718887"/>
              <a:gd name="connsiteY433" fmla="*/ 2309134 h 6994525"/>
              <a:gd name="connsiteX434" fmla="*/ 142242 w 3718887"/>
              <a:gd name="connsiteY434" fmla="*/ 2244415 h 6994525"/>
              <a:gd name="connsiteX435" fmla="*/ 206915 w 3718887"/>
              <a:gd name="connsiteY435" fmla="*/ 2309134 h 6994525"/>
              <a:gd name="connsiteX436" fmla="*/ 142242 w 3718887"/>
              <a:gd name="connsiteY436" fmla="*/ 2373807 h 6994525"/>
              <a:gd name="connsiteX437" fmla="*/ 3239341 w 3718887"/>
              <a:gd name="connsiteY437" fmla="*/ 2417946 h 6994525"/>
              <a:gd name="connsiteX438" fmla="*/ 3175444 w 3718887"/>
              <a:gd name="connsiteY438" fmla="*/ 2354046 h 6994525"/>
              <a:gd name="connsiteX439" fmla="*/ 3239341 w 3718887"/>
              <a:gd name="connsiteY439" fmla="*/ 2288544 h 6994525"/>
              <a:gd name="connsiteX440" fmla="*/ 3304856 w 3718887"/>
              <a:gd name="connsiteY440" fmla="*/ 2352444 h 6994525"/>
              <a:gd name="connsiteX441" fmla="*/ 3239341 w 3718887"/>
              <a:gd name="connsiteY441" fmla="*/ 2417946 h 6994525"/>
              <a:gd name="connsiteX442" fmla="*/ 1546948 w 3718887"/>
              <a:gd name="connsiteY442" fmla="*/ 2425634 h 6994525"/>
              <a:gd name="connsiteX443" fmla="*/ 1405710 w 3718887"/>
              <a:gd name="connsiteY443" fmla="*/ 2285648 h 6994525"/>
              <a:gd name="connsiteX444" fmla="*/ 1546319 w 3718887"/>
              <a:gd name="connsiteY444" fmla="*/ 2144410 h 6994525"/>
              <a:gd name="connsiteX445" fmla="*/ 1686928 w 3718887"/>
              <a:gd name="connsiteY445" fmla="*/ 2284396 h 6994525"/>
              <a:gd name="connsiteX446" fmla="*/ 1546948 w 3718887"/>
              <a:gd name="connsiteY446" fmla="*/ 2425634 h 6994525"/>
              <a:gd name="connsiteX447" fmla="*/ 534410 w 3718887"/>
              <a:gd name="connsiteY447" fmla="*/ 2430227 h 6994525"/>
              <a:gd name="connsiteX448" fmla="*/ 469201 w 3718887"/>
              <a:gd name="connsiteY448" fmla="*/ 2366070 h 6994525"/>
              <a:gd name="connsiteX449" fmla="*/ 533356 w 3718887"/>
              <a:gd name="connsiteY449" fmla="*/ 2299805 h 6994525"/>
              <a:gd name="connsiteX450" fmla="*/ 598576 w 3718887"/>
              <a:gd name="connsiteY450" fmla="*/ 2365016 h 6994525"/>
              <a:gd name="connsiteX451" fmla="*/ 534410 w 3718887"/>
              <a:gd name="connsiteY451" fmla="*/ 2430227 h 6994525"/>
              <a:gd name="connsiteX452" fmla="*/ 1905614 w 3718887"/>
              <a:gd name="connsiteY452" fmla="*/ 2467574 h 6994525"/>
              <a:gd name="connsiteX453" fmla="*/ 1791369 w 3718887"/>
              <a:gd name="connsiteY453" fmla="*/ 2353953 h 6994525"/>
              <a:gd name="connsiteX454" fmla="*/ 1904991 w 3718887"/>
              <a:gd name="connsiteY454" fmla="*/ 2239709 h 6994525"/>
              <a:gd name="connsiteX455" fmla="*/ 2019236 w 3718887"/>
              <a:gd name="connsiteY455" fmla="*/ 2353330 h 6994525"/>
              <a:gd name="connsiteX456" fmla="*/ 1905614 w 3718887"/>
              <a:gd name="connsiteY456" fmla="*/ 2467574 h 6994525"/>
              <a:gd name="connsiteX457" fmla="*/ 3584069 w 3718887"/>
              <a:gd name="connsiteY457" fmla="*/ 2490261 h 6994525"/>
              <a:gd name="connsiteX458" fmla="*/ 3516710 w 3718887"/>
              <a:gd name="connsiteY458" fmla="*/ 2422889 h 6994525"/>
              <a:gd name="connsiteX459" fmla="*/ 3584069 w 3718887"/>
              <a:gd name="connsiteY459" fmla="*/ 2361598 h 6994525"/>
              <a:gd name="connsiteX460" fmla="*/ 3651489 w 3718887"/>
              <a:gd name="connsiteY460" fmla="*/ 2422889 h 6994525"/>
              <a:gd name="connsiteX461" fmla="*/ 3584069 w 3718887"/>
              <a:gd name="connsiteY461" fmla="*/ 2490261 h 6994525"/>
              <a:gd name="connsiteX462" fmla="*/ 908031 w 3718887"/>
              <a:gd name="connsiteY462" fmla="*/ 2511858 h 6994525"/>
              <a:gd name="connsiteX463" fmla="*/ 823917 w 3718887"/>
              <a:gd name="connsiteY463" fmla="*/ 2428372 h 6994525"/>
              <a:gd name="connsiteX464" fmla="*/ 907402 w 3718887"/>
              <a:gd name="connsiteY464" fmla="*/ 2344258 h 6994525"/>
              <a:gd name="connsiteX465" fmla="*/ 991517 w 3718887"/>
              <a:gd name="connsiteY465" fmla="*/ 2427743 h 6994525"/>
              <a:gd name="connsiteX466" fmla="*/ 908031 w 3718887"/>
              <a:gd name="connsiteY466" fmla="*/ 2511858 h 6994525"/>
              <a:gd name="connsiteX467" fmla="*/ 2257925 w 3718887"/>
              <a:gd name="connsiteY467" fmla="*/ 2532041 h 6994525"/>
              <a:gd name="connsiteX468" fmla="*/ 2149332 w 3718887"/>
              <a:gd name="connsiteY468" fmla="*/ 2424070 h 6994525"/>
              <a:gd name="connsiteX469" fmla="*/ 2257303 w 3718887"/>
              <a:gd name="connsiteY469" fmla="*/ 2315477 h 6994525"/>
              <a:gd name="connsiteX470" fmla="*/ 2365896 w 3718887"/>
              <a:gd name="connsiteY470" fmla="*/ 2423447 h 6994525"/>
              <a:gd name="connsiteX471" fmla="*/ 2257925 w 3718887"/>
              <a:gd name="connsiteY471" fmla="*/ 2532041 h 6994525"/>
              <a:gd name="connsiteX472" fmla="*/ 2605089 w 3718887"/>
              <a:gd name="connsiteY472" fmla="*/ 2593836 h 6994525"/>
              <a:gd name="connsiteX473" fmla="*/ 2506532 w 3718887"/>
              <a:gd name="connsiteY473" fmla="*/ 2495907 h 6994525"/>
              <a:gd name="connsiteX474" fmla="*/ 2603831 w 3718887"/>
              <a:gd name="connsiteY474" fmla="*/ 2397355 h 6994525"/>
              <a:gd name="connsiteX475" fmla="*/ 2703011 w 3718887"/>
              <a:gd name="connsiteY475" fmla="*/ 2495284 h 6994525"/>
              <a:gd name="connsiteX476" fmla="*/ 2605089 w 3718887"/>
              <a:gd name="connsiteY476" fmla="*/ 2593836 h 6994525"/>
              <a:gd name="connsiteX477" fmla="*/ 1270771 w 3718887"/>
              <a:gd name="connsiteY477" fmla="*/ 2636852 h 6994525"/>
              <a:gd name="connsiteX478" fmla="*/ 1129533 w 3718887"/>
              <a:gd name="connsiteY478" fmla="*/ 2496866 h 6994525"/>
              <a:gd name="connsiteX479" fmla="*/ 1269513 w 3718887"/>
              <a:gd name="connsiteY479" fmla="*/ 2355628 h 6994525"/>
              <a:gd name="connsiteX480" fmla="*/ 1410751 w 3718887"/>
              <a:gd name="connsiteY480" fmla="*/ 2495614 h 6994525"/>
              <a:gd name="connsiteX481" fmla="*/ 1270771 w 3718887"/>
              <a:gd name="connsiteY481" fmla="*/ 2636852 h 6994525"/>
              <a:gd name="connsiteX482" fmla="*/ 277313 w 3718887"/>
              <a:gd name="connsiteY482" fmla="*/ 2646417 h 6994525"/>
              <a:gd name="connsiteX483" fmla="*/ 203348 w 3718887"/>
              <a:gd name="connsiteY483" fmla="*/ 2572380 h 6994525"/>
              <a:gd name="connsiteX484" fmla="*/ 277313 w 3718887"/>
              <a:gd name="connsiteY484" fmla="*/ 2498344 h 6994525"/>
              <a:gd name="connsiteX485" fmla="*/ 332740 w 3718887"/>
              <a:gd name="connsiteY485" fmla="*/ 2572380 h 6994525"/>
              <a:gd name="connsiteX486" fmla="*/ 277313 w 3718887"/>
              <a:gd name="connsiteY486" fmla="*/ 2646417 h 6994525"/>
              <a:gd name="connsiteX487" fmla="*/ 2947403 w 3718887"/>
              <a:gd name="connsiteY487" fmla="*/ 2651462 h 6994525"/>
              <a:gd name="connsiteX488" fmla="*/ 2864549 w 3718887"/>
              <a:gd name="connsiteY488" fmla="*/ 2568607 h 6994525"/>
              <a:gd name="connsiteX489" fmla="*/ 2946780 w 3718887"/>
              <a:gd name="connsiteY489" fmla="*/ 2485124 h 6994525"/>
              <a:gd name="connsiteX490" fmla="*/ 3030263 w 3718887"/>
              <a:gd name="connsiteY490" fmla="*/ 2567978 h 6994525"/>
              <a:gd name="connsiteX491" fmla="*/ 2947403 w 3718887"/>
              <a:gd name="connsiteY491" fmla="*/ 2651462 h 6994525"/>
              <a:gd name="connsiteX492" fmla="*/ 633913 w 3718887"/>
              <a:gd name="connsiteY492" fmla="*/ 2703910 h 6994525"/>
              <a:gd name="connsiteX493" fmla="*/ 568630 w 3718887"/>
              <a:gd name="connsiteY493" fmla="*/ 2638626 h 6994525"/>
              <a:gd name="connsiteX494" fmla="*/ 633913 w 3718887"/>
              <a:gd name="connsiteY494" fmla="*/ 2573342 h 6994525"/>
              <a:gd name="connsiteX495" fmla="*/ 699197 w 3718887"/>
              <a:gd name="connsiteY495" fmla="*/ 2638626 h 6994525"/>
              <a:gd name="connsiteX496" fmla="*/ 633913 w 3718887"/>
              <a:gd name="connsiteY496" fmla="*/ 2703910 h 6994525"/>
              <a:gd name="connsiteX497" fmla="*/ 3287637 w 3718887"/>
              <a:gd name="connsiteY497" fmla="*/ 2706134 h 6994525"/>
              <a:gd name="connsiteX498" fmla="*/ 3222340 w 3718887"/>
              <a:gd name="connsiteY498" fmla="*/ 2642027 h 6994525"/>
              <a:gd name="connsiteX499" fmla="*/ 3286447 w 3718887"/>
              <a:gd name="connsiteY499" fmla="*/ 2576730 h 6994525"/>
              <a:gd name="connsiteX500" fmla="*/ 3351744 w 3718887"/>
              <a:gd name="connsiteY500" fmla="*/ 2640837 h 6994525"/>
              <a:gd name="connsiteX501" fmla="*/ 3287637 w 3718887"/>
              <a:gd name="connsiteY501" fmla="*/ 2706134 h 6994525"/>
              <a:gd name="connsiteX502" fmla="*/ 1623513 w 3718887"/>
              <a:gd name="connsiteY502" fmla="*/ 2706144 h 6994525"/>
              <a:gd name="connsiteX503" fmla="*/ 1483529 w 3718887"/>
              <a:gd name="connsiteY503" fmla="*/ 2567419 h 6994525"/>
              <a:gd name="connsiteX504" fmla="*/ 1622260 w 3718887"/>
              <a:gd name="connsiteY504" fmla="*/ 2427431 h 6994525"/>
              <a:gd name="connsiteX505" fmla="*/ 1762244 w 3718887"/>
              <a:gd name="connsiteY505" fmla="*/ 2566161 h 6994525"/>
              <a:gd name="connsiteX506" fmla="*/ 1623513 w 3718887"/>
              <a:gd name="connsiteY506" fmla="*/ 2706144 h 6994525"/>
              <a:gd name="connsiteX507" fmla="*/ 1969815 w 3718887"/>
              <a:gd name="connsiteY507" fmla="*/ 2759158 h 6994525"/>
              <a:gd name="connsiteX508" fmla="*/ 1848663 w 3718887"/>
              <a:gd name="connsiteY508" fmla="*/ 2639263 h 6994525"/>
              <a:gd name="connsiteX509" fmla="*/ 1968557 w 3718887"/>
              <a:gd name="connsiteY509" fmla="*/ 2518109 h 6994525"/>
              <a:gd name="connsiteX510" fmla="*/ 2089709 w 3718887"/>
              <a:gd name="connsiteY510" fmla="*/ 2638004 h 6994525"/>
              <a:gd name="connsiteX511" fmla="*/ 1969815 w 3718887"/>
              <a:gd name="connsiteY511" fmla="*/ 2759158 h 6994525"/>
              <a:gd name="connsiteX512" fmla="*/ 3623650 w 3718887"/>
              <a:gd name="connsiteY512" fmla="*/ 2779468 h 6994525"/>
              <a:gd name="connsiteX513" fmla="*/ 3558954 w 3718887"/>
              <a:gd name="connsiteY513" fmla="*/ 2714772 h 6994525"/>
              <a:gd name="connsiteX514" fmla="*/ 3623650 w 3718887"/>
              <a:gd name="connsiteY514" fmla="*/ 2650076 h 6994525"/>
              <a:gd name="connsiteX515" fmla="*/ 3688346 w 3718887"/>
              <a:gd name="connsiteY515" fmla="*/ 2714772 h 6994525"/>
              <a:gd name="connsiteX516" fmla="*/ 3623650 w 3718887"/>
              <a:gd name="connsiteY516" fmla="*/ 2779468 h 6994525"/>
              <a:gd name="connsiteX517" fmla="*/ 2311272 w 3718887"/>
              <a:gd name="connsiteY517" fmla="*/ 2825045 h 6994525"/>
              <a:gd name="connsiteX518" fmla="*/ 2197027 w 3718887"/>
              <a:gd name="connsiteY518" fmla="*/ 2711423 h 6994525"/>
              <a:gd name="connsiteX519" fmla="*/ 2310649 w 3718887"/>
              <a:gd name="connsiteY519" fmla="*/ 2597178 h 6994525"/>
              <a:gd name="connsiteX520" fmla="*/ 2424894 w 3718887"/>
              <a:gd name="connsiteY520" fmla="*/ 2710800 h 6994525"/>
              <a:gd name="connsiteX521" fmla="*/ 2311272 w 3718887"/>
              <a:gd name="connsiteY521" fmla="*/ 2825045 h 6994525"/>
              <a:gd name="connsiteX522" fmla="*/ 988573 w 3718887"/>
              <a:gd name="connsiteY522" fmla="*/ 2825307 h 6994525"/>
              <a:gd name="connsiteX523" fmla="*/ 871818 w 3718887"/>
              <a:gd name="connsiteY523" fmla="*/ 2709804 h 6994525"/>
              <a:gd name="connsiteX524" fmla="*/ 987321 w 3718887"/>
              <a:gd name="connsiteY524" fmla="*/ 2593049 h 6994525"/>
              <a:gd name="connsiteX525" fmla="*/ 1104076 w 3718887"/>
              <a:gd name="connsiteY525" fmla="*/ 2708552 h 6994525"/>
              <a:gd name="connsiteX526" fmla="*/ 988573 w 3718887"/>
              <a:gd name="connsiteY526" fmla="*/ 2825307 h 6994525"/>
              <a:gd name="connsiteX527" fmla="*/ 0 w 3718887"/>
              <a:gd name="connsiteY527" fmla="*/ 2845772 h 6994525"/>
              <a:gd name="connsiteX528" fmla="*/ 0 w 3718887"/>
              <a:gd name="connsiteY528" fmla="*/ 2721356 h 6994525"/>
              <a:gd name="connsiteX529" fmla="*/ 23444 w 3718887"/>
              <a:gd name="connsiteY529" fmla="*/ 2717609 h 6994525"/>
              <a:gd name="connsiteX530" fmla="*/ 68498 w 3718887"/>
              <a:gd name="connsiteY530" fmla="*/ 2775179 h 6994525"/>
              <a:gd name="connsiteX531" fmla="*/ 23444 w 3718887"/>
              <a:gd name="connsiteY531" fmla="*/ 2840306 h 6994525"/>
              <a:gd name="connsiteX532" fmla="*/ 2649495 w 3718887"/>
              <a:gd name="connsiteY532" fmla="*/ 2891271 h 6994525"/>
              <a:gd name="connsiteX533" fmla="*/ 2541526 w 3718887"/>
              <a:gd name="connsiteY533" fmla="*/ 2784557 h 6994525"/>
              <a:gd name="connsiteX534" fmla="*/ 2648237 w 3718887"/>
              <a:gd name="connsiteY534" fmla="*/ 2677214 h 6994525"/>
              <a:gd name="connsiteX535" fmla="*/ 2756206 w 3718887"/>
              <a:gd name="connsiteY535" fmla="*/ 2783928 h 6994525"/>
              <a:gd name="connsiteX536" fmla="*/ 2649495 w 3718887"/>
              <a:gd name="connsiteY536" fmla="*/ 2891271 h 6994525"/>
              <a:gd name="connsiteX537" fmla="*/ 352573 w 3718887"/>
              <a:gd name="connsiteY537" fmla="*/ 2917466 h 6994525"/>
              <a:gd name="connsiteX538" fmla="*/ 287875 w 3718887"/>
              <a:gd name="connsiteY538" fmla="*/ 2852775 h 6994525"/>
              <a:gd name="connsiteX539" fmla="*/ 350608 w 3718887"/>
              <a:gd name="connsiteY539" fmla="*/ 2786120 h 6994525"/>
              <a:gd name="connsiteX540" fmla="*/ 417271 w 3718887"/>
              <a:gd name="connsiteY540" fmla="*/ 2850810 h 6994525"/>
              <a:gd name="connsiteX541" fmla="*/ 352573 w 3718887"/>
              <a:gd name="connsiteY541" fmla="*/ 2917466 h 6994525"/>
              <a:gd name="connsiteX542" fmla="*/ 1334437 w 3718887"/>
              <a:gd name="connsiteY542" fmla="*/ 2924768 h 6994525"/>
              <a:gd name="connsiteX543" fmla="*/ 1190063 w 3718887"/>
              <a:gd name="connsiteY543" fmla="*/ 2781647 h 6994525"/>
              <a:gd name="connsiteX544" fmla="*/ 1333184 w 3718887"/>
              <a:gd name="connsiteY544" fmla="*/ 2637267 h 6994525"/>
              <a:gd name="connsiteX545" fmla="*/ 1477564 w 3718887"/>
              <a:gd name="connsiteY545" fmla="*/ 2780389 h 6994525"/>
              <a:gd name="connsiteX546" fmla="*/ 1334437 w 3718887"/>
              <a:gd name="connsiteY546" fmla="*/ 2924768 h 6994525"/>
              <a:gd name="connsiteX547" fmla="*/ 2983970 w 3718887"/>
              <a:gd name="connsiteY547" fmla="*/ 2941403 h 6994525"/>
              <a:gd name="connsiteX548" fmla="*/ 2901116 w 3718887"/>
              <a:gd name="connsiteY548" fmla="*/ 2858549 h 6994525"/>
              <a:gd name="connsiteX549" fmla="*/ 2983347 w 3718887"/>
              <a:gd name="connsiteY549" fmla="*/ 2775065 h 6994525"/>
              <a:gd name="connsiteX550" fmla="*/ 3066830 w 3718887"/>
              <a:gd name="connsiteY550" fmla="*/ 2857920 h 6994525"/>
              <a:gd name="connsiteX551" fmla="*/ 2983970 w 3718887"/>
              <a:gd name="connsiteY551" fmla="*/ 2941403 h 6994525"/>
              <a:gd name="connsiteX552" fmla="*/ 697583 w 3718887"/>
              <a:gd name="connsiteY552" fmla="*/ 2988118 h 6994525"/>
              <a:gd name="connsiteX553" fmla="*/ 632883 w 3718887"/>
              <a:gd name="connsiteY553" fmla="*/ 2923425 h 6994525"/>
              <a:gd name="connsiteX554" fmla="*/ 697583 w 3718887"/>
              <a:gd name="connsiteY554" fmla="*/ 2858723 h 6994525"/>
              <a:gd name="connsiteX555" fmla="*/ 762275 w 3718887"/>
              <a:gd name="connsiteY555" fmla="*/ 2923425 h 6994525"/>
              <a:gd name="connsiteX556" fmla="*/ 697583 w 3718887"/>
              <a:gd name="connsiteY556" fmla="*/ 2988118 h 6994525"/>
              <a:gd name="connsiteX557" fmla="*/ 1674708 w 3718887"/>
              <a:gd name="connsiteY557" fmla="*/ 2993502 h 6994525"/>
              <a:gd name="connsiteX558" fmla="*/ 1534724 w 3718887"/>
              <a:gd name="connsiteY558" fmla="*/ 2854771 h 6994525"/>
              <a:gd name="connsiteX559" fmla="*/ 1673455 w 3718887"/>
              <a:gd name="connsiteY559" fmla="*/ 2714787 h 6994525"/>
              <a:gd name="connsiteX560" fmla="*/ 1813439 w 3718887"/>
              <a:gd name="connsiteY560" fmla="*/ 2853519 h 6994525"/>
              <a:gd name="connsiteX561" fmla="*/ 1674708 w 3718887"/>
              <a:gd name="connsiteY561" fmla="*/ 2993502 h 6994525"/>
              <a:gd name="connsiteX562" fmla="*/ 3316804 w 3718887"/>
              <a:gd name="connsiteY562" fmla="*/ 2997210 h 6994525"/>
              <a:gd name="connsiteX563" fmla="*/ 3251597 w 3718887"/>
              <a:gd name="connsiteY563" fmla="*/ 2932006 h 6994525"/>
              <a:gd name="connsiteX564" fmla="*/ 3315750 w 3718887"/>
              <a:gd name="connsiteY564" fmla="*/ 2866801 h 6994525"/>
              <a:gd name="connsiteX565" fmla="*/ 3380958 w 3718887"/>
              <a:gd name="connsiteY565" fmla="*/ 2932006 h 6994525"/>
              <a:gd name="connsiteX566" fmla="*/ 3316804 w 3718887"/>
              <a:gd name="connsiteY566" fmla="*/ 2997210 h 6994525"/>
              <a:gd name="connsiteX567" fmla="*/ 2010151 w 3718887"/>
              <a:gd name="connsiteY567" fmla="*/ 3054611 h 6994525"/>
              <a:gd name="connsiteX568" fmla="*/ 1882722 w 3718887"/>
              <a:gd name="connsiteY568" fmla="*/ 2927806 h 6994525"/>
              <a:gd name="connsiteX569" fmla="*/ 2009528 w 3718887"/>
              <a:gd name="connsiteY569" fmla="*/ 2800377 h 6994525"/>
              <a:gd name="connsiteX570" fmla="*/ 2136956 w 3718887"/>
              <a:gd name="connsiteY570" fmla="*/ 2927183 h 6994525"/>
              <a:gd name="connsiteX571" fmla="*/ 2010151 w 3718887"/>
              <a:gd name="connsiteY571" fmla="*/ 3054611 h 6994525"/>
              <a:gd name="connsiteX572" fmla="*/ 3646879 w 3718887"/>
              <a:gd name="connsiteY572" fmla="*/ 3070693 h 6994525"/>
              <a:gd name="connsiteX573" fmla="*/ 3582183 w 3718887"/>
              <a:gd name="connsiteY573" fmla="*/ 3005997 h 6994525"/>
              <a:gd name="connsiteX574" fmla="*/ 3646879 w 3718887"/>
              <a:gd name="connsiteY574" fmla="*/ 2941301 h 6994525"/>
              <a:gd name="connsiteX575" fmla="*/ 3711575 w 3718887"/>
              <a:gd name="connsiteY575" fmla="*/ 3005997 h 6994525"/>
              <a:gd name="connsiteX576" fmla="*/ 3646879 w 3718887"/>
              <a:gd name="connsiteY576" fmla="*/ 3070693 h 6994525"/>
              <a:gd name="connsiteX577" fmla="*/ 1035794 w 3718887"/>
              <a:gd name="connsiteY577" fmla="*/ 3104210 h 6994525"/>
              <a:gd name="connsiteX578" fmla="*/ 928452 w 3718887"/>
              <a:gd name="connsiteY578" fmla="*/ 2997494 h 6994525"/>
              <a:gd name="connsiteX579" fmla="*/ 1034542 w 3718887"/>
              <a:gd name="connsiteY579" fmla="*/ 2890149 h 6994525"/>
              <a:gd name="connsiteX580" fmla="*/ 1142507 w 3718887"/>
              <a:gd name="connsiteY580" fmla="*/ 2996865 h 6994525"/>
              <a:gd name="connsiteX581" fmla="*/ 1035794 w 3718887"/>
              <a:gd name="connsiteY581" fmla="*/ 3104210 h 6994525"/>
              <a:gd name="connsiteX582" fmla="*/ 2343103 w 3718887"/>
              <a:gd name="connsiteY582" fmla="*/ 3121058 h 6994525"/>
              <a:gd name="connsiteX583" fmla="*/ 2223206 w 3718887"/>
              <a:gd name="connsiteY583" fmla="*/ 3001798 h 6994525"/>
              <a:gd name="connsiteX584" fmla="*/ 2342474 w 3718887"/>
              <a:gd name="connsiteY584" fmla="*/ 2881901 h 6994525"/>
              <a:gd name="connsiteX585" fmla="*/ 2462377 w 3718887"/>
              <a:gd name="connsiteY585" fmla="*/ 3001175 h 6994525"/>
              <a:gd name="connsiteX586" fmla="*/ 2343103 w 3718887"/>
              <a:gd name="connsiteY586" fmla="*/ 3121058 h 6994525"/>
              <a:gd name="connsiteX587" fmla="*/ 72292 w 3718887"/>
              <a:gd name="connsiteY587" fmla="*/ 3142886 h 6994525"/>
              <a:gd name="connsiteX588" fmla="*/ 2637 w 3718887"/>
              <a:gd name="connsiteY588" fmla="*/ 3094653 h 6994525"/>
              <a:gd name="connsiteX589" fmla="*/ 0 w 3718887"/>
              <a:gd name="connsiteY589" fmla="*/ 3083381 h 6994525"/>
              <a:gd name="connsiteX590" fmla="*/ 0 w 3718887"/>
              <a:gd name="connsiteY590" fmla="*/ 3048404 h 6994525"/>
              <a:gd name="connsiteX591" fmla="*/ 2041 w 3718887"/>
              <a:gd name="connsiteY591" fmla="*/ 3038877 h 6994525"/>
              <a:gd name="connsiteX592" fmla="*/ 34190 w 3718887"/>
              <a:gd name="connsiteY592" fmla="*/ 2990783 h 6994525"/>
              <a:gd name="connsiteX593" fmla="*/ 110017 w 3718887"/>
              <a:gd name="connsiteY593" fmla="*/ 3066658 h 6994525"/>
              <a:gd name="connsiteX594" fmla="*/ 72292 w 3718887"/>
              <a:gd name="connsiteY594" fmla="*/ 3142886 h 6994525"/>
              <a:gd name="connsiteX595" fmla="*/ 2673484 w 3718887"/>
              <a:gd name="connsiteY595" fmla="*/ 3189399 h 6994525"/>
              <a:gd name="connsiteX596" fmla="*/ 2559239 w 3718887"/>
              <a:gd name="connsiteY596" fmla="*/ 3075791 h 6994525"/>
              <a:gd name="connsiteX597" fmla="*/ 2672861 w 3718887"/>
              <a:gd name="connsiteY597" fmla="*/ 2961547 h 6994525"/>
              <a:gd name="connsiteX598" fmla="*/ 2787106 w 3718887"/>
              <a:gd name="connsiteY598" fmla="*/ 3075168 h 6994525"/>
              <a:gd name="connsiteX599" fmla="*/ 2673484 w 3718887"/>
              <a:gd name="connsiteY599" fmla="*/ 3189399 h 6994525"/>
              <a:gd name="connsiteX600" fmla="*/ 395180 w 3718887"/>
              <a:gd name="connsiteY600" fmla="*/ 3204915 h 6994525"/>
              <a:gd name="connsiteX601" fmla="*/ 330469 w 3718887"/>
              <a:gd name="connsiteY601" fmla="*/ 3140213 h 6994525"/>
              <a:gd name="connsiteX602" fmla="*/ 395180 w 3718887"/>
              <a:gd name="connsiteY602" fmla="*/ 3075519 h 6994525"/>
              <a:gd name="connsiteX603" fmla="*/ 459892 w 3718887"/>
              <a:gd name="connsiteY603" fmla="*/ 3140213 h 6994525"/>
              <a:gd name="connsiteX604" fmla="*/ 395180 w 3718887"/>
              <a:gd name="connsiteY604" fmla="*/ 3204915 h 6994525"/>
              <a:gd name="connsiteX605" fmla="*/ 1369184 w 3718887"/>
              <a:gd name="connsiteY605" fmla="*/ 3216661 h 6994525"/>
              <a:gd name="connsiteX606" fmla="*/ 1222928 w 3718887"/>
              <a:gd name="connsiteY606" fmla="*/ 3071054 h 6994525"/>
              <a:gd name="connsiteX607" fmla="*/ 1368555 w 3718887"/>
              <a:gd name="connsiteY607" fmla="*/ 2924797 h 6994525"/>
              <a:gd name="connsiteX608" fmla="*/ 1514811 w 3718887"/>
              <a:gd name="connsiteY608" fmla="*/ 3070425 h 6994525"/>
              <a:gd name="connsiteX609" fmla="*/ 1369184 w 3718887"/>
              <a:gd name="connsiteY609" fmla="*/ 3216661 h 6994525"/>
              <a:gd name="connsiteX610" fmla="*/ 3001708 w 3718887"/>
              <a:gd name="connsiteY610" fmla="*/ 3240171 h 6994525"/>
              <a:gd name="connsiteX611" fmla="*/ 2910689 w 3718887"/>
              <a:gd name="connsiteY611" fmla="*/ 3149775 h 6994525"/>
              <a:gd name="connsiteX612" fmla="*/ 3001079 w 3718887"/>
              <a:gd name="connsiteY612" fmla="*/ 3058763 h 6994525"/>
              <a:gd name="connsiteX613" fmla="*/ 3092104 w 3718887"/>
              <a:gd name="connsiteY613" fmla="*/ 3149152 h 6994525"/>
              <a:gd name="connsiteX614" fmla="*/ 3001708 w 3718887"/>
              <a:gd name="connsiteY614" fmla="*/ 3240171 h 6994525"/>
              <a:gd name="connsiteX615" fmla="*/ 725348 w 3718887"/>
              <a:gd name="connsiteY615" fmla="*/ 3278863 h 6994525"/>
              <a:gd name="connsiteX616" fmla="*/ 659746 w 3718887"/>
              <a:gd name="connsiteY616" fmla="*/ 3214185 h 6994525"/>
              <a:gd name="connsiteX617" fmla="*/ 724447 w 3718887"/>
              <a:gd name="connsiteY617" fmla="*/ 3149489 h 6994525"/>
              <a:gd name="connsiteX618" fmla="*/ 790040 w 3718887"/>
              <a:gd name="connsiteY618" fmla="*/ 3214185 h 6994525"/>
              <a:gd name="connsiteX619" fmla="*/ 725348 w 3718887"/>
              <a:gd name="connsiteY619" fmla="*/ 3278863 h 6994525"/>
              <a:gd name="connsiteX620" fmla="*/ 3328550 w 3718887"/>
              <a:gd name="connsiteY620" fmla="*/ 3288358 h 6994525"/>
              <a:gd name="connsiteX621" fmla="*/ 3263849 w 3718887"/>
              <a:gd name="connsiteY621" fmla="*/ 3223676 h 6994525"/>
              <a:gd name="connsiteX622" fmla="*/ 3328550 w 3718887"/>
              <a:gd name="connsiteY622" fmla="*/ 3158975 h 6994525"/>
              <a:gd name="connsiteX623" fmla="*/ 3393241 w 3718887"/>
              <a:gd name="connsiteY623" fmla="*/ 3223676 h 6994525"/>
              <a:gd name="connsiteX624" fmla="*/ 3328550 w 3718887"/>
              <a:gd name="connsiteY624" fmla="*/ 3288358 h 6994525"/>
              <a:gd name="connsiteX625" fmla="*/ 2026923 w 3718887"/>
              <a:gd name="connsiteY625" fmla="*/ 3351864 h 6994525"/>
              <a:gd name="connsiteX626" fmla="*/ 1893846 w 3718887"/>
              <a:gd name="connsiteY626" fmla="*/ 3219449 h 6994525"/>
              <a:gd name="connsiteX627" fmla="*/ 2026294 w 3718887"/>
              <a:gd name="connsiteY627" fmla="*/ 3086394 h 6994525"/>
              <a:gd name="connsiteX628" fmla="*/ 2159377 w 3718887"/>
              <a:gd name="connsiteY628" fmla="*/ 3218819 h 6994525"/>
              <a:gd name="connsiteX629" fmla="*/ 2026923 w 3718887"/>
              <a:gd name="connsiteY629" fmla="*/ 3351864 h 6994525"/>
              <a:gd name="connsiteX630" fmla="*/ 3654191 w 3718887"/>
              <a:gd name="connsiteY630" fmla="*/ 3362788 h 6994525"/>
              <a:gd name="connsiteX631" fmla="*/ 3589495 w 3718887"/>
              <a:gd name="connsiteY631" fmla="*/ 3298092 h 6994525"/>
              <a:gd name="connsiteX632" fmla="*/ 3654191 w 3718887"/>
              <a:gd name="connsiteY632" fmla="*/ 3233396 h 6994525"/>
              <a:gd name="connsiteX633" fmla="*/ 3718887 w 3718887"/>
              <a:gd name="connsiteY633" fmla="*/ 3298092 h 6994525"/>
              <a:gd name="connsiteX634" fmla="*/ 3654191 w 3718887"/>
              <a:gd name="connsiteY634" fmla="*/ 3362788 h 6994525"/>
              <a:gd name="connsiteX635" fmla="*/ 1051281 w 3718887"/>
              <a:gd name="connsiteY635" fmla="*/ 3392217 h 6994525"/>
              <a:gd name="connsiteX636" fmla="*/ 947080 w 3718887"/>
              <a:gd name="connsiteY636" fmla="*/ 3288654 h 6994525"/>
              <a:gd name="connsiteX637" fmla="*/ 1050652 w 3718887"/>
              <a:gd name="connsiteY637" fmla="*/ 3184495 h 6994525"/>
              <a:gd name="connsiteX638" fmla="*/ 1154859 w 3718887"/>
              <a:gd name="connsiteY638" fmla="*/ 3288026 h 6994525"/>
              <a:gd name="connsiteX639" fmla="*/ 1051281 w 3718887"/>
              <a:gd name="connsiteY639" fmla="*/ 3392217 h 6994525"/>
              <a:gd name="connsiteX640" fmla="*/ 2353099 w 3718887"/>
              <a:gd name="connsiteY640" fmla="*/ 3417066 h 6994525"/>
              <a:gd name="connsiteX641" fmla="*/ 2228804 w 3718887"/>
              <a:gd name="connsiteY641" fmla="*/ 3293408 h 6994525"/>
              <a:gd name="connsiteX642" fmla="*/ 2351841 w 3718887"/>
              <a:gd name="connsiteY642" fmla="*/ 3169149 h 6994525"/>
              <a:gd name="connsiteX643" fmla="*/ 2476130 w 3718887"/>
              <a:gd name="connsiteY643" fmla="*/ 3292781 h 6994525"/>
              <a:gd name="connsiteX644" fmla="*/ 2353099 w 3718887"/>
              <a:gd name="connsiteY644" fmla="*/ 3417066 h 6994525"/>
              <a:gd name="connsiteX645" fmla="*/ 2677885 w 3718887"/>
              <a:gd name="connsiteY645" fmla="*/ 3484158 h 6994525"/>
              <a:gd name="connsiteX646" fmla="*/ 2559868 w 3718887"/>
              <a:gd name="connsiteY646" fmla="*/ 3367413 h 6994525"/>
              <a:gd name="connsiteX647" fmla="*/ 2677255 w 3718887"/>
              <a:gd name="connsiteY647" fmla="*/ 3250056 h 6994525"/>
              <a:gd name="connsiteX648" fmla="*/ 2794643 w 3718887"/>
              <a:gd name="connsiteY648" fmla="*/ 3366783 h 6994525"/>
              <a:gd name="connsiteX649" fmla="*/ 2677885 w 3718887"/>
              <a:gd name="connsiteY649" fmla="*/ 3484158 h 6994525"/>
              <a:gd name="connsiteX650" fmla="*/ 394316 w 3718887"/>
              <a:gd name="connsiteY650" fmla="*/ 3496489 h 6994525"/>
              <a:gd name="connsiteX651" fmla="*/ 329602 w 3718887"/>
              <a:gd name="connsiteY651" fmla="*/ 3431820 h 6994525"/>
              <a:gd name="connsiteX652" fmla="*/ 394316 w 3718887"/>
              <a:gd name="connsiteY652" fmla="*/ 3367113 h 6994525"/>
              <a:gd name="connsiteX653" fmla="*/ 458994 w 3718887"/>
              <a:gd name="connsiteY653" fmla="*/ 3431820 h 6994525"/>
              <a:gd name="connsiteX654" fmla="*/ 394316 w 3718887"/>
              <a:gd name="connsiteY654" fmla="*/ 3496489 h 6994525"/>
              <a:gd name="connsiteX655" fmla="*/ 1375639 w 3718887"/>
              <a:gd name="connsiteY655" fmla="*/ 3508269 h 6994525"/>
              <a:gd name="connsiteX656" fmla="*/ 1229376 w 3718887"/>
              <a:gd name="connsiteY656" fmla="*/ 3362645 h 6994525"/>
              <a:gd name="connsiteX657" fmla="*/ 1374380 w 3718887"/>
              <a:gd name="connsiteY657" fmla="*/ 3216432 h 6994525"/>
              <a:gd name="connsiteX658" fmla="*/ 1521272 w 3718887"/>
              <a:gd name="connsiteY658" fmla="*/ 3362017 h 6994525"/>
              <a:gd name="connsiteX659" fmla="*/ 1375639 w 3718887"/>
              <a:gd name="connsiteY659" fmla="*/ 3508269 h 6994525"/>
              <a:gd name="connsiteX660" fmla="*/ 3000847 w 3718887"/>
              <a:gd name="connsiteY660" fmla="*/ 3532223 h 6994525"/>
              <a:gd name="connsiteX661" fmla="*/ 2909828 w 3718887"/>
              <a:gd name="connsiteY661" fmla="*/ 3441837 h 6994525"/>
              <a:gd name="connsiteX662" fmla="*/ 3000224 w 3718887"/>
              <a:gd name="connsiteY662" fmla="*/ 3350824 h 6994525"/>
              <a:gd name="connsiteX663" fmla="*/ 3091243 w 3718887"/>
              <a:gd name="connsiteY663" fmla="*/ 3441215 h 6994525"/>
              <a:gd name="connsiteX664" fmla="*/ 3000847 w 3718887"/>
              <a:gd name="connsiteY664" fmla="*/ 3532223 h 6994525"/>
              <a:gd name="connsiteX665" fmla="*/ 714591 w 3718887"/>
              <a:gd name="connsiteY665" fmla="*/ 3570467 h 6994525"/>
              <a:gd name="connsiteX666" fmla="*/ 648989 w 3718887"/>
              <a:gd name="connsiteY666" fmla="*/ 3505777 h 6994525"/>
              <a:gd name="connsiteX667" fmla="*/ 714591 w 3718887"/>
              <a:gd name="connsiteY667" fmla="*/ 3441087 h 6994525"/>
              <a:gd name="connsiteX668" fmla="*/ 779283 w 3718887"/>
              <a:gd name="connsiteY668" fmla="*/ 3505777 h 6994525"/>
              <a:gd name="connsiteX669" fmla="*/ 714591 w 3718887"/>
              <a:gd name="connsiteY669" fmla="*/ 3570467 h 6994525"/>
              <a:gd name="connsiteX670" fmla="*/ 3322958 w 3718887"/>
              <a:gd name="connsiteY670" fmla="*/ 3580434 h 6994525"/>
              <a:gd name="connsiteX671" fmla="*/ 3258257 w 3718887"/>
              <a:gd name="connsiteY671" fmla="*/ 3515742 h 6994525"/>
              <a:gd name="connsiteX672" fmla="*/ 3322958 w 3718887"/>
              <a:gd name="connsiteY672" fmla="*/ 3451046 h 6994525"/>
              <a:gd name="connsiteX673" fmla="*/ 3387649 w 3718887"/>
              <a:gd name="connsiteY673" fmla="*/ 3515742 h 6994525"/>
              <a:gd name="connsiteX674" fmla="*/ 3322958 w 3718887"/>
              <a:gd name="connsiteY674" fmla="*/ 3580434 h 6994525"/>
              <a:gd name="connsiteX675" fmla="*/ 2020040 w 3718887"/>
              <a:gd name="connsiteY675" fmla="*/ 3643497 h 6994525"/>
              <a:gd name="connsiteX676" fmla="*/ 1886963 w 3718887"/>
              <a:gd name="connsiteY676" fmla="*/ 3511048 h 6994525"/>
              <a:gd name="connsiteX677" fmla="*/ 2019411 w 3718887"/>
              <a:gd name="connsiteY677" fmla="*/ 3377990 h 6994525"/>
              <a:gd name="connsiteX678" fmla="*/ 2152488 w 3718887"/>
              <a:gd name="connsiteY678" fmla="*/ 3510419 h 6994525"/>
              <a:gd name="connsiteX679" fmla="*/ 2020040 w 3718887"/>
              <a:gd name="connsiteY679" fmla="*/ 3643497 h 6994525"/>
              <a:gd name="connsiteX680" fmla="*/ 3644749 w 3718887"/>
              <a:gd name="connsiteY680" fmla="*/ 3654438 h 6994525"/>
              <a:gd name="connsiteX681" fmla="*/ 3580030 w 3718887"/>
              <a:gd name="connsiteY681" fmla="*/ 3589766 h 6994525"/>
              <a:gd name="connsiteX682" fmla="*/ 3644749 w 3718887"/>
              <a:gd name="connsiteY682" fmla="*/ 3525047 h 6994525"/>
              <a:gd name="connsiteX683" fmla="*/ 3709422 w 3718887"/>
              <a:gd name="connsiteY683" fmla="*/ 3589766 h 6994525"/>
              <a:gd name="connsiteX684" fmla="*/ 3644749 w 3718887"/>
              <a:gd name="connsiteY684" fmla="*/ 3654438 h 6994525"/>
              <a:gd name="connsiteX685" fmla="*/ 1034172 w 3718887"/>
              <a:gd name="connsiteY685" fmla="*/ 3687006 h 6994525"/>
              <a:gd name="connsiteX686" fmla="*/ 926203 w 3718887"/>
              <a:gd name="connsiteY686" fmla="*/ 3580296 h 6994525"/>
              <a:gd name="connsiteX687" fmla="*/ 1033543 w 3718887"/>
              <a:gd name="connsiteY687" fmla="*/ 3472953 h 6994525"/>
              <a:gd name="connsiteX688" fmla="*/ 1140883 w 3718887"/>
              <a:gd name="connsiteY688" fmla="*/ 3579662 h 6994525"/>
              <a:gd name="connsiteX689" fmla="*/ 1034172 w 3718887"/>
              <a:gd name="connsiteY689" fmla="*/ 3687006 h 6994525"/>
              <a:gd name="connsiteX690" fmla="*/ 32953 w 3718887"/>
              <a:gd name="connsiteY690" fmla="*/ 3711701 h 6994525"/>
              <a:gd name="connsiteX691" fmla="*/ 9265 w 3718887"/>
              <a:gd name="connsiteY691" fmla="*/ 3706116 h 6994525"/>
              <a:gd name="connsiteX692" fmla="*/ 0 w 3718887"/>
              <a:gd name="connsiteY692" fmla="*/ 3699536 h 6994525"/>
              <a:gd name="connsiteX693" fmla="*/ 0 w 3718887"/>
              <a:gd name="connsiteY693" fmla="*/ 3607217 h 6994525"/>
              <a:gd name="connsiteX694" fmla="*/ 9265 w 3718887"/>
              <a:gd name="connsiteY694" fmla="*/ 3601332 h 6994525"/>
              <a:gd name="connsiteX695" fmla="*/ 32953 w 3718887"/>
              <a:gd name="connsiteY695" fmla="*/ 3582043 h 6994525"/>
              <a:gd name="connsiteX696" fmla="*/ 97971 w 3718887"/>
              <a:gd name="connsiteY696" fmla="*/ 3646713 h 6994525"/>
              <a:gd name="connsiteX697" fmla="*/ 32953 w 3718887"/>
              <a:gd name="connsiteY697" fmla="*/ 3711701 h 6994525"/>
              <a:gd name="connsiteX698" fmla="*/ 2341049 w 3718887"/>
              <a:gd name="connsiteY698" fmla="*/ 3714268 h 6994525"/>
              <a:gd name="connsiteX699" fmla="*/ 2211111 w 3718887"/>
              <a:gd name="connsiteY699" fmla="*/ 3585578 h 6994525"/>
              <a:gd name="connsiteX700" fmla="*/ 2339797 w 3718887"/>
              <a:gd name="connsiteY700" fmla="*/ 3455647 h 6994525"/>
              <a:gd name="connsiteX701" fmla="*/ 2469735 w 3718887"/>
              <a:gd name="connsiteY701" fmla="*/ 3584331 h 6994525"/>
              <a:gd name="connsiteX702" fmla="*/ 2341049 w 3718887"/>
              <a:gd name="connsiteY702" fmla="*/ 3714268 h 6994525"/>
              <a:gd name="connsiteX703" fmla="*/ 2661441 w 3718887"/>
              <a:gd name="connsiteY703" fmla="*/ 3778326 h 6994525"/>
              <a:gd name="connsiteX704" fmla="*/ 2541544 w 3718887"/>
              <a:gd name="connsiteY704" fmla="*/ 3659051 h 6994525"/>
              <a:gd name="connsiteX705" fmla="*/ 2660812 w 3718887"/>
              <a:gd name="connsiteY705" fmla="*/ 3539155 h 6994525"/>
              <a:gd name="connsiteX706" fmla="*/ 2780715 w 3718887"/>
              <a:gd name="connsiteY706" fmla="*/ 3658422 h 6994525"/>
              <a:gd name="connsiteX707" fmla="*/ 2661441 w 3718887"/>
              <a:gd name="connsiteY707" fmla="*/ 3778326 h 6994525"/>
              <a:gd name="connsiteX708" fmla="*/ 351445 w 3718887"/>
              <a:gd name="connsiteY708" fmla="*/ 3785371 h 6994525"/>
              <a:gd name="connsiteX709" fmla="*/ 285086 w 3718887"/>
              <a:gd name="connsiteY709" fmla="*/ 3722311 h 6994525"/>
              <a:gd name="connsiteX710" fmla="*/ 348119 w 3718887"/>
              <a:gd name="connsiteY710" fmla="*/ 3655949 h 6994525"/>
              <a:gd name="connsiteX711" fmla="*/ 414511 w 3718887"/>
              <a:gd name="connsiteY711" fmla="*/ 3718986 h 6994525"/>
              <a:gd name="connsiteX712" fmla="*/ 351445 w 3718887"/>
              <a:gd name="connsiteY712" fmla="*/ 3785371 h 6994525"/>
              <a:gd name="connsiteX713" fmla="*/ 2981063 w 3718887"/>
              <a:gd name="connsiteY713" fmla="*/ 3821052 h 6994525"/>
              <a:gd name="connsiteX714" fmla="*/ 2891927 w 3718887"/>
              <a:gd name="connsiteY714" fmla="*/ 3732534 h 6994525"/>
              <a:gd name="connsiteX715" fmla="*/ 2980433 w 3718887"/>
              <a:gd name="connsiteY715" fmla="*/ 3644024 h 6994525"/>
              <a:gd name="connsiteX716" fmla="*/ 3069569 w 3718887"/>
              <a:gd name="connsiteY716" fmla="*/ 3731912 h 6994525"/>
              <a:gd name="connsiteX717" fmla="*/ 2981063 w 3718887"/>
              <a:gd name="connsiteY717" fmla="*/ 3821052 h 6994525"/>
              <a:gd name="connsiteX718" fmla="*/ 667240 w 3718887"/>
              <a:gd name="connsiteY718" fmla="*/ 3858914 h 6994525"/>
              <a:gd name="connsiteX719" fmla="*/ 602125 w 3718887"/>
              <a:gd name="connsiteY719" fmla="*/ 3794628 h 6994525"/>
              <a:gd name="connsiteX720" fmla="*/ 666412 w 3718887"/>
              <a:gd name="connsiteY720" fmla="*/ 3729515 h 6994525"/>
              <a:gd name="connsiteX721" fmla="*/ 731527 w 3718887"/>
              <a:gd name="connsiteY721" fmla="*/ 3793801 h 6994525"/>
              <a:gd name="connsiteX722" fmla="*/ 667240 w 3718887"/>
              <a:gd name="connsiteY722" fmla="*/ 3858914 h 6994525"/>
              <a:gd name="connsiteX723" fmla="*/ 3300526 w 3718887"/>
              <a:gd name="connsiteY723" fmla="*/ 3871463 h 6994525"/>
              <a:gd name="connsiteX724" fmla="*/ 3235226 w 3718887"/>
              <a:gd name="connsiteY724" fmla="*/ 3807355 h 6994525"/>
              <a:gd name="connsiteX725" fmla="*/ 3299336 w 3718887"/>
              <a:gd name="connsiteY725" fmla="*/ 3742059 h 6994525"/>
              <a:gd name="connsiteX726" fmla="*/ 3364635 w 3718887"/>
              <a:gd name="connsiteY726" fmla="*/ 3806165 h 6994525"/>
              <a:gd name="connsiteX727" fmla="*/ 3300526 w 3718887"/>
              <a:gd name="connsiteY727" fmla="*/ 3871463 h 6994525"/>
              <a:gd name="connsiteX728" fmla="*/ 1989072 w 3718887"/>
              <a:gd name="connsiteY728" fmla="*/ 3937534 h 6994525"/>
              <a:gd name="connsiteX729" fmla="*/ 1852852 w 3718887"/>
              <a:gd name="connsiteY729" fmla="*/ 3801945 h 6994525"/>
              <a:gd name="connsiteX730" fmla="*/ 1987820 w 3718887"/>
              <a:gd name="connsiteY730" fmla="*/ 3665102 h 6994525"/>
              <a:gd name="connsiteX731" fmla="*/ 2124663 w 3718887"/>
              <a:gd name="connsiteY731" fmla="*/ 3800690 h 6994525"/>
              <a:gd name="connsiteX732" fmla="*/ 1989072 w 3718887"/>
              <a:gd name="connsiteY732" fmla="*/ 3937534 h 6994525"/>
              <a:gd name="connsiteX733" fmla="*/ 3619348 w 3718887"/>
              <a:gd name="connsiteY733" fmla="*/ 3945237 h 6994525"/>
              <a:gd name="connsiteX734" fmla="*/ 3554652 w 3718887"/>
              <a:gd name="connsiteY734" fmla="*/ 3880541 h 6994525"/>
              <a:gd name="connsiteX735" fmla="*/ 3619348 w 3718887"/>
              <a:gd name="connsiteY735" fmla="*/ 3815845 h 6994525"/>
              <a:gd name="connsiteX736" fmla="*/ 3684044 w 3718887"/>
              <a:gd name="connsiteY736" fmla="*/ 3880541 h 6994525"/>
              <a:gd name="connsiteX737" fmla="*/ 3619348 w 3718887"/>
              <a:gd name="connsiteY737" fmla="*/ 3945237 h 6994525"/>
              <a:gd name="connsiteX738" fmla="*/ 983648 w 3718887"/>
              <a:gd name="connsiteY738" fmla="*/ 3983681 h 6994525"/>
              <a:gd name="connsiteX739" fmla="*/ 867515 w 3718887"/>
              <a:gd name="connsiteY739" fmla="*/ 3868184 h 6994525"/>
              <a:gd name="connsiteX740" fmla="*/ 983019 w 3718887"/>
              <a:gd name="connsiteY740" fmla="*/ 3751429 h 6994525"/>
              <a:gd name="connsiteX741" fmla="*/ 1099775 w 3718887"/>
              <a:gd name="connsiteY741" fmla="*/ 3866931 h 6994525"/>
              <a:gd name="connsiteX742" fmla="*/ 983648 w 3718887"/>
              <a:gd name="connsiteY742" fmla="*/ 3983681 h 6994525"/>
              <a:gd name="connsiteX743" fmla="*/ 2307502 w 3718887"/>
              <a:gd name="connsiteY743" fmla="*/ 4008599 h 6994525"/>
              <a:gd name="connsiteX744" fmla="*/ 2173171 w 3718887"/>
              <a:gd name="connsiteY744" fmla="*/ 3875517 h 6994525"/>
              <a:gd name="connsiteX745" fmla="*/ 2306249 w 3718887"/>
              <a:gd name="connsiteY745" fmla="*/ 3741186 h 6994525"/>
              <a:gd name="connsiteX746" fmla="*/ 2440586 w 3718887"/>
              <a:gd name="connsiteY746" fmla="*/ 3874266 h 6994525"/>
              <a:gd name="connsiteX747" fmla="*/ 2307502 w 3718887"/>
              <a:gd name="connsiteY747" fmla="*/ 4008599 h 6994525"/>
              <a:gd name="connsiteX748" fmla="*/ 269481 w 3718887"/>
              <a:gd name="connsiteY748" fmla="*/ 4070013 h 6994525"/>
              <a:gd name="connsiteX749" fmla="*/ 198245 w 3718887"/>
              <a:gd name="connsiteY749" fmla="*/ 3998760 h 6994525"/>
              <a:gd name="connsiteX750" fmla="*/ 269481 w 3718887"/>
              <a:gd name="connsiteY750" fmla="*/ 3927506 h 6994525"/>
              <a:gd name="connsiteX751" fmla="*/ 322864 w 3718887"/>
              <a:gd name="connsiteY751" fmla="*/ 3998760 h 6994525"/>
              <a:gd name="connsiteX752" fmla="*/ 269481 w 3718887"/>
              <a:gd name="connsiteY752" fmla="*/ 4070013 h 6994525"/>
              <a:gd name="connsiteX753" fmla="*/ 2624870 w 3718887"/>
              <a:gd name="connsiteY753" fmla="*/ 4071398 h 6994525"/>
              <a:gd name="connsiteX754" fmla="*/ 2501830 w 3718887"/>
              <a:gd name="connsiteY754" fmla="*/ 3948989 h 6994525"/>
              <a:gd name="connsiteX755" fmla="*/ 2624241 w 3718887"/>
              <a:gd name="connsiteY755" fmla="*/ 3825947 h 6994525"/>
              <a:gd name="connsiteX756" fmla="*/ 2747281 w 3718887"/>
              <a:gd name="connsiteY756" fmla="*/ 3948360 h 6994525"/>
              <a:gd name="connsiteX757" fmla="*/ 2624870 w 3718887"/>
              <a:gd name="connsiteY757" fmla="*/ 4071398 h 6994525"/>
              <a:gd name="connsiteX758" fmla="*/ 1301316 w 3718887"/>
              <a:gd name="connsiteY758" fmla="*/ 4091771 h 6994525"/>
              <a:gd name="connsiteX759" fmla="*/ 1150034 w 3718887"/>
              <a:gd name="connsiteY759" fmla="*/ 3941739 h 6994525"/>
              <a:gd name="connsiteX760" fmla="*/ 1241926 w 3718887"/>
              <a:gd name="connsiteY760" fmla="*/ 3802712 h 6994525"/>
              <a:gd name="connsiteX761" fmla="*/ 1297741 w 3718887"/>
              <a:gd name="connsiteY761" fmla="*/ 3791076 h 6994525"/>
              <a:gd name="connsiteX762" fmla="*/ 1295263 w 3718887"/>
              <a:gd name="connsiteY762" fmla="*/ 3790590 h 6994525"/>
              <a:gd name="connsiteX763" fmla="*/ 1204167 w 3718887"/>
              <a:gd name="connsiteY763" fmla="*/ 3654382 h 6994525"/>
              <a:gd name="connsiteX764" fmla="*/ 1351683 w 3718887"/>
              <a:gd name="connsiteY764" fmla="*/ 3505615 h 6994525"/>
              <a:gd name="connsiteX765" fmla="*/ 1500451 w 3718887"/>
              <a:gd name="connsiteY765" fmla="*/ 3653123 h 6994525"/>
              <a:gd name="connsiteX766" fmla="*/ 1410499 w 3718887"/>
              <a:gd name="connsiteY766" fmla="*/ 3790219 h 6994525"/>
              <a:gd name="connsiteX767" fmla="*/ 1355143 w 3718887"/>
              <a:gd name="connsiteY767" fmla="*/ 3801455 h 6994525"/>
              <a:gd name="connsiteX768" fmla="*/ 1359098 w 3718887"/>
              <a:gd name="connsiteY768" fmla="*/ 3802252 h 6994525"/>
              <a:gd name="connsiteX769" fmla="*/ 1451346 w 3718887"/>
              <a:gd name="connsiteY769" fmla="*/ 3940489 h 6994525"/>
              <a:gd name="connsiteX770" fmla="*/ 1301316 w 3718887"/>
              <a:gd name="connsiteY770" fmla="*/ 4091771 h 6994525"/>
              <a:gd name="connsiteX771" fmla="*/ 2942346 w 3718887"/>
              <a:gd name="connsiteY771" fmla="*/ 4111701 h 6994525"/>
              <a:gd name="connsiteX772" fmla="*/ 2852574 w 3718887"/>
              <a:gd name="connsiteY772" fmla="*/ 4022561 h 6994525"/>
              <a:gd name="connsiteX773" fmla="*/ 2941716 w 3718887"/>
              <a:gd name="connsiteY773" fmla="*/ 3932792 h 6994525"/>
              <a:gd name="connsiteX774" fmla="*/ 3031488 w 3718887"/>
              <a:gd name="connsiteY774" fmla="*/ 4021932 h 6994525"/>
              <a:gd name="connsiteX775" fmla="*/ 2942346 w 3718887"/>
              <a:gd name="connsiteY775" fmla="*/ 4111701 h 6994525"/>
              <a:gd name="connsiteX776" fmla="*/ 582729 w 3718887"/>
              <a:gd name="connsiteY776" fmla="*/ 4137895 h 6994525"/>
              <a:gd name="connsiteX777" fmla="*/ 518022 w 3718887"/>
              <a:gd name="connsiteY777" fmla="*/ 4073191 h 6994525"/>
              <a:gd name="connsiteX778" fmla="*/ 582729 w 3718887"/>
              <a:gd name="connsiteY778" fmla="*/ 4008481 h 6994525"/>
              <a:gd name="connsiteX779" fmla="*/ 647435 w 3718887"/>
              <a:gd name="connsiteY779" fmla="*/ 4073191 h 6994525"/>
              <a:gd name="connsiteX780" fmla="*/ 582729 w 3718887"/>
              <a:gd name="connsiteY780" fmla="*/ 4137895 h 6994525"/>
              <a:gd name="connsiteX781" fmla="*/ 3259720 w 3718887"/>
              <a:gd name="connsiteY781" fmla="*/ 4160741 h 6994525"/>
              <a:gd name="connsiteX782" fmla="*/ 3195024 w 3718887"/>
              <a:gd name="connsiteY782" fmla="*/ 4096046 h 6994525"/>
              <a:gd name="connsiteX783" fmla="*/ 3259720 w 3718887"/>
              <a:gd name="connsiteY783" fmla="*/ 4031350 h 6994525"/>
              <a:gd name="connsiteX784" fmla="*/ 3324416 w 3718887"/>
              <a:gd name="connsiteY784" fmla="*/ 4096046 h 6994525"/>
              <a:gd name="connsiteX785" fmla="*/ 3259720 w 3718887"/>
              <a:gd name="connsiteY785" fmla="*/ 4160741 h 6994525"/>
              <a:gd name="connsiteX786" fmla="*/ 901912 w 3718887"/>
              <a:gd name="connsiteY786" fmla="*/ 4212852 h 6994525"/>
              <a:gd name="connsiteX787" fmla="*/ 837216 w 3718887"/>
              <a:gd name="connsiteY787" fmla="*/ 4148152 h 6994525"/>
              <a:gd name="connsiteX788" fmla="*/ 901229 w 3718887"/>
              <a:gd name="connsiteY788" fmla="*/ 4082776 h 6994525"/>
              <a:gd name="connsiteX789" fmla="*/ 966615 w 3718887"/>
              <a:gd name="connsiteY789" fmla="*/ 4147473 h 6994525"/>
              <a:gd name="connsiteX790" fmla="*/ 901912 w 3718887"/>
              <a:gd name="connsiteY790" fmla="*/ 4212852 h 6994525"/>
              <a:gd name="connsiteX791" fmla="*/ 1934868 w 3718887"/>
              <a:gd name="connsiteY791" fmla="*/ 4226874 h 6994525"/>
              <a:gd name="connsiteX792" fmla="*/ 1796139 w 3718887"/>
              <a:gd name="connsiteY792" fmla="*/ 4089399 h 6994525"/>
              <a:gd name="connsiteX793" fmla="*/ 1934239 w 3718887"/>
              <a:gd name="connsiteY793" fmla="*/ 3950039 h 6994525"/>
              <a:gd name="connsiteX794" fmla="*/ 2072968 w 3718887"/>
              <a:gd name="connsiteY794" fmla="*/ 4088141 h 6994525"/>
              <a:gd name="connsiteX795" fmla="*/ 1934868 w 3718887"/>
              <a:gd name="connsiteY795" fmla="*/ 4226874 h 6994525"/>
              <a:gd name="connsiteX796" fmla="*/ 3577620 w 3718887"/>
              <a:gd name="connsiteY796" fmla="*/ 4234315 h 6994525"/>
              <a:gd name="connsiteX797" fmla="*/ 3512924 w 3718887"/>
              <a:gd name="connsiteY797" fmla="*/ 4169618 h 6994525"/>
              <a:gd name="connsiteX798" fmla="*/ 3577620 w 3718887"/>
              <a:gd name="connsiteY798" fmla="*/ 4104922 h 6994525"/>
              <a:gd name="connsiteX799" fmla="*/ 3642316 w 3718887"/>
              <a:gd name="connsiteY799" fmla="*/ 4169618 h 6994525"/>
              <a:gd name="connsiteX800" fmla="*/ 3577620 w 3718887"/>
              <a:gd name="connsiteY800" fmla="*/ 4234315 h 6994525"/>
              <a:gd name="connsiteX801" fmla="*/ 2252011 w 3718887"/>
              <a:gd name="connsiteY801" fmla="*/ 4295104 h 6994525"/>
              <a:gd name="connsiteX802" fmla="*/ 2117672 w 3718887"/>
              <a:gd name="connsiteY802" fmla="*/ 4161391 h 6994525"/>
              <a:gd name="connsiteX803" fmla="*/ 2250752 w 3718887"/>
              <a:gd name="connsiteY803" fmla="*/ 4027679 h 6994525"/>
              <a:gd name="connsiteX804" fmla="*/ 2385091 w 3718887"/>
              <a:gd name="connsiteY804" fmla="*/ 4160762 h 6994525"/>
              <a:gd name="connsiteX805" fmla="*/ 2252011 w 3718887"/>
              <a:gd name="connsiteY805" fmla="*/ 4295104 h 6994525"/>
              <a:gd name="connsiteX806" fmla="*/ 134905 w 3718887"/>
              <a:gd name="connsiteY806" fmla="*/ 4326202 h 6994525"/>
              <a:gd name="connsiteX807" fmla="*/ 70209 w 3718887"/>
              <a:gd name="connsiteY807" fmla="*/ 4261484 h 6994525"/>
              <a:gd name="connsiteX808" fmla="*/ 134905 w 3718887"/>
              <a:gd name="connsiteY808" fmla="*/ 4196772 h 6994525"/>
              <a:gd name="connsiteX809" fmla="*/ 199601 w 3718887"/>
              <a:gd name="connsiteY809" fmla="*/ 4261484 h 6994525"/>
              <a:gd name="connsiteX810" fmla="*/ 134905 w 3718887"/>
              <a:gd name="connsiteY810" fmla="*/ 4326202 h 6994525"/>
              <a:gd name="connsiteX811" fmla="*/ 2569045 w 3718887"/>
              <a:gd name="connsiteY811" fmla="*/ 4351519 h 6994525"/>
              <a:gd name="connsiteX812" fmla="*/ 2452290 w 3718887"/>
              <a:gd name="connsiteY812" fmla="*/ 4236016 h 6994525"/>
              <a:gd name="connsiteX813" fmla="*/ 2567793 w 3718887"/>
              <a:gd name="connsiteY813" fmla="*/ 4119263 h 6994525"/>
              <a:gd name="connsiteX814" fmla="*/ 2684548 w 3718887"/>
              <a:gd name="connsiteY814" fmla="*/ 4234767 h 6994525"/>
              <a:gd name="connsiteX815" fmla="*/ 2569045 w 3718887"/>
              <a:gd name="connsiteY815" fmla="*/ 4351519 h 6994525"/>
              <a:gd name="connsiteX816" fmla="*/ 1221305 w 3718887"/>
              <a:gd name="connsiteY816" fmla="*/ 4352597 h 6994525"/>
              <a:gd name="connsiteX817" fmla="*/ 1090109 w 3718887"/>
              <a:gd name="connsiteY817" fmla="*/ 4222657 h 6994525"/>
              <a:gd name="connsiteX818" fmla="*/ 1220046 w 3718887"/>
              <a:gd name="connsiteY818" fmla="*/ 4091461 h 6994525"/>
              <a:gd name="connsiteX819" fmla="*/ 1351242 w 3718887"/>
              <a:gd name="connsiteY819" fmla="*/ 4221400 h 6994525"/>
              <a:gd name="connsiteX820" fmla="*/ 1221305 w 3718887"/>
              <a:gd name="connsiteY820" fmla="*/ 4352597 h 6994525"/>
              <a:gd name="connsiteX821" fmla="*/ 2885557 w 3718887"/>
              <a:gd name="connsiteY821" fmla="*/ 4393807 h 6994525"/>
              <a:gd name="connsiteX822" fmla="*/ 2800184 w 3718887"/>
              <a:gd name="connsiteY822" fmla="*/ 4309057 h 6994525"/>
              <a:gd name="connsiteX823" fmla="*/ 2884934 w 3718887"/>
              <a:gd name="connsiteY823" fmla="*/ 4223683 h 6994525"/>
              <a:gd name="connsiteX824" fmla="*/ 2970307 w 3718887"/>
              <a:gd name="connsiteY824" fmla="*/ 4308432 h 6994525"/>
              <a:gd name="connsiteX825" fmla="*/ 2885557 w 3718887"/>
              <a:gd name="connsiteY825" fmla="*/ 4393807 h 6994525"/>
              <a:gd name="connsiteX826" fmla="*/ 463566 w 3718887"/>
              <a:gd name="connsiteY826" fmla="*/ 4404587 h 6994525"/>
              <a:gd name="connsiteX827" fmla="*/ 398865 w 3718887"/>
              <a:gd name="connsiteY827" fmla="*/ 4339897 h 6994525"/>
              <a:gd name="connsiteX828" fmla="*/ 463566 w 3718887"/>
              <a:gd name="connsiteY828" fmla="*/ 4275194 h 6994525"/>
              <a:gd name="connsiteX829" fmla="*/ 528257 w 3718887"/>
              <a:gd name="connsiteY829" fmla="*/ 4339897 h 6994525"/>
              <a:gd name="connsiteX830" fmla="*/ 463566 w 3718887"/>
              <a:gd name="connsiteY830" fmla="*/ 4404587 h 6994525"/>
              <a:gd name="connsiteX831" fmla="*/ 3202505 w 3718887"/>
              <a:gd name="connsiteY831" fmla="*/ 4447238 h 6994525"/>
              <a:gd name="connsiteX832" fmla="*/ 3137809 w 3718887"/>
              <a:gd name="connsiteY832" fmla="*/ 4382541 h 6994525"/>
              <a:gd name="connsiteX833" fmla="*/ 3201387 w 3718887"/>
              <a:gd name="connsiteY833" fmla="*/ 4317845 h 6994525"/>
              <a:gd name="connsiteX834" fmla="*/ 3267201 w 3718887"/>
              <a:gd name="connsiteY834" fmla="*/ 4382541 h 6994525"/>
              <a:gd name="connsiteX835" fmla="*/ 3202505 w 3718887"/>
              <a:gd name="connsiteY835" fmla="*/ 4447238 h 6994525"/>
              <a:gd name="connsiteX836" fmla="*/ 789734 w 3718887"/>
              <a:gd name="connsiteY836" fmla="*/ 4500275 h 6994525"/>
              <a:gd name="connsiteX837" fmla="*/ 706249 w 3718887"/>
              <a:gd name="connsiteY837" fmla="*/ 4417418 h 6994525"/>
              <a:gd name="connsiteX838" fmla="*/ 789111 w 3718887"/>
              <a:gd name="connsiteY838" fmla="*/ 4333937 h 6994525"/>
              <a:gd name="connsiteX839" fmla="*/ 872595 w 3718887"/>
              <a:gd name="connsiteY839" fmla="*/ 4416792 h 6994525"/>
              <a:gd name="connsiteX840" fmla="*/ 789734 w 3718887"/>
              <a:gd name="connsiteY840" fmla="*/ 4500275 h 6994525"/>
              <a:gd name="connsiteX841" fmla="*/ 3519114 w 3718887"/>
              <a:gd name="connsiteY841" fmla="*/ 4520419 h 6994525"/>
              <a:gd name="connsiteX842" fmla="*/ 3454418 w 3718887"/>
              <a:gd name="connsiteY842" fmla="*/ 4455718 h 6994525"/>
              <a:gd name="connsiteX843" fmla="*/ 3519114 w 3718887"/>
              <a:gd name="connsiteY843" fmla="*/ 4391018 h 6994525"/>
              <a:gd name="connsiteX844" fmla="*/ 3583810 w 3718887"/>
              <a:gd name="connsiteY844" fmla="*/ 4455718 h 6994525"/>
              <a:gd name="connsiteX845" fmla="*/ 3519114 w 3718887"/>
              <a:gd name="connsiteY845" fmla="*/ 4520419 h 6994525"/>
              <a:gd name="connsiteX846" fmla="*/ 0 w 3718887"/>
              <a:gd name="connsiteY846" fmla="*/ 4559202 h 6994525"/>
              <a:gd name="connsiteX847" fmla="*/ 0 w 3718887"/>
              <a:gd name="connsiteY847" fmla="*/ 4444276 h 6994525"/>
              <a:gd name="connsiteX848" fmla="*/ 16192 w 3718887"/>
              <a:gd name="connsiteY848" fmla="*/ 4454676 h 6994525"/>
              <a:gd name="connsiteX849" fmla="*/ 35547 w 3718887"/>
              <a:gd name="connsiteY849" fmla="*/ 4501705 h 6994525"/>
              <a:gd name="connsiteX850" fmla="*/ 17910 w 3718887"/>
              <a:gd name="connsiteY850" fmla="*/ 4547264 h 6994525"/>
              <a:gd name="connsiteX851" fmla="*/ 2175337 w 3718887"/>
              <a:gd name="connsiteY851" fmla="*/ 4584925 h 6994525"/>
              <a:gd name="connsiteX852" fmla="*/ 2033469 w 3718887"/>
              <a:gd name="connsiteY852" fmla="*/ 4443687 h 6994525"/>
              <a:gd name="connsiteX853" fmla="*/ 2174708 w 3718887"/>
              <a:gd name="connsiteY853" fmla="*/ 4301820 h 6994525"/>
              <a:gd name="connsiteX854" fmla="*/ 2316576 w 3718887"/>
              <a:gd name="connsiteY854" fmla="*/ 4443056 h 6994525"/>
              <a:gd name="connsiteX855" fmla="*/ 2175337 w 3718887"/>
              <a:gd name="connsiteY855" fmla="*/ 4584925 h 6994525"/>
              <a:gd name="connsiteX856" fmla="*/ 1113226 w 3718887"/>
              <a:gd name="connsiteY856" fmla="*/ 4638768 h 6994525"/>
              <a:gd name="connsiteX857" fmla="*/ 966970 w 3718887"/>
              <a:gd name="connsiteY857" fmla="*/ 4493127 h 6994525"/>
              <a:gd name="connsiteX858" fmla="*/ 1112597 w 3718887"/>
              <a:gd name="connsiteY858" fmla="*/ 4346877 h 6994525"/>
              <a:gd name="connsiteX859" fmla="*/ 1258859 w 3718887"/>
              <a:gd name="connsiteY859" fmla="*/ 4492502 h 6994525"/>
              <a:gd name="connsiteX860" fmla="*/ 1113226 w 3718887"/>
              <a:gd name="connsiteY860" fmla="*/ 4638768 h 6994525"/>
              <a:gd name="connsiteX861" fmla="*/ 2493340 w 3718887"/>
              <a:gd name="connsiteY861" fmla="*/ 4642500 h 6994525"/>
              <a:gd name="connsiteX862" fmla="*/ 2367794 w 3718887"/>
              <a:gd name="connsiteY862" fmla="*/ 4518213 h 6994525"/>
              <a:gd name="connsiteX863" fmla="*/ 2492087 w 3718887"/>
              <a:gd name="connsiteY863" fmla="*/ 4392669 h 6994525"/>
              <a:gd name="connsiteX864" fmla="*/ 2617633 w 3718887"/>
              <a:gd name="connsiteY864" fmla="*/ 4516956 h 6994525"/>
              <a:gd name="connsiteX865" fmla="*/ 2493340 w 3718887"/>
              <a:gd name="connsiteY865" fmla="*/ 4642500 h 6994525"/>
              <a:gd name="connsiteX866" fmla="*/ 311808 w 3718887"/>
              <a:gd name="connsiteY866" fmla="*/ 4653247 h 6994525"/>
              <a:gd name="connsiteX867" fmla="*/ 246482 w 3718887"/>
              <a:gd name="connsiteY867" fmla="*/ 4588549 h 6994525"/>
              <a:gd name="connsiteX868" fmla="*/ 311808 w 3718887"/>
              <a:gd name="connsiteY868" fmla="*/ 4523857 h 6994525"/>
              <a:gd name="connsiteX869" fmla="*/ 376504 w 3718887"/>
              <a:gd name="connsiteY869" fmla="*/ 4588549 h 6994525"/>
              <a:gd name="connsiteX870" fmla="*/ 311808 w 3718887"/>
              <a:gd name="connsiteY870" fmla="*/ 4653247 h 6994525"/>
              <a:gd name="connsiteX871" fmla="*/ 2810807 w 3718887"/>
              <a:gd name="connsiteY871" fmla="*/ 4688467 h 6994525"/>
              <a:gd name="connsiteX872" fmla="*/ 2712880 w 3718887"/>
              <a:gd name="connsiteY872" fmla="*/ 4591796 h 6994525"/>
              <a:gd name="connsiteX873" fmla="*/ 2809549 w 3718887"/>
              <a:gd name="connsiteY873" fmla="*/ 4493865 h 6994525"/>
              <a:gd name="connsiteX874" fmla="*/ 2907476 w 3718887"/>
              <a:gd name="connsiteY874" fmla="*/ 4590537 h 6994525"/>
              <a:gd name="connsiteX875" fmla="*/ 2810807 w 3718887"/>
              <a:gd name="connsiteY875" fmla="*/ 4688467 h 6994525"/>
              <a:gd name="connsiteX876" fmla="*/ 3128182 w 3718887"/>
              <a:gd name="connsiteY876" fmla="*/ 4731178 h 6994525"/>
              <a:gd name="connsiteX877" fmla="*/ 3061639 w 3718887"/>
              <a:gd name="connsiteY877" fmla="*/ 4665269 h 6994525"/>
              <a:gd name="connsiteX878" fmla="*/ 3127553 w 3718887"/>
              <a:gd name="connsiteY878" fmla="*/ 4598723 h 6994525"/>
              <a:gd name="connsiteX879" fmla="*/ 3194090 w 3718887"/>
              <a:gd name="connsiteY879" fmla="*/ 4664640 h 6994525"/>
              <a:gd name="connsiteX880" fmla="*/ 3128182 w 3718887"/>
              <a:gd name="connsiteY880" fmla="*/ 4731178 h 6994525"/>
              <a:gd name="connsiteX881" fmla="*/ 647351 w 3718887"/>
              <a:gd name="connsiteY881" fmla="*/ 4776926 h 6994525"/>
              <a:gd name="connsiteX882" fmla="*/ 541889 w 3718887"/>
              <a:gd name="connsiteY882" fmla="*/ 4672094 h 6994525"/>
              <a:gd name="connsiteX883" fmla="*/ 646721 w 3718887"/>
              <a:gd name="connsiteY883" fmla="*/ 4566636 h 6994525"/>
              <a:gd name="connsiteX884" fmla="*/ 752183 w 3718887"/>
              <a:gd name="connsiteY884" fmla="*/ 4671464 h 6994525"/>
              <a:gd name="connsiteX885" fmla="*/ 647351 w 3718887"/>
              <a:gd name="connsiteY885" fmla="*/ 4776926 h 6994525"/>
              <a:gd name="connsiteX886" fmla="*/ 3445555 w 3718887"/>
              <a:gd name="connsiteY886" fmla="*/ 4803030 h 6994525"/>
              <a:gd name="connsiteX887" fmla="*/ 3380859 w 3718887"/>
              <a:gd name="connsiteY887" fmla="*/ 4738319 h 6994525"/>
              <a:gd name="connsiteX888" fmla="*/ 3445555 w 3718887"/>
              <a:gd name="connsiteY888" fmla="*/ 4673622 h 6994525"/>
              <a:gd name="connsiteX889" fmla="*/ 3510266 w 3718887"/>
              <a:gd name="connsiteY889" fmla="*/ 4738319 h 6994525"/>
              <a:gd name="connsiteX890" fmla="*/ 3445555 w 3718887"/>
              <a:gd name="connsiteY890" fmla="*/ 4803030 h 6994525"/>
              <a:gd name="connsiteX891" fmla="*/ 2078214 w 3718887"/>
              <a:gd name="connsiteY891" fmla="*/ 4859519 h 6994525"/>
              <a:gd name="connsiteX892" fmla="*/ 1936974 w 3718887"/>
              <a:gd name="connsiteY892" fmla="*/ 4719531 h 6994525"/>
              <a:gd name="connsiteX893" fmla="*/ 2076962 w 3718887"/>
              <a:gd name="connsiteY893" fmla="*/ 4578292 h 6994525"/>
              <a:gd name="connsiteX894" fmla="*/ 2218202 w 3718887"/>
              <a:gd name="connsiteY894" fmla="*/ 4718279 h 6994525"/>
              <a:gd name="connsiteX895" fmla="*/ 2078214 w 3718887"/>
              <a:gd name="connsiteY895" fmla="*/ 4859519 h 6994525"/>
              <a:gd name="connsiteX896" fmla="*/ 129027 w 3718887"/>
              <a:gd name="connsiteY896" fmla="*/ 4881022 h 6994525"/>
              <a:gd name="connsiteX897" fmla="*/ 63980 w 3718887"/>
              <a:gd name="connsiteY897" fmla="*/ 4816687 h 6994525"/>
              <a:gd name="connsiteX898" fmla="*/ 128318 w 3718887"/>
              <a:gd name="connsiteY898" fmla="*/ 4751635 h 6994525"/>
              <a:gd name="connsiteX899" fmla="*/ 193365 w 3718887"/>
              <a:gd name="connsiteY899" fmla="*/ 4815977 h 6994525"/>
              <a:gd name="connsiteX900" fmla="*/ 129027 w 3718887"/>
              <a:gd name="connsiteY900" fmla="*/ 4881022 h 6994525"/>
              <a:gd name="connsiteX901" fmla="*/ 979540 w 3718887"/>
              <a:gd name="connsiteY901" fmla="*/ 4898167 h 6994525"/>
              <a:gd name="connsiteX902" fmla="*/ 832652 w 3718887"/>
              <a:gd name="connsiteY902" fmla="*/ 4752532 h 6994525"/>
              <a:gd name="connsiteX903" fmla="*/ 978911 w 3718887"/>
              <a:gd name="connsiteY903" fmla="*/ 4606278 h 6994525"/>
              <a:gd name="connsiteX904" fmla="*/ 1125169 w 3718887"/>
              <a:gd name="connsiteY904" fmla="*/ 4751905 h 6994525"/>
              <a:gd name="connsiteX905" fmla="*/ 979540 w 3718887"/>
              <a:gd name="connsiteY905" fmla="*/ 4898167 h 6994525"/>
              <a:gd name="connsiteX906" fmla="*/ 2398269 w 3718887"/>
              <a:gd name="connsiteY906" fmla="*/ 4917831 h 6994525"/>
              <a:gd name="connsiteX907" fmla="*/ 2272721 w 3718887"/>
              <a:gd name="connsiteY907" fmla="*/ 4792906 h 6994525"/>
              <a:gd name="connsiteX908" fmla="*/ 2397016 w 3718887"/>
              <a:gd name="connsiteY908" fmla="*/ 4667987 h 6994525"/>
              <a:gd name="connsiteX909" fmla="*/ 2522564 w 3718887"/>
              <a:gd name="connsiteY909" fmla="*/ 4792277 h 6994525"/>
              <a:gd name="connsiteX910" fmla="*/ 2398269 w 3718887"/>
              <a:gd name="connsiteY910" fmla="*/ 4917831 h 6994525"/>
              <a:gd name="connsiteX911" fmla="*/ 2717263 w 3718887"/>
              <a:gd name="connsiteY911" fmla="*/ 4933051 h 6994525"/>
              <a:gd name="connsiteX912" fmla="*/ 2651979 w 3718887"/>
              <a:gd name="connsiteY912" fmla="*/ 4867765 h 6994525"/>
              <a:gd name="connsiteX913" fmla="*/ 2717263 w 3718887"/>
              <a:gd name="connsiteY913" fmla="*/ 4802481 h 6994525"/>
              <a:gd name="connsiteX914" fmla="*/ 2782546 w 3718887"/>
              <a:gd name="connsiteY914" fmla="*/ 4867765 h 6994525"/>
              <a:gd name="connsiteX915" fmla="*/ 2717263 w 3718887"/>
              <a:gd name="connsiteY915" fmla="*/ 4933051 h 6994525"/>
              <a:gd name="connsiteX916" fmla="*/ 3036454 w 3718887"/>
              <a:gd name="connsiteY916" fmla="*/ 5006903 h 6994525"/>
              <a:gd name="connsiteX917" fmla="*/ 2971758 w 3718887"/>
              <a:gd name="connsiteY917" fmla="*/ 4942206 h 6994525"/>
              <a:gd name="connsiteX918" fmla="*/ 3036454 w 3718887"/>
              <a:gd name="connsiteY918" fmla="*/ 4877509 h 6994525"/>
              <a:gd name="connsiteX919" fmla="*/ 3101150 w 3718887"/>
              <a:gd name="connsiteY919" fmla="*/ 4942206 h 6994525"/>
              <a:gd name="connsiteX920" fmla="*/ 3036454 w 3718887"/>
              <a:gd name="connsiteY920" fmla="*/ 5006903 h 6994525"/>
              <a:gd name="connsiteX921" fmla="*/ 477852 w 3718887"/>
              <a:gd name="connsiteY921" fmla="*/ 5009977 h 6994525"/>
              <a:gd name="connsiteX922" fmla="*/ 376790 w 3718887"/>
              <a:gd name="connsiteY922" fmla="*/ 4909537 h 6994525"/>
              <a:gd name="connsiteX923" fmla="*/ 477229 w 3718887"/>
              <a:gd name="connsiteY923" fmla="*/ 4808481 h 6994525"/>
              <a:gd name="connsiteX924" fmla="*/ 578291 w 3718887"/>
              <a:gd name="connsiteY924" fmla="*/ 4908915 h 6994525"/>
              <a:gd name="connsiteX925" fmla="*/ 477852 w 3718887"/>
              <a:gd name="connsiteY925" fmla="*/ 5009977 h 6994525"/>
              <a:gd name="connsiteX926" fmla="*/ 3355644 w 3718887"/>
              <a:gd name="connsiteY926" fmla="*/ 5080943 h 6994525"/>
              <a:gd name="connsiteX927" fmla="*/ 3290948 w 3718887"/>
              <a:gd name="connsiteY927" fmla="*/ 5016218 h 6994525"/>
              <a:gd name="connsiteX928" fmla="*/ 3355644 w 3718887"/>
              <a:gd name="connsiteY928" fmla="*/ 4951522 h 6994525"/>
              <a:gd name="connsiteX929" fmla="*/ 3420368 w 3718887"/>
              <a:gd name="connsiteY929" fmla="*/ 5016218 h 6994525"/>
              <a:gd name="connsiteX930" fmla="*/ 3355644 w 3718887"/>
              <a:gd name="connsiteY930" fmla="*/ 5080943 h 6994525"/>
              <a:gd name="connsiteX931" fmla="*/ 1960248 w 3718887"/>
              <a:gd name="connsiteY931" fmla="*/ 5110963 h 6994525"/>
              <a:gd name="connsiteX932" fmla="*/ 1834703 w 3718887"/>
              <a:gd name="connsiteY932" fmla="*/ 4986675 h 6994525"/>
              <a:gd name="connsiteX933" fmla="*/ 1959619 w 3718887"/>
              <a:gd name="connsiteY933" fmla="*/ 4861124 h 6994525"/>
              <a:gd name="connsiteX934" fmla="*/ 2085164 w 3718887"/>
              <a:gd name="connsiteY934" fmla="*/ 4985415 h 6994525"/>
              <a:gd name="connsiteX935" fmla="*/ 1960248 w 3718887"/>
              <a:gd name="connsiteY935" fmla="*/ 5110963 h 6994525"/>
              <a:gd name="connsiteX936" fmla="*/ 819946 w 3718887"/>
              <a:gd name="connsiteY936" fmla="*/ 5130916 h 6994525"/>
              <a:gd name="connsiteX937" fmla="*/ 685609 w 3718887"/>
              <a:gd name="connsiteY937" fmla="*/ 4997831 h 6994525"/>
              <a:gd name="connsiteX938" fmla="*/ 818687 w 3718887"/>
              <a:gd name="connsiteY938" fmla="*/ 4863499 h 6994525"/>
              <a:gd name="connsiteX939" fmla="*/ 953024 w 3718887"/>
              <a:gd name="connsiteY939" fmla="*/ 4996578 h 6994525"/>
              <a:gd name="connsiteX940" fmla="*/ 819946 w 3718887"/>
              <a:gd name="connsiteY940" fmla="*/ 5130916 h 6994525"/>
              <a:gd name="connsiteX941" fmla="*/ 2284172 w 3718887"/>
              <a:gd name="connsiteY941" fmla="*/ 5161907 h 6994525"/>
              <a:gd name="connsiteX942" fmla="*/ 2184363 w 3718887"/>
              <a:gd name="connsiteY942" fmla="*/ 5062725 h 6994525"/>
              <a:gd name="connsiteX943" fmla="*/ 2283543 w 3718887"/>
              <a:gd name="connsiteY943" fmla="*/ 4962916 h 6994525"/>
              <a:gd name="connsiteX944" fmla="*/ 2383351 w 3718887"/>
              <a:gd name="connsiteY944" fmla="*/ 5062097 h 6994525"/>
              <a:gd name="connsiteX945" fmla="*/ 2284172 w 3718887"/>
              <a:gd name="connsiteY945" fmla="*/ 5161907 h 6994525"/>
              <a:gd name="connsiteX946" fmla="*/ 2606705 w 3718887"/>
              <a:gd name="connsiteY946" fmla="*/ 5203204 h 6994525"/>
              <a:gd name="connsiteX947" fmla="*/ 2541422 w 3718887"/>
              <a:gd name="connsiteY947" fmla="*/ 5137920 h 6994525"/>
              <a:gd name="connsiteX948" fmla="*/ 2606705 w 3718887"/>
              <a:gd name="connsiteY948" fmla="*/ 5072634 h 6994525"/>
              <a:gd name="connsiteX949" fmla="*/ 2671989 w 3718887"/>
              <a:gd name="connsiteY949" fmla="*/ 5137920 h 6994525"/>
              <a:gd name="connsiteX950" fmla="*/ 2606705 w 3718887"/>
              <a:gd name="connsiteY950" fmla="*/ 5203204 h 6994525"/>
              <a:gd name="connsiteX951" fmla="*/ 282554 w 3718887"/>
              <a:gd name="connsiteY951" fmla="*/ 5227222 h 6994525"/>
              <a:gd name="connsiteX952" fmla="*/ 181492 w 3718887"/>
              <a:gd name="connsiteY952" fmla="*/ 5126781 h 6994525"/>
              <a:gd name="connsiteX953" fmla="*/ 281931 w 3718887"/>
              <a:gd name="connsiteY953" fmla="*/ 5025719 h 6994525"/>
              <a:gd name="connsiteX954" fmla="*/ 382993 w 3718887"/>
              <a:gd name="connsiteY954" fmla="*/ 5126157 h 6994525"/>
              <a:gd name="connsiteX955" fmla="*/ 282554 w 3718887"/>
              <a:gd name="connsiteY955" fmla="*/ 5227222 h 6994525"/>
              <a:gd name="connsiteX956" fmla="*/ 2928920 w 3718887"/>
              <a:gd name="connsiteY956" fmla="*/ 5278373 h 6994525"/>
              <a:gd name="connsiteX957" fmla="*/ 2864213 w 3718887"/>
              <a:gd name="connsiteY957" fmla="*/ 5213666 h 6994525"/>
              <a:gd name="connsiteX958" fmla="*/ 2928920 w 3718887"/>
              <a:gd name="connsiteY958" fmla="*/ 5148959 h 6994525"/>
              <a:gd name="connsiteX959" fmla="*/ 2993626 w 3718887"/>
              <a:gd name="connsiteY959" fmla="*/ 5213666 h 6994525"/>
              <a:gd name="connsiteX960" fmla="*/ 2928920 w 3718887"/>
              <a:gd name="connsiteY960" fmla="*/ 5278373 h 6994525"/>
              <a:gd name="connsiteX961" fmla="*/ 3250679 w 3718887"/>
              <a:gd name="connsiteY961" fmla="*/ 5353672 h 6994525"/>
              <a:gd name="connsiteX962" fmla="*/ 3179998 w 3718887"/>
              <a:gd name="connsiteY962" fmla="*/ 5289358 h 6994525"/>
              <a:gd name="connsiteX963" fmla="*/ 3250679 w 3718887"/>
              <a:gd name="connsiteY963" fmla="*/ 5225110 h 6994525"/>
              <a:gd name="connsiteX964" fmla="*/ 3321424 w 3718887"/>
              <a:gd name="connsiteY964" fmla="*/ 5289358 h 6994525"/>
              <a:gd name="connsiteX965" fmla="*/ 3250679 w 3718887"/>
              <a:gd name="connsiteY965" fmla="*/ 5353672 h 6994525"/>
              <a:gd name="connsiteX966" fmla="*/ 637118 w 3718887"/>
              <a:gd name="connsiteY966" fmla="*/ 5377314 h 6994525"/>
              <a:gd name="connsiteX967" fmla="*/ 483949 w 3718887"/>
              <a:gd name="connsiteY967" fmla="*/ 5225403 h 6994525"/>
              <a:gd name="connsiteX968" fmla="*/ 635859 w 3718887"/>
              <a:gd name="connsiteY968" fmla="*/ 5072239 h 6994525"/>
              <a:gd name="connsiteX969" fmla="*/ 789028 w 3718887"/>
              <a:gd name="connsiteY969" fmla="*/ 5224152 h 6994525"/>
              <a:gd name="connsiteX970" fmla="*/ 637118 w 3718887"/>
              <a:gd name="connsiteY970" fmla="*/ 5377314 h 6994525"/>
              <a:gd name="connsiteX971" fmla="*/ 1822594 w 3718887"/>
              <a:gd name="connsiteY971" fmla="*/ 5385068 h 6994525"/>
              <a:gd name="connsiteX972" fmla="*/ 1680726 w 3718887"/>
              <a:gd name="connsiteY972" fmla="*/ 5243827 h 6994525"/>
              <a:gd name="connsiteX973" fmla="*/ 1821965 w 3718887"/>
              <a:gd name="connsiteY973" fmla="*/ 5101958 h 6994525"/>
              <a:gd name="connsiteX974" fmla="*/ 1963833 w 3718887"/>
              <a:gd name="connsiteY974" fmla="*/ 5243198 h 6994525"/>
              <a:gd name="connsiteX975" fmla="*/ 1822594 w 3718887"/>
              <a:gd name="connsiteY975" fmla="*/ 5385068 h 6994525"/>
              <a:gd name="connsiteX976" fmla="*/ 64027 w 3718887"/>
              <a:gd name="connsiteY976" fmla="*/ 5415148 h 6994525"/>
              <a:gd name="connsiteX977" fmla="*/ 27135 w 3718887"/>
              <a:gd name="connsiteY977" fmla="*/ 5407753 h 6994525"/>
              <a:gd name="connsiteX978" fmla="*/ 0 w 3718887"/>
              <a:gd name="connsiteY978" fmla="*/ 5389675 h 6994525"/>
              <a:gd name="connsiteX979" fmla="*/ 0 w 3718887"/>
              <a:gd name="connsiteY979" fmla="*/ 5250177 h 6994525"/>
              <a:gd name="connsiteX980" fmla="*/ 26253 w 3718887"/>
              <a:gd name="connsiteY980" fmla="*/ 5232443 h 6994525"/>
              <a:gd name="connsiteX981" fmla="*/ 63398 w 3718887"/>
              <a:gd name="connsiteY981" fmla="*/ 5224949 h 6994525"/>
              <a:gd name="connsiteX982" fmla="*/ 158810 w 3718887"/>
              <a:gd name="connsiteY982" fmla="*/ 5319739 h 6994525"/>
              <a:gd name="connsiteX983" fmla="*/ 64027 w 3718887"/>
              <a:gd name="connsiteY983" fmla="*/ 5415148 h 6994525"/>
              <a:gd name="connsiteX984" fmla="*/ 2151676 w 3718887"/>
              <a:gd name="connsiteY984" fmla="*/ 5430955 h 6994525"/>
              <a:gd name="connsiteX985" fmla="*/ 2043083 w 3718887"/>
              <a:gd name="connsiteY985" fmla="*/ 5322992 h 6994525"/>
              <a:gd name="connsiteX986" fmla="*/ 2151054 w 3718887"/>
              <a:gd name="connsiteY986" fmla="*/ 5214390 h 6994525"/>
              <a:gd name="connsiteX987" fmla="*/ 2259647 w 3718887"/>
              <a:gd name="connsiteY987" fmla="*/ 5322361 h 6994525"/>
              <a:gd name="connsiteX988" fmla="*/ 2151676 w 3718887"/>
              <a:gd name="connsiteY988" fmla="*/ 5430955 h 6994525"/>
              <a:gd name="connsiteX989" fmla="*/ 2479474 w 3718887"/>
              <a:gd name="connsiteY989" fmla="*/ 5482904 h 6994525"/>
              <a:gd name="connsiteX990" fmla="*/ 2397238 w 3718887"/>
              <a:gd name="connsiteY990" fmla="*/ 5401304 h 6994525"/>
              <a:gd name="connsiteX991" fmla="*/ 2478845 w 3718887"/>
              <a:gd name="connsiteY991" fmla="*/ 5319068 h 6994525"/>
              <a:gd name="connsiteX992" fmla="*/ 2561075 w 3718887"/>
              <a:gd name="connsiteY992" fmla="*/ 5400674 h 6994525"/>
              <a:gd name="connsiteX993" fmla="*/ 2479474 w 3718887"/>
              <a:gd name="connsiteY993" fmla="*/ 5482904 h 6994525"/>
              <a:gd name="connsiteX994" fmla="*/ 2805452 w 3718887"/>
              <a:gd name="connsiteY994" fmla="*/ 5542928 h 6994525"/>
              <a:gd name="connsiteX995" fmla="*/ 2740750 w 3718887"/>
              <a:gd name="connsiteY995" fmla="*/ 5478225 h 6994525"/>
              <a:gd name="connsiteX996" fmla="*/ 2805452 w 3718887"/>
              <a:gd name="connsiteY996" fmla="*/ 5413523 h 6994525"/>
              <a:gd name="connsiteX997" fmla="*/ 2870155 w 3718887"/>
              <a:gd name="connsiteY997" fmla="*/ 5478225 h 6994525"/>
              <a:gd name="connsiteX998" fmla="*/ 2805452 w 3718887"/>
              <a:gd name="connsiteY998" fmla="*/ 5542928 h 6994525"/>
              <a:gd name="connsiteX999" fmla="*/ 432254 w 3718887"/>
              <a:gd name="connsiteY999" fmla="*/ 5561139 h 6994525"/>
              <a:gd name="connsiteX1000" fmla="*/ 303568 w 3718887"/>
              <a:gd name="connsiteY1000" fmla="*/ 5433082 h 6994525"/>
              <a:gd name="connsiteX1001" fmla="*/ 431625 w 3718887"/>
              <a:gd name="connsiteY1001" fmla="*/ 5304397 h 6994525"/>
              <a:gd name="connsiteX1002" fmla="*/ 560311 w 3718887"/>
              <a:gd name="connsiteY1002" fmla="*/ 5432453 h 6994525"/>
              <a:gd name="connsiteX1003" fmla="*/ 432254 w 3718887"/>
              <a:gd name="connsiteY1003" fmla="*/ 5561139 h 6994525"/>
              <a:gd name="connsiteX1004" fmla="*/ 1666966 w 3718887"/>
              <a:gd name="connsiteY1004" fmla="*/ 5607507 h 6994525"/>
              <a:gd name="connsiteX1005" fmla="*/ 1548950 w 3718887"/>
              <a:gd name="connsiteY1005" fmla="*/ 5490746 h 6994525"/>
              <a:gd name="connsiteX1006" fmla="*/ 1666337 w 3718887"/>
              <a:gd name="connsiteY1006" fmla="*/ 5373364 h 6994525"/>
              <a:gd name="connsiteX1007" fmla="*/ 1783723 w 3718887"/>
              <a:gd name="connsiteY1007" fmla="*/ 5490116 h 6994525"/>
              <a:gd name="connsiteX1008" fmla="*/ 1666966 w 3718887"/>
              <a:gd name="connsiteY1008" fmla="*/ 5607507 h 6994525"/>
              <a:gd name="connsiteX1009" fmla="*/ 3130114 w 3718887"/>
              <a:gd name="connsiteY1009" fmla="*/ 5619540 h 6994525"/>
              <a:gd name="connsiteX1010" fmla="*/ 3065553 w 3718887"/>
              <a:gd name="connsiteY1010" fmla="*/ 5554945 h 6994525"/>
              <a:gd name="connsiteX1011" fmla="*/ 3126741 w 3718887"/>
              <a:gd name="connsiteY1011" fmla="*/ 5490385 h 6994525"/>
              <a:gd name="connsiteX1012" fmla="*/ 3194709 w 3718887"/>
              <a:gd name="connsiteY1012" fmla="*/ 5554945 h 6994525"/>
              <a:gd name="connsiteX1013" fmla="*/ 3130114 w 3718887"/>
              <a:gd name="connsiteY1013" fmla="*/ 5619540 h 6994525"/>
              <a:gd name="connsiteX1014" fmla="*/ 2001975 w 3718887"/>
              <a:gd name="connsiteY1014" fmla="*/ 5659784 h 6994525"/>
              <a:gd name="connsiteX1015" fmla="*/ 1915348 w 3718887"/>
              <a:gd name="connsiteY1015" fmla="*/ 5573786 h 6994525"/>
              <a:gd name="connsiteX1016" fmla="*/ 2001345 w 3718887"/>
              <a:gd name="connsiteY1016" fmla="*/ 5487159 h 6994525"/>
              <a:gd name="connsiteX1017" fmla="*/ 2087972 w 3718887"/>
              <a:gd name="connsiteY1017" fmla="*/ 5573156 h 6994525"/>
              <a:gd name="connsiteX1018" fmla="*/ 2001975 w 3718887"/>
              <a:gd name="connsiteY1018" fmla="*/ 5659784 h 6994525"/>
              <a:gd name="connsiteX1019" fmla="*/ 2335375 w 3718887"/>
              <a:gd name="connsiteY1019" fmla="*/ 5719486 h 6994525"/>
              <a:gd name="connsiteX1020" fmla="*/ 2270353 w 3718887"/>
              <a:gd name="connsiteY1020" fmla="*/ 5655108 h 6994525"/>
              <a:gd name="connsiteX1021" fmla="*/ 2334730 w 3718887"/>
              <a:gd name="connsiteY1021" fmla="*/ 5590086 h 6994525"/>
              <a:gd name="connsiteX1022" fmla="*/ 2399751 w 3718887"/>
              <a:gd name="connsiteY1022" fmla="*/ 5654463 h 6994525"/>
              <a:gd name="connsiteX1023" fmla="*/ 2335375 w 3718887"/>
              <a:gd name="connsiteY1023" fmla="*/ 5719486 h 6994525"/>
              <a:gd name="connsiteX1024" fmla="*/ 208233 w 3718887"/>
              <a:gd name="connsiteY1024" fmla="*/ 5751408 h 6994525"/>
              <a:gd name="connsiteX1025" fmla="*/ 75786 w 3718887"/>
              <a:gd name="connsiteY1025" fmla="*/ 5620212 h 6994525"/>
              <a:gd name="connsiteX1026" fmla="*/ 207610 w 3718887"/>
              <a:gd name="connsiteY1026" fmla="*/ 5488386 h 6994525"/>
              <a:gd name="connsiteX1027" fmla="*/ 339428 w 3718887"/>
              <a:gd name="connsiteY1027" fmla="*/ 5619583 h 6994525"/>
              <a:gd name="connsiteX1028" fmla="*/ 208233 w 3718887"/>
              <a:gd name="connsiteY1028" fmla="*/ 5751408 h 6994525"/>
              <a:gd name="connsiteX1029" fmla="*/ 2666078 w 3718887"/>
              <a:gd name="connsiteY1029" fmla="*/ 5799312 h 6994525"/>
              <a:gd name="connsiteX1030" fmla="*/ 2601376 w 3718887"/>
              <a:gd name="connsiteY1030" fmla="*/ 5734609 h 6994525"/>
              <a:gd name="connsiteX1031" fmla="*/ 2666078 w 3718887"/>
              <a:gd name="connsiteY1031" fmla="*/ 5669907 h 6994525"/>
              <a:gd name="connsiteX1032" fmla="*/ 2730768 w 3718887"/>
              <a:gd name="connsiteY1032" fmla="*/ 5734609 h 6994525"/>
              <a:gd name="connsiteX1033" fmla="*/ 2666078 w 3718887"/>
              <a:gd name="connsiteY1033" fmla="*/ 5799312 h 6994525"/>
              <a:gd name="connsiteX1034" fmla="*/ 1492315 w 3718887"/>
              <a:gd name="connsiteY1034" fmla="*/ 5868417 h 6994525"/>
              <a:gd name="connsiteX1035" fmla="*/ 1347936 w 3718887"/>
              <a:gd name="connsiteY1035" fmla="*/ 5725296 h 6994525"/>
              <a:gd name="connsiteX1036" fmla="*/ 1491056 w 3718887"/>
              <a:gd name="connsiteY1036" fmla="*/ 5580914 h 6994525"/>
              <a:gd name="connsiteX1037" fmla="*/ 1635435 w 3718887"/>
              <a:gd name="connsiteY1037" fmla="*/ 5724037 h 6994525"/>
              <a:gd name="connsiteX1038" fmla="*/ 1492315 w 3718887"/>
              <a:gd name="connsiteY1038" fmla="*/ 5868417 h 6994525"/>
              <a:gd name="connsiteX1039" fmla="*/ 2995160 w 3718887"/>
              <a:gd name="connsiteY1039" fmla="*/ 5878794 h 6994525"/>
              <a:gd name="connsiteX1040" fmla="*/ 2930464 w 3718887"/>
              <a:gd name="connsiteY1040" fmla="*/ 5814081 h 6994525"/>
              <a:gd name="connsiteX1041" fmla="*/ 2995160 w 3718887"/>
              <a:gd name="connsiteY1041" fmla="*/ 5749367 h 6994525"/>
              <a:gd name="connsiteX1042" fmla="*/ 3059856 w 3718887"/>
              <a:gd name="connsiteY1042" fmla="*/ 5814081 h 6994525"/>
              <a:gd name="connsiteX1043" fmla="*/ 2995160 w 3718887"/>
              <a:gd name="connsiteY1043" fmla="*/ 5878794 h 6994525"/>
              <a:gd name="connsiteX1044" fmla="*/ 580240 w 3718887"/>
              <a:gd name="connsiteY1044" fmla="*/ 5882856 h 6994525"/>
              <a:gd name="connsiteX1045" fmla="*/ 433977 w 3718887"/>
              <a:gd name="connsiteY1045" fmla="*/ 5737224 h 6994525"/>
              <a:gd name="connsiteX1046" fmla="*/ 579611 w 3718887"/>
              <a:gd name="connsiteY1046" fmla="*/ 5590961 h 6994525"/>
              <a:gd name="connsiteX1047" fmla="*/ 636364 w 3718887"/>
              <a:gd name="connsiteY1047" fmla="*/ 5602418 h 6994525"/>
              <a:gd name="connsiteX1048" fmla="*/ 669550 w 3718887"/>
              <a:gd name="connsiteY1048" fmla="*/ 5624700 h 6994525"/>
              <a:gd name="connsiteX1049" fmla="*/ 650469 w 3718887"/>
              <a:gd name="connsiteY1049" fmla="*/ 5596632 h 6994525"/>
              <a:gd name="connsiteX1050" fmla="*/ 637993 w 3718887"/>
              <a:gd name="connsiteY1050" fmla="*/ 5536861 h 6994525"/>
              <a:gd name="connsiteX1051" fmla="*/ 791157 w 3718887"/>
              <a:gd name="connsiteY1051" fmla="*/ 5382443 h 6994525"/>
              <a:gd name="connsiteX1052" fmla="*/ 829413 w 3718887"/>
              <a:gd name="connsiteY1052" fmla="*/ 5389916 h 6994525"/>
              <a:gd name="connsiteX1053" fmla="*/ 825795 w 3718887"/>
              <a:gd name="connsiteY1053" fmla="*/ 5384597 h 6994525"/>
              <a:gd name="connsiteX1054" fmla="*/ 811877 w 3718887"/>
              <a:gd name="connsiteY1054" fmla="*/ 5317465 h 6994525"/>
              <a:gd name="connsiteX1055" fmla="*/ 983876 w 3718887"/>
              <a:gd name="connsiteY1055" fmla="*/ 5144212 h 6994525"/>
              <a:gd name="connsiteX1056" fmla="*/ 1003968 w 3718887"/>
              <a:gd name="connsiteY1056" fmla="*/ 5148148 h 6994525"/>
              <a:gd name="connsiteX1057" fmla="*/ 1003242 w 3718887"/>
              <a:gd name="connsiteY1057" fmla="*/ 5147081 h 6994525"/>
              <a:gd name="connsiteX1058" fmla="*/ 990030 w 3718887"/>
              <a:gd name="connsiteY1058" fmla="*/ 5082165 h 6994525"/>
              <a:gd name="connsiteX1059" fmla="*/ 1156377 w 3718887"/>
              <a:gd name="connsiteY1059" fmla="*/ 4914558 h 6994525"/>
              <a:gd name="connsiteX1060" fmla="*/ 1157320 w 3718887"/>
              <a:gd name="connsiteY1060" fmla="*/ 4914741 h 6994525"/>
              <a:gd name="connsiteX1061" fmla="*/ 1147184 w 3718887"/>
              <a:gd name="connsiteY1061" fmla="*/ 4899835 h 6994525"/>
              <a:gd name="connsiteX1062" fmla="*/ 1133063 w 3718887"/>
              <a:gd name="connsiteY1062" fmla="*/ 4831793 h 6994525"/>
              <a:gd name="connsiteX1063" fmla="*/ 1238901 w 3718887"/>
              <a:gd name="connsiteY1063" fmla="*/ 4670426 h 6994525"/>
              <a:gd name="connsiteX1064" fmla="*/ 1302861 w 3718887"/>
              <a:gd name="connsiteY1064" fmla="*/ 4657482 h 6994525"/>
              <a:gd name="connsiteX1065" fmla="*/ 1285895 w 3718887"/>
              <a:gd name="connsiteY1065" fmla="*/ 4632557 h 6994525"/>
              <a:gd name="connsiteX1066" fmla="*/ 1272751 w 3718887"/>
              <a:gd name="connsiteY1066" fmla="*/ 4569384 h 6994525"/>
              <a:gd name="connsiteX1067" fmla="*/ 1371528 w 3718887"/>
              <a:gd name="connsiteY1067" fmla="*/ 4419318 h 6994525"/>
              <a:gd name="connsiteX1068" fmla="*/ 1433163 w 3718887"/>
              <a:gd name="connsiteY1068" fmla="*/ 4406496 h 6994525"/>
              <a:gd name="connsiteX1069" fmla="*/ 1430650 w 3718887"/>
              <a:gd name="connsiteY1069" fmla="*/ 4404815 h 6994525"/>
              <a:gd name="connsiteX1070" fmla="*/ 1385219 w 3718887"/>
              <a:gd name="connsiteY1070" fmla="*/ 4296224 h 6994525"/>
              <a:gd name="connsiteX1071" fmla="*/ 1538381 w 3718887"/>
              <a:gd name="connsiteY1071" fmla="*/ 4141802 h 6994525"/>
              <a:gd name="connsiteX1072" fmla="*/ 1544525 w 3718887"/>
              <a:gd name="connsiteY1072" fmla="*/ 4143007 h 6994525"/>
              <a:gd name="connsiteX1073" fmla="*/ 1511406 w 3718887"/>
              <a:gd name="connsiteY1073" fmla="*/ 4120864 h 6994525"/>
              <a:gd name="connsiteX1074" fmla="*/ 1467073 w 3718887"/>
              <a:gd name="connsiteY1074" fmla="*/ 4014775 h 6994525"/>
              <a:gd name="connsiteX1075" fmla="*/ 1558705 w 3718887"/>
              <a:gd name="connsiteY1075" fmla="*/ 3876012 h 6994525"/>
              <a:gd name="connsiteX1076" fmla="*/ 1607131 w 3718887"/>
              <a:gd name="connsiteY1076" fmla="*/ 3866259 h 6994525"/>
              <a:gd name="connsiteX1077" fmla="*/ 1562279 w 3718887"/>
              <a:gd name="connsiteY1077" fmla="*/ 3836312 h 6994525"/>
              <a:gd name="connsiteX1078" fmla="*/ 1516849 w 3718887"/>
              <a:gd name="connsiteY1078" fmla="*/ 3727962 h 6994525"/>
              <a:gd name="connsiteX1079" fmla="*/ 1610332 w 3718887"/>
              <a:gd name="connsiteY1079" fmla="*/ 3585656 h 6994525"/>
              <a:gd name="connsiteX1080" fmla="*/ 1647563 w 3718887"/>
              <a:gd name="connsiteY1080" fmla="*/ 3578094 h 6994525"/>
              <a:gd name="connsiteX1081" fmla="*/ 1639313 w 3718887"/>
              <a:gd name="connsiteY1081" fmla="*/ 3576431 h 6994525"/>
              <a:gd name="connsiteX1082" fmla="*/ 1546361 w 3718887"/>
              <a:gd name="connsiteY1082" fmla="*/ 3437058 h 6994525"/>
              <a:gd name="connsiteX1083" fmla="*/ 1638517 w 3718887"/>
              <a:gd name="connsiteY1083" fmla="*/ 3297425 h 6994525"/>
              <a:gd name="connsiteX1084" fmla="*/ 1680874 w 3718887"/>
              <a:gd name="connsiteY1084" fmla="*/ 3288643 h 6994525"/>
              <a:gd name="connsiteX1085" fmla="*/ 1642437 w 3718887"/>
              <a:gd name="connsiteY1085" fmla="*/ 3281111 h 6994525"/>
              <a:gd name="connsiteX1086" fmla="*/ 1552046 w 3718887"/>
              <a:gd name="connsiteY1086" fmla="*/ 3146080 h 6994525"/>
              <a:gd name="connsiteX1087" fmla="*/ 1698937 w 3718887"/>
              <a:gd name="connsiteY1087" fmla="*/ 2997956 h 6994525"/>
              <a:gd name="connsiteX1088" fmla="*/ 1846451 w 3718887"/>
              <a:gd name="connsiteY1088" fmla="*/ 3144829 h 6994525"/>
              <a:gd name="connsiteX1089" fmla="*/ 1756674 w 3718887"/>
              <a:gd name="connsiteY1089" fmla="*/ 3280650 h 6994525"/>
              <a:gd name="connsiteX1090" fmla="*/ 1716184 w 3718887"/>
              <a:gd name="connsiteY1090" fmla="*/ 3288913 h 6994525"/>
              <a:gd name="connsiteX1091" fmla="*/ 1756509 w 3718887"/>
              <a:gd name="connsiteY1091" fmla="*/ 3297061 h 6994525"/>
              <a:gd name="connsiteX1092" fmla="*/ 1849550 w 3718887"/>
              <a:gd name="connsiteY1092" fmla="*/ 3436433 h 6994525"/>
              <a:gd name="connsiteX1093" fmla="*/ 1757129 w 3718887"/>
              <a:gd name="connsiteY1093" fmla="*/ 3576332 h 6994525"/>
              <a:gd name="connsiteX1094" fmla="*/ 1721353 w 3718887"/>
              <a:gd name="connsiteY1094" fmla="*/ 3583624 h 6994525"/>
              <a:gd name="connsiteX1095" fmla="*/ 1729804 w 3718887"/>
              <a:gd name="connsiteY1095" fmla="*/ 3585283 h 6994525"/>
              <a:gd name="connsiteX1096" fmla="*/ 1824435 w 3718887"/>
              <a:gd name="connsiteY1096" fmla="*/ 3726698 h 6994525"/>
              <a:gd name="connsiteX1097" fmla="*/ 1730952 w 3718887"/>
              <a:gd name="connsiteY1097" fmla="*/ 3868639 h 6994525"/>
              <a:gd name="connsiteX1098" fmla="*/ 1680961 w 3718887"/>
              <a:gd name="connsiteY1098" fmla="*/ 3879090 h 6994525"/>
              <a:gd name="connsiteX1099" fmla="*/ 1724131 w 3718887"/>
              <a:gd name="connsiteY1099" fmla="*/ 3908063 h 6994525"/>
              <a:gd name="connsiteX1100" fmla="*/ 1768385 w 3718887"/>
              <a:gd name="connsiteY1100" fmla="*/ 4014150 h 6994525"/>
              <a:gd name="connsiteX1101" fmla="*/ 1618355 w 3718887"/>
              <a:gd name="connsiteY1101" fmla="*/ 4164807 h 6994525"/>
              <a:gd name="connsiteX1102" fmla="*/ 1613709 w 3718887"/>
              <a:gd name="connsiteY1102" fmla="*/ 4163874 h 6994525"/>
              <a:gd name="connsiteX1103" fmla="*/ 1647370 w 3718887"/>
              <a:gd name="connsiteY1103" fmla="*/ 4186372 h 6994525"/>
              <a:gd name="connsiteX1104" fmla="*/ 1692801 w 3718887"/>
              <a:gd name="connsiteY1104" fmla="*/ 4294968 h 6994525"/>
              <a:gd name="connsiteX1105" fmla="*/ 1599408 w 3718887"/>
              <a:gd name="connsiteY1105" fmla="*/ 4436910 h 6994525"/>
              <a:gd name="connsiteX1106" fmla="*/ 1543097 w 3718887"/>
              <a:gd name="connsiteY1106" fmla="*/ 4448660 h 6994525"/>
              <a:gd name="connsiteX1107" fmla="*/ 1549971 w 3718887"/>
              <a:gd name="connsiteY1107" fmla="*/ 4453252 h 6994525"/>
              <a:gd name="connsiteX1108" fmla="*/ 1597914 w 3718887"/>
              <a:gd name="connsiteY1108" fmla="*/ 4568131 h 6994525"/>
              <a:gd name="connsiteX1109" fmla="*/ 1499223 w 3718887"/>
              <a:gd name="connsiteY1109" fmla="*/ 4718461 h 6994525"/>
              <a:gd name="connsiteX1110" fmla="*/ 1445826 w 3718887"/>
              <a:gd name="connsiteY1110" fmla="*/ 4729330 h 6994525"/>
              <a:gd name="connsiteX1111" fmla="*/ 1468306 w 3718887"/>
              <a:gd name="connsiteY1111" fmla="*/ 4762495 h 6994525"/>
              <a:gd name="connsiteX1112" fmla="*/ 1482077 w 3718887"/>
              <a:gd name="connsiteY1112" fmla="*/ 4830536 h 6994525"/>
              <a:gd name="connsiteX1113" fmla="*/ 1308199 w 3718887"/>
              <a:gd name="connsiteY1113" fmla="*/ 5005674 h 6994525"/>
              <a:gd name="connsiteX1114" fmla="*/ 1302861 w 3718887"/>
              <a:gd name="connsiteY1114" fmla="*/ 5004626 h 6994525"/>
              <a:gd name="connsiteX1115" fmla="*/ 1310505 w 3718887"/>
              <a:gd name="connsiteY1115" fmla="*/ 5015893 h 6994525"/>
              <a:gd name="connsiteX1116" fmla="*/ 1323982 w 3718887"/>
              <a:gd name="connsiteY1116" fmla="*/ 5080903 h 6994525"/>
              <a:gd name="connsiteX1117" fmla="*/ 1157635 w 3718887"/>
              <a:gd name="connsiteY1117" fmla="*/ 5248512 h 6994525"/>
              <a:gd name="connsiteX1118" fmla="*/ 1140879 w 3718887"/>
              <a:gd name="connsiteY1118" fmla="*/ 5245163 h 6994525"/>
              <a:gd name="connsiteX1119" fmla="*/ 1143480 w 3718887"/>
              <a:gd name="connsiteY1119" fmla="*/ 5248995 h 6994525"/>
              <a:gd name="connsiteX1120" fmla="*/ 1157133 w 3718887"/>
              <a:gd name="connsiteY1120" fmla="*/ 5316214 h 6994525"/>
              <a:gd name="connsiteX1121" fmla="*/ 985134 w 3718887"/>
              <a:gd name="connsiteY1121" fmla="*/ 5489471 h 6994525"/>
              <a:gd name="connsiteX1122" fmla="*/ 934152 w 3718887"/>
              <a:gd name="connsiteY1122" fmla="*/ 5479265 h 6994525"/>
              <a:gd name="connsiteX1123" fmla="*/ 945579 w 3718887"/>
              <a:gd name="connsiteY1123" fmla="*/ 5535604 h 6994525"/>
              <a:gd name="connsiteX1124" fmla="*/ 792415 w 3718887"/>
              <a:gd name="connsiteY1124" fmla="*/ 5690026 h 6994525"/>
              <a:gd name="connsiteX1125" fmla="*/ 732623 w 3718887"/>
              <a:gd name="connsiteY1125" fmla="*/ 5678276 h 6994525"/>
              <a:gd name="connsiteX1126" fmla="*/ 696944 w 3718887"/>
              <a:gd name="connsiteY1126" fmla="*/ 5654361 h 6994525"/>
              <a:gd name="connsiteX1127" fmla="*/ 714319 w 3718887"/>
              <a:gd name="connsiteY1127" fmla="*/ 5679942 h 6994525"/>
              <a:gd name="connsiteX1128" fmla="*/ 725873 w 3718887"/>
              <a:gd name="connsiteY1128" fmla="*/ 5736595 h 6994525"/>
              <a:gd name="connsiteX1129" fmla="*/ 580240 w 3718887"/>
              <a:gd name="connsiteY1129" fmla="*/ 5882856 h 6994525"/>
              <a:gd name="connsiteX1130" fmla="*/ 1835066 w 3718887"/>
              <a:gd name="connsiteY1130" fmla="*/ 5906921 h 6994525"/>
              <a:gd name="connsiteX1131" fmla="*/ 1740904 w 3718887"/>
              <a:gd name="connsiteY1131" fmla="*/ 5813388 h 6994525"/>
              <a:gd name="connsiteX1132" fmla="*/ 1834436 w 3718887"/>
              <a:gd name="connsiteY1132" fmla="*/ 5719226 h 6994525"/>
              <a:gd name="connsiteX1133" fmla="*/ 1928598 w 3718887"/>
              <a:gd name="connsiteY1133" fmla="*/ 5812758 h 6994525"/>
              <a:gd name="connsiteX1134" fmla="*/ 1835066 w 3718887"/>
              <a:gd name="connsiteY1134" fmla="*/ 5906921 h 6994525"/>
              <a:gd name="connsiteX1135" fmla="*/ 0 w 3718887"/>
              <a:gd name="connsiteY1135" fmla="*/ 5908550 h 6994525"/>
              <a:gd name="connsiteX1136" fmla="*/ 0 w 3718887"/>
              <a:gd name="connsiteY1136" fmla="*/ 5658693 h 6994525"/>
              <a:gd name="connsiteX1137" fmla="*/ 16628 w 3718887"/>
              <a:gd name="connsiteY1137" fmla="*/ 5662012 h 6994525"/>
              <a:gd name="connsiteX1138" fmla="*/ 97661 w 3718887"/>
              <a:gd name="connsiteY1138" fmla="*/ 5782949 h 6994525"/>
              <a:gd name="connsiteX1139" fmla="*/ 17686 w 3718887"/>
              <a:gd name="connsiteY1139" fmla="*/ 5904940 h 6994525"/>
              <a:gd name="connsiteX1140" fmla="*/ 2174916 w 3718887"/>
              <a:gd name="connsiteY1140" fmla="*/ 5963402 h 6994525"/>
              <a:gd name="connsiteX1141" fmla="*/ 2109894 w 3718887"/>
              <a:gd name="connsiteY1141" fmla="*/ 5899023 h 6994525"/>
              <a:gd name="connsiteX1142" fmla="*/ 2174271 w 3718887"/>
              <a:gd name="connsiteY1142" fmla="*/ 5834002 h 6994525"/>
              <a:gd name="connsiteX1143" fmla="*/ 2239292 w 3718887"/>
              <a:gd name="connsiteY1143" fmla="*/ 5898379 h 6994525"/>
              <a:gd name="connsiteX1144" fmla="*/ 2174916 w 3718887"/>
              <a:gd name="connsiteY1144" fmla="*/ 5963402 h 6994525"/>
              <a:gd name="connsiteX1145" fmla="*/ 944170 w 3718887"/>
              <a:gd name="connsiteY1145" fmla="*/ 5981628 h 6994525"/>
              <a:gd name="connsiteX1146" fmla="*/ 806700 w 3718887"/>
              <a:gd name="connsiteY1146" fmla="*/ 5844773 h 6994525"/>
              <a:gd name="connsiteX1147" fmla="*/ 943541 w 3718887"/>
              <a:gd name="connsiteY1147" fmla="*/ 5707303 h 6994525"/>
              <a:gd name="connsiteX1148" fmla="*/ 996802 w 3718887"/>
              <a:gd name="connsiteY1148" fmla="*/ 5718003 h 6994525"/>
              <a:gd name="connsiteX1149" fmla="*/ 1032709 w 3718887"/>
              <a:gd name="connsiteY1149" fmla="*/ 5742017 h 6994525"/>
              <a:gd name="connsiteX1150" fmla="*/ 1000297 w 3718887"/>
              <a:gd name="connsiteY1150" fmla="*/ 5694280 h 6994525"/>
              <a:gd name="connsiteX1151" fmla="*/ 987598 w 3718887"/>
              <a:gd name="connsiteY1151" fmla="*/ 5633221 h 6994525"/>
              <a:gd name="connsiteX1152" fmla="*/ 1143900 w 3718887"/>
              <a:gd name="connsiteY1152" fmla="*/ 5475666 h 6994525"/>
              <a:gd name="connsiteX1153" fmla="*/ 1182349 w 3718887"/>
              <a:gd name="connsiteY1153" fmla="*/ 5483194 h 6994525"/>
              <a:gd name="connsiteX1154" fmla="*/ 1173854 w 3718887"/>
              <a:gd name="connsiteY1154" fmla="*/ 5470670 h 6994525"/>
              <a:gd name="connsiteX1155" fmla="*/ 1160380 w 3718887"/>
              <a:gd name="connsiteY1155" fmla="*/ 5405666 h 6994525"/>
              <a:gd name="connsiteX1156" fmla="*/ 1326727 w 3718887"/>
              <a:gd name="connsiteY1156" fmla="*/ 5238060 h 6994525"/>
              <a:gd name="connsiteX1157" fmla="*/ 1346608 w 3718887"/>
              <a:gd name="connsiteY1157" fmla="*/ 5241952 h 6994525"/>
              <a:gd name="connsiteX1158" fmla="*/ 1337756 w 3718887"/>
              <a:gd name="connsiteY1158" fmla="*/ 5228905 h 6994525"/>
              <a:gd name="connsiteX1159" fmla="*/ 1324282 w 3718887"/>
              <a:gd name="connsiteY1159" fmla="*/ 5163893 h 6994525"/>
              <a:gd name="connsiteX1160" fmla="*/ 1490629 w 3718887"/>
              <a:gd name="connsiteY1160" fmla="*/ 4996287 h 6994525"/>
              <a:gd name="connsiteX1161" fmla="*/ 1513231 w 3718887"/>
              <a:gd name="connsiteY1161" fmla="*/ 5000811 h 6994525"/>
              <a:gd name="connsiteX1162" fmla="*/ 1492209 w 3718887"/>
              <a:gd name="connsiteY1162" fmla="*/ 4969814 h 6994525"/>
              <a:gd name="connsiteX1163" fmla="*/ 1479988 w 3718887"/>
              <a:gd name="connsiteY1163" fmla="*/ 4909668 h 6994525"/>
              <a:gd name="connsiteX1164" fmla="*/ 1633780 w 3718887"/>
              <a:gd name="connsiteY1164" fmla="*/ 4753981 h 6994525"/>
              <a:gd name="connsiteX1165" fmla="*/ 1653737 w 3718887"/>
              <a:gd name="connsiteY1165" fmla="*/ 4757973 h 6994525"/>
              <a:gd name="connsiteX1166" fmla="*/ 1647662 w 3718887"/>
              <a:gd name="connsiteY1166" fmla="*/ 4753897 h 6994525"/>
              <a:gd name="connsiteX1167" fmla="*/ 1602153 w 3718887"/>
              <a:gd name="connsiteY1167" fmla="*/ 4644671 h 6994525"/>
              <a:gd name="connsiteX1168" fmla="*/ 1756574 w 3718887"/>
              <a:gd name="connsiteY1168" fmla="*/ 4488988 h 6994525"/>
              <a:gd name="connsiteX1169" fmla="*/ 1778451 w 3718887"/>
              <a:gd name="connsiteY1169" fmla="*/ 4493388 h 6994525"/>
              <a:gd name="connsiteX1170" fmla="*/ 1751682 w 3718887"/>
              <a:gd name="connsiteY1170" fmla="*/ 4475444 h 6994525"/>
              <a:gd name="connsiteX1171" fmla="*/ 1707505 w 3718887"/>
              <a:gd name="connsiteY1171" fmla="*/ 4370218 h 6994525"/>
              <a:gd name="connsiteX1172" fmla="*/ 1856277 w 3718887"/>
              <a:gd name="connsiteY1172" fmla="*/ 4220194 h 6994525"/>
              <a:gd name="connsiteX1173" fmla="*/ 2006308 w 3718887"/>
              <a:gd name="connsiteY1173" fmla="*/ 4368965 h 6994525"/>
              <a:gd name="connsiteX1174" fmla="*/ 1857536 w 3718887"/>
              <a:gd name="connsiteY1174" fmla="*/ 4518996 h 6994525"/>
              <a:gd name="connsiteX1175" fmla="*/ 1837487 w 3718887"/>
              <a:gd name="connsiteY1175" fmla="*/ 4514981 h 6994525"/>
              <a:gd name="connsiteX1176" fmla="*/ 1866112 w 3718887"/>
              <a:gd name="connsiteY1176" fmla="*/ 4534185 h 6994525"/>
              <a:gd name="connsiteX1177" fmla="*/ 1911624 w 3718887"/>
              <a:gd name="connsiteY1177" fmla="*/ 4643414 h 6994525"/>
              <a:gd name="connsiteX1178" fmla="*/ 1757197 w 3718887"/>
              <a:gd name="connsiteY1178" fmla="*/ 4799095 h 6994525"/>
              <a:gd name="connsiteX1179" fmla="*/ 1737947 w 3718887"/>
              <a:gd name="connsiteY1179" fmla="*/ 4795224 h 6994525"/>
              <a:gd name="connsiteX1180" fmla="*/ 1743869 w 3718887"/>
              <a:gd name="connsiteY1180" fmla="*/ 4799182 h 6994525"/>
              <a:gd name="connsiteX1181" fmla="*/ 1789459 w 3718887"/>
              <a:gd name="connsiteY1181" fmla="*/ 4908411 h 6994525"/>
              <a:gd name="connsiteX1182" fmla="*/ 1635032 w 3718887"/>
              <a:gd name="connsiteY1182" fmla="*/ 5064095 h 6994525"/>
              <a:gd name="connsiteX1183" fmla="*/ 1619800 w 3718887"/>
              <a:gd name="connsiteY1183" fmla="*/ 5061030 h 6994525"/>
              <a:gd name="connsiteX1184" fmla="*/ 1644757 w 3718887"/>
              <a:gd name="connsiteY1184" fmla="*/ 5097714 h 6994525"/>
              <a:gd name="connsiteX1185" fmla="*/ 1658234 w 3718887"/>
              <a:gd name="connsiteY1185" fmla="*/ 5162634 h 6994525"/>
              <a:gd name="connsiteX1186" fmla="*/ 1491887 w 3718887"/>
              <a:gd name="connsiteY1186" fmla="*/ 5330242 h 6994525"/>
              <a:gd name="connsiteX1187" fmla="*/ 1472297 w 3718887"/>
              <a:gd name="connsiteY1187" fmla="*/ 5326403 h 6994525"/>
              <a:gd name="connsiteX1188" fmla="*/ 1481120 w 3718887"/>
              <a:gd name="connsiteY1188" fmla="*/ 5339398 h 6994525"/>
              <a:gd name="connsiteX1189" fmla="*/ 1494332 w 3718887"/>
              <a:gd name="connsiteY1189" fmla="*/ 5404407 h 6994525"/>
              <a:gd name="connsiteX1190" fmla="*/ 1327985 w 3718887"/>
              <a:gd name="connsiteY1190" fmla="*/ 5572010 h 6994525"/>
              <a:gd name="connsiteX1191" fmla="*/ 1283896 w 3718887"/>
              <a:gd name="connsiteY1191" fmla="*/ 5563367 h 6994525"/>
              <a:gd name="connsiteX1192" fmla="*/ 1289024 w 3718887"/>
              <a:gd name="connsiteY1192" fmla="*/ 5570914 h 6994525"/>
              <a:gd name="connsiteX1193" fmla="*/ 1301461 w 3718887"/>
              <a:gd name="connsiteY1193" fmla="*/ 5631968 h 6994525"/>
              <a:gd name="connsiteX1194" fmla="*/ 1145153 w 3718887"/>
              <a:gd name="connsiteY1194" fmla="*/ 5789530 h 6994525"/>
              <a:gd name="connsiteX1195" fmla="*/ 1084077 w 3718887"/>
              <a:gd name="connsiteY1195" fmla="*/ 5777556 h 6994525"/>
              <a:gd name="connsiteX1196" fmla="*/ 1041960 w 3718887"/>
              <a:gd name="connsiteY1196" fmla="*/ 5749347 h 6994525"/>
              <a:gd name="connsiteX1197" fmla="*/ 1070129 w 3718887"/>
              <a:gd name="connsiteY1197" fmla="*/ 5790723 h 6994525"/>
              <a:gd name="connsiteX1198" fmla="*/ 1081016 w 3718887"/>
              <a:gd name="connsiteY1198" fmla="*/ 5844149 h 6994525"/>
              <a:gd name="connsiteX1199" fmla="*/ 944170 w 3718887"/>
              <a:gd name="connsiteY1199" fmla="*/ 5981628 h 6994525"/>
              <a:gd name="connsiteX1200" fmla="*/ 2511644 w 3718887"/>
              <a:gd name="connsiteY1200" fmla="*/ 6047089 h 6994525"/>
              <a:gd name="connsiteX1201" fmla="*/ 2446943 w 3718887"/>
              <a:gd name="connsiteY1201" fmla="*/ 5982389 h 6994525"/>
              <a:gd name="connsiteX1202" fmla="*/ 2511644 w 3718887"/>
              <a:gd name="connsiteY1202" fmla="*/ 5917688 h 6994525"/>
              <a:gd name="connsiteX1203" fmla="*/ 2576345 w 3718887"/>
              <a:gd name="connsiteY1203" fmla="*/ 5982389 h 6994525"/>
              <a:gd name="connsiteX1204" fmla="*/ 2511644 w 3718887"/>
              <a:gd name="connsiteY1204" fmla="*/ 6047089 h 6994525"/>
              <a:gd name="connsiteX1205" fmla="*/ 351481 w 3718887"/>
              <a:gd name="connsiteY1205" fmla="*/ 6062421 h 6994525"/>
              <a:gd name="connsiteX1206" fmla="*/ 207102 w 3718887"/>
              <a:gd name="connsiteY1206" fmla="*/ 5919290 h 6994525"/>
              <a:gd name="connsiteX1207" fmla="*/ 350222 w 3718887"/>
              <a:gd name="connsiteY1207" fmla="*/ 5774911 h 6994525"/>
              <a:gd name="connsiteX1208" fmla="*/ 494601 w 3718887"/>
              <a:gd name="connsiteY1208" fmla="*/ 5918032 h 6994525"/>
              <a:gd name="connsiteX1209" fmla="*/ 351481 w 3718887"/>
              <a:gd name="connsiteY1209" fmla="*/ 6062421 h 6994525"/>
              <a:gd name="connsiteX1210" fmla="*/ 1301312 w 3718887"/>
              <a:gd name="connsiteY1210" fmla="*/ 6067134 h 6994525"/>
              <a:gd name="connsiteX1211" fmla="*/ 1178907 w 3718887"/>
              <a:gd name="connsiteY1211" fmla="*/ 5945983 h 6994525"/>
              <a:gd name="connsiteX1212" fmla="*/ 1300689 w 3718887"/>
              <a:gd name="connsiteY1212" fmla="*/ 5823570 h 6994525"/>
              <a:gd name="connsiteX1213" fmla="*/ 1422465 w 3718887"/>
              <a:gd name="connsiteY1213" fmla="*/ 5944724 h 6994525"/>
              <a:gd name="connsiteX1214" fmla="*/ 1301312 w 3718887"/>
              <a:gd name="connsiteY1214" fmla="*/ 6067134 h 6994525"/>
              <a:gd name="connsiteX1215" fmla="*/ 2846317 w 3718887"/>
              <a:gd name="connsiteY1215" fmla="*/ 6129704 h 6994525"/>
              <a:gd name="connsiteX1216" fmla="*/ 2781621 w 3718887"/>
              <a:gd name="connsiteY1216" fmla="*/ 6064988 h 6994525"/>
              <a:gd name="connsiteX1217" fmla="*/ 2846317 w 3718887"/>
              <a:gd name="connsiteY1217" fmla="*/ 6000292 h 6994525"/>
              <a:gd name="connsiteX1218" fmla="*/ 2911033 w 3718887"/>
              <a:gd name="connsiteY1218" fmla="*/ 6064988 h 6994525"/>
              <a:gd name="connsiteX1219" fmla="*/ 2846317 w 3718887"/>
              <a:gd name="connsiteY1219" fmla="*/ 6129704 h 6994525"/>
              <a:gd name="connsiteX1220" fmla="*/ 1652239 w 3718887"/>
              <a:gd name="connsiteY1220" fmla="*/ 6134497 h 6994525"/>
              <a:gd name="connsiteX1221" fmla="*/ 1558079 w 3718887"/>
              <a:gd name="connsiteY1221" fmla="*/ 6040967 h 6994525"/>
              <a:gd name="connsiteX1222" fmla="*/ 1651609 w 3718887"/>
              <a:gd name="connsiteY1222" fmla="*/ 5946808 h 6994525"/>
              <a:gd name="connsiteX1223" fmla="*/ 1745769 w 3718887"/>
              <a:gd name="connsiteY1223" fmla="*/ 6040337 h 6994525"/>
              <a:gd name="connsiteX1224" fmla="*/ 1652239 w 3718887"/>
              <a:gd name="connsiteY1224" fmla="*/ 6134497 h 6994525"/>
              <a:gd name="connsiteX1225" fmla="*/ 727026 w 3718887"/>
              <a:gd name="connsiteY1225" fmla="*/ 6180171 h 6994525"/>
              <a:gd name="connsiteX1226" fmla="*/ 585788 w 3718887"/>
              <a:gd name="connsiteY1226" fmla="*/ 6040185 h 6994525"/>
              <a:gd name="connsiteX1227" fmla="*/ 726397 w 3718887"/>
              <a:gd name="connsiteY1227" fmla="*/ 5898939 h 6994525"/>
              <a:gd name="connsiteX1228" fmla="*/ 867006 w 3718887"/>
              <a:gd name="connsiteY1228" fmla="*/ 6038933 h 6994525"/>
              <a:gd name="connsiteX1229" fmla="*/ 727026 w 3718887"/>
              <a:gd name="connsiteY1229" fmla="*/ 6180171 h 6994525"/>
              <a:gd name="connsiteX1230" fmla="*/ 1999598 w 3718887"/>
              <a:gd name="connsiteY1230" fmla="*/ 6197703 h 6994525"/>
              <a:gd name="connsiteX1231" fmla="*/ 1934391 w 3718887"/>
              <a:gd name="connsiteY1231" fmla="*/ 6133553 h 6994525"/>
              <a:gd name="connsiteX1232" fmla="*/ 1998544 w 3718887"/>
              <a:gd name="connsiteY1232" fmla="*/ 6067295 h 6994525"/>
              <a:gd name="connsiteX1233" fmla="*/ 2063752 w 3718887"/>
              <a:gd name="connsiteY1233" fmla="*/ 6132499 h 6994525"/>
              <a:gd name="connsiteX1234" fmla="*/ 1999598 w 3718887"/>
              <a:gd name="connsiteY1234" fmla="*/ 6197703 h 6994525"/>
              <a:gd name="connsiteX1235" fmla="*/ 3178847 w 3718887"/>
              <a:gd name="connsiteY1235" fmla="*/ 6210654 h 6994525"/>
              <a:gd name="connsiteX1236" fmla="*/ 3114151 w 3718887"/>
              <a:gd name="connsiteY1236" fmla="*/ 6145866 h 6994525"/>
              <a:gd name="connsiteX1237" fmla="*/ 3178847 w 3718887"/>
              <a:gd name="connsiteY1237" fmla="*/ 6081170 h 6994525"/>
              <a:gd name="connsiteX1238" fmla="*/ 3243635 w 3718887"/>
              <a:gd name="connsiteY1238" fmla="*/ 6145866 h 6994525"/>
              <a:gd name="connsiteX1239" fmla="*/ 3178847 w 3718887"/>
              <a:gd name="connsiteY1239" fmla="*/ 6210654 h 6994525"/>
              <a:gd name="connsiteX1240" fmla="*/ 107572 w 3718887"/>
              <a:gd name="connsiteY1240" fmla="*/ 6223995 h 6994525"/>
              <a:gd name="connsiteX1241" fmla="*/ 3998 w 3718887"/>
              <a:gd name="connsiteY1241" fmla="*/ 6181309 h 6994525"/>
              <a:gd name="connsiteX1242" fmla="*/ 0 w 3718887"/>
              <a:gd name="connsiteY1242" fmla="*/ 6175430 h 6994525"/>
              <a:gd name="connsiteX1243" fmla="*/ 0 w 3718887"/>
              <a:gd name="connsiteY1243" fmla="*/ 5979658 h 6994525"/>
              <a:gd name="connsiteX1244" fmla="*/ 3211 w 3718887"/>
              <a:gd name="connsiteY1244" fmla="*/ 5974866 h 6994525"/>
              <a:gd name="connsiteX1245" fmla="*/ 106943 w 3718887"/>
              <a:gd name="connsiteY1245" fmla="*/ 5932099 h 6994525"/>
              <a:gd name="connsiteX1246" fmla="*/ 253201 w 3718887"/>
              <a:gd name="connsiteY1246" fmla="*/ 6077734 h 6994525"/>
              <a:gd name="connsiteX1247" fmla="*/ 107572 w 3718887"/>
              <a:gd name="connsiteY1247" fmla="*/ 6223995 h 6994525"/>
              <a:gd name="connsiteX1248" fmla="*/ 1093967 w 3718887"/>
              <a:gd name="connsiteY1248" fmla="*/ 6270351 h 6994525"/>
              <a:gd name="connsiteX1249" fmla="*/ 974073 w 3718887"/>
              <a:gd name="connsiteY1249" fmla="*/ 6151078 h 6994525"/>
              <a:gd name="connsiteX1250" fmla="*/ 1092714 w 3718887"/>
              <a:gd name="connsiteY1250" fmla="*/ 6031181 h 6994525"/>
              <a:gd name="connsiteX1251" fmla="*/ 1212608 w 3718887"/>
              <a:gd name="connsiteY1251" fmla="*/ 6150448 h 6994525"/>
              <a:gd name="connsiteX1252" fmla="*/ 1093967 w 3718887"/>
              <a:gd name="connsiteY1252" fmla="*/ 6270351 h 6994525"/>
              <a:gd name="connsiteX1253" fmla="*/ 2342587 w 3718887"/>
              <a:gd name="connsiteY1253" fmla="*/ 6285418 h 6994525"/>
              <a:gd name="connsiteX1254" fmla="*/ 2277880 w 3718887"/>
              <a:gd name="connsiteY1254" fmla="*/ 6220712 h 6994525"/>
              <a:gd name="connsiteX1255" fmla="*/ 2342587 w 3718887"/>
              <a:gd name="connsiteY1255" fmla="*/ 6156005 h 6994525"/>
              <a:gd name="connsiteX1256" fmla="*/ 2407293 w 3718887"/>
              <a:gd name="connsiteY1256" fmla="*/ 6220712 h 6994525"/>
              <a:gd name="connsiteX1257" fmla="*/ 2342587 w 3718887"/>
              <a:gd name="connsiteY1257" fmla="*/ 6285418 h 6994525"/>
              <a:gd name="connsiteX1258" fmla="*/ 493774 w 3718887"/>
              <a:gd name="connsiteY1258" fmla="*/ 6344519 h 6994525"/>
              <a:gd name="connsiteX1259" fmla="*/ 365088 w 3718887"/>
              <a:gd name="connsiteY1259" fmla="*/ 6216463 h 6994525"/>
              <a:gd name="connsiteX1260" fmla="*/ 493145 w 3718887"/>
              <a:gd name="connsiteY1260" fmla="*/ 6087778 h 6994525"/>
              <a:gd name="connsiteX1261" fmla="*/ 621831 w 3718887"/>
              <a:gd name="connsiteY1261" fmla="*/ 6215834 h 6994525"/>
              <a:gd name="connsiteX1262" fmla="*/ 493774 w 3718887"/>
              <a:gd name="connsiteY1262" fmla="*/ 6344519 h 6994525"/>
              <a:gd name="connsiteX1263" fmla="*/ 1454361 w 3718887"/>
              <a:gd name="connsiteY1263" fmla="*/ 6357516 h 6994525"/>
              <a:gd name="connsiteX1264" fmla="*/ 1351410 w 3718887"/>
              <a:gd name="connsiteY1264" fmla="*/ 6255196 h 6994525"/>
              <a:gd name="connsiteX1265" fmla="*/ 1453731 w 3718887"/>
              <a:gd name="connsiteY1265" fmla="*/ 6152247 h 6994525"/>
              <a:gd name="connsiteX1266" fmla="*/ 1556682 w 3718887"/>
              <a:gd name="connsiteY1266" fmla="*/ 6254566 h 6994525"/>
              <a:gd name="connsiteX1267" fmla="*/ 1454361 w 3718887"/>
              <a:gd name="connsiteY1267" fmla="*/ 6357516 h 6994525"/>
              <a:gd name="connsiteX1268" fmla="*/ 2682869 w 3718887"/>
              <a:gd name="connsiteY1268" fmla="*/ 6371877 h 6994525"/>
              <a:gd name="connsiteX1269" fmla="*/ 2618150 w 3718887"/>
              <a:gd name="connsiteY1269" fmla="*/ 6307204 h 6994525"/>
              <a:gd name="connsiteX1270" fmla="*/ 2682869 w 3718887"/>
              <a:gd name="connsiteY1270" fmla="*/ 6242485 h 6994525"/>
              <a:gd name="connsiteX1271" fmla="*/ 2747542 w 3718887"/>
              <a:gd name="connsiteY1271" fmla="*/ 6307204 h 6994525"/>
              <a:gd name="connsiteX1272" fmla="*/ 2682869 w 3718887"/>
              <a:gd name="connsiteY1272" fmla="*/ 6371877 h 6994525"/>
              <a:gd name="connsiteX1273" fmla="*/ 1809156 w 3718887"/>
              <a:gd name="connsiteY1273" fmla="*/ 6428951 h 6994525"/>
              <a:gd name="connsiteX1274" fmla="*/ 1733831 w 3718887"/>
              <a:gd name="connsiteY1274" fmla="*/ 6353626 h 6994525"/>
              <a:gd name="connsiteX1275" fmla="*/ 1809156 w 3718887"/>
              <a:gd name="connsiteY1275" fmla="*/ 6278296 h 6994525"/>
              <a:gd name="connsiteX1276" fmla="*/ 1884481 w 3718887"/>
              <a:gd name="connsiteY1276" fmla="*/ 6352998 h 6994525"/>
              <a:gd name="connsiteX1277" fmla="*/ 1809156 w 3718887"/>
              <a:gd name="connsiteY1277" fmla="*/ 6428951 h 6994525"/>
              <a:gd name="connsiteX1278" fmla="*/ 871999 w 3718887"/>
              <a:gd name="connsiteY1278" fmla="*/ 6465599 h 6994525"/>
              <a:gd name="connsiteX1279" fmla="*/ 746453 w 3718887"/>
              <a:gd name="connsiteY1279" fmla="*/ 6341313 h 6994525"/>
              <a:gd name="connsiteX1280" fmla="*/ 870746 w 3718887"/>
              <a:gd name="connsiteY1280" fmla="*/ 6215769 h 6994525"/>
              <a:gd name="connsiteX1281" fmla="*/ 996292 w 3718887"/>
              <a:gd name="connsiteY1281" fmla="*/ 6340055 h 6994525"/>
              <a:gd name="connsiteX1282" fmla="*/ 871999 w 3718887"/>
              <a:gd name="connsiteY1282" fmla="*/ 6465599 h 6994525"/>
              <a:gd name="connsiteX1283" fmla="*/ 247710 w 3718887"/>
              <a:gd name="connsiteY1283" fmla="*/ 6508631 h 6994525"/>
              <a:gd name="connsiteX1284" fmla="*/ 111492 w 3718887"/>
              <a:gd name="connsiteY1284" fmla="*/ 6373043 h 6994525"/>
              <a:gd name="connsiteX1285" fmla="*/ 247081 w 3718887"/>
              <a:gd name="connsiteY1285" fmla="*/ 6236826 h 6994525"/>
              <a:gd name="connsiteX1286" fmla="*/ 383299 w 3718887"/>
              <a:gd name="connsiteY1286" fmla="*/ 6372414 h 6994525"/>
              <a:gd name="connsiteX1287" fmla="*/ 247710 w 3718887"/>
              <a:gd name="connsiteY1287" fmla="*/ 6508631 h 6994525"/>
              <a:gd name="connsiteX1288" fmla="*/ 2160210 w 3718887"/>
              <a:gd name="connsiteY1288" fmla="*/ 6513179 h 6994525"/>
              <a:gd name="connsiteX1289" fmla="*/ 2094838 w 3718887"/>
              <a:gd name="connsiteY1289" fmla="*/ 6449159 h 6994525"/>
              <a:gd name="connsiteX1290" fmla="*/ 2158858 w 3718887"/>
              <a:gd name="connsiteY1290" fmla="*/ 6383788 h 6994525"/>
              <a:gd name="connsiteX1291" fmla="*/ 2224230 w 3718887"/>
              <a:gd name="connsiteY1291" fmla="*/ 6447807 h 6994525"/>
              <a:gd name="connsiteX1292" fmla="*/ 2160210 w 3718887"/>
              <a:gd name="connsiteY1292" fmla="*/ 6513179 h 6994525"/>
              <a:gd name="connsiteX1293" fmla="*/ 1241852 w 3718887"/>
              <a:gd name="connsiteY1293" fmla="*/ 6541647 h 6994525"/>
              <a:gd name="connsiteX1294" fmla="*/ 1155225 w 3718887"/>
              <a:gd name="connsiteY1294" fmla="*/ 6455651 h 6994525"/>
              <a:gd name="connsiteX1295" fmla="*/ 1241222 w 3718887"/>
              <a:gd name="connsiteY1295" fmla="*/ 6369024 h 6994525"/>
              <a:gd name="connsiteX1296" fmla="*/ 1327849 w 3718887"/>
              <a:gd name="connsiteY1296" fmla="*/ 6455022 h 6994525"/>
              <a:gd name="connsiteX1297" fmla="*/ 1241852 w 3718887"/>
              <a:gd name="connsiteY1297" fmla="*/ 6541647 h 6994525"/>
              <a:gd name="connsiteX1298" fmla="*/ 2506494 w 3718887"/>
              <a:gd name="connsiteY1298" fmla="*/ 6604865 h 6994525"/>
              <a:gd name="connsiteX1299" fmla="*/ 2441780 w 3718887"/>
              <a:gd name="connsiteY1299" fmla="*/ 6543763 h 6994525"/>
              <a:gd name="connsiteX1300" fmla="*/ 2506494 w 3718887"/>
              <a:gd name="connsiteY1300" fmla="*/ 6475490 h 6994525"/>
              <a:gd name="connsiteX1301" fmla="*/ 2571172 w 3718887"/>
              <a:gd name="connsiteY1301" fmla="*/ 6540196 h 6994525"/>
              <a:gd name="connsiteX1302" fmla="*/ 2506494 w 3718887"/>
              <a:gd name="connsiteY1302" fmla="*/ 6604865 h 6994525"/>
              <a:gd name="connsiteX1303" fmla="*/ 636161 w 3718887"/>
              <a:gd name="connsiteY1303" fmla="*/ 6620104 h 6994525"/>
              <a:gd name="connsiteX1304" fmla="*/ 528818 w 3718887"/>
              <a:gd name="connsiteY1304" fmla="*/ 6512764 h 6994525"/>
              <a:gd name="connsiteX1305" fmla="*/ 635532 w 3718887"/>
              <a:gd name="connsiteY1305" fmla="*/ 6405425 h 6994525"/>
              <a:gd name="connsiteX1306" fmla="*/ 742875 w 3718887"/>
              <a:gd name="connsiteY1306" fmla="*/ 6512135 h 6994525"/>
              <a:gd name="connsiteX1307" fmla="*/ 636161 w 3718887"/>
              <a:gd name="connsiteY1307" fmla="*/ 6620104 h 6994525"/>
              <a:gd name="connsiteX1308" fmla="*/ 0 w 3718887"/>
              <a:gd name="connsiteY1308" fmla="*/ 6625003 h 6994525"/>
              <a:gd name="connsiteX1309" fmla="*/ 0 w 3718887"/>
              <a:gd name="connsiteY1309" fmla="*/ 6394664 h 6994525"/>
              <a:gd name="connsiteX1310" fmla="*/ 34326 w 3718887"/>
              <a:gd name="connsiteY1310" fmla="*/ 6401495 h 6994525"/>
              <a:gd name="connsiteX1311" fmla="*/ 106355 w 3718887"/>
              <a:gd name="connsiteY1311" fmla="*/ 6509100 h 6994525"/>
              <a:gd name="connsiteX1312" fmla="*/ 35208 w 3718887"/>
              <a:gd name="connsiteY1312" fmla="*/ 6617856 h 6994525"/>
              <a:gd name="connsiteX1313" fmla="*/ 1605782 w 3718887"/>
              <a:gd name="connsiteY1313" fmla="*/ 6627599 h 6994525"/>
              <a:gd name="connsiteX1314" fmla="*/ 1540767 w 3718887"/>
              <a:gd name="connsiteY1314" fmla="*/ 6563214 h 6994525"/>
              <a:gd name="connsiteX1315" fmla="*/ 1605149 w 3718887"/>
              <a:gd name="connsiteY1315" fmla="*/ 6498202 h 6994525"/>
              <a:gd name="connsiteX1316" fmla="*/ 1670171 w 3718887"/>
              <a:gd name="connsiteY1316" fmla="*/ 6562587 h 6994525"/>
              <a:gd name="connsiteX1317" fmla="*/ 1605782 w 3718887"/>
              <a:gd name="connsiteY1317" fmla="*/ 6627599 h 6994525"/>
              <a:gd name="connsiteX1318" fmla="*/ 1964034 w 3718887"/>
              <a:gd name="connsiteY1318" fmla="*/ 6729553 h 6994525"/>
              <a:gd name="connsiteX1319" fmla="*/ 1898683 w 3718887"/>
              <a:gd name="connsiteY1319" fmla="*/ 6665550 h 6994525"/>
              <a:gd name="connsiteX1320" fmla="*/ 1962683 w 3718887"/>
              <a:gd name="connsiteY1320" fmla="*/ 6600183 h 6994525"/>
              <a:gd name="connsiteX1321" fmla="*/ 2028034 w 3718887"/>
              <a:gd name="connsiteY1321" fmla="*/ 6664185 h 6994525"/>
              <a:gd name="connsiteX1322" fmla="*/ 1964034 w 3718887"/>
              <a:gd name="connsiteY1322" fmla="*/ 6729553 h 6994525"/>
              <a:gd name="connsiteX1323" fmla="*/ 1016008 w 3718887"/>
              <a:gd name="connsiteY1323" fmla="*/ 6740237 h 6994525"/>
              <a:gd name="connsiteX1324" fmla="*/ 916199 w 3718887"/>
              <a:gd name="connsiteY1324" fmla="*/ 6641058 h 6994525"/>
              <a:gd name="connsiteX1325" fmla="*/ 1015378 w 3718887"/>
              <a:gd name="connsiteY1325" fmla="*/ 6541249 h 6994525"/>
              <a:gd name="connsiteX1326" fmla="*/ 1115187 w 3718887"/>
              <a:gd name="connsiteY1326" fmla="*/ 6640428 h 6994525"/>
              <a:gd name="connsiteX1327" fmla="*/ 1016008 w 3718887"/>
              <a:gd name="connsiteY1327" fmla="*/ 6740237 h 6994525"/>
              <a:gd name="connsiteX1328" fmla="*/ 388474 w 3718887"/>
              <a:gd name="connsiteY1328" fmla="*/ 6779360 h 6994525"/>
              <a:gd name="connsiteX1329" fmla="*/ 276110 w 3718887"/>
              <a:gd name="connsiteY1329" fmla="*/ 6668248 h 6994525"/>
              <a:gd name="connsiteX1330" fmla="*/ 387221 w 3718887"/>
              <a:gd name="connsiteY1330" fmla="*/ 6555884 h 6994525"/>
              <a:gd name="connsiteX1331" fmla="*/ 499585 w 3718887"/>
              <a:gd name="connsiteY1331" fmla="*/ 6666996 h 6994525"/>
              <a:gd name="connsiteX1332" fmla="*/ 388474 w 3718887"/>
              <a:gd name="connsiteY1332" fmla="*/ 6779360 h 6994525"/>
              <a:gd name="connsiteX1333" fmla="*/ 2317645 w 3718887"/>
              <a:gd name="connsiteY1333" fmla="*/ 6827001 h 6994525"/>
              <a:gd name="connsiteX1334" fmla="*/ 2252931 w 3718887"/>
              <a:gd name="connsiteY1334" fmla="*/ 6762323 h 6994525"/>
              <a:gd name="connsiteX1335" fmla="*/ 2317645 w 3718887"/>
              <a:gd name="connsiteY1335" fmla="*/ 6697609 h 6994525"/>
              <a:gd name="connsiteX1336" fmla="*/ 2382323 w 3718887"/>
              <a:gd name="connsiteY1336" fmla="*/ 6762323 h 6994525"/>
              <a:gd name="connsiteX1337" fmla="*/ 2317645 w 3718887"/>
              <a:gd name="connsiteY1337" fmla="*/ 6827001 h 6994525"/>
              <a:gd name="connsiteX1338" fmla="*/ 1388540 w 3718887"/>
              <a:gd name="connsiteY1338" fmla="*/ 6844934 h 6994525"/>
              <a:gd name="connsiteX1339" fmla="*/ 1301913 w 3718887"/>
              <a:gd name="connsiteY1339" fmla="*/ 6758937 h 6994525"/>
              <a:gd name="connsiteX1340" fmla="*/ 1387910 w 3718887"/>
              <a:gd name="connsiteY1340" fmla="*/ 6672311 h 6994525"/>
              <a:gd name="connsiteX1341" fmla="*/ 1474537 w 3718887"/>
              <a:gd name="connsiteY1341" fmla="*/ 6758308 h 6994525"/>
              <a:gd name="connsiteX1342" fmla="*/ 1388540 w 3718887"/>
              <a:gd name="connsiteY1342" fmla="*/ 6844934 h 6994525"/>
              <a:gd name="connsiteX1343" fmla="*/ 778121 w 3718887"/>
              <a:gd name="connsiteY1343" fmla="*/ 6891725 h 6994525"/>
              <a:gd name="connsiteX1344" fmla="*/ 695885 w 3718887"/>
              <a:gd name="connsiteY1344" fmla="*/ 6810125 h 6994525"/>
              <a:gd name="connsiteX1345" fmla="*/ 777492 w 3718887"/>
              <a:gd name="connsiteY1345" fmla="*/ 6727888 h 6994525"/>
              <a:gd name="connsiteX1346" fmla="*/ 859722 w 3718887"/>
              <a:gd name="connsiteY1346" fmla="*/ 6809495 h 6994525"/>
              <a:gd name="connsiteX1347" fmla="*/ 778121 w 3718887"/>
              <a:gd name="connsiteY1347" fmla="*/ 6891725 h 6994525"/>
              <a:gd name="connsiteX1348" fmla="*/ 129309 w 3718887"/>
              <a:gd name="connsiteY1348" fmla="*/ 6896031 h 6994525"/>
              <a:gd name="connsiteX1349" fmla="*/ 36408 w 3718887"/>
              <a:gd name="connsiteY1349" fmla="*/ 6803129 h 6994525"/>
              <a:gd name="connsiteX1350" fmla="*/ 128686 w 3718887"/>
              <a:gd name="connsiteY1350" fmla="*/ 6710220 h 6994525"/>
              <a:gd name="connsiteX1351" fmla="*/ 222215 w 3718887"/>
              <a:gd name="connsiteY1351" fmla="*/ 6802500 h 6994525"/>
              <a:gd name="connsiteX1352" fmla="*/ 129309 w 3718887"/>
              <a:gd name="connsiteY1352" fmla="*/ 6896031 h 6994525"/>
              <a:gd name="connsiteX1353" fmla="*/ 1754959 w 3718887"/>
              <a:gd name="connsiteY1353" fmla="*/ 6933471 h 6994525"/>
              <a:gd name="connsiteX1354" fmla="*/ 1689840 w 3718887"/>
              <a:gd name="connsiteY1354" fmla="*/ 6868349 h 6994525"/>
              <a:gd name="connsiteX1355" fmla="*/ 1754959 w 3718887"/>
              <a:gd name="connsiteY1355" fmla="*/ 6804087 h 6994525"/>
              <a:gd name="connsiteX1356" fmla="*/ 1820077 w 3718887"/>
              <a:gd name="connsiteY1356" fmla="*/ 6868349 h 6994525"/>
              <a:gd name="connsiteX1357" fmla="*/ 1754959 w 3718887"/>
              <a:gd name="connsiteY1357" fmla="*/ 6933471 h 6994525"/>
              <a:gd name="connsiteX1358" fmla="*/ 608501 w 3718887"/>
              <a:gd name="connsiteY1358" fmla="*/ 6994525 h 6994525"/>
              <a:gd name="connsiteX1359" fmla="*/ 448954 w 3718887"/>
              <a:gd name="connsiteY1359" fmla="*/ 6994525 h 6994525"/>
              <a:gd name="connsiteX1360" fmla="*/ 442420 w 3718887"/>
              <a:gd name="connsiteY1360" fmla="*/ 6962396 h 6994525"/>
              <a:gd name="connsiteX1361" fmla="*/ 528419 w 3718887"/>
              <a:gd name="connsiteY1361" fmla="*/ 6875770 h 6994525"/>
              <a:gd name="connsiteX1362" fmla="*/ 615048 w 3718887"/>
              <a:gd name="connsiteY1362" fmla="*/ 6961768 h 6994525"/>
              <a:gd name="connsiteX1363" fmla="*/ 1208063 w 3718887"/>
              <a:gd name="connsiteY1363" fmla="*/ 6994525 h 6994525"/>
              <a:gd name="connsiteX1364" fmla="*/ 1110791 w 3718887"/>
              <a:gd name="connsiteY1364" fmla="*/ 6994525 h 6994525"/>
              <a:gd name="connsiteX1365" fmla="*/ 1106799 w 3718887"/>
              <a:gd name="connsiteY1365" fmla="*/ 6991851 h 6994525"/>
              <a:gd name="connsiteX1366" fmla="*/ 1084986 w 3718887"/>
              <a:gd name="connsiteY1366" fmla="*/ 6939515 h 6994525"/>
              <a:gd name="connsiteX1367" fmla="*/ 1159689 w 3718887"/>
              <a:gd name="connsiteY1367" fmla="*/ 6865439 h 6994525"/>
              <a:gd name="connsiteX1368" fmla="*/ 1233757 w 3718887"/>
              <a:gd name="connsiteY1368" fmla="*/ 6939515 h 6994525"/>
              <a:gd name="connsiteX1369" fmla="*/ 1212023 w 3718887"/>
              <a:gd name="connsiteY1369" fmla="*/ 6991851 h 6994525"/>
              <a:gd name="connsiteX1370" fmla="*/ 2176182 w 3718887"/>
              <a:gd name="connsiteY1370" fmla="*/ 6994525 h 6994525"/>
              <a:gd name="connsiteX1371" fmla="*/ 2055562 w 3718887"/>
              <a:gd name="connsiteY1371" fmla="*/ 6994525 h 6994525"/>
              <a:gd name="connsiteX1372" fmla="*/ 2051176 w 3718887"/>
              <a:gd name="connsiteY1372" fmla="*/ 6973520 h 6994525"/>
              <a:gd name="connsiteX1373" fmla="*/ 2115872 w 3718887"/>
              <a:gd name="connsiteY1373" fmla="*/ 6908824 h 6994525"/>
              <a:gd name="connsiteX1374" fmla="*/ 2180568 w 3718887"/>
              <a:gd name="connsiteY1374" fmla="*/ 6973520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3718887" h="6994525">
                <a:moveTo>
                  <a:pt x="1629926" y="82914"/>
                </a:moveTo>
                <a:cubicBezTo>
                  <a:pt x="1593190" y="82914"/>
                  <a:pt x="1564429" y="54153"/>
                  <a:pt x="1564429" y="19002"/>
                </a:cubicBezTo>
                <a:lnTo>
                  <a:pt x="1567987" y="0"/>
                </a:lnTo>
                <a:lnTo>
                  <a:pt x="1690282" y="0"/>
                </a:lnTo>
                <a:lnTo>
                  <a:pt x="1693837" y="17401"/>
                </a:lnTo>
                <a:cubicBezTo>
                  <a:pt x="1693837" y="54153"/>
                  <a:pt x="1665076" y="82914"/>
                  <a:pt x="1629926" y="82914"/>
                </a:cubicBezTo>
                <a:close/>
                <a:moveTo>
                  <a:pt x="2087064" y="91005"/>
                </a:moveTo>
                <a:cubicBezTo>
                  <a:pt x="2050090" y="91005"/>
                  <a:pt x="2022351" y="63269"/>
                  <a:pt x="2022351" y="26297"/>
                </a:cubicBezTo>
                <a:cubicBezTo>
                  <a:pt x="2022351" y="17054"/>
                  <a:pt x="2024084" y="8195"/>
                  <a:pt x="2027263" y="155"/>
                </a:cubicBezTo>
                <a:lnTo>
                  <a:pt x="2027362" y="0"/>
                </a:lnTo>
                <a:lnTo>
                  <a:pt x="2146021" y="0"/>
                </a:lnTo>
                <a:lnTo>
                  <a:pt x="2146432" y="589"/>
                </a:lnTo>
                <a:cubicBezTo>
                  <a:pt x="2149851" y="8388"/>
                  <a:pt x="2151778" y="17054"/>
                  <a:pt x="2151778" y="26297"/>
                </a:cubicBezTo>
                <a:cubicBezTo>
                  <a:pt x="2151778" y="60180"/>
                  <a:pt x="2124039" y="91005"/>
                  <a:pt x="2087064" y="91005"/>
                </a:cubicBezTo>
                <a:close/>
                <a:moveTo>
                  <a:pt x="1154122" y="92359"/>
                </a:moveTo>
                <a:cubicBezTo>
                  <a:pt x="1118145" y="92359"/>
                  <a:pt x="1089083" y="63990"/>
                  <a:pt x="1089083" y="28006"/>
                </a:cubicBezTo>
                <a:cubicBezTo>
                  <a:pt x="1089083" y="19012"/>
                  <a:pt x="1090899" y="10450"/>
                  <a:pt x="1094175" y="2666"/>
                </a:cubicBezTo>
                <a:lnTo>
                  <a:pt x="1095961" y="0"/>
                </a:lnTo>
                <a:lnTo>
                  <a:pt x="1211952" y="0"/>
                </a:lnTo>
                <a:lnTo>
                  <a:pt x="1213372" y="2084"/>
                </a:lnTo>
                <a:cubicBezTo>
                  <a:pt x="1216658" y="9803"/>
                  <a:pt x="1218475" y="18323"/>
                  <a:pt x="1218475" y="27319"/>
                </a:cubicBezTo>
                <a:cubicBezTo>
                  <a:pt x="1218475" y="63297"/>
                  <a:pt x="1190107" y="92359"/>
                  <a:pt x="1154122" y="92359"/>
                </a:cubicBezTo>
                <a:close/>
                <a:moveTo>
                  <a:pt x="2530133" y="112239"/>
                </a:moveTo>
                <a:cubicBezTo>
                  <a:pt x="2493414" y="112239"/>
                  <a:pt x="2462774" y="81593"/>
                  <a:pt x="2462774" y="44867"/>
                </a:cubicBezTo>
                <a:cubicBezTo>
                  <a:pt x="2462774" y="35670"/>
                  <a:pt x="2464689" y="26858"/>
                  <a:pt x="2468135" y="18907"/>
                </a:cubicBezTo>
                <a:lnTo>
                  <a:pt x="2481370" y="0"/>
                </a:lnTo>
                <a:lnTo>
                  <a:pt x="2578949" y="0"/>
                </a:lnTo>
                <a:lnTo>
                  <a:pt x="2592191" y="18907"/>
                </a:lnTo>
                <a:cubicBezTo>
                  <a:pt x="2595638" y="26858"/>
                  <a:pt x="2597553" y="35670"/>
                  <a:pt x="2597553" y="44867"/>
                </a:cubicBezTo>
                <a:cubicBezTo>
                  <a:pt x="2597553" y="81593"/>
                  <a:pt x="2566913" y="112239"/>
                  <a:pt x="2530133" y="112239"/>
                </a:cubicBezTo>
                <a:close/>
                <a:moveTo>
                  <a:pt x="659393" y="131409"/>
                </a:moveTo>
                <a:cubicBezTo>
                  <a:pt x="620473" y="131409"/>
                  <a:pt x="588456" y="100022"/>
                  <a:pt x="588456" y="61102"/>
                </a:cubicBezTo>
                <a:cubicBezTo>
                  <a:pt x="588456" y="41328"/>
                  <a:pt x="596303" y="23595"/>
                  <a:pt x="609015" y="10804"/>
                </a:cubicBezTo>
                <a:lnTo>
                  <a:pt x="624986" y="0"/>
                </a:lnTo>
                <a:lnTo>
                  <a:pt x="692744" y="0"/>
                </a:lnTo>
                <a:lnTo>
                  <a:pt x="708826" y="10726"/>
                </a:lnTo>
                <a:cubicBezTo>
                  <a:pt x="721696" y="23437"/>
                  <a:pt x="729700" y="41014"/>
                  <a:pt x="729700" y="60473"/>
                </a:cubicBezTo>
                <a:cubicBezTo>
                  <a:pt x="730329" y="99392"/>
                  <a:pt x="698312" y="131409"/>
                  <a:pt x="659393" y="131409"/>
                </a:cubicBezTo>
                <a:close/>
                <a:moveTo>
                  <a:pt x="142646" y="210413"/>
                </a:moveTo>
                <a:cubicBezTo>
                  <a:pt x="96817" y="211042"/>
                  <a:pt x="58527" y="173375"/>
                  <a:pt x="58527" y="126923"/>
                </a:cubicBezTo>
                <a:cubicBezTo>
                  <a:pt x="58527" y="80472"/>
                  <a:pt x="96194" y="42805"/>
                  <a:pt x="142646" y="42805"/>
                </a:cubicBezTo>
                <a:cubicBezTo>
                  <a:pt x="189097" y="42176"/>
                  <a:pt x="226764" y="79843"/>
                  <a:pt x="226764" y="126294"/>
                </a:cubicBezTo>
                <a:cubicBezTo>
                  <a:pt x="226764" y="172752"/>
                  <a:pt x="189097" y="210413"/>
                  <a:pt x="142646" y="210413"/>
                </a:cubicBezTo>
                <a:close/>
                <a:moveTo>
                  <a:pt x="1371671" y="287327"/>
                </a:moveTo>
                <a:cubicBezTo>
                  <a:pt x="1335722" y="287327"/>
                  <a:pt x="1306968" y="258563"/>
                  <a:pt x="1306968" y="222624"/>
                </a:cubicBezTo>
                <a:cubicBezTo>
                  <a:pt x="1306968" y="186675"/>
                  <a:pt x="1335722" y="156892"/>
                  <a:pt x="1370642" y="156892"/>
                </a:cubicBezTo>
                <a:cubicBezTo>
                  <a:pt x="1406591" y="156892"/>
                  <a:pt x="1436374" y="185645"/>
                  <a:pt x="1436374" y="221595"/>
                </a:cubicBezTo>
                <a:cubicBezTo>
                  <a:pt x="1436374" y="257534"/>
                  <a:pt x="1407610" y="287327"/>
                  <a:pt x="1371671" y="287327"/>
                </a:cubicBezTo>
                <a:close/>
                <a:moveTo>
                  <a:pt x="1832087" y="293701"/>
                </a:moveTo>
                <a:cubicBezTo>
                  <a:pt x="1796936" y="293701"/>
                  <a:pt x="1766588" y="264940"/>
                  <a:pt x="1766588" y="229789"/>
                </a:cubicBezTo>
                <a:cubicBezTo>
                  <a:pt x="1766588" y="194639"/>
                  <a:pt x="1795350" y="165894"/>
                  <a:pt x="1830486" y="164293"/>
                </a:cubicBezTo>
                <a:cubicBezTo>
                  <a:pt x="1867239" y="164293"/>
                  <a:pt x="1896001" y="193054"/>
                  <a:pt x="1896001" y="228204"/>
                </a:cubicBezTo>
                <a:cubicBezTo>
                  <a:pt x="1897587" y="264940"/>
                  <a:pt x="1868841" y="293701"/>
                  <a:pt x="1832087" y="293701"/>
                </a:cubicBezTo>
                <a:close/>
                <a:moveTo>
                  <a:pt x="893839" y="305629"/>
                </a:moveTo>
                <a:cubicBezTo>
                  <a:pt x="854919" y="305629"/>
                  <a:pt x="822903" y="274242"/>
                  <a:pt x="822903" y="235322"/>
                </a:cubicBezTo>
                <a:cubicBezTo>
                  <a:pt x="822280" y="195774"/>
                  <a:pt x="854290" y="164387"/>
                  <a:pt x="893216" y="164387"/>
                </a:cubicBezTo>
                <a:cubicBezTo>
                  <a:pt x="932135" y="164387"/>
                  <a:pt x="964151" y="195774"/>
                  <a:pt x="964151" y="234693"/>
                </a:cubicBezTo>
                <a:cubicBezTo>
                  <a:pt x="964774" y="273612"/>
                  <a:pt x="932764" y="305629"/>
                  <a:pt x="893839" y="305629"/>
                </a:cubicBezTo>
                <a:close/>
                <a:moveTo>
                  <a:pt x="2277527" y="317275"/>
                </a:moveTo>
                <a:cubicBezTo>
                  <a:pt x="2240800" y="317275"/>
                  <a:pt x="2210154" y="286634"/>
                  <a:pt x="2210154" y="249853"/>
                </a:cubicBezTo>
                <a:cubicBezTo>
                  <a:pt x="2210154" y="213132"/>
                  <a:pt x="2240800" y="188632"/>
                  <a:pt x="2277527" y="182492"/>
                </a:cubicBezTo>
                <a:cubicBezTo>
                  <a:pt x="2314315" y="182492"/>
                  <a:pt x="2338820" y="213132"/>
                  <a:pt x="2338820" y="249853"/>
                </a:cubicBezTo>
                <a:cubicBezTo>
                  <a:pt x="2344962" y="286634"/>
                  <a:pt x="2314315" y="317275"/>
                  <a:pt x="2277527" y="317275"/>
                </a:cubicBezTo>
                <a:close/>
                <a:moveTo>
                  <a:pt x="2704822" y="346452"/>
                </a:moveTo>
                <a:cubicBezTo>
                  <a:pt x="2668852" y="346452"/>
                  <a:pt x="2640090" y="317690"/>
                  <a:pt x="2640090" y="281720"/>
                </a:cubicBezTo>
                <a:cubicBezTo>
                  <a:pt x="2640090" y="245750"/>
                  <a:pt x="2668852" y="216989"/>
                  <a:pt x="2704822" y="216989"/>
                </a:cubicBezTo>
                <a:cubicBezTo>
                  <a:pt x="2740792" y="216989"/>
                  <a:pt x="2769553" y="245750"/>
                  <a:pt x="2769553" y="281720"/>
                </a:cubicBezTo>
                <a:cubicBezTo>
                  <a:pt x="2769553" y="317690"/>
                  <a:pt x="2740792" y="346452"/>
                  <a:pt x="2704822" y="346452"/>
                </a:cubicBezTo>
                <a:close/>
                <a:moveTo>
                  <a:pt x="393966" y="370114"/>
                </a:moveTo>
                <a:cubicBezTo>
                  <a:pt x="341242" y="370114"/>
                  <a:pt x="298555" y="328056"/>
                  <a:pt x="298555" y="275332"/>
                </a:cubicBezTo>
                <a:cubicBezTo>
                  <a:pt x="298555" y="222602"/>
                  <a:pt x="341242" y="179915"/>
                  <a:pt x="393343" y="179915"/>
                </a:cubicBezTo>
                <a:cubicBezTo>
                  <a:pt x="446073" y="179915"/>
                  <a:pt x="488754" y="221973"/>
                  <a:pt x="488754" y="274703"/>
                </a:cubicBezTo>
                <a:cubicBezTo>
                  <a:pt x="488754" y="327433"/>
                  <a:pt x="446696" y="370114"/>
                  <a:pt x="393966" y="370114"/>
                </a:cubicBezTo>
                <a:close/>
                <a:moveTo>
                  <a:pt x="1576126" y="495868"/>
                </a:moveTo>
                <a:cubicBezTo>
                  <a:pt x="1540149" y="495868"/>
                  <a:pt x="1511087" y="467499"/>
                  <a:pt x="1511087" y="431515"/>
                </a:cubicBezTo>
                <a:cubicBezTo>
                  <a:pt x="1511087" y="395538"/>
                  <a:pt x="1539455" y="366476"/>
                  <a:pt x="1575440" y="366476"/>
                </a:cubicBezTo>
                <a:cubicBezTo>
                  <a:pt x="1611417" y="366476"/>
                  <a:pt x="1640479" y="395538"/>
                  <a:pt x="1640479" y="430828"/>
                </a:cubicBezTo>
                <a:cubicBezTo>
                  <a:pt x="1640479" y="466806"/>
                  <a:pt x="1612111" y="495868"/>
                  <a:pt x="1576126" y="495868"/>
                </a:cubicBezTo>
                <a:close/>
                <a:moveTo>
                  <a:pt x="1114519" y="501027"/>
                </a:moveTo>
                <a:cubicBezTo>
                  <a:pt x="1073089" y="501027"/>
                  <a:pt x="1039185" y="467130"/>
                  <a:pt x="1039185" y="425700"/>
                </a:cubicBezTo>
                <a:cubicBezTo>
                  <a:pt x="1038562" y="384271"/>
                  <a:pt x="1072460" y="350374"/>
                  <a:pt x="1113889" y="350997"/>
                </a:cubicBezTo>
                <a:cubicBezTo>
                  <a:pt x="1155319" y="350374"/>
                  <a:pt x="1189217" y="384271"/>
                  <a:pt x="1189217" y="425700"/>
                </a:cubicBezTo>
                <a:cubicBezTo>
                  <a:pt x="1189846" y="467130"/>
                  <a:pt x="1155948" y="501027"/>
                  <a:pt x="1114519" y="501027"/>
                </a:cubicBezTo>
                <a:close/>
                <a:moveTo>
                  <a:pt x="2020504" y="516458"/>
                </a:moveTo>
                <a:cubicBezTo>
                  <a:pt x="1983786" y="518043"/>
                  <a:pt x="1955039" y="487711"/>
                  <a:pt x="1955039" y="452578"/>
                </a:cubicBezTo>
                <a:cubicBezTo>
                  <a:pt x="1955039" y="415860"/>
                  <a:pt x="1983786" y="387114"/>
                  <a:pt x="2018919" y="387114"/>
                </a:cubicBezTo>
                <a:cubicBezTo>
                  <a:pt x="2055637" y="387114"/>
                  <a:pt x="2084383" y="415860"/>
                  <a:pt x="2084383" y="450978"/>
                </a:cubicBezTo>
                <a:cubicBezTo>
                  <a:pt x="2085968" y="487711"/>
                  <a:pt x="2055637" y="516458"/>
                  <a:pt x="2020504" y="516458"/>
                </a:cubicBezTo>
                <a:close/>
                <a:moveTo>
                  <a:pt x="632723" y="529961"/>
                </a:moveTo>
                <a:cubicBezTo>
                  <a:pt x="585014" y="529961"/>
                  <a:pt x="546096" y="491672"/>
                  <a:pt x="546096" y="443963"/>
                </a:cubicBezTo>
                <a:cubicBezTo>
                  <a:pt x="546096" y="396255"/>
                  <a:pt x="584385" y="357337"/>
                  <a:pt x="632093" y="357337"/>
                </a:cubicBezTo>
                <a:cubicBezTo>
                  <a:pt x="679802" y="357337"/>
                  <a:pt x="718720" y="395626"/>
                  <a:pt x="718720" y="443334"/>
                </a:cubicBezTo>
                <a:cubicBezTo>
                  <a:pt x="718720" y="491043"/>
                  <a:pt x="680431" y="529961"/>
                  <a:pt x="632723" y="529961"/>
                </a:cubicBezTo>
                <a:close/>
                <a:moveTo>
                  <a:pt x="2449263" y="548993"/>
                </a:moveTo>
                <a:cubicBezTo>
                  <a:pt x="2413024" y="548993"/>
                  <a:pt x="2384567" y="520536"/>
                  <a:pt x="2384567" y="486891"/>
                </a:cubicBezTo>
                <a:cubicBezTo>
                  <a:pt x="2384567" y="450652"/>
                  <a:pt x="2413024" y="422195"/>
                  <a:pt x="2449263" y="419601"/>
                </a:cubicBezTo>
                <a:cubicBezTo>
                  <a:pt x="2485502" y="419601"/>
                  <a:pt x="2513959" y="448058"/>
                  <a:pt x="2513959" y="484297"/>
                </a:cubicBezTo>
                <a:cubicBezTo>
                  <a:pt x="2513959" y="520536"/>
                  <a:pt x="2485502" y="548993"/>
                  <a:pt x="2449263" y="548993"/>
                </a:cubicBezTo>
                <a:close/>
                <a:moveTo>
                  <a:pt x="2866138" y="589931"/>
                </a:moveTo>
                <a:cubicBezTo>
                  <a:pt x="2830168" y="589931"/>
                  <a:pt x="2801406" y="561169"/>
                  <a:pt x="2801406" y="525199"/>
                </a:cubicBezTo>
                <a:cubicBezTo>
                  <a:pt x="2801406" y="489229"/>
                  <a:pt x="2830168" y="460468"/>
                  <a:pt x="2866138" y="460468"/>
                </a:cubicBezTo>
                <a:cubicBezTo>
                  <a:pt x="2902108" y="460468"/>
                  <a:pt x="2930869" y="489229"/>
                  <a:pt x="2930869" y="525199"/>
                </a:cubicBezTo>
                <a:cubicBezTo>
                  <a:pt x="2930869" y="561169"/>
                  <a:pt x="2902108" y="589931"/>
                  <a:pt x="2866138" y="589931"/>
                </a:cubicBezTo>
                <a:close/>
                <a:moveTo>
                  <a:pt x="127263" y="594462"/>
                </a:moveTo>
                <a:cubicBezTo>
                  <a:pt x="70762" y="595085"/>
                  <a:pt x="24311" y="549263"/>
                  <a:pt x="24311" y="492139"/>
                </a:cubicBezTo>
                <a:cubicBezTo>
                  <a:pt x="23682" y="435010"/>
                  <a:pt x="69510" y="389188"/>
                  <a:pt x="126633" y="389188"/>
                </a:cubicBezTo>
                <a:cubicBezTo>
                  <a:pt x="183128" y="389188"/>
                  <a:pt x="229585" y="435010"/>
                  <a:pt x="229585" y="491510"/>
                </a:cubicBezTo>
                <a:cubicBezTo>
                  <a:pt x="230208" y="548004"/>
                  <a:pt x="184386" y="594462"/>
                  <a:pt x="127263" y="594462"/>
                </a:cubicBezTo>
                <a:close/>
                <a:moveTo>
                  <a:pt x="1320149" y="708802"/>
                </a:moveTo>
                <a:cubicBezTo>
                  <a:pt x="1278719" y="709431"/>
                  <a:pt x="1244815" y="675533"/>
                  <a:pt x="1244815" y="634103"/>
                </a:cubicBezTo>
                <a:cubicBezTo>
                  <a:pt x="1244192" y="592674"/>
                  <a:pt x="1278090" y="558770"/>
                  <a:pt x="1319519" y="558770"/>
                </a:cubicBezTo>
                <a:cubicBezTo>
                  <a:pt x="1360949" y="558147"/>
                  <a:pt x="1394847" y="592045"/>
                  <a:pt x="1394847" y="633474"/>
                </a:cubicBezTo>
                <a:cubicBezTo>
                  <a:pt x="1395476" y="674904"/>
                  <a:pt x="1361578" y="708802"/>
                  <a:pt x="1320149" y="708802"/>
                </a:cubicBezTo>
                <a:close/>
                <a:moveTo>
                  <a:pt x="1764849" y="718484"/>
                </a:moveTo>
                <a:cubicBezTo>
                  <a:pt x="1729502" y="718484"/>
                  <a:pt x="1700159" y="689808"/>
                  <a:pt x="1700159" y="653791"/>
                </a:cubicBezTo>
                <a:cubicBezTo>
                  <a:pt x="1699491" y="618436"/>
                  <a:pt x="1728834" y="589092"/>
                  <a:pt x="1764849" y="589092"/>
                </a:cubicBezTo>
                <a:cubicBezTo>
                  <a:pt x="1800203" y="589092"/>
                  <a:pt x="1829546" y="617774"/>
                  <a:pt x="1829546" y="653791"/>
                </a:cubicBezTo>
                <a:cubicBezTo>
                  <a:pt x="1829546" y="689139"/>
                  <a:pt x="1800865" y="718484"/>
                  <a:pt x="1764849" y="718484"/>
                </a:cubicBezTo>
                <a:close/>
                <a:moveTo>
                  <a:pt x="856415" y="736355"/>
                </a:moveTo>
                <a:cubicBezTo>
                  <a:pt x="798033" y="736355"/>
                  <a:pt x="750953" y="689275"/>
                  <a:pt x="750953" y="631522"/>
                </a:cubicBezTo>
                <a:cubicBezTo>
                  <a:pt x="750953" y="573770"/>
                  <a:pt x="798033" y="526690"/>
                  <a:pt x="855785" y="526061"/>
                </a:cubicBezTo>
                <a:cubicBezTo>
                  <a:pt x="913538" y="526061"/>
                  <a:pt x="961247" y="573141"/>
                  <a:pt x="961247" y="630893"/>
                </a:cubicBezTo>
                <a:cubicBezTo>
                  <a:pt x="961247" y="688646"/>
                  <a:pt x="914790" y="736355"/>
                  <a:pt x="856415" y="736355"/>
                </a:cubicBezTo>
                <a:close/>
                <a:moveTo>
                  <a:pt x="2193747" y="751188"/>
                </a:moveTo>
                <a:cubicBezTo>
                  <a:pt x="2157893" y="751188"/>
                  <a:pt x="2129041" y="722337"/>
                  <a:pt x="2129041" y="686484"/>
                </a:cubicBezTo>
                <a:cubicBezTo>
                  <a:pt x="2128174" y="650639"/>
                  <a:pt x="2157025" y="621788"/>
                  <a:pt x="2193747" y="621788"/>
                </a:cubicBezTo>
                <a:cubicBezTo>
                  <a:pt x="2228716" y="621788"/>
                  <a:pt x="2258444" y="650639"/>
                  <a:pt x="2258444" y="686484"/>
                </a:cubicBezTo>
                <a:cubicBezTo>
                  <a:pt x="2258444" y="722337"/>
                  <a:pt x="2229592" y="751188"/>
                  <a:pt x="2193747" y="751188"/>
                </a:cubicBezTo>
                <a:close/>
                <a:moveTo>
                  <a:pt x="370307" y="767504"/>
                </a:moveTo>
                <a:cubicBezTo>
                  <a:pt x="307534" y="767504"/>
                  <a:pt x="256062" y="716655"/>
                  <a:pt x="256062" y="653882"/>
                </a:cubicBezTo>
                <a:cubicBezTo>
                  <a:pt x="256062" y="591109"/>
                  <a:pt x="306911" y="539637"/>
                  <a:pt x="369684" y="539637"/>
                </a:cubicBezTo>
                <a:cubicBezTo>
                  <a:pt x="432457" y="539637"/>
                  <a:pt x="483929" y="590486"/>
                  <a:pt x="483929" y="653259"/>
                </a:cubicBezTo>
                <a:cubicBezTo>
                  <a:pt x="483929" y="716032"/>
                  <a:pt x="433080" y="767504"/>
                  <a:pt x="370307" y="767504"/>
                </a:cubicBezTo>
                <a:close/>
                <a:moveTo>
                  <a:pt x="2610398" y="794227"/>
                </a:moveTo>
                <a:cubicBezTo>
                  <a:pt x="2573417" y="794227"/>
                  <a:pt x="2544378" y="765188"/>
                  <a:pt x="2544378" y="728208"/>
                </a:cubicBezTo>
                <a:cubicBezTo>
                  <a:pt x="2544378" y="691228"/>
                  <a:pt x="2573417" y="662189"/>
                  <a:pt x="2607750" y="662189"/>
                </a:cubicBezTo>
                <a:cubicBezTo>
                  <a:pt x="2644731" y="664836"/>
                  <a:pt x="2673770" y="693875"/>
                  <a:pt x="2673770" y="728208"/>
                </a:cubicBezTo>
                <a:cubicBezTo>
                  <a:pt x="2673770" y="765188"/>
                  <a:pt x="2647378" y="794227"/>
                  <a:pt x="2610398" y="794227"/>
                </a:cubicBezTo>
                <a:close/>
                <a:moveTo>
                  <a:pt x="3013689" y="842020"/>
                </a:moveTo>
                <a:cubicBezTo>
                  <a:pt x="2977719" y="842020"/>
                  <a:pt x="2948957" y="813258"/>
                  <a:pt x="2948957" y="777288"/>
                </a:cubicBezTo>
                <a:cubicBezTo>
                  <a:pt x="2948957" y="741318"/>
                  <a:pt x="2977719" y="712557"/>
                  <a:pt x="3013689" y="712557"/>
                </a:cubicBezTo>
                <a:cubicBezTo>
                  <a:pt x="3049659" y="712557"/>
                  <a:pt x="3078420" y="741318"/>
                  <a:pt x="3078420" y="777288"/>
                </a:cubicBezTo>
                <a:cubicBezTo>
                  <a:pt x="3078420" y="813258"/>
                  <a:pt x="3049659" y="842020"/>
                  <a:pt x="3013689" y="842020"/>
                </a:cubicBezTo>
                <a:close/>
                <a:moveTo>
                  <a:pt x="1064190" y="928366"/>
                </a:moveTo>
                <a:cubicBezTo>
                  <a:pt x="1013340" y="928366"/>
                  <a:pt x="971911" y="887560"/>
                  <a:pt x="971911" y="836716"/>
                </a:cubicBezTo>
                <a:cubicBezTo>
                  <a:pt x="971911" y="785867"/>
                  <a:pt x="1012717" y="745067"/>
                  <a:pt x="1063561" y="744438"/>
                </a:cubicBezTo>
                <a:cubicBezTo>
                  <a:pt x="1114410" y="744438"/>
                  <a:pt x="1155839" y="785238"/>
                  <a:pt x="1155839" y="836087"/>
                </a:cubicBezTo>
                <a:cubicBezTo>
                  <a:pt x="1155839" y="886937"/>
                  <a:pt x="1115033" y="928366"/>
                  <a:pt x="1064190" y="928366"/>
                </a:cubicBezTo>
                <a:close/>
                <a:moveTo>
                  <a:pt x="1509952" y="930776"/>
                </a:moveTo>
                <a:cubicBezTo>
                  <a:pt x="1467895" y="930776"/>
                  <a:pt x="1434627" y="897508"/>
                  <a:pt x="1433998" y="856080"/>
                </a:cubicBezTo>
                <a:cubicBezTo>
                  <a:pt x="1433998" y="814651"/>
                  <a:pt x="1467895" y="780748"/>
                  <a:pt x="1509323" y="780748"/>
                </a:cubicBezTo>
                <a:cubicBezTo>
                  <a:pt x="1550751" y="780125"/>
                  <a:pt x="1584648" y="814022"/>
                  <a:pt x="1584648" y="855450"/>
                </a:cubicBezTo>
                <a:cubicBezTo>
                  <a:pt x="1584648" y="896879"/>
                  <a:pt x="1551381" y="930776"/>
                  <a:pt x="1509952" y="930776"/>
                </a:cubicBezTo>
                <a:close/>
                <a:moveTo>
                  <a:pt x="597871" y="950331"/>
                </a:moveTo>
                <a:cubicBezTo>
                  <a:pt x="535098" y="950331"/>
                  <a:pt x="483626" y="899482"/>
                  <a:pt x="483626" y="836709"/>
                </a:cubicBezTo>
                <a:cubicBezTo>
                  <a:pt x="483626" y="773936"/>
                  <a:pt x="534475" y="722464"/>
                  <a:pt x="597248" y="722464"/>
                </a:cubicBezTo>
                <a:cubicBezTo>
                  <a:pt x="660021" y="722464"/>
                  <a:pt x="711493" y="773313"/>
                  <a:pt x="711493" y="836086"/>
                </a:cubicBezTo>
                <a:cubicBezTo>
                  <a:pt x="711493" y="898859"/>
                  <a:pt x="660644" y="950331"/>
                  <a:pt x="597871" y="950331"/>
                </a:cubicBezTo>
                <a:close/>
                <a:moveTo>
                  <a:pt x="1937779" y="953370"/>
                </a:moveTo>
                <a:cubicBezTo>
                  <a:pt x="1901934" y="953370"/>
                  <a:pt x="1873083" y="924519"/>
                  <a:pt x="1873083" y="888666"/>
                </a:cubicBezTo>
                <a:cubicBezTo>
                  <a:pt x="1873083" y="852821"/>
                  <a:pt x="1901934" y="823970"/>
                  <a:pt x="1937779" y="823970"/>
                </a:cubicBezTo>
                <a:cubicBezTo>
                  <a:pt x="1973624" y="823970"/>
                  <a:pt x="2002475" y="852821"/>
                  <a:pt x="2002475" y="888666"/>
                </a:cubicBezTo>
                <a:cubicBezTo>
                  <a:pt x="2002475" y="924519"/>
                  <a:pt x="1973624" y="953370"/>
                  <a:pt x="1937779" y="953370"/>
                </a:cubicBezTo>
                <a:close/>
                <a:moveTo>
                  <a:pt x="107143" y="985963"/>
                </a:moveTo>
                <a:cubicBezTo>
                  <a:pt x="73872" y="986278"/>
                  <a:pt x="43584" y="972938"/>
                  <a:pt x="21613" y="951202"/>
                </a:cubicBezTo>
                <a:lnTo>
                  <a:pt x="0" y="919474"/>
                </a:lnTo>
                <a:lnTo>
                  <a:pt x="0" y="811706"/>
                </a:lnTo>
                <a:lnTo>
                  <a:pt x="20748" y="780538"/>
                </a:lnTo>
                <a:cubicBezTo>
                  <a:pt x="42483" y="758567"/>
                  <a:pt x="72614" y="744914"/>
                  <a:pt x="105885" y="744914"/>
                </a:cubicBezTo>
                <a:cubicBezTo>
                  <a:pt x="172427" y="744285"/>
                  <a:pt x="227038" y="798273"/>
                  <a:pt x="227038" y="864809"/>
                </a:cubicBezTo>
                <a:cubicBezTo>
                  <a:pt x="227667" y="931351"/>
                  <a:pt x="173679" y="985963"/>
                  <a:pt x="107143" y="985963"/>
                </a:cubicBezTo>
                <a:close/>
                <a:moveTo>
                  <a:pt x="2352242" y="996605"/>
                </a:moveTo>
                <a:cubicBezTo>
                  <a:pt x="2316350" y="996605"/>
                  <a:pt x="2287128" y="968219"/>
                  <a:pt x="2287128" y="932319"/>
                </a:cubicBezTo>
                <a:cubicBezTo>
                  <a:pt x="2287128" y="896427"/>
                  <a:pt x="2316350" y="868042"/>
                  <a:pt x="2351414" y="867205"/>
                </a:cubicBezTo>
                <a:cubicBezTo>
                  <a:pt x="2387306" y="867205"/>
                  <a:pt x="2416528" y="895590"/>
                  <a:pt x="2416528" y="931491"/>
                </a:cubicBezTo>
                <a:cubicBezTo>
                  <a:pt x="2416528" y="967383"/>
                  <a:pt x="2388143" y="996605"/>
                  <a:pt x="2352242" y="996605"/>
                </a:cubicBezTo>
                <a:close/>
                <a:moveTo>
                  <a:pt x="2755248" y="1046513"/>
                </a:moveTo>
                <a:cubicBezTo>
                  <a:pt x="2720097" y="1046513"/>
                  <a:pt x="2689749" y="1017752"/>
                  <a:pt x="2689749" y="982601"/>
                </a:cubicBezTo>
                <a:cubicBezTo>
                  <a:pt x="2689749" y="945866"/>
                  <a:pt x="2718511" y="917105"/>
                  <a:pt x="2753663" y="917105"/>
                </a:cubicBezTo>
                <a:cubicBezTo>
                  <a:pt x="2790400" y="917105"/>
                  <a:pt x="2819162" y="945866"/>
                  <a:pt x="2819162" y="981016"/>
                </a:cubicBezTo>
                <a:cubicBezTo>
                  <a:pt x="2820748" y="1017752"/>
                  <a:pt x="2792002" y="1046513"/>
                  <a:pt x="2755248" y="1046513"/>
                </a:cubicBezTo>
                <a:close/>
                <a:moveTo>
                  <a:pt x="3147209" y="1101770"/>
                </a:moveTo>
                <a:cubicBezTo>
                  <a:pt x="3110806" y="1101770"/>
                  <a:pt x="3082509" y="1073475"/>
                  <a:pt x="3082509" y="1037074"/>
                </a:cubicBezTo>
                <a:cubicBezTo>
                  <a:pt x="3078456" y="1000672"/>
                  <a:pt x="3106752" y="972378"/>
                  <a:pt x="3147209" y="972378"/>
                </a:cubicBezTo>
                <a:cubicBezTo>
                  <a:pt x="3183613" y="972378"/>
                  <a:pt x="3211909" y="1000672"/>
                  <a:pt x="3211909" y="1037074"/>
                </a:cubicBezTo>
                <a:cubicBezTo>
                  <a:pt x="3211909" y="1073475"/>
                  <a:pt x="3183613" y="1101770"/>
                  <a:pt x="3147209" y="1101770"/>
                </a:cubicBezTo>
                <a:close/>
                <a:moveTo>
                  <a:pt x="808229" y="1158601"/>
                </a:moveTo>
                <a:cubicBezTo>
                  <a:pt x="742315" y="1158601"/>
                  <a:pt x="688332" y="1105241"/>
                  <a:pt x="688332" y="1039327"/>
                </a:cubicBezTo>
                <a:cubicBezTo>
                  <a:pt x="688332" y="973413"/>
                  <a:pt x="741692" y="920059"/>
                  <a:pt x="807606" y="919430"/>
                </a:cubicBezTo>
                <a:cubicBezTo>
                  <a:pt x="873514" y="919430"/>
                  <a:pt x="926874" y="972790"/>
                  <a:pt x="927503" y="1038698"/>
                </a:cubicBezTo>
                <a:cubicBezTo>
                  <a:pt x="927503" y="1104611"/>
                  <a:pt x="874143" y="1158601"/>
                  <a:pt x="808229" y="1158601"/>
                </a:cubicBezTo>
                <a:close/>
                <a:moveTo>
                  <a:pt x="1254758" y="1162662"/>
                </a:moveTo>
                <a:cubicBezTo>
                  <a:pt x="1197005" y="1162662"/>
                  <a:pt x="1149296" y="1115582"/>
                  <a:pt x="1149296" y="1057829"/>
                </a:cubicBezTo>
                <a:cubicBezTo>
                  <a:pt x="1149296" y="999448"/>
                  <a:pt x="1195747" y="952368"/>
                  <a:pt x="1254129" y="952368"/>
                </a:cubicBezTo>
                <a:cubicBezTo>
                  <a:pt x="1312510" y="952368"/>
                  <a:pt x="1359590" y="999448"/>
                  <a:pt x="1359590" y="1057200"/>
                </a:cubicBezTo>
                <a:cubicBezTo>
                  <a:pt x="1359590" y="1114953"/>
                  <a:pt x="1312510" y="1162033"/>
                  <a:pt x="1254758" y="1162662"/>
                </a:cubicBezTo>
                <a:close/>
                <a:moveTo>
                  <a:pt x="1682350" y="1166189"/>
                </a:moveTo>
                <a:cubicBezTo>
                  <a:pt x="1640922" y="1166189"/>
                  <a:pt x="1607025" y="1132292"/>
                  <a:pt x="1607025" y="1090864"/>
                </a:cubicBezTo>
                <a:cubicBezTo>
                  <a:pt x="1607025" y="1048807"/>
                  <a:pt x="1640293" y="1015533"/>
                  <a:pt x="1681727" y="1015533"/>
                </a:cubicBezTo>
                <a:cubicBezTo>
                  <a:pt x="1723156" y="1014910"/>
                  <a:pt x="1757053" y="1048807"/>
                  <a:pt x="1757053" y="1090235"/>
                </a:cubicBezTo>
                <a:cubicBezTo>
                  <a:pt x="1757682" y="1132292"/>
                  <a:pt x="1723779" y="1166189"/>
                  <a:pt x="1682350" y="1166189"/>
                </a:cubicBezTo>
                <a:close/>
                <a:moveTo>
                  <a:pt x="338908" y="1168843"/>
                </a:moveTo>
                <a:cubicBezTo>
                  <a:pt x="269226" y="1169466"/>
                  <a:pt x="212732" y="1112972"/>
                  <a:pt x="212732" y="1043289"/>
                </a:cubicBezTo>
                <a:cubicBezTo>
                  <a:pt x="212103" y="973612"/>
                  <a:pt x="268596" y="917118"/>
                  <a:pt x="337649" y="916489"/>
                </a:cubicBezTo>
                <a:cubicBezTo>
                  <a:pt x="407332" y="916489"/>
                  <a:pt x="464454" y="972360"/>
                  <a:pt x="464454" y="1042037"/>
                </a:cubicBezTo>
                <a:cubicBezTo>
                  <a:pt x="464454" y="1111713"/>
                  <a:pt x="408584" y="1168214"/>
                  <a:pt x="338908" y="1168843"/>
                </a:cubicBezTo>
                <a:close/>
                <a:moveTo>
                  <a:pt x="2094906" y="1200074"/>
                </a:moveTo>
                <a:cubicBezTo>
                  <a:pt x="2058852" y="1200074"/>
                  <a:pt x="2029884" y="1171106"/>
                  <a:pt x="2029884" y="1135698"/>
                </a:cubicBezTo>
                <a:cubicBezTo>
                  <a:pt x="2029884" y="1100289"/>
                  <a:pt x="2058207" y="1071321"/>
                  <a:pt x="2094261" y="1070676"/>
                </a:cubicBezTo>
                <a:cubicBezTo>
                  <a:pt x="2129669" y="1070676"/>
                  <a:pt x="2159282" y="1099644"/>
                  <a:pt x="2159282" y="1135052"/>
                </a:cubicBezTo>
                <a:cubicBezTo>
                  <a:pt x="2159282" y="1171106"/>
                  <a:pt x="2130314" y="1200074"/>
                  <a:pt x="2094906" y="1200074"/>
                </a:cubicBezTo>
                <a:close/>
                <a:moveTo>
                  <a:pt x="2494634" y="1251698"/>
                </a:moveTo>
                <a:cubicBezTo>
                  <a:pt x="2458742" y="1251698"/>
                  <a:pt x="2429520" y="1223312"/>
                  <a:pt x="2429520" y="1187412"/>
                </a:cubicBezTo>
                <a:cubicBezTo>
                  <a:pt x="2429520" y="1152349"/>
                  <a:pt x="2458742" y="1123135"/>
                  <a:pt x="2493806" y="1122298"/>
                </a:cubicBezTo>
                <a:cubicBezTo>
                  <a:pt x="2529698" y="1122298"/>
                  <a:pt x="2558920" y="1150683"/>
                  <a:pt x="2558920" y="1186584"/>
                </a:cubicBezTo>
                <a:cubicBezTo>
                  <a:pt x="2558920" y="1222476"/>
                  <a:pt x="2530535" y="1251698"/>
                  <a:pt x="2494634" y="1251698"/>
                </a:cubicBezTo>
                <a:close/>
                <a:moveTo>
                  <a:pt x="2884179" y="1308282"/>
                </a:moveTo>
                <a:cubicBezTo>
                  <a:pt x="2849674" y="1308282"/>
                  <a:pt x="2819472" y="1280242"/>
                  <a:pt x="2819472" y="1243575"/>
                </a:cubicBezTo>
                <a:cubicBezTo>
                  <a:pt x="2819472" y="1209071"/>
                  <a:pt x="2847512" y="1178869"/>
                  <a:pt x="2884179" y="1178869"/>
                </a:cubicBezTo>
                <a:cubicBezTo>
                  <a:pt x="2918683" y="1178869"/>
                  <a:pt x="2948885" y="1206909"/>
                  <a:pt x="2948885" y="1243575"/>
                </a:cubicBezTo>
                <a:cubicBezTo>
                  <a:pt x="2948885" y="1280242"/>
                  <a:pt x="2920845" y="1308282"/>
                  <a:pt x="2884179" y="1308282"/>
                </a:cubicBezTo>
                <a:close/>
                <a:moveTo>
                  <a:pt x="78656" y="1344897"/>
                </a:moveTo>
                <a:cubicBezTo>
                  <a:pt x="52291" y="1344897"/>
                  <a:pt x="28437" y="1334383"/>
                  <a:pt x="11174" y="1317278"/>
                </a:cubicBezTo>
                <a:lnTo>
                  <a:pt x="0" y="1300819"/>
                </a:lnTo>
                <a:lnTo>
                  <a:pt x="0" y="1198917"/>
                </a:lnTo>
                <a:lnTo>
                  <a:pt x="10859" y="1182633"/>
                </a:lnTo>
                <a:cubicBezTo>
                  <a:pt x="27965" y="1165370"/>
                  <a:pt x="51662" y="1154698"/>
                  <a:pt x="78027" y="1154698"/>
                </a:cubicBezTo>
                <a:cubicBezTo>
                  <a:pt x="130757" y="1154698"/>
                  <a:pt x="173438" y="1196756"/>
                  <a:pt x="173438" y="1249486"/>
                </a:cubicBezTo>
                <a:cubicBezTo>
                  <a:pt x="173438" y="1302216"/>
                  <a:pt x="130757" y="1344897"/>
                  <a:pt x="78656" y="1344897"/>
                </a:cubicBezTo>
                <a:close/>
                <a:moveTo>
                  <a:pt x="551846" y="1364048"/>
                </a:moveTo>
                <a:cubicBezTo>
                  <a:pt x="485304" y="1364048"/>
                  <a:pt x="430064" y="1310066"/>
                  <a:pt x="430064" y="1242895"/>
                </a:cubicBezTo>
                <a:cubicBezTo>
                  <a:pt x="430064" y="1175730"/>
                  <a:pt x="484046" y="1121119"/>
                  <a:pt x="550587" y="1120490"/>
                </a:cubicBezTo>
                <a:cubicBezTo>
                  <a:pt x="617751" y="1120490"/>
                  <a:pt x="672992" y="1174472"/>
                  <a:pt x="672992" y="1241643"/>
                </a:cubicBezTo>
                <a:cubicBezTo>
                  <a:pt x="673621" y="1308807"/>
                  <a:pt x="619010" y="1364048"/>
                  <a:pt x="551846" y="1364048"/>
                </a:cubicBezTo>
                <a:close/>
                <a:moveTo>
                  <a:pt x="3265345" y="1368986"/>
                </a:moveTo>
                <a:cubicBezTo>
                  <a:pt x="3229375" y="1368986"/>
                  <a:pt x="3200613" y="1340224"/>
                  <a:pt x="3200613" y="1304254"/>
                </a:cubicBezTo>
                <a:cubicBezTo>
                  <a:pt x="3200613" y="1268284"/>
                  <a:pt x="3222166" y="1239523"/>
                  <a:pt x="3265345" y="1239523"/>
                </a:cubicBezTo>
                <a:cubicBezTo>
                  <a:pt x="3301315" y="1239523"/>
                  <a:pt x="3330076" y="1268284"/>
                  <a:pt x="3330076" y="1304254"/>
                </a:cubicBezTo>
                <a:cubicBezTo>
                  <a:pt x="3330076" y="1340224"/>
                  <a:pt x="3301315" y="1368986"/>
                  <a:pt x="3265345" y="1368986"/>
                </a:cubicBezTo>
                <a:close/>
                <a:moveTo>
                  <a:pt x="999660" y="1381990"/>
                </a:moveTo>
                <a:cubicBezTo>
                  <a:pt x="931865" y="1381990"/>
                  <a:pt x="876623" y="1327376"/>
                  <a:pt x="876623" y="1259579"/>
                </a:cubicBezTo>
                <a:cubicBezTo>
                  <a:pt x="875994" y="1191153"/>
                  <a:pt x="930607" y="1136539"/>
                  <a:pt x="999031" y="1136539"/>
                </a:cubicBezTo>
                <a:cubicBezTo>
                  <a:pt x="1066826" y="1136539"/>
                  <a:pt x="1122068" y="1191153"/>
                  <a:pt x="1122068" y="1258950"/>
                </a:cubicBezTo>
                <a:cubicBezTo>
                  <a:pt x="1122068" y="1326747"/>
                  <a:pt x="1067455" y="1381990"/>
                  <a:pt x="999660" y="1381990"/>
                </a:cubicBezTo>
                <a:close/>
                <a:moveTo>
                  <a:pt x="1426398" y="1398827"/>
                </a:moveTo>
                <a:cubicBezTo>
                  <a:pt x="1368016" y="1398827"/>
                  <a:pt x="1320936" y="1351747"/>
                  <a:pt x="1320936" y="1293994"/>
                </a:cubicBezTo>
                <a:cubicBezTo>
                  <a:pt x="1320936" y="1235613"/>
                  <a:pt x="1368016" y="1188533"/>
                  <a:pt x="1425769" y="1188533"/>
                </a:cubicBezTo>
                <a:cubicBezTo>
                  <a:pt x="1484150" y="1188533"/>
                  <a:pt x="1531230" y="1235613"/>
                  <a:pt x="1531230" y="1293365"/>
                </a:cubicBezTo>
                <a:cubicBezTo>
                  <a:pt x="1531230" y="1351747"/>
                  <a:pt x="1484773" y="1398827"/>
                  <a:pt x="1426398" y="1398827"/>
                </a:cubicBezTo>
                <a:close/>
                <a:moveTo>
                  <a:pt x="1836790" y="1430815"/>
                </a:moveTo>
                <a:cubicBezTo>
                  <a:pt x="1785940" y="1430815"/>
                  <a:pt x="1744511" y="1390009"/>
                  <a:pt x="1744511" y="1339165"/>
                </a:cubicBezTo>
                <a:cubicBezTo>
                  <a:pt x="1744511" y="1288316"/>
                  <a:pt x="1785311" y="1246887"/>
                  <a:pt x="1836161" y="1246887"/>
                </a:cubicBezTo>
                <a:cubicBezTo>
                  <a:pt x="1887010" y="1246887"/>
                  <a:pt x="1928439" y="1287693"/>
                  <a:pt x="1928439" y="1338536"/>
                </a:cubicBezTo>
                <a:cubicBezTo>
                  <a:pt x="1928439" y="1389386"/>
                  <a:pt x="1887633" y="1430815"/>
                  <a:pt x="1836790" y="1430815"/>
                </a:cubicBezTo>
                <a:close/>
                <a:moveTo>
                  <a:pt x="2233842" y="1459666"/>
                </a:moveTo>
                <a:cubicBezTo>
                  <a:pt x="2196804" y="1459666"/>
                  <a:pt x="2166047" y="1429538"/>
                  <a:pt x="2166047" y="1392500"/>
                </a:cubicBezTo>
                <a:cubicBezTo>
                  <a:pt x="2166047" y="1355463"/>
                  <a:pt x="2196181" y="1325335"/>
                  <a:pt x="2233212" y="1324706"/>
                </a:cubicBezTo>
                <a:cubicBezTo>
                  <a:pt x="2270879" y="1324706"/>
                  <a:pt x="2301013" y="1354834"/>
                  <a:pt x="2301013" y="1391871"/>
                </a:cubicBezTo>
                <a:cubicBezTo>
                  <a:pt x="2301013" y="1428908"/>
                  <a:pt x="2270879" y="1459666"/>
                  <a:pt x="2233842" y="1459666"/>
                </a:cubicBezTo>
                <a:close/>
                <a:moveTo>
                  <a:pt x="2620735" y="1514947"/>
                </a:moveTo>
                <a:cubicBezTo>
                  <a:pt x="2584854" y="1515884"/>
                  <a:pt x="2555580" y="1486617"/>
                  <a:pt x="2555580" y="1450734"/>
                </a:cubicBezTo>
                <a:cubicBezTo>
                  <a:pt x="2554643" y="1414850"/>
                  <a:pt x="2583908" y="1385573"/>
                  <a:pt x="2619788" y="1385573"/>
                </a:cubicBezTo>
                <a:cubicBezTo>
                  <a:pt x="2655669" y="1384636"/>
                  <a:pt x="2684934" y="1413904"/>
                  <a:pt x="2684934" y="1449787"/>
                </a:cubicBezTo>
                <a:cubicBezTo>
                  <a:pt x="2685881" y="1485670"/>
                  <a:pt x="2656616" y="1514947"/>
                  <a:pt x="2620735" y="1514947"/>
                </a:cubicBezTo>
                <a:close/>
                <a:moveTo>
                  <a:pt x="295462" y="1567089"/>
                </a:moveTo>
                <a:cubicBezTo>
                  <a:pt x="228292" y="1567718"/>
                  <a:pt x="173681" y="1513107"/>
                  <a:pt x="173681" y="1445936"/>
                </a:cubicBezTo>
                <a:cubicBezTo>
                  <a:pt x="173681" y="1378771"/>
                  <a:pt x="227662" y="1324160"/>
                  <a:pt x="294833" y="1323531"/>
                </a:cubicBezTo>
                <a:cubicBezTo>
                  <a:pt x="361996" y="1323531"/>
                  <a:pt x="416607" y="1377513"/>
                  <a:pt x="416607" y="1444684"/>
                </a:cubicBezTo>
                <a:cubicBezTo>
                  <a:pt x="416607" y="1512477"/>
                  <a:pt x="362626" y="1567089"/>
                  <a:pt x="295462" y="1567089"/>
                </a:cubicBezTo>
                <a:close/>
                <a:moveTo>
                  <a:pt x="2997749" y="1577142"/>
                </a:moveTo>
                <a:cubicBezTo>
                  <a:pt x="2961082" y="1577142"/>
                  <a:pt x="2933042" y="1546940"/>
                  <a:pt x="2933042" y="1512435"/>
                </a:cubicBezTo>
                <a:cubicBezTo>
                  <a:pt x="2933042" y="1477931"/>
                  <a:pt x="2963244" y="1447729"/>
                  <a:pt x="2997749" y="1447729"/>
                </a:cubicBezTo>
                <a:cubicBezTo>
                  <a:pt x="3032253" y="1447729"/>
                  <a:pt x="3062455" y="1475769"/>
                  <a:pt x="3062455" y="1512435"/>
                </a:cubicBezTo>
                <a:cubicBezTo>
                  <a:pt x="3062455" y="1549102"/>
                  <a:pt x="3034415" y="1577142"/>
                  <a:pt x="2997749" y="1577142"/>
                </a:cubicBezTo>
                <a:close/>
                <a:moveTo>
                  <a:pt x="744666" y="1592229"/>
                </a:moveTo>
                <a:cubicBezTo>
                  <a:pt x="672473" y="1592858"/>
                  <a:pt x="613470" y="1534478"/>
                  <a:pt x="613470" y="1462292"/>
                </a:cubicBezTo>
                <a:cubicBezTo>
                  <a:pt x="613470" y="1390099"/>
                  <a:pt x="671851" y="1331725"/>
                  <a:pt x="743407" y="1331096"/>
                </a:cubicBezTo>
                <a:cubicBezTo>
                  <a:pt x="815599" y="1330467"/>
                  <a:pt x="873974" y="1388847"/>
                  <a:pt x="874603" y="1461033"/>
                </a:cubicBezTo>
                <a:cubicBezTo>
                  <a:pt x="874603" y="1533219"/>
                  <a:pt x="816852" y="1591600"/>
                  <a:pt x="744666" y="1592229"/>
                </a:cubicBezTo>
                <a:close/>
                <a:moveTo>
                  <a:pt x="1170441" y="1619012"/>
                </a:moveTo>
                <a:cubicBezTo>
                  <a:pt x="1102646" y="1619012"/>
                  <a:pt x="1047404" y="1564398"/>
                  <a:pt x="1047404" y="1496601"/>
                </a:cubicBezTo>
                <a:cubicBezTo>
                  <a:pt x="1046775" y="1428804"/>
                  <a:pt x="1102017" y="1373561"/>
                  <a:pt x="1169812" y="1373561"/>
                </a:cubicBezTo>
                <a:cubicBezTo>
                  <a:pt x="1237607" y="1373561"/>
                  <a:pt x="1292849" y="1428175"/>
                  <a:pt x="1292849" y="1495972"/>
                </a:cubicBezTo>
                <a:cubicBezTo>
                  <a:pt x="1292849" y="1563769"/>
                  <a:pt x="1238237" y="1619012"/>
                  <a:pt x="1170441" y="1619012"/>
                </a:cubicBezTo>
                <a:close/>
                <a:moveTo>
                  <a:pt x="3370208" y="1643930"/>
                </a:moveTo>
                <a:cubicBezTo>
                  <a:pt x="3333216" y="1643930"/>
                  <a:pt x="3303638" y="1614352"/>
                  <a:pt x="3303638" y="1577399"/>
                </a:cubicBezTo>
                <a:cubicBezTo>
                  <a:pt x="3303638" y="1540408"/>
                  <a:pt x="3329510" y="1510831"/>
                  <a:pt x="3366501" y="1510831"/>
                </a:cubicBezTo>
                <a:cubicBezTo>
                  <a:pt x="3403492" y="1510831"/>
                  <a:pt x="3433071" y="1540408"/>
                  <a:pt x="3433071" y="1577399"/>
                </a:cubicBezTo>
                <a:cubicBezTo>
                  <a:pt x="3433071" y="1614352"/>
                  <a:pt x="3407162" y="1643930"/>
                  <a:pt x="3370208" y="1643930"/>
                </a:cubicBezTo>
                <a:close/>
                <a:moveTo>
                  <a:pt x="1578253" y="1648332"/>
                </a:moveTo>
                <a:cubicBezTo>
                  <a:pt x="1520500" y="1648332"/>
                  <a:pt x="1472791" y="1601252"/>
                  <a:pt x="1472791" y="1543499"/>
                </a:cubicBezTo>
                <a:cubicBezTo>
                  <a:pt x="1472791" y="1485747"/>
                  <a:pt x="1519871" y="1438667"/>
                  <a:pt x="1577623" y="1438038"/>
                </a:cubicBezTo>
                <a:cubicBezTo>
                  <a:pt x="1636005" y="1438038"/>
                  <a:pt x="1683085" y="1485118"/>
                  <a:pt x="1683085" y="1542870"/>
                </a:cubicBezTo>
                <a:cubicBezTo>
                  <a:pt x="1683085" y="1600623"/>
                  <a:pt x="1636005" y="1648332"/>
                  <a:pt x="1578253" y="1648332"/>
                </a:cubicBezTo>
                <a:close/>
                <a:moveTo>
                  <a:pt x="1972296" y="1691662"/>
                </a:moveTo>
                <a:cubicBezTo>
                  <a:pt x="1920193" y="1691662"/>
                  <a:pt x="1878134" y="1650233"/>
                  <a:pt x="1878134" y="1598131"/>
                </a:cubicBezTo>
                <a:cubicBezTo>
                  <a:pt x="1878134" y="1546659"/>
                  <a:pt x="1920193" y="1503972"/>
                  <a:pt x="1971666" y="1503972"/>
                </a:cubicBezTo>
                <a:cubicBezTo>
                  <a:pt x="2023145" y="1503972"/>
                  <a:pt x="2065828" y="1545401"/>
                  <a:pt x="2065828" y="1597502"/>
                </a:cubicBezTo>
                <a:cubicBezTo>
                  <a:pt x="2066457" y="1649603"/>
                  <a:pt x="2024398" y="1691662"/>
                  <a:pt x="1972296" y="1691662"/>
                </a:cubicBezTo>
                <a:close/>
                <a:moveTo>
                  <a:pt x="38554" y="1713067"/>
                </a:moveTo>
                <a:cubicBezTo>
                  <a:pt x="29731" y="1713067"/>
                  <a:pt x="21277" y="1711275"/>
                  <a:pt x="13558" y="1708024"/>
                </a:cubicBezTo>
                <a:lnTo>
                  <a:pt x="0" y="1698937"/>
                </a:lnTo>
                <a:lnTo>
                  <a:pt x="0" y="1597187"/>
                </a:lnTo>
                <a:lnTo>
                  <a:pt x="13143" y="1588414"/>
                </a:lnTo>
                <a:cubicBezTo>
                  <a:pt x="20954" y="1585198"/>
                  <a:pt x="29547" y="1583498"/>
                  <a:pt x="38554" y="1583682"/>
                </a:cubicBezTo>
                <a:cubicBezTo>
                  <a:pt x="73837" y="1583682"/>
                  <a:pt x="103246" y="1613085"/>
                  <a:pt x="103246" y="1648375"/>
                </a:cubicBezTo>
                <a:cubicBezTo>
                  <a:pt x="103246" y="1683657"/>
                  <a:pt x="74574" y="1713067"/>
                  <a:pt x="38554" y="1713067"/>
                </a:cubicBezTo>
                <a:close/>
                <a:moveTo>
                  <a:pt x="2355155" y="1743920"/>
                </a:moveTo>
                <a:cubicBezTo>
                  <a:pt x="2307446" y="1743920"/>
                  <a:pt x="2268528" y="1705631"/>
                  <a:pt x="2268528" y="1657922"/>
                </a:cubicBezTo>
                <a:cubicBezTo>
                  <a:pt x="2268528" y="1610214"/>
                  <a:pt x="2306817" y="1571296"/>
                  <a:pt x="2354525" y="1571296"/>
                </a:cubicBezTo>
                <a:cubicBezTo>
                  <a:pt x="2402234" y="1571296"/>
                  <a:pt x="2441152" y="1609585"/>
                  <a:pt x="2441152" y="1657293"/>
                </a:cubicBezTo>
                <a:cubicBezTo>
                  <a:pt x="2441152" y="1705002"/>
                  <a:pt x="2402863" y="1743920"/>
                  <a:pt x="2355155" y="1743920"/>
                </a:cubicBezTo>
                <a:close/>
                <a:moveTo>
                  <a:pt x="489035" y="1761875"/>
                </a:moveTo>
                <a:cubicBezTo>
                  <a:pt x="435053" y="1762504"/>
                  <a:pt x="390484" y="1718564"/>
                  <a:pt x="390484" y="1663952"/>
                </a:cubicBezTo>
                <a:cubicBezTo>
                  <a:pt x="390484" y="1609963"/>
                  <a:pt x="434424" y="1565394"/>
                  <a:pt x="488412" y="1565394"/>
                </a:cubicBezTo>
                <a:cubicBezTo>
                  <a:pt x="542394" y="1564765"/>
                  <a:pt x="586963" y="1608711"/>
                  <a:pt x="586963" y="1663323"/>
                </a:cubicBezTo>
                <a:cubicBezTo>
                  <a:pt x="587592" y="1717305"/>
                  <a:pt x="543652" y="1761875"/>
                  <a:pt x="489035" y="1761875"/>
                </a:cubicBezTo>
                <a:close/>
                <a:moveTo>
                  <a:pt x="2728879" y="1786342"/>
                </a:moveTo>
                <a:cubicBezTo>
                  <a:pt x="2693094" y="1786342"/>
                  <a:pt x="2663594" y="1756837"/>
                  <a:pt x="2663594" y="1721058"/>
                </a:cubicBezTo>
                <a:cubicBezTo>
                  <a:pt x="2662965" y="1684650"/>
                  <a:pt x="2692471" y="1655774"/>
                  <a:pt x="2728879" y="1655774"/>
                </a:cubicBezTo>
                <a:cubicBezTo>
                  <a:pt x="2764659" y="1655774"/>
                  <a:pt x="2794164" y="1685279"/>
                  <a:pt x="2794164" y="1721058"/>
                </a:cubicBezTo>
                <a:cubicBezTo>
                  <a:pt x="2794164" y="1756837"/>
                  <a:pt x="2764659" y="1786342"/>
                  <a:pt x="2728879" y="1786342"/>
                </a:cubicBezTo>
                <a:close/>
                <a:moveTo>
                  <a:pt x="914154" y="1824465"/>
                </a:moveTo>
                <a:cubicBezTo>
                  <a:pt x="845101" y="1825094"/>
                  <a:pt x="788608" y="1769224"/>
                  <a:pt x="788608" y="1700177"/>
                </a:cubicBezTo>
                <a:cubicBezTo>
                  <a:pt x="788608" y="1631754"/>
                  <a:pt x="844478" y="1575261"/>
                  <a:pt x="912901" y="1574632"/>
                </a:cubicBezTo>
                <a:cubicBezTo>
                  <a:pt x="981948" y="1574003"/>
                  <a:pt x="1038447" y="1629873"/>
                  <a:pt x="1038447" y="1698919"/>
                </a:cubicBezTo>
                <a:cubicBezTo>
                  <a:pt x="1039070" y="1767972"/>
                  <a:pt x="983206" y="1824465"/>
                  <a:pt x="914154" y="1824465"/>
                </a:cubicBezTo>
                <a:close/>
                <a:moveTo>
                  <a:pt x="3095388" y="1852431"/>
                </a:moveTo>
                <a:cubicBezTo>
                  <a:pt x="3059697" y="1852431"/>
                  <a:pt x="3030692" y="1823426"/>
                  <a:pt x="3030692" y="1787735"/>
                </a:cubicBezTo>
                <a:cubicBezTo>
                  <a:pt x="3030692" y="1752043"/>
                  <a:pt x="3059697" y="1723039"/>
                  <a:pt x="3095388" y="1723039"/>
                </a:cubicBezTo>
                <a:cubicBezTo>
                  <a:pt x="3131090" y="1723039"/>
                  <a:pt x="3160084" y="1752043"/>
                  <a:pt x="3160084" y="1787735"/>
                </a:cubicBezTo>
                <a:cubicBezTo>
                  <a:pt x="3160084" y="1823426"/>
                  <a:pt x="3131090" y="1852431"/>
                  <a:pt x="3095388" y="1852431"/>
                </a:cubicBezTo>
                <a:close/>
                <a:moveTo>
                  <a:pt x="1318847" y="1869515"/>
                </a:moveTo>
                <a:cubicBezTo>
                  <a:pt x="1251683" y="1870144"/>
                  <a:pt x="1197072" y="1815533"/>
                  <a:pt x="1197072" y="1748362"/>
                </a:cubicBezTo>
                <a:cubicBezTo>
                  <a:pt x="1197072" y="1681197"/>
                  <a:pt x="1251683" y="1626586"/>
                  <a:pt x="1317595" y="1625957"/>
                </a:cubicBezTo>
                <a:cubicBezTo>
                  <a:pt x="1384759" y="1625328"/>
                  <a:pt x="1440000" y="1679939"/>
                  <a:pt x="1440000" y="1747110"/>
                </a:cubicBezTo>
                <a:cubicBezTo>
                  <a:pt x="1440629" y="1814903"/>
                  <a:pt x="1386018" y="1869515"/>
                  <a:pt x="1318847" y="1869515"/>
                </a:cubicBezTo>
                <a:close/>
                <a:moveTo>
                  <a:pt x="1709452" y="1910274"/>
                </a:moveTo>
                <a:cubicBezTo>
                  <a:pt x="1650447" y="1910274"/>
                  <a:pt x="1602737" y="1862564"/>
                  <a:pt x="1602737" y="1804182"/>
                </a:cubicBezTo>
                <a:cubicBezTo>
                  <a:pt x="1602737" y="1745177"/>
                  <a:pt x="1650447" y="1697467"/>
                  <a:pt x="1708829" y="1697467"/>
                </a:cubicBezTo>
                <a:cubicBezTo>
                  <a:pt x="1767834" y="1697467"/>
                  <a:pt x="1815544" y="1745177"/>
                  <a:pt x="1815544" y="1803559"/>
                </a:cubicBezTo>
                <a:cubicBezTo>
                  <a:pt x="1815544" y="1862564"/>
                  <a:pt x="1767834" y="1910274"/>
                  <a:pt x="1709452" y="1910274"/>
                </a:cubicBezTo>
                <a:close/>
                <a:moveTo>
                  <a:pt x="3455893" y="1920652"/>
                </a:moveTo>
                <a:cubicBezTo>
                  <a:pt x="3418904" y="1920652"/>
                  <a:pt x="3389327" y="1891075"/>
                  <a:pt x="3389327" y="1854085"/>
                </a:cubicBezTo>
                <a:cubicBezTo>
                  <a:pt x="3389327" y="1820801"/>
                  <a:pt x="3418904" y="1791224"/>
                  <a:pt x="3455893" y="1791224"/>
                </a:cubicBezTo>
                <a:cubicBezTo>
                  <a:pt x="3492845" y="1791224"/>
                  <a:pt x="3522422" y="1817095"/>
                  <a:pt x="3522422" y="1854085"/>
                </a:cubicBezTo>
                <a:cubicBezTo>
                  <a:pt x="3522422" y="1891075"/>
                  <a:pt x="3492845" y="1920652"/>
                  <a:pt x="3455893" y="1920652"/>
                </a:cubicBezTo>
                <a:close/>
                <a:moveTo>
                  <a:pt x="233853" y="1930447"/>
                </a:moveTo>
                <a:cubicBezTo>
                  <a:pt x="198559" y="1930447"/>
                  <a:pt x="169153" y="1901778"/>
                  <a:pt x="169153" y="1865753"/>
                </a:cubicBezTo>
                <a:cubicBezTo>
                  <a:pt x="169153" y="1829722"/>
                  <a:pt x="197829" y="1800316"/>
                  <a:pt x="233853" y="1800316"/>
                </a:cubicBezTo>
                <a:cubicBezTo>
                  <a:pt x="269139" y="1800316"/>
                  <a:pt x="298552" y="1828992"/>
                  <a:pt x="298552" y="1865016"/>
                </a:cubicBezTo>
                <a:cubicBezTo>
                  <a:pt x="298552" y="1901041"/>
                  <a:pt x="269876" y="1930447"/>
                  <a:pt x="233853" y="1930447"/>
                </a:cubicBezTo>
                <a:close/>
                <a:moveTo>
                  <a:pt x="2088014" y="1959666"/>
                </a:moveTo>
                <a:cubicBezTo>
                  <a:pt x="2036541" y="1960289"/>
                  <a:pt x="1993852" y="1918231"/>
                  <a:pt x="1993852" y="1866130"/>
                </a:cubicBezTo>
                <a:cubicBezTo>
                  <a:pt x="1993852" y="1814030"/>
                  <a:pt x="2035282" y="1771972"/>
                  <a:pt x="2087384" y="1771972"/>
                </a:cubicBezTo>
                <a:cubicBezTo>
                  <a:pt x="2138863" y="1771343"/>
                  <a:pt x="2181546" y="1813401"/>
                  <a:pt x="2181546" y="1865501"/>
                </a:cubicBezTo>
                <a:cubicBezTo>
                  <a:pt x="2182175" y="1916979"/>
                  <a:pt x="2140116" y="1959666"/>
                  <a:pt x="2088014" y="1959666"/>
                </a:cubicBezTo>
                <a:close/>
                <a:moveTo>
                  <a:pt x="657239" y="2010230"/>
                </a:moveTo>
                <a:cubicBezTo>
                  <a:pt x="597600" y="2010230"/>
                  <a:pt x="548639" y="1961898"/>
                  <a:pt x="548639" y="1902259"/>
                </a:cubicBezTo>
                <a:cubicBezTo>
                  <a:pt x="548639" y="1842004"/>
                  <a:pt x="596977" y="1793666"/>
                  <a:pt x="656610" y="1793666"/>
                </a:cubicBezTo>
                <a:cubicBezTo>
                  <a:pt x="716242" y="1793666"/>
                  <a:pt x="765203" y="1842004"/>
                  <a:pt x="765203" y="1901636"/>
                </a:cubicBezTo>
                <a:cubicBezTo>
                  <a:pt x="765203" y="1961269"/>
                  <a:pt x="716871" y="2010230"/>
                  <a:pt x="657239" y="2010230"/>
                </a:cubicBezTo>
                <a:close/>
                <a:moveTo>
                  <a:pt x="2457967" y="2028725"/>
                </a:moveTo>
                <a:cubicBezTo>
                  <a:pt x="2403978" y="2029354"/>
                  <a:pt x="2360037" y="1986035"/>
                  <a:pt x="2360037" y="1932050"/>
                </a:cubicBezTo>
                <a:cubicBezTo>
                  <a:pt x="2360037" y="1878688"/>
                  <a:pt x="2403348" y="1834746"/>
                  <a:pt x="2457338" y="1834117"/>
                </a:cubicBezTo>
                <a:cubicBezTo>
                  <a:pt x="2511321" y="1833488"/>
                  <a:pt x="2555262" y="1876807"/>
                  <a:pt x="2555262" y="1930792"/>
                </a:cubicBezTo>
                <a:cubicBezTo>
                  <a:pt x="2555262" y="1984783"/>
                  <a:pt x="2511951" y="2028725"/>
                  <a:pt x="2457967" y="2028725"/>
                </a:cubicBezTo>
                <a:close/>
                <a:moveTo>
                  <a:pt x="2820177" y="2081922"/>
                </a:moveTo>
                <a:cubicBezTo>
                  <a:pt x="2774355" y="2081922"/>
                  <a:pt x="2736689" y="2044885"/>
                  <a:pt x="2736689" y="1999057"/>
                </a:cubicBezTo>
                <a:cubicBezTo>
                  <a:pt x="2736689" y="1953236"/>
                  <a:pt x="2773726" y="1915570"/>
                  <a:pt x="2819547" y="1915570"/>
                </a:cubicBezTo>
                <a:cubicBezTo>
                  <a:pt x="2865375" y="1915570"/>
                  <a:pt x="2903035" y="1952607"/>
                  <a:pt x="2903035" y="1998428"/>
                </a:cubicBezTo>
                <a:cubicBezTo>
                  <a:pt x="2903035" y="2044256"/>
                  <a:pt x="2866004" y="2081922"/>
                  <a:pt x="2820177" y="2081922"/>
                </a:cubicBezTo>
                <a:close/>
                <a:moveTo>
                  <a:pt x="1059555" y="2087461"/>
                </a:moveTo>
                <a:cubicBezTo>
                  <a:pt x="984851" y="2088084"/>
                  <a:pt x="923965" y="2027827"/>
                  <a:pt x="923965" y="1953123"/>
                </a:cubicBezTo>
                <a:cubicBezTo>
                  <a:pt x="923336" y="1878425"/>
                  <a:pt x="983599" y="1817533"/>
                  <a:pt x="1058297" y="1817533"/>
                </a:cubicBezTo>
                <a:cubicBezTo>
                  <a:pt x="1133001" y="1816904"/>
                  <a:pt x="1193893" y="1877167"/>
                  <a:pt x="1193893" y="1951865"/>
                </a:cubicBezTo>
                <a:cubicBezTo>
                  <a:pt x="1194516" y="2026569"/>
                  <a:pt x="1134253" y="2087461"/>
                  <a:pt x="1059555" y="2087461"/>
                </a:cubicBezTo>
                <a:close/>
                <a:moveTo>
                  <a:pt x="0" y="2128682"/>
                </a:moveTo>
                <a:lnTo>
                  <a:pt x="0" y="2006448"/>
                </a:lnTo>
                <a:lnTo>
                  <a:pt x="3811" y="2007227"/>
                </a:lnTo>
                <a:cubicBezTo>
                  <a:pt x="26990" y="2017119"/>
                  <a:pt x="43459" y="2040224"/>
                  <a:pt x="43459" y="2066803"/>
                </a:cubicBezTo>
                <a:cubicBezTo>
                  <a:pt x="43459" y="2094530"/>
                  <a:pt x="26990" y="2117931"/>
                  <a:pt x="3811" y="2127898"/>
                </a:cubicBezTo>
                <a:close/>
                <a:moveTo>
                  <a:pt x="3176435" y="2133296"/>
                </a:moveTo>
                <a:cubicBezTo>
                  <a:pt x="3141151" y="2133296"/>
                  <a:pt x="3111354" y="2104283"/>
                  <a:pt x="3111354" y="2068211"/>
                </a:cubicBezTo>
                <a:cubicBezTo>
                  <a:pt x="3111354" y="2032140"/>
                  <a:pt x="3140365" y="2003127"/>
                  <a:pt x="3175649" y="2003127"/>
                </a:cubicBezTo>
                <a:cubicBezTo>
                  <a:pt x="3211719" y="2003127"/>
                  <a:pt x="3240730" y="2032140"/>
                  <a:pt x="3240730" y="2068211"/>
                </a:cubicBezTo>
                <a:cubicBezTo>
                  <a:pt x="3241516" y="2103497"/>
                  <a:pt x="3212505" y="2133296"/>
                  <a:pt x="3176435" y="2133296"/>
                </a:cubicBezTo>
                <a:close/>
                <a:moveTo>
                  <a:pt x="1444896" y="2143982"/>
                </a:moveTo>
                <a:cubicBezTo>
                  <a:pt x="1372081" y="2143982"/>
                  <a:pt x="1311819" y="2084972"/>
                  <a:pt x="1311819" y="2011528"/>
                </a:cubicBezTo>
                <a:cubicBezTo>
                  <a:pt x="1311819" y="1938713"/>
                  <a:pt x="1370822" y="1879080"/>
                  <a:pt x="1444267" y="1878451"/>
                </a:cubicBezTo>
                <a:cubicBezTo>
                  <a:pt x="1517711" y="1878451"/>
                  <a:pt x="1577350" y="1937454"/>
                  <a:pt x="1577350" y="2010899"/>
                </a:cubicBezTo>
                <a:cubicBezTo>
                  <a:pt x="1577350" y="2084343"/>
                  <a:pt x="1518341" y="2143982"/>
                  <a:pt x="1444896" y="2143982"/>
                </a:cubicBezTo>
                <a:close/>
                <a:moveTo>
                  <a:pt x="400419" y="2176057"/>
                </a:moveTo>
                <a:cubicBezTo>
                  <a:pt x="361499" y="2176057"/>
                  <a:pt x="329482" y="2144669"/>
                  <a:pt x="329482" y="2105743"/>
                </a:cubicBezTo>
                <a:cubicBezTo>
                  <a:pt x="328859" y="2066824"/>
                  <a:pt x="360870" y="2034807"/>
                  <a:pt x="399796" y="2034807"/>
                </a:cubicBezTo>
                <a:cubicBezTo>
                  <a:pt x="438715" y="2034184"/>
                  <a:pt x="470732" y="2066194"/>
                  <a:pt x="470732" y="2105120"/>
                </a:cubicBezTo>
                <a:cubicBezTo>
                  <a:pt x="471355" y="2144040"/>
                  <a:pt x="439345" y="2176057"/>
                  <a:pt x="400419" y="2176057"/>
                </a:cubicBezTo>
                <a:close/>
                <a:moveTo>
                  <a:pt x="1818721" y="2193212"/>
                </a:moveTo>
                <a:cubicBezTo>
                  <a:pt x="1753437" y="2193212"/>
                  <a:pt x="1700077" y="2140481"/>
                  <a:pt x="1700077" y="2075197"/>
                </a:cubicBezTo>
                <a:cubicBezTo>
                  <a:pt x="1700077" y="2009914"/>
                  <a:pt x="1752808" y="1957183"/>
                  <a:pt x="1818091" y="1956554"/>
                </a:cubicBezTo>
                <a:cubicBezTo>
                  <a:pt x="1883375" y="1956554"/>
                  <a:pt x="1936106" y="2009284"/>
                  <a:pt x="1936735" y="2074568"/>
                </a:cubicBezTo>
                <a:cubicBezTo>
                  <a:pt x="1936735" y="2139852"/>
                  <a:pt x="1884005" y="2193212"/>
                  <a:pt x="1818721" y="2193212"/>
                </a:cubicBezTo>
                <a:close/>
                <a:moveTo>
                  <a:pt x="3527730" y="2203544"/>
                </a:moveTo>
                <a:cubicBezTo>
                  <a:pt x="3492882" y="2203544"/>
                  <a:pt x="3463022" y="2173685"/>
                  <a:pt x="3463022" y="2138863"/>
                </a:cubicBezTo>
                <a:cubicBezTo>
                  <a:pt x="3463022" y="2101521"/>
                  <a:pt x="3492882" y="2071663"/>
                  <a:pt x="3525236" y="2074157"/>
                </a:cubicBezTo>
                <a:cubicBezTo>
                  <a:pt x="3562554" y="2074157"/>
                  <a:pt x="3592414" y="2101521"/>
                  <a:pt x="3592414" y="2138863"/>
                </a:cubicBezTo>
                <a:cubicBezTo>
                  <a:pt x="3592414" y="2173685"/>
                  <a:pt x="3565049" y="2203544"/>
                  <a:pt x="3527730" y="2203544"/>
                </a:cubicBezTo>
                <a:close/>
                <a:moveTo>
                  <a:pt x="2183507" y="2245449"/>
                </a:moveTo>
                <a:cubicBezTo>
                  <a:pt x="2126385" y="2245449"/>
                  <a:pt x="2079306" y="2198993"/>
                  <a:pt x="2079306" y="2141871"/>
                </a:cubicBezTo>
                <a:cubicBezTo>
                  <a:pt x="2079306" y="2084120"/>
                  <a:pt x="2125756" y="2037670"/>
                  <a:pt x="2182884" y="2037670"/>
                </a:cubicBezTo>
                <a:cubicBezTo>
                  <a:pt x="2240006" y="2037670"/>
                  <a:pt x="2287085" y="2083491"/>
                  <a:pt x="2287085" y="2141242"/>
                </a:cubicBezTo>
                <a:cubicBezTo>
                  <a:pt x="2287085" y="2198370"/>
                  <a:pt x="2240629" y="2245449"/>
                  <a:pt x="2183507" y="2245449"/>
                </a:cubicBezTo>
                <a:close/>
                <a:moveTo>
                  <a:pt x="797472" y="2266190"/>
                </a:moveTo>
                <a:cubicBezTo>
                  <a:pt x="737840" y="2266190"/>
                  <a:pt x="689508" y="2217858"/>
                  <a:pt x="688879" y="2158219"/>
                </a:cubicBezTo>
                <a:cubicBezTo>
                  <a:pt x="688879" y="2097958"/>
                  <a:pt x="737217" y="2048997"/>
                  <a:pt x="796849" y="2049626"/>
                </a:cubicBezTo>
                <a:cubicBezTo>
                  <a:pt x="856482" y="2049626"/>
                  <a:pt x="905443" y="2097335"/>
                  <a:pt x="905443" y="2157596"/>
                </a:cubicBezTo>
                <a:cubicBezTo>
                  <a:pt x="906072" y="2217229"/>
                  <a:pt x="857111" y="2266190"/>
                  <a:pt x="797472" y="2266190"/>
                </a:cubicBezTo>
                <a:close/>
                <a:moveTo>
                  <a:pt x="2541517" y="2307910"/>
                </a:moveTo>
                <a:cubicBezTo>
                  <a:pt x="2487529" y="2307910"/>
                  <a:pt x="2443590" y="2264594"/>
                  <a:pt x="2443590" y="2210612"/>
                </a:cubicBezTo>
                <a:cubicBezTo>
                  <a:pt x="2443590" y="2156630"/>
                  <a:pt x="2486900" y="2113314"/>
                  <a:pt x="2540888" y="2113314"/>
                </a:cubicBezTo>
                <a:cubicBezTo>
                  <a:pt x="2594247" y="2112685"/>
                  <a:pt x="2638186" y="2156001"/>
                  <a:pt x="2638186" y="2209983"/>
                </a:cubicBezTo>
                <a:cubicBezTo>
                  <a:pt x="2638809" y="2263971"/>
                  <a:pt x="2594870" y="2307910"/>
                  <a:pt x="2541517" y="2307910"/>
                </a:cubicBezTo>
                <a:close/>
                <a:moveTo>
                  <a:pt x="1178716" y="2345391"/>
                </a:moveTo>
                <a:cubicBezTo>
                  <a:pt x="1109039" y="2345391"/>
                  <a:pt x="1052545" y="2289520"/>
                  <a:pt x="1051916" y="2219837"/>
                </a:cubicBezTo>
                <a:cubicBezTo>
                  <a:pt x="1051287" y="2150160"/>
                  <a:pt x="1107781" y="2093666"/>
                  <a:pt x="1178093" y="2093037"/>
                </a:cubicBezTo>
                <a:cubicBezTo>
                  <a:pt x="1247141" y="2092408"/>
                  <a:pt x="1304270" y="2148902"/>
                  <a:pt x="1304270" y="2218585"/>
                </a:cubicBezTo>
                <a:cubicBezTo>
                  <a:pt x="1304270" y="2288262"/>
                  <a:pt x="1248399" y="2345391"/>
                  <a:pt x="1178716" y="2345391"/>
                </a:cubicBezTo>
                <a:close/>
                <a:moveTo>
                  <a:pt x="2892874" y="2351999"/>
                </a:moveTo>
                <a:cubicBezTo>
                  <a:pt x="2853954" y="2351999"/>
                  <a:pt x="2821938" y="2320611"/>
                  <a:pt x="2821938" y="2281685"/>
                </a:cubicBezTo>
                <a:cubicBezTo>
                  <a:pt x="2821938" y="2242136"/>
                  <a:pt x="2853325" y="2210126"/>
                  <a:pt x="2892244" y="2210749"/>
                </a:cubicBezTo>
                <a:cubicBezTo>
                  <a:pt x="2931164" y="2210749"/>
                  <a:pt x="2963180" y="2242136"/>
                  <a:pt x="2963180" y="2281062"/>
                </a:cubicBezTo>
                <a:cubicBezTo>
                  <a:pt x="2963180" y="2319982"/>
                  <a:pt x="2931793" y="2351999"/>
                  <a:pt x="2892874" y="2351999"/>
                </a:cubicBezTo>
                <a:close/>
                <a:moveTo>
                  <a:pt x="142242" y="2373807"/>
                </a:moveTo>
                <a:cubicBezTo>
                  <a:pt x="105273" y="2373807"/>
                  <a:pt x="77523" y="2346103"/>
                  <a:pt x="77523" y="2309134"/>
                </a:cubicBezTo>
                <a:cubicBezTo>
                  <a:pt x="77523" y="2272165"/>
                  <a:pt x="105273" y="2244415"/>
                  <a:pt x="142242" y="2244415"/>
                </a:cubicBezTo>
                <a:cubicBezTo>
                  <a:pt x="179211" y="2244415"/>
                  <a:pt x="206915" y="2272165"/>
                  <a:pt x="206915" y="2309134"/>
                </a:cubicBezTo>
                <a:cubicBezTo>
                  <a:pt x="206915" y="2346103"/>
                  <a:pt x="179211" y="2373807"/>
                  <a:pt x="142242" y="2373807"/>
                </a:cubicBezTo>
                <a:close/>
                <a:moveTo>
                  <a:pt x="3239341" y="2417946"/>
                </a:moveTo>
                <a:cubicBezTo>
                  <a:pt x="3204206" y="2417946"/>
                  <a:pt x="3175444" y="2389199"/>
                  <a:pt x="3175444" y="2354046"/>
                </a:cubicBezTo>
                <a:cubicBezTo>
                  <a:pt x="3175444" y="2317291"/>
                  <a:pt x="3204206" y="2288544"/>
                  <a:pt x="3239341" y="2288544"/>
                </a:cubicBezTo>
                <a:cubicBezTo>
                  <a:pt x="3276094" y="2286943"/>
                  <a:pt x="3304856" y="2317291"/>
                  <a:pt x="3304856" y="2352444"/>
                </a:cubicBezTo>
                <a:cubicBezTo>
                  <a:pt x="3304856" y="2389199"/>
                  <a:pt x="3276094" y="2417946"/>
                  <a:pt x="3239341" y="2417946"/>
                </a:cubicBezTo>
                <a:close/>
                <a:moveTo>
                  <a:pt x="1546948" y="2425634"/>
                </a:moveTo>
                <a:cubicBezTo>
                  <a:pt x="1469112" y="2425634"/>
                  <a:pt x="1405710" y="2363484"/>
                  <a:pt x="1405710" y="2285648"/>
                </a:cubicBezTo>
                <a:cubicBezTo>
                  <a:pt x="1405081" y="2208435"/>
                  <a:pt x="1467853" y="2145039"/>
                  <a:pt x="1546319" y="2144410"/>
                </a:cubicBezTo>
                <a:cubicBezTo>
                  <a:pt x="1623533" y="2144410"/>
                  <a:pt x="1686928" y="2207182"/>
                  <a:pt x="1686928" y="2284396"/>
                </a:cubicBezTo>
                <a:cubicBezTo>
                  <a:pt x="1686928" y="2362232"/>
                  <a:pt x="1624785" y="2425634"/>
                  <a:pt x="1546948" y="2425634"/>
                </a:cubicBezTo>
                <a:close/>
                <a:moveTo>
                  <a:pt x="534410" y="2430227"/>
                </a:moveTo>
                <a:cubicBezTo>
                  <a:pt x="498648" y="2431281"/>
                  <a:pt x="469201" y="2401833"/>
                  <a:pt x="469201" y="2366070"/>
                </a:cubicBezTo>
                <a:cubicBezTo>
                  <a:pt x="469201" y="2330307"/>
                  <a:pt x="498648" y="2300859"/>
                  <a:pt x="533356" y="2299805"/>
                </a:cubicBezTo>
                <a:cubicBezTo>
                  <a:pt x="569119" y="2299805"/>
                  <a:pt x="598576" y="2329253"/>
                  <a:pt x="598576" y="2365016"/>
                </a:cubicBezTo>
                <a:cubicBezTo>
                  <a:pt x="599620" y="2400779"/>
                  <a:pt x="570173" y="2430227"/>
                  <a:pt x="534410" y="2430227"/>
                </a:cubicBezTo>
                <a:close/>
                <a:moveTo>
                  <a:pt x="1905614" y="2467574"/>
                </a:moveTo>
                <a:cubicBezTo>
                  <a:pt x="1842841" y="2467574"/>
                  <a:pt x="1791369" y="2416725"/>
                  <a:pt x="1791369" y="2353953"/>
                </a:cubicBezTo>
                <a:cubicBezTo>
                  <a:pt x="1791369" y="2291180"/>
                  <a:pt x="1842218" y="2240338"/>
                  <a:pt x="1904991" y="2239709"/>
                </a:cubicBezTo>
                <a:cubicBezTo>
                  <a:pt x="1967764" y="2239709"/>
                  <a:pt x="2019236" y="2290557"/>
                  <a:pt x="2019236" y="2353330"/>
                </a:cubicBezTo>
                <a:cubicBezTo>
                  <a:pt x="2019236" y="2416102"/>
                  <a:pt x="1968387" y="2467574"/>
                  <a:pt x="1905614" y="2467574"/>
                </a:cubicBezTo>
                <a:close/>
                <a:moveTo>
                  <a:pt x="3584069" y="2490261"/>
                </a:moveTo>
                <a:cubicBezTo>
                  <a:pt x="3547350" y="2490261"/>
                  <a:pt x="3516710" y="2459615"/>
                  <a:pt x="3516710" y="2422889"/>
                </a:cubicBezTo>
                <a:cubicBezTo>
                  <a:pt x="3516710" y="2386102"/>
                  <a:pt x="3541210" y="2355457"/>
                  <a:pt x="3584069" y="2361598"/>
                </a:cubicBezTo>
                <a:cubicBezTo>
                  <a:pt x="3620849" y="2355457"/>
                  <a:pt x="3651489" y="2386102"/>
                  <a:pt x="3651489" y="2422889"/>
                </a:cubicBezTo>
                <a:cubicBezTo>
                  <a:pt x="3651489" y="2459615"/>
                  <a:pt x="3620849" y="2490261"/>
                  <a:pt x="3584069" y="2490261"/>
                </a:cubicBezTo>
                <a:close/>
                <a:moveTo>
                  <a:pt x="908031" y="2511858"/>
                </a:moveTo>
                <a:cubicBezTo>
                  <a:pt x="861582" y="2512487"/>
                  <a:pt x="823917" y="2474822"/>
                  <a:pt x="823917" y="2428372"/>
                </a:cubicBezTo>
                <a:cubicBezTo>
                  <a:pt x="823917" y="2381294"/>
                  <a:pt x="861582" y="2343629"/>
                  <a:pt x="907402" y="2344258"/>
                </a:cubicBezTo>
                <a:cubicBezTo>
                  <a:pt x="953852" y="2343629"/>
                  <a:pt x="991517" y="2381294"/>
                  <a:pt x="991517" y="2427743"/>
                </a:cubicBezTo>
                <a:cubicBezTo>
                  <a:pt x="992146" y="2473569"/>
                  <a:pt x="954481" y="2511858"/>
                  <a:pt x="908031" y="2511858"/>
                </a:cubicBezTo>
                <a:close/>
                <a:moveTo>
                  <a:pt x="2257925" y="2532041"/>
                </a:moveTo>
                <a:cubicBezTo>
                  <a:pt x="2198293" y="2532041"/>
                  <a:pt x="2149332" y="2483709"/>
                  <a:pt x="2149332" y="2424070"/>
                </a:cubicBezTo>
                <a:cubicBezTo>
                  <a:pt x="2149332" y="2363815"/>
                  <a:pt x="2197670" y="2314848"/>
                  <a:pt x="2257303" y="2315477"/>
                </a:cubicBezTo>
                <a:cubicBezTo>
                  <a:pt x="2316935" y="2315477"/>
                  <a:pt x="2365896" y="2363815"/>
                  <a:pt x="2365896" y="2423447"/>
                </a:cubicBezTo>
                <a:cubicBezTo>
                  <a:pt x="2365896" y="2483080"/>
                  <a:pt x="2317564" y="2532041"/>
                  <a:pt x="2257925" y="2532041"/>
                </a:cubicBezTo>
                <a:close/>
                <a:moveTo>
                  <a:pt x="2605089" y="2593836"/>
                </a:moveTo>
                <a:cubicBezTo>
                  <a:pt x="2551101" y="2594465"/>
                  <a:pt x="2506532" y="2550525"/>
                  <a:pt x="2506532" y="2495907"/>
                </a:cubicBezTo>
                <a:cubicBezTo>
                  <a:pt x="2505903" y="2441295"/>
                  <a:pt x="2549849" y="2396726"/>
                  <a:pt x="2603831" y="2397355"/>
                </a:cubicBezTo>
                <a:cubicBezTo>
                  <a:pt x="2658442" y="2396726"/>
                  <a:pt x="2702382" y="2440672"/>
                  <a:pt x="2703011" y="2495284"/>
                </a:cubicBezTo>
                <a:cubicBezTo>
                  <a:pt x="2703011" y="2549266"/>
                  <a:pt x="2659071" y="2593836"/>
                  <a:pt x="2605089" y="2593836"/>
                </a:cubicBezTo>
                <a:close/>
                <a:moveTo>
                  <a:pt x="1270771" y="2636852"/>
                </a:moveTo>
                <a:cubicBezTo>
                  <a:pt x="1192929" y="2636852"/>
                  <a:pt x="1130156" y="2574702"/>
                  <a:pt x="1129533" y="2496866"/>
                </a:cubicBezTo>
                <a:cubicBezTo>
                  <a:pt x="1128904" y="2419659"/>
                  <a:pt x="1191677" y="2356257"/>
                  <a:pt x="1269513" y="2355628"/>
                </a:cubicBezTo>
                <a:cubicBezTo>
                  <a:pt x="1347356" y="2355628"/>
                  <a:pt x="1410128" y="2417771"/>
                  <a:pt x="1410751" y="2495614"/>
                </a:cubicBezTo>
                <a:cubicBezTo>
                  <a:pt x="1410751" y="2573450"/>
                  <a:pt x="1348608" y="2636852"/>
                  <a:pt x="1270771" y="2636852"/>
                </a:cubicBezTo>
                <a:close/>
                <a:moveTo>
                  <a:pt x="277313" y="2646417"/>
                </a:moveTo>
                <a:cubicBezTo>
                  <a:pt x="221885" y="2646417"/>
                  <a:pt x="203348" y="2609490"/>
                  <a:pt x="203348" y="2572380"/>
                </a:cubicBezTo>
                <a:cubicBezTo>
                  <a:pt x="203348" y="2535454"/>
                  <a:pt x="221885" y="2498344"/>
                  <a:pt x="277313" y="2498344"/>
                </a:cubicBezTo>
                <a:cubicBezTo>
                  <a:pt x="295850" y="2498344"/>
                  <a:pt x="332740" y="2535454"/>
                  <a:pt x="332740" y="2572380"/>
                </a:cubicBezTo>
                <a:cubicBezTo>
                  <a:pt x="332740" y="2609490"/>
                  <a:pt x="314387" y="2646417"/>
                  <a:pt x="277313" y="2646417"/>
                </a:cubicBezTo>
                <a:close/>
                <a:moveTo>
                  <a:pt x="2947403" y="2651462"/>
                </a:moveTo>
                <a:cubicBezTo>
                  <a:pt x="2902213" y="2651462"/>
                  <a:pt x="2864549" y="2614433"/>
                  <a:pt x="2864549" y="2568607"/>
                </a:cubicBezTo>
                <a:cubicBezTo>
                  <a:pt x="2864549" y="2522788"/>
                  <a:pt x="2901584" y="2485124"/>
                  <a:pt x="2946780" y="2485124"/>
                </a:cubicBezTo>
                <a:cubicBezTo>
                  <a:pt x="2992599" y="2485124"/>
                  <a:pt x="3030263" y="2522159"/>
                  <a:pt x="3030263" y="2567978"/>
                </a:cubicBezTo>
                <a:cubicBezTo>
                  <a:pt x="3030263" y="2613803"/>
                  <a:pt x="2993228" y="2651462"/>
                  <a:pt x="2947403" y="2651462"/>
                </a:cubicBezTo>
                <a:close/>
                <a:moveTo>
                  <a:pt x="633913" y="2703910"/>
                </a:moveTo>
                <a:cubicBezTo>
                  <a:pt x="598135" y="2703910"/>
                  <a:pt x="568630" y="2674405"/>
                  <a:pt x="568630" y="2638626"/>
                </a:cubicBezTo>
                <a:cubicBezTo>
                  <a:pt x="568630" y="2602218"/>
                  <a:pt x="597506" y="2573342"/>
                  <a:pt x="633913" y="2573342"/>
                </a:cubicBezTo>
                <a:cubicBezTo>
                  <a:pt x="669692" y="2573342"/>
                  <a:pt x="699197" y="2602847"/>
                  <a:pt x="699197" y="2638626"/>
                </a:cubicBezTo>
                <a:cubicBezTo>
                  <a:pt x="699197" y="2674405"/>
                  <a:pt x="669692" y="2703910"/>
                  <a:pt x="633913" y="2703910"/>
                </a:cubicBezTo>
                <a:close/>
                <a:moveTo>
                  <a:pt x="3287637" y="2706134"/>
                </a:moveTo>
                <a:cubicBezTo>
                  <a:pt x="3252019" y="2706134"/>
                  <a:pt x="3222340" y="2677645"/>
                  <a:pt x="3222340" y="2642027"/>
                </a:cubicBezTo>
                <a:cubicBezTo>
                  <a:pt x="3222340" y="2605219"/>
                  <a:pt x="3250829" y="2576730"/>
                  <a:pt x="3286447" y="2576730"/>
                </a:cubicBezTo>
                <a:cubicBezTo>
                  <a:pt x="3322064" y="2576730"/>
                  <a:pt x="3351744" y="2605219"/>
                  <a:pt x="3351744" y="2640837"/>
                </a:cubicBezTo>
                <a:cubicBezTo>
                  <a:pt x="3351744" y="2676455"/>
                  <a:pt x="3323254" y="2706134"/>
                  <a:pt x="3287637" y="2706134"/>
                </a:cubicBezTo>
                <a:close/>
                <a:moveTo>
                  <a:pt x="1623513" y="2706144"/>
                </a:moveTo>
                <a:cubicBezTo>
                  <a:pt x="1546303" y="2706773"/>
                  <a:pt x="1483529" y="2644628"/>
                  <a:pt x="1483529" y="2567419"/>
                </a:cubicBezTo>
                <a:cubicBezTo>
                  <a:pt x="1482900" y="2490834"/>
                  <a:pt x="1545045" y="2428060"/>
                  <a:pt x="1622260" y="2427431"/>
                </a:cubicBezTo>
                <a:cubicBezTo>
                  <a:pt x="1699470" y="2427431"/>
                  <a:pt x="1762244" y="2488946"/>
                  <a:pt x="1762244" y="2566161"/>
                </a:cubicBezTo>
                <a:cubicBezTo>
                  <a:pt x="1762873" y="2643370"/>
                  <a:pt x="1700728" y="2706144"/>
                  <a:pt x="1623513" y="2706144"/>
                </a:cubicBezTo>
                <a:close/>
                <a:moveTo>
                  <a:pt x="1969815" y="2759158"/>
                </a:moveTo>
                <a:cubicBezTo>
                  <a:pt x="1903274" y="2759787"/>
                  <a:pt x="1848663" y="2705799"/>
                  <a:pt x="1848663" y="2639263"/>
                </a:cubicBezTo>
                <a:cubicBezTo>
                  <a:pt x="1848663" y="2572721"/>
                  <a:pt x="1902645" y="2518738"/>
                  <a:pt x="1968557" y="2518109"/>
                </a:cubicBezTo>
                <a:cubicBezTo>
                  <a:pt x="2035098" y="2517480"/>
                  <a:pt x="2089709" y="2571468"/>
                  <a:pt x="2089709" y="2638004"/>
                </a:cubicBezTo>
                <a:cubicBezTo>
                  <a:pt x="2090338" y="2704547"/>
                  <a:pt x="2036350" y="2759158"/>
                  <a:pt x="1969815" y="2759158"/>
                </a:cubicBezTo>
                <a:close/>
                <a:moveTo>
                  <a:pt x="3623650" y="2779468"/>
                </a:moveTo>
                <a:cubicBezTo>
                  <a:pt x="3587248" y="2779468"/>
                  <a:pt x="3558954" y="2751174"/>
                  <a:pt x="3558954" y="2714772"/>
                </a:cubicBezTo>
                <a:cubicBezTo>
                  <a:pt x="3558954" y="2678371"/>
                  <a:pt x="3587248" y="2650076"/>
                  <a:pt x="3623650" y="2650076"/>
                </a:cubicBezTo>
                <a:cubicBezTo>
                  <a:pt x="3660052" y="2650076"/>
                  <a:pt x="3688346" y="2678371"/>
                  <a:pt x="3688346" y="2714772"/>
                </a:cubicBezTo>
                <a:cubicBezTo>
                  <a:pt x="3688346" y="2751174"/>
                  <a:pt x="3660052" y="2779468"/>
                  <a:pt x="3623650" y="2779468"/>
                </a:cubicBezTo>
                <a:close/>
                <a:moveTo>
                  <a:pt x="2311272" y="2825045"/>
                </a:moveTo>
                <a:cubicBezTo>
                  <a:pt x="2248499" y="2825045"/>
                  <a:pt x="2197027" y="2774196"/>
                  <a:pt x="2197027" y="2711423"/>
                </a:cubicBezTo>
                <a:cubicBezTo>
                  <a:pt x="2197027" y="2648650"/>
                  <a:pt x="2247876" y="2597178"/>
                  <a:pt x="2310649" y="2597178"/>
                </a:cubicBezTo>
                <a:cubicBezTo>
                  <a:pt x="2373422" y="2597178"/>
                  <a:pt x="2424894" y="2648027"/>
                  <a:pt x="2424894" y="2710800"/>
                </a:cubicBezTo>
                <a:cubicBezTo>
                  <a:pt x="2424894" y="2773573"/>
                  <a:pt x="2374045" y="2825045"/>
                  <a:pt x="2311272" y="2825045"/>
                </a:cubicBezTo>
                <a:close/>
                <a:moveTo>
                  <a:pt x="988573" y="2825307"/>
                </a:moveTo>
                <a:cubicBezTo>
                  <a:pt x="923919" y="2825936"/>
                  <a:pt x="871818" y="2773835"/>
                  <a:pt x="871818" y="2709804"/>
                </a:cubicBezTo>
                <a:cubicBezTo>
                  <a:pt x="871189" y="2645779"/>
                  <a:pt x="923290" y="2593678"/>
                  <a:pt x="987321" y="2593049"/>
                </a:cubicBezTo>
                <a:cubicBezTo>
                  <a:pt x="1051975" y="2592420"/>
                  <a:pt x="1104076" y="2644521"/>
                  <a:pt x="1104076" y="2708552"/>
                </a:cubicBezTo>
                <a:cubicBezTo>
                  <a:pt x="1104705" y="2772577"/>
                  <a:pt x="1052604" y="2825307"/>
                  <a:pt x="988573" y="2825307"/>
                </a:cubicBezTo>
                <a:close/>
                <a:moveTo>
                  <a:pt x="0" y="2845772"/>
                </a:moveTo>
                <a:lnTo>
                  <a:pt x="0" y="2721356"/>
                </a:lnTo>
                <a:lnTo>
                  <a:pt x="23444" y="2717609"/>
                </a:lnTo>
                <a:cubicBezTo>
                  <a:pt x="48507" y="2721785"/>
                  <a:pt x="68498" y="2748532"/>
                  <a:pt x="68498" y="2775179"/>
                </a:cubicBezTo>
                <a:cubicBezTo>
                  <a:pt x="68498" y="2801959"/>
                  <a:pt x="48507" y="2828639"/>
                  <a:pt x="23444" y="2840306"/>
                </a:cubicBezTo>
                <a:close/>
                <a:moveTo>
                  <a:pt x="2649495" y="2891271"/>
                </a:moveTo>
                <a:cubicBezTo>
                  <a:pt x="2589863" y="2891900"/>
                  <a:pt x="2541526" y="2844191"/>
                  <a:pt x="2541526" y="2784557"/>
                </a:cubicBezTo>
                <a:cubicBezTo>
                  <a:pt x="2541526" y="2724924"/>
                  <a:pt x="2589234" y="2676585"/>
                  <a:pt x="2648237" y="2677214"/>
                </a:cubicBezTo>
                <a:cubicBezTo>
                  <a:pt x="2707869" y="2676585"/>
                  <a:pt x="2756206" y="2724924"/>
                  <a:pt x="2756206" y="2783928"/>
                </a:cubicBezTo>
                <a:cubicBezTo>
                  <a:pt x="2756206" y="2842939"/>
                  <a:pt x="2708498" y="2891271"/>
                  <a:pt x="2649495" y="2891271"/>
                </a:cubicBezTo>
                <a:close/>
                <a:moveTo>
                  <a:pt x="352573" y="2917466"/>
                </a:moveTo>
                <a:cubicBezTo>
                  <a:pt x="317276" y="2917466"/>
                  <a:pt x="287875" y="2890014"/>
                  <a:pt x="287875" y="2852775"/>
                </a:cubicBezTo>
                <a:cubicBezTo>
                  <a:pt x="287875" y="2817483"/>
                  <a:pt x="317276" y="2788085"/>
                  <a:pt x="350608" y="2786120"/>
                </a:cubicBezTo>
                <a:cubicBezTo>
                  <a:pt x="387870" y="2786120"/>
                  <a:pt x="417271" y="2815518"/>
                  <a:pt x="417271" y="2850810"/>
                </a:cubicBezTo>
                <a:cubicBezTo>
                  <a:pt x="417271" y="2888068"/>
                  <a:pt x="389835" y="2917466"/>
                  <a:pt x="352573" y="2917466"/>
                </a:cubicBezTo>
                <a:close/>
                <a:moveTo>
                  <a:pt x="1334437" y="2924768"/>
                </a:moveTo>
                <a:cubicBezTo>
                  <a:pt x="1254718" y="2925397"/>
                  <a:pt x="1190063" y="2861366"/>
                  <a:pt x="1190063" y="2781647"/>
                </a:cubicBezTo>
                <a:cubicBezTo>
                  <a:pt x="1189434" y="2701922"/>
                  <a:pt x="1254089" y="2637890"/>
                  <a:pt x="1333184" y="2637267"/>
                </a:cubicBezTo>
                <a:cubicBezTo>
                  <a:pt x="1412909" y="2636638"/>
                  <a:pt x="1477564" y="2700664"/>
                  <a:pt x="1477564" y="2780389"/>
                </a:cubicBezTo>
                <a:cubicBezTo>
                  <a:pt x="1478193" y="2860113"/>
                  <a:pt x="1414162" y="2924768"/>
                  <a:pt x="1334437" y="2924768"/>
                </a:cubicBezTo>
                <a:close/>
                <a:moveTo>
                  <a:pt x="2983970" y="2941403"/>
                </a:moveTo>
                <a:cubicBezTo>
                  <a:pt x="2938780" y="2941403"/>
                  <a:pt x="2901116" y="2904374"/>
                  <a:pt x="2901116" y="2858549"/>
                </a:cubicBezTo>
                <a:cubicBezTo>
                  <a:pt x="2901116" y="2812730"/>
                  <a:pt x="2937522" y="2775694"/>
                  <a:pt x="2983347" y="2775065"/>
                </a:cubicBezTo>
                <a:cubicBezTo>
                  <a:pt x="3029166" y="2775065"/>
                  <a:pt x="3066830" y="2812100"/>
                  <a:pt x="3066830" y="2857920"/>
                </a:cubicBezTo>
                <a:cubicBezTo>
                  <a:pt x="3066830" y="2903745"/>
                  <a:pt x="3029795" y="2941403"/>
                  <a:pt x="2983970" y="2941403"/>
                </a:cubicBezTo>
                <a:close/>
                <a:moveTo>
                  <a:pt x="697583" y="2988118"/>
                </a:moveTo>
                <a:cubicBezTo>
                  <a:pt x="662435" y="2988118"/>
                  <a:pt x="632883" y="2959366"/>
                  <a:pt x="632883" y="2923425"/>
                </a:cubicBezTo>
                <a:cubicBezTo>
                  <a:pt x="632883" y="2887475"/>
                  <a:pt x="661634" y="2857922"/>
                  <a:pt x="697583" y="2858723"/>
                </a:cubicBezTo>
                <a:cubicBezTo>
                  <a:pt x="733524" y="2858723"/>
                  <a:pt x="762275" y="2887475"/>
                  <a:pt x="762275" y="2923425"/>
                </a:cubicBezTo>
                <a:cubicBezTo>
                  <a:pt x="762275" y="2958566"/>
                  <a:pt x="733524" y="2988118"/>
                  <a:pt x="697583" y="2988118"/>
                </a:cubicBezTo>
                <a:close/>
                <a:moveTo>
                  <a:pt x="1674708" y="2993502"/>
                </a:moveTo>
                <a:cubicBezTo>
                  <a:pt x="1597498" y="2994131"/>
                  <a:pt x="1535347" y="2931986"/>
                  <a:pt x="1534724" y="2854771"/>
                </a:cubicBezTo>
                <a:cubicBezTo>
                  <a:pt x="1534095" y="2777562"/>
                  <a:pt x="1596240" y="2715417"/>
                  <a:pt x="1673455" y="2714787"/>
                </a:cubicBezTo>
                <a:cubicBezTo>
                  <a:pt x="1750665" y="2714158"/>
                  <a:pt x="1812816" y="2776303"/>
                  <a:pt x="1813439" y="2853519"/>
                </a:cubicBezTo>
                <a:cubicBezTo>
                  <a:pt x="1814068" y="2930728"/>
                  <a:pt x="1751923" y="2993502"/>
                  <a:pt x="1674708" y="2993502"/>
                </a:cubicBezTo>
                <a:close/>
                <a:moveTo>
                  <a:pt x="3316804" y="2997210"/>
                </a:moveTo>
                <a:cubicBezTo>
                  <a:pt x="3281043" y="2997210"/>
                  <a:pt x="3251597" y="2967765"/>
                  <a:pt x="3251597" y="2932006"/>
                </a:cubicBezTo>
                <a:cubicBezTo>
                  <a:pt x="3251597" y="2896246"/>
                  <a:pt x="3281043" y="2867855"/>
                  <a:pt x="3315750" y="2866801"/>
                </a:cubicBezTo>
                <a:cubicBezTo>
                  <a:pt x="3351512" y="2866801"/>
                  <a:pt x="3380958" y="2896246"/>
                  <a:pt x="3380958" y="2932006"/>
                </a:cubicBezTo>
                <a:cubicBezTo>
                  <a:pt x="3382012" y="2967765"/>
                  <a:pt x="3352566" y="2997210"/>
                  <a:pt x="3316804" y="2997210"/>
                </a:cubicBezTo>
                <a:close/>
                <a:moveTo>
                  <a:pt x="2010151" y="3054611"/>
                </a:moveTo>
                <a:cubicBezTo>
                  <a:pt x="1940474" y="3054611"/>
                  <a:pt x="1883351" y="2998111"/>
                  <a:pt x="1882722" y="2927806"/>
                </a:cubicBezTo>
                <a:cubicBezTo>
                  <a:pt x="1882722" y="2857500"/>
                  <a:pt x="1939216" y="2800377"/>
                  <a:pt x="2009528" y="2800377"/>
                </a:cubicBezTo>
                <a:cubicBezTo>
                  <a:pt x="2079833" y="2800377"/>
                  <a:pt x="2136956" y="2856871"/>
                  <a:pt x="2136956" y="2927183"/>
                </a:cubicBezTo>
                <a:cubicBezTo>
                  <a:pt x="2136956" y="2997488"/>
                  <a:pt x="2080456" y="3054611"/>
                  <a:pt x="2010151" y="3054611"/>
                </a:cubicBezTo>
                <a:close/>
                <a:moveTo>
                  <a:pt x="3646879" y="3070693"/>
                </a:moveTo>
                <a:cubicBezTo>
                  <a:pt x="3610477" y="3070693"/>
                  <a:pt x="3582183" y="3042399"/>
                  <a:pt x="3582183" y="3005997"/>
                </a:cubicBezTo>
                <a:cubicBezTo>
                  <a:pt x="3582183" y="2969596"/>
                  <a:pt x="3610477" y="2941301"/>
                  <a:pt x="3646879" y="2941301"/>
                </a:cubicBezTo>
                <a:cubicBezTo>
                  <a:pt x="3683281" y="2941301"/>
                  <a:pt x="3711575" y="2969596"/>
                  <a:pt x="3711575" y="3005997"/>
                </a:cubicBezTo>
                <a:cubicBezTo>
                  <a:pt x="3711575" y="3042399"/>
                  <a:pt x="3683281" y="3070693"/>
                  <a:pt x="3646879" y="3070693"/>
                </a:cubicBezTo>
                <a:close/>
                <a:moveTo>
                  <a:pt x="1035794" y="3104210"/>
                </a:moveTo>
                <a:cubicBezTo>
                  <a:pt x="976790" y="3104839"/>
                  <a:pt x="928452" y="3056500"/>
                  <a:pt x="928452" y="2997494"/>
                </a:cubicBezTo>
                <a:cubicBezTo>
                  <a:pt x="928452" y="2938489"/>
                  <a:pt x="976161" y="2890149"/>
                  <a:pt x="1034542" y="2890149"/>
                </a:cubicBezTo>
                <a:cubicBezTo>
                  <a:pt x="1094175" y="2889520"/>
                  <a:pt x="1142507" y="2937860"/>
                  <a:pt x="1142507" y="2996865"/>
                </a:cubicBezTo>
                <a:cubicBezTo>
                  <a:pt x="1143136" y="3055877"/>
                  <a:pt x="1094798" y="3104210"/>
                  <a:pt x="1035794" y="3104210"/>
                </a:cubicBezTo>
                <a:close/>
                <a:moveTo>
                  <a:pt x="2343103" y="3121058"/>
                </a:moveTo>
                <a:cubicBezTo>
                  <a:pt x="2277189" y="3121058"/>
                  <a:pt x="2223206" y="3067712"/>
                  <a:pt x="2223206" y="3001798"/>
                </a:cubicBezTo>
                <a:cubicBezTo>
                  <a:pt x="2223206" y="2935884"/>
                  <a:pt x="2276566" y="2882530"/>
                  <a:pt x="2342474" y="2881901"/>
                </a:cubicBezTo>
                <a:cubicBezTo>
                  <a:pt x="2408388" y="2881901"/>
                  <a:pt x="2462377" y="2935261"/>
                  <a:pt x="2462377" y="3001175"/>
                </a:cubicBezTo>
                <a:cubicBezTo>
                  <a:pt x="2462377" y="3067083"/>
                  <a:pt x="2409017" y="3121058"/>
                  <a:pt x="2343103" y="3121058"/>
                </a:cubicBezTo>
                <a:close/>
                <a:moveTo>
                  <a:pt x="72292" y="3142886"/>
                </a:moveTo>
                <a:cubicBezTo>
                  <a:pt x="43715" y="3142886"/>
                  <a:pt x="15139" y="3121454"/>
                  <a:pt x="2637" y="3094653"/>
                </a:cubicBezTo>
                <a:lnTo>
                  <a:pt x="0" y="3083381"/>
                </a:lnTo>
                <a:lnTo>
                  <a:pt x="0" y="3048404"/>
                </a:lnTo>
                <a:lnTo>
                  <a:pt x="2041" y="3038877"/>
                </a:lnTo>
                <a:cubicBezTo>
                  <a:pt x="12757" y="3012229"/>
                  <a:pt x="34190" y="2990783"/>
                  <a:pt x="34190" y="2990783"/>
                </a:cubicBezTo>
                <a:cubicBezTo>
                  <a:pt x="72292" y="2990783"/>
                  <a:pt x="110017" y="3028909"/>
                  <a:pt x="110017" y="3066658"/>
                </a:cubicBezTo>
                <a:cubicBezTo>
                  <a:pt x="148119" y="3104784"/>
                  <a:pt x="110017" y="3142886"/>
                  <a:pt x="72292" y="3142886"/>
                </a:cubicBezTo>
                <a:close/>
                <a:moveTo>
                  <a:pt x="2673484" y="3189399"/>
                </a:moveTo>
                <a:cubicBezTo>
                  <a:pt x="2610711" y="3189399"/>
                  <a:pt x="2559239" y="3138551"/>
                  <a:pt x="2559239" y="3075791"/>
                </a:cubicBezTo>
                <a:cubicBezTo>
                  <a:pt x="2558610" y="3013019"/>
                  <a:pt x="2610082" y="2961547"/>
                  <a:pt x="2672861" y="2961547"/>
                </a:cubicBezTo>
                <a:cubicBezTo>
                  <a:pt x="2735634" y="2961547"/>
                  <a:pt x="2786477" y="3012396"/>
                  <a:pt x="2787106" y="3075168"/>
                </a:cubicBezTo>
                <a:cubicBezTo>
                  <a:pt x="2787106" y="3137929"/>
                  <a:pt x="2736257" y="3189399"/>
                  <a:pt x="2673484" y="3189399"/>
                </a:cubicBezTo>
                <a:close/>
                <a:moveTo>
                  <a:pt x="395180" y="3204915"/>
                </a:moveTo>
                <a:cubicBezTo>
                  <a:pt x="361296" y="3204915"/>
                  <a:pt x="330469" y="3177181"/>
                  <a:pt x="330469" y="3140213"/>
                </a:cubicBezTo>
                <a:cubicBezTo>
                  <a:pt x="330469" y="3103257"/>
                  <a:pt x="361296" y="3075519"/>
                  <a:pt x="395180" y="3075519"/>
                </a:cubicBezTo>
                <a:cubicBezTo>
                  <a:pt x="432154" y="3075519"/>
                  <a:pt x="459892" y="3103257"/>
                  <a:pt x="459892" y="3140213"/>
                </a:cubicBezTo>
                <a:cubicBezTo>
                  <a:pt x="459892" y="3177181"/>
                  <a:pt x="432154" y="3204915"/>
                  <a:pt x="395180" y="3204915"/>
                </a:cubicBezTo>
                <a:close/>
                <a:moveTo>
                  <a:pt x="1369184" y="3216661"/>
                </a:moveTo>
                <a:cubicBezTo>
                  <a:pt x="1288839" y="3216661"/>
                  <a:pt x="1222928" y="3151377"/>
                  <a:pt x="1222928" y="3071054"/>
                </a:cubicBezTo>
                <a:cubicBezTo>
                  <a:pt x="1222928" y="2990708"/>
                  <a:pt x="1288210" y="2924797"/>
                  <a:pt x="1368555" y="2924797"/>
                </a:cubicBezTo>
                <a:cubicBezTo>
                  <a:pt x="1448906" y="2924797"/>
                  <a:pt x="1514811" y="2989450"/>
                  <a:pt x="1514811" y="3070425"/>
                </a:cubicBezTo>
                <a:cubicBezTo>
                  <a:pt x="1514811" y="3150753"/>
                  <a:pt x="1450159" y="3216661"/>
                  <a:pt x="1369184" y="3216661"/>
                </a:cubicBezTo>
                <a:close/>
                <a:moveTo>
                  <a:pt x="3001708" y="3240171"/>
                </a:moveTo>
                <a:cubicBezTo>
                  <a:pt x="2951489" y="3240171"/>
                  <a:pt x="2910689" y="3199994"/>
                  <a:pt x="2910689" y="3149775"/>
                </a:cubicBezTo>
                <a:cubicBezTo>
                  <a:pt x="2910689" y="3099563"/>
                  <a:pt x="2950866" y="3058763"/>
                  <a:pt x="3001079" y="3058763"/>
                </a:cubicBezTo>
                <a:cubicBezTo>
                  <a:pt x="3051298" y="3058763"/>
                  <a:pt x="3092104" y="3098940"/>
                  <a:pt x="3092104" y="3149152"/>
                </a:cubicBezTo>
                <a:cubicBezTo>
                  <a:pt x="3092104" y="3199365"/>
                  <a:pt x="3051927" y="3240171"/>
                  <a:pt x="3001708" y="3240171"/>
                </a:cubicBezTo>
                <a:close/>
                <a:moveTo>
                  <a:pt x="725348" y="3278863"/>
                </a:moveTo>
                <a:cubicBezTo>
                  <a:pt x="689399" y="3278863"/>
                  <a:pt x="659746" y="3250122"/>
                  <a:pt x="659746" y="3214185"/>
                </a:cubicBezTo>
                <a:cubicBezTo>
                  <a:pt x="659746" y="3178238"/>
                  <a:pt x="688498" y="3149489"/>
                  <a:pt x="724447" y="3149489"/>
                </a:cubicBezTo>
                <a:cubicBezTo>
                  <a:pt x="760387" y="3149489"/>
                  <a:pt x="790040" y="3178238"/>
                  <a:pt x="790040" y="3214185"/>
                </a:cubicBezTo>
                <a:cubicBezTo>
                  <a:pt x="790040" y="3249221"/>
                  <a:pt x="761288" y="3278863"/>
                  <a:pt x="725348" y="3278863"/>
                </a:cubicBezTo>
                <a:close/>
                <a:moveTo>
                  <a:pt x="3328550" y="3288358"/>
                </a:moveTo>
                <a:cubicBezTo>
                  <a:pt x="3292957" y="3288358"/>
                  <a:pt x="3263849" y="3259259"/>
                  <a:pt x="3263849" y="3223676"/>
                </a:cubicBezTo>
                <a:cubicBezTo>
                  <a:pt x="3263849" y="3188094"/>
                  <a:pt x="3292957" y="3158975"/>
                  <a:pt x="3328550" y="3158975"/>
                </a:cubicBezTo>
                <a:cubicBezTo>
                  <a:pt x="3364133" y="3158975"/>
                  <a:pt x="3393241" y="3188094"/>
                  <a:pt x="3393241" y="3223676"/>
                </a:cubicBezTo>
                <a:cubicBezTo>
                  <a:pt x="3393241" y="3259259"/>
                  <a:pt x="3364133" y="3288358"/>
                  <a:pt x="3328550" y="3288358"/>
                </a:cubicBezTo>
                <a:close/>
                <a:moveTo>
                  <a:pt x="2026923" y="3351864"/>
                </a:moveTo>
                <a:cubicBezTo>
                  <a:pt x="1954108" y="3351864"/>
                  <a:pt x="1894475" y="3292855"/>
                  <a:pt x="1893846" y="3219449"/>
                </a:cubicBezTo>
                <a:cubicBezTo>
                  <a:pt x="1893846" y="3146636"/>
                  <a:pt x="1952849" y="3087023"/>
                  <a:pt x="2026294" y="3086394"/>
                </a:cubicBezTo>
                <a:cubicBezTo>
                  <a:pt x="2099115" y="3086394"/>
                  <a:pt x="2159377" y="3145377"/>
                  <a:pt x="2159377" y="3218819"/>
                </a:cubicBezTo>
                <a:cubicBezTo>
                  <a:pt x="2159377" y="3292228"/>
                  <a:pt x="2100368" y="3351864"/>
                  <a:pt x="2026923" y="3351864"/>
                </a:cubicBezTo>
                <a:close/>
                <a:moveTo>
                  <a:pt x="3654191" y="3362788"/>
                </a:moveTo>
                <a:cubicBezTo>
                  <a:pt x="3617789" y="3362788"/>
                  <a:pt x="3589495" y="3334494"/>
                  <a:pt x="3589495" y="3298092"/>
                </a:cubicBezTo>
                <a:cubicBezTo>
                  <a:pt x="3589495" y="3265744"/>
                  <a:pt x="3617789" y="3233396"/>
                  <a:pt x="3654191" y="3233396"/>
                </a:cubicBezTo>
                <a:cubicBezTo>
                  <a:pt x="3690593" y="3233396"/>
                  <a:pt x="3718887" y="3261691"/>
                  <a:pt x="3718887" y="3298092"/>
                </a:cubicBezTo>
                <a:cubicBezTo>
                  <a:pt x="3718887" y="3334494"/>
                  <a:pt x="3690593" y="3362788"/>
                  <a:pt x="3654191" y="3362788"/>
                </a:cubicBezTo>
                <a:close/>
                <a:moveTo>
                  <a:pt x="1051281" y="3392217"/>
                </a:moveTo>
                <a:cubicBezTo>
                  <a:pt x="994159" y="3392843"/>
                  <a:pt x="947080" y="3346393"/>
                  <a:pt x="947080" y="3288654"/>
                </a:cubicBezTo>
                <a:cubicBezTo>
                  <a:pt x="947080" y="3230940"/>
                  <a:pt x="993530" y="3184495"/>
                  <a:pt x="1050652" y="3184495"/>
                </a:cubicBezTo>
                <a:cubicBezTo>
                  <a:pt x="1107780" y="3184495"/>
                  <a:pt x="1154859" y="3230318"/>
                  <a:pt x="1154859" y="3288026"/>
                </a:cubicBezTo>
                <a:cubicBezTo>
                  <a:pt x="1154859" y="3345148"/>
                  <a:pt x="1108403" y="3392217"/>
                  <a:pt x="1051281" y="3392217"/>
                </a:cubicBezTo>
                <a:close/>
                <a:moveTo>
                  <a:pt x="2353099" y="3417066"/>
                </a:moveTo>
                <a:cubicBezTo>
                  <a:pt x="2284675" y="3417066"/>
                  <a:pt x="2228804" y="3361827"/>
                  <a:pt x="2228804" y="3293408"/>
                </a:cubicBezTo>
                <a:cubicBezTo>
                  <a:pt x="2228804" y="3225018"/>
                  <a:pt x="2284046" y="3169149"/>
                  <a:pt x="2351841" y="3169149"/>
                </a:cubicBezTo>
                <a:cubicBezTo>
                  <a:pt x="2420265" y="3169149"/>
                  <a:pt x="2476130" y="3224388"/>
                  <a:pt x="2476130" y="3292781"/>
                </a:cubicBezTo>
                <a:cubicBezTo>
                  <a:pt x="2476759" y="3361204"/>
                  <a:pt x="2421517" y="3417066"/>
                  <a:pt x="2353099" y="3417066"/>
                </a:cubicBezTo>
                <a:close/>
                <a:moveTo>
                  <a:pt x="2677885" y="3484158"/>
                </a:moveTo>
                <a:cubicBezTo>
                  <a:pt x="2612600" y="3484158"/>
                  <a:pt x="2559868" y="3432063"/>
                  <a:pt x="2559868" y="3367413"/>
                </a:cubicBezTo>
                <a:cubicBezTo>
                  <a:pt x="2559239" y="3302131"/>
                  <a:pt x="2611970" y="3249427"/>
                  <a:pt x="2677255" y="3250056"/>
                </a:cubicBezTo>
                <a:cubicBezTo>
                  <a:pt x="2741911" y="3249427"/>
                  <a:pt x="2794643" y="3302131"/>
                  <a:pt x="2794643" y="3366783"/>
                </a:cubicBezTo>
                <a:cubicBezTo>
                  <a:pt x="2795272" y="3431439"/>
                  <a:pt x="2742541" y="3484158"/>
                  <a:pt x="2677885" y="3484158"/>
                </a:cubicBezTo>
                <a:close/>
                <a:moveTo>
                  <a:pt x="394316" y="3496489"/>
                </a:moveTo>
                <a:cubicBezTo>
                  <a:pt x="358356" y="3496489"/>
                  <a:pt x="329602" y="3467728"/>
                  <a:pt x="329602" y="3431820"/>
                </a:cubicBezTo>
                <a:cubicBezTo>
                  <a:pt x="329602" y="3395858"/>
                  <a:pt x="358356" y="3367113"/>
                  <a:pt x="394316" y="3367113"/>
                </a:cubicBezTo>
                <a:cubicBezTo>
                  <a:pt x="430240" y="3367113"/>
                  <a:pt x="458994" y="3395858"/>
                  <a:pt x="458994" y="3431820"/>
                </a:cubicBezTo>
                <a:cubicBezTo>
                  <a:pt x="458994" y="3467728"/>
                  <a:pt x="430240" y="3496489"/>
                  <a:pt x="394316" y="3496489"/>
                </a:cubicBezTo>
                <a:close/>
                <a:moveTo>
                  <a:pt x="1375639" y="3508269"/>
                </a:moveTo>
                <a:cubicBezTo>
                  <a:pt x="1295290" y="3508269"/>
                  <a:pt x="1229376" y="3442981"/>
                  <a:pt x="1229376" y="3362645"/>
                </a:cubicBezTo>
                <a:cubicBezTo>
                  <a:pt x="1228747" y="3281688"/>
                  <a:pt x="1294032" y="3216432"/>
                  <a:pt x="1374380" y="3216432"/>
                </a:cubicBezTo>
                <a:cubicBezTo>
                  <a:pt x="1455364" y="3216432"/>
                  <a:pt x="1520649" y="3281688"/>
                  <a:pt x="1521272" y="3362017"/>
                </a:cubicBezTo>
                <a:cubicBezTo>
                  <a:pt x="1521272" y="3442363"/>
                  <a:pt x="1455987" y="3507638"/>
                  <a:pt x="1375639" y="3508269"/>
                </a:cubicBezTo>
                <a:close/>
                <a:moveTo>
                  <a:pt x="3000847" y="3532223"/>
                </a:moveTo>
                <a:cubicBezTo>
                  <a:pt x="2950628" y="3532223"/>
                  <a:pt x="2909828" y="3492047"/>
                  <a:pt x="2909828" y="3441837"/>
                </a:cubicBezTo>
                <a:cubicBezTo>
                  <a:pt x="2909828" y="3391622"/>
                  <a:pt x="2950005" y="3350824"/>
                  <a:pt x="3000224" y="3350824"/>
                </a:cubicBezTo>
                <a:cubicBezTo>
                  <a:pt x="3050437" y="3350824"/>
                  <a:pt x="3091243" y="3390996"/>
                  <a:pt x="3091243" y="3441215"/>
                </a:cubicBezTo>
                <a:cubicBezTo>
                  <a:pt x="3091243" y="3491420"/>
                  <a:pt x="3051066" y="3532223"/>
                  <a:pt x="3000847" y="3532223"/>
                </a:cubicBezTo>
                <a:close/>
                <a:moveTo>
                  <a:pt x="714591" y="3570467"/>
                </a:moveTo>
                <a:cubicBezTo>
                  <a:pt x="678642" y="3570467"/>
                  <a:pt x="648989" y="3541716"/>
                  <a:pt x="648989" y="3505777"/>
                </a:cubicBezTo>
                <a:cubicBezTo>
                  <a:pt x="648989" y="3469831"/>
                  <a:pt x="678642" y="3441087"/>
                  <a:pt x="714591" y="3441087"/>
                </a:cubicBezTo>
                <a:cubicBezTo>
                  <a:pt x="749630" y="3441087"/>
                  <a:pt x="779283" y="3469831"/>
                  <a:pt x="779283" y="3505777"/>
                </a:cubicBezTo>
                <a:cubicBezTo>
                  <a:pt x="779283" y="3540817"/>
                  <a:pt x="750531" y="3570467"/>
                  <a:pt x="714591" y="3570467"/>
                </a:cubicBezTo>
                <a:close/>
                <a:moveTo>
                  <a:pt x="3322958" y="3580434"/>
                </a:moveTo>
                <a:cubicBezTo>
                  <a:pt x="3287376" y="3580434"/>
                  <a:pt x="3258257" y="3551325"/>
                  <a:pt x="3258257" y="3515742"/>
                </a:cubicBezTo>
                <a:cubicBezTo>
                  <a:pt x="3258257" y="3480151"/>
                  <a:pt x="3287376" y="3451046"/>
                  <a:pt x="3322958" y="3451046"/>
                </a:cubicBezTo>
                <a:cubicBezTo>
                  <a:pt x="3358541" y="3451046"/>
                  <a:pt x="3387649" y="3480151"/>
                  <a:pt x="3387649" y="3515742"/>
                </a:cubicBezTo>
                <a:cubicBezTo>
                  <a:pt x="3387649" y="3551325"/>
                  <a:pt x="3358541" y="3580434"/>
                  <a:pt x="3322958" y="3580434"/>
                </a:cubicBezTo>
                <a:close/>
                <a:moveTo>
                  <a:pt x="2020040" y="3643497"/>
                </a:moveTo>
                <a:cubicBezTo>
                  <a:pt x="1947225" y="3643497"/>
                  <a:pt x="1886963" y="3584489"/>
                  <a:pt x="1886963" y="3511048"/>
                </a:cubicBezTo>
                <a:cubicBezTo>
                  <a:pt x="1886334" y="3437616"/>
                  <a:pt x="1945967" y="3377990"/>
                  <a:pt x="2019411" y="3377990"/>
                </a:cubicBezTo>
                <a:cubicBezTo>
                  <a:pt x="2092226" y="3377990"/>
                  <a:pt x="2152488" y="3436988"/>
                  <a:pt x="2152488" y="3510419"/>
                </a:cubicBezTo>
                <a:cubicBezTo>
                  <a:pt x="2152488" y="3583859"/>
                  <a:pt x="2093485" y="3643497"/>
                  <a:pt x="2020040" y="3643497"/>
                </a:cubicBezTo>
                <a:close/>
                <a:moveTo>
                  <a:pt x="3644749" y="3654438"/>
                </a:moveTo>
                <a:cubicBezTo>
                  <a:pt x="3607780" y="3654438"/>
                  <a:pt x="3580030" y="3626735"/>
                  <a:pt x="3580030" y="3589766"/>
                </a:cubicBezTo>
                <a:cubicBezTo>
                  <a:pt x="3580030" y="3552796"/>
                  <a:pt x="3607780" y="3525047"/>
                  <a:pt x="3644749" y="3525047"/>
                </a:cubicBezTo>
                <a:cubicBezTo>
                  <a:pt x="3681718" y="3525047"/>
                  <a:pt x="3709422" y="3552796"/>
                  <a:pt x="3709422" y="3589766"/>
                </a:cubicBezTo>
                <a:cubicBezTo>
                  <a:pt x="3709422" y="3626735"/>
                  <a:pt x="3681718" y="3654438"/>
                  <a:pt x="3644749" y="3654438"/>
                </a:cubicBezTo>
                <a:close/>
                <a:moveTo>
                  <a:pt x="1034172" y="3687006"/>
                </a:moveTo>
                <a:cubicBezTo>
                  <a:pt x="974540" y="3687643"/>
                  <a:pt x="926203" y="3639302"/>
                  <a:pt x="926203" y="3580296"/>
                </a:cubicBezTo>
                <a:cubicBezTo>
                  <a:pt x="926203" y="3521294"/>
                  <a:pt x="973911" y="3472953"/>
                  <a:pt x="1033543" y="3472953"/>
                </a:cubicBezTo>
                <a:cubicBezTo>
                  <a:pt x="1092552" y="3472327"/>
                  <a:pt x="1140883" y="3520663"/>
                  <a:pt x="1140883" y="3579662"/>
                </a:cubicBezTo>
                <a:cubicBezTo>
                  <a:pt x="1141512" y="3638671"/>
                  <a:pt x="1093175" y="3687006"/>
                  <a:pt x="1034172" y="3687006"/>
                </a:cubicBezTo>
                <a:close/>
                <a:moveTo>
                  <a:pt x="32953" y="3711701"/>
                </a:moveTo>
                <a:cubicBezTo>
                  <a:pt x="24906" y="3711701"/>
                  <a:pt x="16839" y="3709670"/>
                  <a:pt x="9265" y="3706116"/>
                </a:cubicBezTo>
                <a:lnTo>
                  <a:pt x="0" y="3699536"/>
                </a:lnTo>
                <a:lnTo>
                  <a:pt x="0" y="3607217"/>
                </a:lnTo>
                <a:lnTo>
                  <a:pt x="9265" y="3601332"/>
                </a:lnTo>
                <a:cubicBezTo>
                  <a:pt x="16839" y="3596260"/>
                  <a:pt x="24906" y="3590167"/>
                  <a:pt x="32953" y="3582043"/>
                </a:cubicBezTo>
                <a:cubicBezTo>
                  <a:pt x="65462" y="3582043"/>
                  <a:pt x="97971" y="3614539"/>
                  <a:pt x="97971" y="3646713"/>
                </a:cubicBezTo>
                <a:cubicBezTo>
                  <a:pt x="97971" y="3679208"/>
                  <a:pt x="65462" y="3711701"/>
                  <a:pt x="32953" y="3711701"/>
                </a:cubicBezTo>
                <a:close/>
                <a:moveTo>
                  <a:pt x="2341049" y="3714268"/>
                </a:moveTo>
                <a:cubicBezTo>
                  <a:pt x="2269492" y="3714895"/>
                  <a:pt x="2211111" y="3657145"/>
                  <a:pt x="2211111" y="3585578"/>
                </a:cubicBezTo>
                <a:cubicBezTo>
                  <a:pt x="2211111" y="3514022"/>
                  <a:pt x="2268863" y="3455647"/>
                  <a:pt x="2339797" y="3455647"/>
                </a:cubicBezTo>
                <a:cubicBezTo>
                  <a:pt x="2411360" y="3455015"/>
                  <a:pt x="2469735" y="3512764"/>
                  <a:pt x="2469735" y="3584331"/>
                </a:cubicBezTo>
                <a:cubicBezTo>
                  <a:pt x="2470364" y="3655886"/>
                  <a:pt x="2412612" y="3714268"/>
                  <a:pt x="2341049" y="3714268"/>
                </a:cubicBezTo>
                <a:close/>
                <a:moveTo>
                  <a:pt x="2661441" y="3778326"/>
                </a:moveTo>
                <a:cubicBezTo>
                  <a:pt x="2595527" y="3778326"/>
                  <a:pt x="2541544" y="3724966"/>
                  <a:pt x="2541544" y="3659051"/>
                </a:cubicBezTo>
                <a:cubicBezTo>
                  <a:pt x="2540915" y="3593139"/>
                  <a:pt x="2594275" y="3539155"/>
                  <a:pt x="2660812" y="3539155"/>
                </a:cubicBezTo>
                <a:cubicBezTo>
                  <a:pt x="2726726" y="3539155"/>
                  <a:pt x="2780715" y="3592517"/>
                  <a:pt x="2780715" y="3658422"/>
                </a:cubicBezTo>
                <a:cubicBezTo>
                  <a:pt x="2780715" y="3724341"/>
                  <a:pt x="2727355" y="3778326"/>
                  <a:pt x="2661441" y="3778326"/>
                </a:cubicBezTo>
                <a:close/>
                <a:moveTo>
                  <a:pt x="351445" y="3785371"/>
                </a:moveTo>
                <a:cubicBezTo>
                  <a:pt x="314956" y="3785371"/>
                  <a:pt x="285086" y="3758828"/>
                  <a:pt x="285086" y="3722311"/>
                </a:cubicBezTo>
                <a:cubicBezTo>
                  <a:pt x="285086" y="3689147"/>
                  <a:pt x="314956" y="3659278"/>
                  <a:pt x="348119" y="3655949"/>
                </a:cubicBezTo>
                <a:cubicBezTo>
                  <a:pt x="384641" y="3655949"/>
                  <a:pt x="414511" y="3682495"/>
                  <a:pt x="414511" y="3718986"/>
                </a:cubicBezTo>
                <a:cubicBezTo>
                  <a:pt x="414511" y="3755505"/>
                  <a:pt x="387967" y="3785371"/>
                  <a:pt x="351445" y="3785371"/>
                </a:cubicBezTo>
                <a:close/>
                <a:moveTo>
                  <a:pt x="2981063" y="3821052"/>
                </a:moveTo>
                <a:cubicBezTo>
                  <a:pt x="2932103" y="3821052"/>
                  <a:pt x="2891927" y="3781502"/>
                  <a:pt x="2891927" y="3732534"/>
                </a:cubicBezTo>
                <a:cubicBezTo>
                  <a:pt x="2891927" y="3683572"/>
                  <a:pt x="2931474" y="3643394"/>
                  <a:pt x="2980433" y="3644024"/>
                </a:cubicBezTo>
                <a:cubicBezTo>
                  <a:pt x="3029399" y="3643394"/>
                  <a:pt x="3069569" y="3682943"/>
                  <a:pt x="3069569" y="3731912"/>
                </a:cubicBezTo>
                <a:cubicBezTo>
                  <a:pt x="3069569" y="3780871"/>
                  <a:pt x="3030022" y="3821052"/>
                  <a:pt x="2981063" y="3821052"/>
                </a:cubicBezTo>
                <a:close/>
                <a:moveTo>
                  <a:pt x="667240" y="3858914"/>
                </a:moveTo>
                <a:cubicBezTo>
                  <a:pt x="631347" y="3858914"/>
                  <a:pt x="602125" y="3830525"/>
                  <a:pt x="602125" y="3794628"/>
                </a:cubicBezTo>
                <a:cubicBezTo>
                  <a:pt x="601288" y="3759568"/>
                  <a:pt x="630511" y="3730356"/>
                  <a:pt x="666412" y="3729515"/>
                </a:cubicBezTo>
                <a:cubicBezTo>
                  <a:pt x="702304" y="3729515"/>
                  <a:pt x="731527" y="3757902"/>
                  <a:pt x="731527" y="3793801"/>
                </a:cubicBezTo>
                <a:cubicBezTo>
                  <a:pt x="731527" y="3829693"/>
                  <a:pt x="703141" y="3858914"/>
                  <a:pt x="667240" y="3858914"/>
                </a:cubicBezTo>
                <a:close/>
                <a:moveTo>
                  <a:pt x="3300526" y="3871463"/>
                </a:moveTo>
                <a:cubicBezTo>
                  <a:pt x="3264907" y="3871463"/>
                  <a:pt x="3235226" y="3842971"/>
                  <a:pt x="3235226" y="3807355"/>
                </a:cubicBezTo>
                <a:cubicBezTo>
                  <a:pt x="3235226" y="3770547"/>
                  <a:pt x="3264907" y="3742059"/>
                  <a:pt x="3299336" y="3742059"/>
                </a:cubicBezTo>
                <a:cubicBezTo>
                  <a:pt x="3334955" y="3742059"/>
                  <a:pt x="3364635" y="3770547"/>
                  <a:pt x="3364635" y="3806165"/>
                </a:cubicBezTo>
                <a:cubicBezTo>
                  <a:pt x="3365825" y="3841781"/>
                  <a:pt x="3336145" y="3871463"/>
                  <a:pt x="3300526" y="3871463"/>
                </a:cubicBezTo>
                <a:close/>
                <a:moveTo>
                  <a:pt x="1989072" y="3937534"/>
                </a:moveTo>
                <a:cubicBezTo>
                  <a:pt x="1914368" y="3937534"/>
                  <a:pt x="1852852" y="3877271"/>
                  <a:pt x="1852852" y="3801945"/>
                </a:cubicBezTo>
                <a:cubicBezTo>
                  <a:pt x="1852852" y="3726621"/>
                  <a:pt x="1913115" y="3665729"/>
                  <a:pt x="1987820" y="3665102"/>
                </a:cubicBezTo>
                <a:cubicBezTo>
                  <a:pt x="2063147" y="3665102"/>
                  <a:pt x="2124040" y="3725368"/>
                  <a:pt x="2124663" y="3800690"/>
                </a:cubicBezTo>
                <a:cubicBezTo>
                  <a:pt x="2124663" y="3876016"/>
                  <a:pt x="2064400" y="3937534"/>
                  <a:pt x="1989072" y="3937534"/>
                </a:cubicBezTo>
                <a:close/>
                <a:moveTo>
                  <a:pt x="3619348" y="3945237"/>
                </a:moveTo>
                <a:cubicBezTo>
                  <a:pt x="3582946" y="3945237"/>
                  <a:pt x="3554652" y="3916942"/>
                  <a:pt x="3554652" y="3880541"/>
                </a:cubicBezTo>
                <a:cubicBezTo>
                  <a:pt x="3554652" y="3844140"/>
                  <a:pt x="3582946" y="3815845"/>
                  <a:pt x="3619348" y="3815845"/>
                </a:cubicBezTo>
                <a:cubicBezTo>
                  <a:pt x="3655750" y="3815845"/>
                  <a:pt x="3684044" y="3844140"/>
                  <a:pt x="3684044" y="3880541"/>
                </a:cubicBezTo>
                <a:cubicBezTo>
                  <a:pt x="3684044" y="3916942"/>
                  <a:pt x="3655750" y="3945237"/>
                  <a:pt x="3619348" y="3945237"/>
                </a:cubicBezTo>
                <a:close/>
                <a:moveTo>
                  <a:pt x="983648" y="3983681"/>
                </a:moveTo>
                <a:cubicBezTo>
                  <a:pt x="919616" y="3984312"/>
                  <a:pt x="867515" y="3932212"/>
                  <a:pt x="867515" y="3868184"/>
                </a:cubicBezTo>
                <a:cubicBezTo>
                  <a:pt x="867515" y="3804156"/>
                  <a:pt x="918987" y="3752057"/>
                  <a:pt x="983019" y="3751429"/>
                </a:cubicBezTo>
                <a:cubicBezTo>
                  <a:pt x="1047044" y="3750801"/>
                  <a:pt x="1099775" y="3802900"/>
                  <a:pt x="1099775" y="3866931"/>
                </a:cubicBezTo>
                <a:cubicBezTo>
                  <a:pt x="1099775" y="3931582"/>
                  <a:pt x="1047674" y="3983681"/>
                  <a:pt x="983648" y="3983681"/>
                </a:cubicBezTo>
                <a:close/>
                <a:moveTo>
                  <a:pt x="2307502" y="4008599"/>
                </a:moveTo>
                <a:cubicBezTo>
                  <a:pt x="2233434" y="4009221"/>
                  <a:pt x="2173171" y="3949589"/>
                  <a:pt x="2173171" y="3875517"/>
                </a:cubicBezTo>
                <a:cubicBezTo>
                  <a:pt x="2172542" y="3801448"/>
                  <a:pt x="2232804" y="3741186"/>
                  <a:pt x="2306249" y="3741186"/>
                </a:cubicBezTo>
                <a:cubicBezTo>
                  <a:pt x="2380324" y="3740558"/>
                  <a:pt x="2440586" y="3800191"/>
                  <a:pt x="2440586" y="3874266"/>
                </a:cubicBezTo>
                <a:cubicBezTo>
                  <a:pt x="2441209" y="3948339"/>
                  <a:pt x="2381576" y="4008599"/>
                  <a:pt x="2307502" y="4008599"/>
                </a:cubicBezTo>
                <a:close/>
                <a:moveTo>
                  <a:pt x="269481" y="4070013"/>
                </a:moveTo>
                <a:cubicBezTo>
                  <a:pt x="216098" y="4070013"/>
                  <a:pt x="198245" y="4034475"/>
                  <a:pt x="198245" y="3998760"/>
                </a:cubicBezTo>
                <a:cubicBezTo>
                  <a:pt x="198245" y="3963220"/>
                  <a:pt x="216098" y="3927506"/>
                  <a:pt x="269481" y="3927506"/>
                </a:cubicBezTo>
                <a:cubicBezTo>
                  <a:pt x="305188" y="3927506"/>
                  <a:pt x="322864" y="3963220"/>
                  <a:pt x="322864" y="3998760"/>
                </a:cubicBezTo>
                <a:cubicBezTo>
                  <a:pt x="340718" y="4034475"/>
                  <a:pt x="305188" y="4070013"/>
                  <a:pt x="269481" y="4070013"/>
                </a:cubicBezTo>
                <a:close/>
                <a:moveTo>
                  <a:pt x="2624870" y="4071398"/>
                </a:moveTo>
                <a:cubicBezTo>
                  <a:pt x="2557073" y="4071398"/>
                  <a:pt x="2501830" y="4016783"/>
                  <a:pt x="2501830" y="3948989"/>
                </a:cubicBezTo>
                <a:cubicBezTo>
                  <a:pt x="2501830" y="3881191"/>
                  <a:pt x="2556444" y="3825947"/>
                  <a:pt x="2624241" y="3825947"/>
                </a:cubicBezTo>
                <a:cubicBezTo>
                  <a:pt x="2692038" y="3825947"/>
                  <a:pt x="2747281" y="3880564"/>
                  <a:pt x="2747281" y="3948360"/>
                </a:cubicBezTo>
                <a:cubicBezTo>
                  <a:pt x="2747281" y="4016153"/>
                  <a:pt x="2692667" y="4071398"/>
                  <a:pt x="2624870" y="4071398"/>
                </a:cubicBezTo>
                <a:close/>
                <a:moveTo>
                  <a:pt x="1301316" y="4091771"/>
                </a:moveTo>
                <a:cubicBezTo>
                  <a:pt x="1217828" y="4091771"/>
                  <a:pt x="1150034" y="4024607"/>
                  <a:pt x="1150034" y="3941739"/>
                </a:cubicBezTo>
                <a:cubicBezTo>
                  <a:pt x="1150034" y="3879600"/>
                  <a:pt x="1187814" y="3825927"/>
                  <a:pt x="1241926" y="3802712"/>
                </a:cubicBezTo>
                <a:lnTo>
                  <a:pt x="1297741" y="3791076"/>
                </a:lnTo>
                <a:lnTo>
                  <a:pt x="1295263" y="3790590"/>
                </a:lnTo>
                <a:cubicBezTo>
                  <a:pt x="1241947" y="3768316"/>
                  <a:pt x="1204167" y="3715588"/>
                  <a:pt x="1204167" y="3654382"/>
                </a:cubicBezTo>
                <a:cubicBezTo>
                  <a:pt x="1204167" y="3572777"/>
                  <a:pt x="1270078" y="3505615"/>
                  <a:pt x="1351683" y="3505615"/>
                </a:cubicBezTo>
                <a:cubicBezTo>
                  <a:pt x="1433281" y="3504984"/>
                  <a:pt x="1500451" y="3571519"/>
                  <a:pt x="1500451" y="3653123"/>
                </a:cubicBezTo>
                <a:cubicBezTo>
                  <a:pt x="1500923" y="3714802"/>
                  <a:pt x="1463611" y="3767652"/>
                  <a:pt x="1410499" y="3790219"/>
                </a:cubicBezTo>
                <a:lnTo>
                  <a:pt x="1355143" y="3801455"/>
                </a:lnTo>
                <a:lnTo>
                  <a:pt x="1359098" y="3802252"/>
                </a:lnTo>
                <a:cubicBezTo>
                  <a:pt x="1412976" y="3825023"/>
                  <a:pt x="1450874" y="3878345"/>
                  <a:pt x="1451346" y="3940489"/>
                </a:cubicBezTo>
                <a:cubicBezTo>
                  <a:pt x="1451346" y="4023975"/>
                  <a:pt x="1384181" y="4091771"/>
                  <a:pt x="1301316" y="4091771"/>
                </a:cubicBezTo>
                <a:close/>
                <a:moveTo>
                  <a:pt x="2942346" y="4111701"/>
                </a:moveTo>
                <a:cubicBezTo>
                  <a:pt x="2892753" y="4112332"/>
                  <a:pt x="2852574" y="4072153"/>
                  <a:pt x="2852574" y="4022561"/>
                </a:cubicBezTo>
                <a:cubicBezTo>
                  <a:pt x="2852574" y="3972969"/>
                  <a:pt x="2892753" y="3932792"/>
                  <a:pt x="2941716" y="3932792"/>
                </a:cubicBezTo>
                <a:cubicBezTo>
                  <a:pt x="2990680" y="3932161"/>
                  <a:pt x="3031488" y="3972340"/>
                  <a:pt x="3031488" y="4021932"/>
                </a:cubicBezTo>
                <a:cubicBezTo>
                  <a:pt x="3032111" y="4071524"/>
                  <a:pt x="2991938" y="4111701"/>
                  <a:pt x="2942346" y="4111701"/>
                </a:cubicBezTo>
                <a:close/>
                <a:moveTo>
                  <a:pt x="582729" y="4137895"/>
                </a:moveTo>
                <a:cubicBezTo>
                  <a:pt x="548224" y="4137895"/>
                  <a:pt x="518022" y="4109856"/>
                  <a:pt x="518022" y="4073191"/>
                </a:cubicBezTo>
                <a:cubicBezTo>
                  <a:pt x="518022" y="4036522"/>
                  <a:pt x="546062" y="4008481"/>
                  <a:pt x="582729" y="4008481"/>
                </a:cubicBezTo>
                <a:cubicBezTo>
                  <a:pt x="619395" y="4008481"/>
                  <a:pt x="647435" y="4038684"/>
                  <a:pt x="647435" y="4073191"/>
                </a:cubicBezTo>
                <a:cubicBezTo>
                  <a:pt x="647435" y="4109856"/>
                  <a:pt x="617233" y="4137895"/>
                  <a:pt x="582729" y="4137895"/>
                </a:cubicBezTo>
                <a:close/>
                <a:moveTo>
                  <a:pt x="3259720" y="4160741"/>
                </a:moveTo>
                <a:cubicBezTo>
                  <a:pt x="3224029" y="4160741"/>
                  <a:pt x="3195024" y="4131736"/>
                  <a:pt x="3195024" y="4096046"/>
                </a:cubicBezTo>
                <a:cubicBezTo>
                  <a:pt x="3195024" y="4060354"/>
                  <a:pt x="3224029" y="4031350"/>
                  <a:pt x="3259720" y="4031350"/>
                </a:cubicBezTo>
                <a:cubicBezTo>
                  <a:pt x="3295411" y="4031350"/>
                  <a:pt x="3324416" y="4060354"/>
                  <a:pt x="3324416" y="4096046"/>
                </a:cubicBezTo>
                <a:cubicBezTo>
                  <a:pt x="3324416" y="4131736"/>
                  <a:pt x="3295411" y="4160741"/>
                  <a:pt x="3259720" y="4160741"/>
                </a:cubicBezTo>
                <a:close/>
                <a:moveTo>
                  <a:pt x="901912" y="4212852"/>
                </a:moveTo>
                <a:cubicBezTo>
                  <a:pt x="866502" y="4212852"/>
                  <a:pt x="837216" y="4184247"/>
                  <a:pt x="837216" y="4148152"/>
                </a:cubicBezTo>
                <a:cubicBezTo>
                  <a:pt x="837216" y="4112738"/>
                  <a:pt x="865820" y="4083460"/>
                  <a:pt x="901229" y="4082776"/>
                </a:cubicBezTo>
                <a:cubicBezTo>
                  <a:pt x="937329" y="4082776"/>
                  <a:pt x="966615" y="4111381"/>
                  <a:pt x="966615" y="4147473"/>
                </a:cubicBezTo>
                <a:cubicBezTo>
                  <a:pt x="966615" y="4183571"/>
                  <a:pt x="938011" y="4212852"/>
                  <a:pt x="901912" y="4212852"/>
                </a:cubicBezTo>
                <a:close/>
                <a:moveTo>
                  <a:pt x="1934868" y="4226874"/>
                </a:moveTo>
                <a:cubicBezTo>
                  <a:pt x="1858283" y="4227503"/>
                  <a:pt x="1796139" y="4165985"/>
                  <a:pt x="1796139" y="4089399"/>
                </a:cubicBezTo>
                <a:cubicBezTo>
                  <a:pt x="1796139" y="4012812"/>
                  <a:pt x="1857660" y="3950666"/>
                  <a:pt x="1934239" y="3950039"/>
                </a:cubicBezTo>
                <a:cubicBezTo>
                  <a:pt x="2010824" y="3950039"/>
                  <a:pt x="2072345" y="4011560"/>
                  <a:pt x="2072968" y="4088141"/>
                </a:cubicBezTo>
                <a:cubicBezTo>
                  <a:pt x="2072968" y="4164728"/>
                  <a:pt x="2011453" y="4226874"/>
                  <a:pt x="1934868" y="4226874"/>
                </a:cubicBezTo>
                <a:close/>
                <a:moveTo>
                  <a:pt x="3577620" y="4234315"/>
                </a:moveTo>
                <a:cubicBezTo>
                  <a:pt x="3541218" y="4234315"/>
                  <a:pt x="3512924" y="4206020"/>
                  <a:pt x="3512924" y="4169618"/>
                </a:cubicBezTo>
                <a:cubicBezTo>
                  <a:pt x="3512924" y="4133217"/>
                  <a:pt x="3541218" y="4104922"/>
                  <a:pt x="3577620" y="4104922"/>
                </a:cubicBezTo>
                <a:cubicBezTo>
                  <a:pt x="3614022" y="4104922"/>
                  <a:pt x="3642316" y="4133217"/>
                  <a:pt x="3642316" y="4169618"/>
                </a:cubicBezTo>
                <a:cubicBezTo>
                  <a:pt x="3642316" y="4206020"/>
                  <a:pt x="3614022" y="4234315"/>
                  <a:pt x="3577620" y="4234315"/>
                </a:cubicBezTo>
                <a:close/>
                <a:moveTo>
                  <a:pt x="2252011" y="4295104"/>
                </a:moveTo>
                <a:cubicBezTo>
                  <a:pt x="2177935" y="4295104"/>
                  <a:pt x="2117672" y="4235461"/>
                  <a:pt x="2117672" y="4161391"/>
                </a:cubicBezTo>
                <a:cubicBezTo>
                  <a:pt x="2117672" y="4087315"/>
                  <a:pt x="2177306" y="4027679"/>
                  <a:pt x="2250752" y="4027679"/>
                </a:cubicBezTo>
                <a:cubicBezTo>
                  <a:pt x="2324828" y="4027054"/>
                  <a:pt x="2385091" y="4086687"/>
                  <a:pt x="2385091" y="4160762"/>
                </a:cubicBezTo>
                <a:cubicBezTo>
                  <a:pt x="2385720" y="4234840"/>
                  <a:pt x="2326086" y="4295104"/>
                  <a:pt x="2252011" y="4295104"/>
                </a:cubicBezTo>
                <a:close/>
                <a:moveTo>
                  <a:pt x="134905" y="4326202"/>
                </a:moveTo>
                <a:cubicBezTo>
                  <a:pt x="97179" y="4326202"/>
                  <a:pt x="70209" y="4299222"/>
                  <a:pt x="70209" y="4261484"/>
                </a:cubicBezTo>
                <a:cubicBezTo>
                  <a:pt x="70209" y="4223749"/>
                  <a:pt x="102584" y="4191367"/>
                  <a:pt x="134905" y="4196772"/>
                </a:cubicBezTo>
                <a:cubicBezTo>
                  <a:pt x="167280" y="4196772"/>
                  <a:pt x="199601" y="4223749"/>
                  <a:pt x="199601" y="4261484"/>
                </a:cubicBezTo>
                <a:cubicBezTo>
                  <a:pt x="199601" y="4299222"/>
                  <a:pt x="172631" y="4326202"/>
                  <a:pt x="134905" y="4326202"/>
                </a:cubicBezTo>
                <a:close/>
                <a:moveTo>
                  <a:pt x="2569045" y="4351519"/>
                </a:moveTo>
                <a:cubicBezTo>
                  <a:pt x="2504391" y="4352147"/>
                  <a:pt x="2452290" y="4300049"/>
                  <a:pt x="2452290" y="4236016"/>
                </a:cubicBezTo>
                <a:cubicBezTo>
                  <a:pt x="2452290" y="4171991"/>
                  <a:pt x="2503762" y="4119892"/>
                  <a:pt x="2567793" y="4119263"/>
                </a:cubicBezTo>
                <a:cubicBezTo>
                  <a:pt x="2632447" y="4118632"/>
                  <a:pt x="2684548" y="4170735"/>
                  <a:pt x="2684548" y="4234767"/>
                </a:cubicBezTo>
                <a:cubicBezTo>
                  <a:pt x="2685177" y="4299419"/>
                  <a:pt x="2633076" y="4351519"/>
                  <a:pt x="2569045" y="4351519"/>
                </a:cubicBezTo>
                <a:close/>
                <a:moveTo>
                  <a:pt x="1221305" y="4352597"/>
                </a:moveTo>
                <a:cubicBezTo>
                  <a:pt x="1149113" y="4353225"/>
                  <a:pt x="1090109" y="4294847"/>
                  <a:pt x="1090109" y="4222657"/>
                </a:cubicBezTo>
                <a:cubicBezTo>
                  <a:pt x="1089480" y="4151095"/>
                  <a:pt x="1147860" y="4092090"/>
                  <a:pt x="1220046" y="4091461"/>
                </a:cubicBezTo>
                <a:cubicBezTo>
                  <a:pt x="1292239" y="4090835"/>
                  <a:pt x="1351242" y="4149210"/>
                  <a:pt x="1351242" y="4221400"/>
                </a:cubicBezTo>
                <a:cubicBezTo>
                  <a:pt x="1351242" y="4293591"/>
                  <a:pt x="1293491" y="4352597"/>
                  <a:pt x="1221305" y="4352597"/>
                </a:cubicBezTo>
                <a:close/>
                <a:moveTo>
                  <a:pt x="2885557" y="4393807"/>
                </a:moveTo>
                <a:cubicBezTo>
                  <a:pt x="2838475" y="4393807"/>
                  <a:pt x="2800184" y="4356139"/>
                  <a:pt x="2800184" y="4309057"/>
                </a:cubicBezTo>
                <a:cubicBezTo>
                  <a:pt x="2800184" y="4261974"/>
                  <a:pt x="2838475" y="4223683"/>
                  <a:pt x="2884934" y="4223683"/>
                </a:cubicBezTo>
                <a:cubicBezTo>
                  <a:pt x="2932016" y="4223683"/>
                  <a:pt x="2970307" y="4261353"/>
                  <a:pt x="2970307" y="4308432"/>
                </a:cubicBezTo>
                <a:cubicBezTo>
                  <a:pt x="2970936" y="4355516"/>
                  <a:pt x="2932639" y="4393807"/>
                  <a:pt x="2885557" y="4393807"/>
                </a:cubicBezTo>
                <a:close/>
                <a:moveTo>
                  <a:pt x="463566" y="4404587"/>
                </a:moveTo>
                <a:cubicBezTo>
                  <a:pt x="427984" y="4404587"/>
                  <a:pt x="398865" y="4375482"/>
                  <a:pt x="398865" y="4339897"/>
                </a:cubicBezTo>
                <a:cubicBezTo>
                  <a:pt x="398865" y="4304316"/>
                  <a:pt x="427984" y="4275194"/>
                  <a:pt x="463566" y="4275194"/>
                </a:cubicBezTo>
                <a:cubicBezTo>
                  <a:pt x="499149" y="4275194"/>
                  <a:pt x="528257" y="4304316"/>
                  <a:pt x="528257" y="4339897"/>
                </a:cubicBezTo>
                <a:cubicBezTo>
                  <a:pt x="528257" y="4375482"/>
                  <a:pt x="499149" y="4404587"/>
                  <a:pt x="463566" y="4404587"/>
                </a:cubicBezTo>
                <a:close/>
                <a:moveTo>
                  <a:pt x="3202505" y="4447238"/>
                </a:moveTo>
                <a:cubicBezTo>
                  <a:pt x="3166814" y="4447238"/>
                  <a:pt x="3137809" y="4418233"/>
                  <a:pt x="3137809" y="4382541"/>
                </a:cubicBezTo>
                <a:cubicBezTo>
                  <a:pt x="3137809" y="4347966"/>
                  <a:pt x="3166814" y="4317845"/>
                  <a:pt x="3201387" y="4317845"/>
                </a:cubicBezTo>
                <a:cubicBezTo>
                  <a:pt x="3238196" y="4317845"/>
                  <a:pt x="3267201" y="4346850"/>
                  <a:pt x="3267201" y="4382541"/>
                </a:cubicBezTo>
                <a:cubicBezTo>
                  <a:pt x="3267201" y="4418233"/>
                  <a:pt x="3238196" y="4447238"/>
                  <a:pt x="3202505" y="4447238"/>
                </a:cubicBezTo>
                <a:close/>
                <a:moveTo>
                  <a:pt x="789734" y="4500275"/>
                </a:moveTo>
                <a:cubicBezTo>
                  <a:pt x="743914" y="4500275"/>
                  <a:pt x="706249" y="4463241"/>
                  <a:pt x="706249" y="4417418"/>
                </a:cubicBezTo>
                <a:cubicBezTo>
                  <a:pt x="705620" y="4371599"/>
                  <a:pt x="742656" y="4334565"/>
                  <a:pt x="789111" y="4333937"/>
                </a:cubicBezTo>
                <a:cubicBezTo>
                  <a:pt x="834930" y="4333937"/>
                  <a:pt x="872595" y="4370973"/>
                  <a:pt x="872595" y="4416792"/>
                </a:cubicBezTo>
                <a:cubicBezTo>
                  <a:pt x="872595" y="4462613"/>
                  <a:pt x="835560" y="4500275"/>
                  <a:pt x="789734" y="4500275"/>
                </a:cubicBezTo>
                <a:close/>
                <a:moveTo>
                  <a:pt x="3519114" y="4520419"/>
                </a:moveTo>
                <a:cubicBezTo>
                  <a:pt x="3483423" y="4520419"/>
                  <a:pt x="3454418" y="4491413"/>
                  <a:pt x="3454418" y="4455718"/>
                </a:cubicBezTo>
                <a:cubicBezTo>
                  <a:pt x="3454418" y="4420025"/>
                  <a:pt x="3483423" y="4389899"/>
                  <a:pt x="3519114" y="4391018"/>
                </a:cubicBezTo>
                <a:cubicBezTo>
                  <a:pt x="3554805" y="4391018"/>
                  <a:pt x="3583810" y="4420025"/>
                  <a:pt x="3583810" y="4455718"/>
                </a:cubicBezTo>
                <a:cubicBezTo>
                  <a:pt x="3583810" y="4491413"/>
                  <a:pt x="3554805" y="4520419"/>
                  <a:pt x="3519114" y="4520419"/>
                </a:cubicBezTo>
                <a:close/>
                <a:moveTo>
                  <a:pt x="0" y="4559202"/>
                </a:moveTo>
                <a:lnTo>
                  <a:pt x="0" y="4444276"/>
                </a:lnTo>
                <a:lnTo>
                  <a:pt x="16192" y="4454676"/>
                </a:lnTo>
                <a:cubicBezTo>
                  <a:pt x="28196" y="4466431"/>
                  <a:pt x="35547" y="4483085"/>
                  <a:pt x="35547" y="4501705"/>
                </a:cubicBezTo>
                <a:cubicBezTo>
                  <a:pt x="36529" y="4519342"/>
                  <a:pt x="29669" y="4535508"/>
                  <a:pt x="17910" y="4547264"/>
                </a:cubicBezTo>
                <a:close/>
                <a:moveTo>
                  <a:pt x="2175337" y="4584925"/>
                </a:moveTo>
                <a:cubicBezTo>
                  <a:pt x="2097494" y="4584925"/>
                  <a:pt x="2034092" y="4522151"/>
                  <a:pt x="2033469" y="4443687"/>
                </a:cubicBezTo>
                <a:cubicBezTo>
                  <a:pt x="2032840" y="4365849"/>
                  <a:pt x="2096242" y="4301820"/>
                  <a:pt x="2174708" y="4301820"/>
                </a:cubicBezTo>
                <a:cubicBezTo>
                  <a:pt x="2252545" y="4301820"/>
                  <a:pt x="2315947" y="4364592"/>
                  <a:pt x="2316576" y="4443056"/>
                </a:cubicBezTo>
                <a:cubicBezTo>
                  <a:pt x="2316576" y="4520893"/>
                  <a:pt x="2253803" y="4584925"/>
                  <a:pt x="2175337" y="4584925"/>
                </a:cubicBezTo>
                <a:close/>
                <a:moveTo>
                  <a:pt x="1113226" y="4638768"/>
                </a:moveTo>
                <a:cubicBezTo>
                  <a:pt x="1032881" y="4638768"/>
                  <a:pt x="966970" y="4574108"/>
                  <a:pt x="966970" y="4493127"/>
                </a:cubicBezTo>
                <a:cubicBezTo>
                  <a:pt x="966970" y="4412158"/>
                  <a:pt x="1031622" y="4346877"/>
                  <a:pt x="1112597" y="4346877"/>
                </a:cubicBezTo>
                <a:cubicBezTo>
                  <a:pt x="1192948" y="4346877"/>
                  <a:pt x="1258859" y="4411527"/>
                  <a:pt x="1258859" y="4492502"/>
                </a:cubicBezTo>
                <a:cubicBezTo>
                  <a:pt x="1258859" y="4572857"/>
                  <a:pt x="1193571" y="4638137"/>
                  <a:pt x="1113226" y="4638768"/>
                </a:cubicBezTo>
                <a:close/>
                <a:moveTo>
                  <a:pt x="2493340" y="4642500"/>
                </a:moveTo>
                <a:cubicBezTo>
                  <a:pt x="2424293" y="4643130"/>
                  <a:pt x="2367794" y="4587267"/>
                  <a:pt x="2367794" y="4518213"/>
                </a:cubicBezTo>
                <a:cubicBezTo>
                  <a:pt x="2367794" y="4449790"/>
                  <a:pt x="2423035" y="4393297"/>
                  <a:pt x="2492087" y="4392669"/>
                </a:cubicBezTo>
                <a:cubicBezTo>
                  <a:pt x="2561134" y="4392038"/>
                  <a:pt x="2617633" y="4447909"/>
                  <a:pt x="2617633" y="4516956"/>
                </a:cubicBezTo>
                <a:cubicBezTo>
                  <a:pt x="2618256" y="4586008"/>
                  <a:pt x="2562392" y="4642500"/>
                  <a:pt x="2493340" y="4642500"/>
                </a:cubicBezTo>
                <a:close/>
                <a:moveTo>
                  <a:pt x="311808" y="4653247"/>
                </a:moveTo>
                <a:cubicBezTo>
                  <a:pt x="275658" y="4653247"/>
                  <a:pt x="246482" y="4624073"/>
                  <a:pt x="246482" y="4588549"/>
                </a:cubicBezTo>
                <a:cubicBezTo>
                  <a:pt x="246482" y="4552401"/>
                  <a:pt x="275022" y="4523220"/>
                  <a:pt x="311808" y="4523857"/>
                </a:cubicBezTo>
                <a:cubicBezTo>
                  <a:pt x="347329" y="4523857"/>
                  <a:pt x="376504" y="4553032"/>
                  <a:pt x="376504" y="4588549"/>
                </a:cubicBezTo>
                <a:cubicBezTo>
                  <a:pt x="376504" y="4624073"/>
                  <a:pt x="347329" y="4653247"/>
                  <a:pt x="311808" y="4653247"/>
                </a:cubicBezTo>
                <a:close/>
                <a:moveTo>
                  <a:pt x="2810807" y="4688467"/>
                </a:moveTo>
                <a:cubicBezTo>
                  <a:pt x="2756819" y="4689097"/>
                  <a:pt x="2712880" y="4645149"/>
                  <a:pt x="2712880" y="4591796"/>
                </a:cubicBezTo>
                <a:cubicBezTo>
                  <a:pt x="2712880" y="4537806"/>
                  <a:pt x="2756190" y="4494495"/>
                  <a:pt x="2809549" y="4493865"/>
                </a:cubicBezTo>
                <a:cubicBezTo>
                  <a:pt x="2863531" y="4493237"/>
                  <a:pt x="2907476" y="4536555"/>
                  <a:pt x="2907476" y="4590537"/>
                </a:cubicBezTo>
                <a:cubicBezTo>
                  <a:pt x="2908099" y="4644526"/>
                  <a:pt x="2864789" y="4688467"/>
                  <a:pt x="2810807" y="4688467"/>
                </a:cubicBezTo>
                <a:close/>
                <a:moveTo>
                  <a:pt x="3128182" y="4731178"/>
                </a:moveTo>
                <a:cubicBezTo>
                  <a:pt x="3091774" y="4731807"/>
                  <a:pt x="3061639" y="4701678"/>
                  <a:pt x="3061639" y="4665269"/>
                </a:cubicBezTo>
                <a:cubicBezTo>
                  <a:pt x="3061639" y="4628858"/>
                  <a:pt x="3091145" y="4598723"/>
                  <a:pt x="3127553" y="4598723"/>
                </a:cubicBezTo>
                <a:cubicBezTo>
                  <a:pt x="3163961" y="4598723"/>
                  <a:pt x="3194090" y="4628229"/>
                  <a:pt x="3194090" y="4664640"/>
                </a:cubicBezTo>
                <a:cubicBezTo>
                  <a:pt x="3194090" y="4701048"/>
                  <a:pt x="3164591" y="4731178"/>
                  <a:pt x="3128182" y="4731178"/>
                </a:cubicBezTo>
                <a:close/>
                <a:moveTo>
                  <a:pt x="647351" y="4776926"/>
                </a:moveTo>
                <a:cubicBezTo>
                  <a:pt x="589598" y="4776926"/>
                  <a:pt x="541889" y="4729843"/>
                  <a:pt x="541889" y="4672094"/>
                </a:cubicBezTo>
                <a:cubicBezTo>
                  <a:pt x="541889" y="4613715"/>
                  <a:pt x="588969" y="4566636"/>
                  <a:pt x="646721" y="4566636"/>
                </a:cubicBezTo>
                <a:cubicBezTo>
                  <a:pt x="704474" y="4566636"/>
                  <a:pt x="752183" y="4613715"/>
                  <a:pt x="752183" y="4671464"/>
                </a:cubicBezTo>
                <a:cubicBezTo>
                  <a:pt x="752183" y="4729216"/>
                  <a:pt x="705726" y="4776926"/>
                  <a:pt x="647351" y="4776926"/>
                </a:cubicBezTo>
                <a:close/>
                <a:moveTo>
                  <a:pt x="3445555" y="4803030"/>
                </a:moveTo>
                <a:cubicBezTo>
                  <a:pt x="3410266" y="4803030"/>
                  <a:pt x="3380859" y="4773622"/>
                  <a:pt x="3380859" y="4738319"/>
                </a:cubicBezTo>
                <a:cubicBezTo>
                  <a:pt x="3380859" y="4703030"/>
                  <a:pt x="3408792" y="4673622"/>
                  <a:pt x="3445555" y="4673622"/>
                </a:cubicBezTo>
                <a:cubicBezTo>
                  <a:pt x="3480858" y="4673622"/>
                  <a:pt x="3510266" y="4703030"/>
                  <a:pt x="3510266" y="4738319"/>
                </a:cubicBezTo>
                <a:cubicBezTo>
                  <a:pt x="3510266" y="4773622"/>
                  <a:pt x="3480858" y="4803030"/>
                  <a:pt x="3445555" y="4803030"/>
                </a:cubicBezTo>
                <a:close/>
                <a:moveTo>
                  <a:pt x="2078214" y="4859519"/>
                </a:moveTo>
                <a:cubicBezTo>
                  <a:pt x="2000377" y="4859519"/>
                  <a:pt x="1937603" y="4796748"/>
                  <a:pt x="1936974" y="4719531"/>
                </a:cubicBezTo>
                <a:cubicBezTo>
                  <a:pt x="1936974" y="4642323"/>
                  <a:pt x="1999118" y="4578919"/>
                  <a:pt x="2076962" y="4578292"/>
                </a:cubicBezTo>
                <a:cubicBezTo>
                  <a:pt x="2154800" y="4578292"/>
                  <a:pt x="2218202" y="4640437"/>
                  <a:pt x="2218202" y="4718279"/>
                </a:cubicBezTo>
                <a:cubicBezTo>
                  <a:pt x="2218202" y="4796115"/>
                  <a:pt x="2155429" y="4858890"/>
                  <a:pt x="2078214" y="4859519"/>
                </a:cubicBezTo>
                <a:close/>
                <a:moveTo>
                  <a:pt x="129027" y="4881022"/>
                </a:moveTo>
                <a:cubicBezTo>
                  <a:pt x="92967" y="4881022"/>
                  <a:pt x="63980" y="4852743"/>
                  <a:pt x="63980" y="4816687"/>
                </a:cubicBezTo>
                <a:cubicBezTo>
                  <a:pt x="63271" y="4780626"/>
                  <a:pt x="92258" y="4751635"/>
                  <a:pt x="128318" y="4751635"/>
                </a:cubicBezTo>
                <a:cubicBezTo>
                  <a:pt x="164378" y="4750931"/>
                  <a:pt x="193365" y="4779915"/>
                  <a:pt x="193365" y="4815977"/>
                </a:cubicBezTo>
                <a:cubicBezTo>
                  <a:pt x="193365" y="4852033"/>
                  <a:pt x="164378" y="4881022"/>
                  <a:pt x="129027" y="4881022"/>
                </a:cubicBezTo>
                <a:close/>
                <a:moveTo>
                  <a:pt x="979540" y="4898167"/>
                </a:moveTo>
                <a:cubicBezTo>
                  <a:pt x="898564" y="4898167"/>
                  <a:pt x="832652" y="4832877"/>
                  <a:pt x="832652" y="4752532"/>
                </a:cubicBezTo>
                <a:cubicBezTo>
                  <a:pt x="832652" y="4671561"/>
                  <a:pt x="897306" y="4606278"/>
                  <a:pt x="978911" y="4606278"/>
                </a:cubicBezTo>
                <a:cubicBezTo>
                  <a:pt x="1059257" y="4606278"/>
                  <a:pt x="1125169" y="4670929"/>
                  <a:pt x="1125169" y="4751905"/>
                </a:cubicBezTo>
                <a:cubicBezTo>
                  <a:pt x="1125169" y="4832257"/>
                  <a:pt x="1060515" y="4897538"/>
                  <a:pt x="979540" y="4898167"/>
                </a:cubicBezTo>
                <a:close/>
                <a:moveTo>
                  <a:pt x="2398269" y="4917831"/>
                </a:moveTo>
                <a:cubicBezTo>
                  <a:pt x="2329215" y="4917831"/>
                  <a:pt x="2272721" y="4861958"/>
                  <a:pt x="2272721" y="4792906"/>
                </a:cubicBezTo>
                <a:cubicBezTo>
                  <a:pt x="2272721" y="4723858"/>
                  <a:pt x="2327963" y="4667356"/>
                  <a:pt x="2397016" y="4667987"/>
                </a:cubicBezTo>
                <a:cubicBezTo>
                  <a:pt x="2466064" y="4667356"/>
                  <a:pt x="2522564" y="4723227"/>
                  <a:pt x="2522564" y="4792277"/>
                </a:cubicBezTo>
                <a:cubicBezTo>
                  <a:pt x="2523187" y="4861331"/>
                  <a:pt x="2467322" y="4917831"/>
                  <a:pt x="2398269" y="4917831"/>
                </a:cubicBezTo>
                <a:close/>
                <a:moveTo>
                  <a:pt x="2717263" y="4933051"/>
                </a:moveTo>
                <a:cubicBezTo>
                  <a:pt x="2681484" y="4933051"/>
                  <a:pt x="2651979" y="4903547"/>
                  <a:pt x="2651979" y="4867765"/>
                </a:cubicBezTo>
                <a:cubicBezTo>
                  <a:pt x="2651979" y="4831986"/>
                  <a:pt x="2680855" y="4802481"/>
                  <a:pt x="2717263" y="4802481"/>
                </a:cubicBezTo>
                <a:cubicBezTo>
                  <a:pt x="2753041" y="4802481"/>
                  <a:pt x="2782546" y="4831986"/>
                  <a:pt x="2782546" y="4867765"/>
                </a:cubicBezTo>
                <a:cubicBezTo>
                  <a:pt x="2782546" y="4903547"/>
                  <a:pt x="2753041" y="4933051"/>
                  <a:pt x="2717263" y="4933051"/>
                </a:cubicBezTo>
                <a:close/>
                <a:moveTo>
                  <a:pt x="3036454" y="5006903"/>
                </a:moveTo>
                <a:cubicBezTo>
                  <a:pt x="3000763" y="5006903"/>
                  <a:pt x="2971758" y="4977897"/>
                  <a:pt x="2971758" y="4942206"/>
                </a:cubicBezTo>
                <a:cubicBezTo>
                  <a:pt x="2971758" y="4906515"/>
                  <a:pt x="3000763" y="4877509"/>
                  <a:pt x="3036454" y="4877509"/>
                </a:cubicBezTo>
                <a:cubicBezTo>
                  <a:pt x="3072145" y="4877509"/>
                  <a:pt x="3101150" y="4906515"/>
                  <a:pt x="3101150" y="4942206"/>
                </a:cubicBezTo>
                <a:cubicBezTo>
                  <a:pt x="3101150" y="4977897"/>
                  <a:pt x="3072145" y="5006903"/>
                  <a:pt x="3036454" y="5006903"/>
                </a:cubicBezTo>
                <a:close/>
                <a:moveTo>
                  <a:pt x="477852" y="5009977"/>
                </a:moveTo>
                <a:cubicBezTo>
                  <a:pt x="421988" y="5009977"/>
                  <a:pt x="376790" y="4965408"/>
                  <a:pt x="376790" y="4909537"/>
                </a:cubicBezTo>
                <a:cubicBezTo>
                  <a:pt x="376161" y="4853680"/>
                  <a:pt x="421359" y="4808481"/>
                  <a:pt x="477229" y="4808481"/>
                </a:cubicBezTo>
                <a:cubicBezTo>
                  <a:pt x="533093" y="4808481"/>
                  <a:pt x="578291" y="4853680"/>
                  <a:pt x="578291" y="4908915"/>
                </a:cubicBezTo>
                <a:cubicBezTo>
                  <a:pt x="578291" y="4964778"/>
                  <a:pt x="533093" y="5009977"/>
                  <a:pt x="477852" y="5009977"/>
                </a:cubicBezTo>
                <a:close/>
                <a:moveTo>
                  <a:pt x="3355644" y="5080943"/>
                </a:moveTo>
                <a:cubicBezTo>
                  <a:pt x="3319094" y="5080943"/>
                  <a:pt x="3290948" y="5052797"/>
                  <a:pt x="3290948" y="5016218"/>
                </a:cubicBezTo>
                <a:cubicBezTo>
                  <a:pt x="3290948" y="4979667"/>
                  <a:pt x="3321886" y="4951522"/>
                  <a:pt x="3355644" y="4951522"/>
                </a:cubicBezTo>
                <a:cubicBezTo>
                  <a:pt x="3392222" y="4951522"/>
                  <a:pt x="3420368" y="4979667"/>
                  <a:pt x="3420368" y="5016218"/>
                </a:cubicBezTo>
                <a:cubicBezTo>
                  <a:pt x="3420368" y="5052797"/>
                  <a:pt x="3389430" y="5080943"/>
                  <a:pt x="3355644" y="5080943"/>
                </a:cubicBezTo>
                <a:close/>
                <a:moveTo>
                  <a:pt x="1960248" y="5110963"/>
                </a:moveTo>
                <a:cubicBezTo>
                  <a:pt x="1891202" y="5111593"/>
                  <a:pt x="1834703" y="5055728"/>
                  <a:pt x="1834703" y="4986675"/>
                </a:cubicBezTo>
                <a:cubicBezTo>
                  <a:pt x="1834703" y="4917621"/>
                  <a:pt x="1890573" y="4861124"/>
                  <a:pt x="1959619" y="4861124"/>
                </a:cubicBezTo>
                <a:cubicBezTo>
                  <a:pt x="2028671" y="4860495"/>
                  <a:pt x="2085164" y="4916369"/>
                  <a:pt x="2085164" y="4985415"/>
                </a:cubicBezTo>
                <a:cubicBezTo>
                  <a:pt x="2085164" y="5054468"/>
                  <a:pt x="2029300" y="5110963"/>
                  <a:pt x="1960248" y="5110963"/>
                </a:cubicBezTo>
                <a:close/>
                <a:moveTo>
                  <a:pt x="819946" y="5130916"/>
                </a:moveTo>
                <a:cubicBezTo>
                  <a:pt x="745871" y="5131539"/>
                  <a:pt x="685609" y="5071904"/>
                  <a:pt x="685609" y="4997831"/>
                </a:cubicBezTo>
                <a:cubicBezTo>
                  <a:pt x="685609" y="4923762"/>
                  <a:pt x="745242" y="4863499"/>
                  <a:pt x="818687" y="4863499"/>
                </a:cubicBezTo>
                <a:cubicBezTo>
                  <a:pt x="892762" y="4862868"/>
                  <a:pt x="952395" y="4922503"/>
                  <a:pt x="953024" y="4996578"/>
                </a:cubicBezTo>
                <a:cubicBezTo>
                  <a:pt x="953653" y="5070653"/>
                  <a:pt x="894014" y="5130916"/>
                  <a:pt x="819946" y="5130916"/>
                </a:cubicBezTo>
                <a:close/>
                <a:moveTo>
                  <a:pt x="2284172" y="5161907"/>
                </a:moveTo>
                <a:cubicBezTo>
                  <a:pt x="2228932" y="5161907"/>
                  <a:pt x="2184363" y="5117967"/>
                  <a:pt x="2184363" y="5062725"/>
                </a:cubicBezTo>
                <a:cubicBezTo>
                  <a:pt x="2183734" y="5008115"/>
                  <a:pt x="2228302" y="4963545"/>
                  <a:pt x="2283543" y="4962916"/>
                </a:cubicBezTo>
                <a:cubicBezTo>
                  <a:pt x="2338783" y="4962916"/>
                  <a:pt x="2383351" y="5006856"/>
                  <a:pt x="2383351" y="5062097"/>
                </a:cubicBezTo>
                <a:cubicBezTo>
                  <a:pt x="2383351" y="5116708"/>
                  <a:pt x="2338783" y="5161907"/>
                  <a:pt x="2284172" y="5161907"/>
                </a:cubicBezTo>
                <a:close/>
                <a:moveTo>
                  <a:pt x="2606705" y="5203204"/>
                </a:moveTo>
                <a:cubicBezTo>
                  <a:pt x="2570927" y="5203204"/>
                  <a:pt x="2541422" y="5173698"/>
                  <a:pt x="2541422" y="5137920"/>
                </a:cubicBezTo>
                <a:cubicBezTo>
                  <a:pt x="2541422" y="5102140"/>
                  <a:pt x="2570298" y="5072634"/>
                  <a:pt x="2606705" y="5072634"/>
                </a:cubicBezTo>
                <a:cubicBezTo>
                  <a:pt x="2642484" y="5072634"/>
                  <a:pt x="2671989" y="5102140"/>
                  <a:pt x="2671989" y="5137920"/>
                </a:cubicBezTo>
                <a:cubicBezTo>
                  <a:pt x="2671989" y="5173698"/>
                  <a:pt x="2642484" y="5203204"/>
                  <a:pt x="2606705" y="5203204"/>
                </a:cubicBezTo>
                <a:close/>
                <a:moveTo>
                  <a:pt x="282554" y="5227222"/>
                </a:moveTo>
                <a:cubicBezTo>
                  <a:pt x="226690" y="5227222"/>
                  <a:pt x="181492" y="5182653"/>
                  <a:pt x="181492" y="5126781"/>
                </a:cubicBezTo>
                <a:cubicBezTo>
                  <a:pt x="180863" y="5071546"/>
                  <a:pt x="226061" y="5026347"/>
                  <a:pt x="281931" y="5025719"/>
                </a:cubicBezTo>
                <a:cubicBezTo>
                  <a:pt x="337795" y="5025719"/>
                  <a:pt x="382993" y="5070916"/>
                  <a:pt x="382993" y="5126157"/>
                </a:cubicBezTo>
                <a:cubicBezTo>
                  <a:pt x="382993" y="5182022"/>
                  <a:pt x="337795" y="5227222"/>
                  <a:pt x="282554" y="5227222"/>
                </a:cubicBezTo>
                <a:close/>
                <a:moveTo>
                  <a:pt x="2928920" y="5278373"/>
                </a:moveTo>
                <a:cubicBezTo>
                  <a:pt x="2894415" y="5278373"/>
                  <a:pt x="2864213" y="5250333"/>
                  <a:pt x="2864213" y="5213666"/>
                </a:cubicBezTo>
                <a:cubicBezTo>
                  <a:pt x="2864213" y="5179162"/>
                  <a:pt x="2894415" y="5148959"/>
                  <a:pt x="2928920" y="5148959"/>
                </a:cubicBezTo>
                <a:cubicBezTo>
                  <a:pt x="2965586" y="5148959"/>
                  <a:pt x="2993626" y="5176999"/>
                  <a:pt x="2993626" y="5213666"/>
                </a:cubicBezTo>
                <a:cubicBezTo>
                  <a:pt x="2993626" y="5250333"/>
                  <a:pt x="2965586" y="5278373"/>
                  <a:pt x="2928920" y="5278373"/>
                </a:cubicBezTo>
                <a:close/>
                <a:moveTo>
                  <a:pt x="3250679" y="5353672"/>
                </a:moveTo>
                <a:cubicBezTo>
                  <a:pt x="3212149" y="5353672"/>
                  <a:pt x="3179998" y="5327960"/>
                  <a:pt x="3179998" y="5289358"/>
                </a:cubicBezTo>
                <a:cubicBezTo>
                  <a:pt x="3179998" y="5250822"/>
                  <a:pt x="3212149" y="5225110"/>
                  <a:pt x="3250679" y="5225110"/>
                </a:cubicBezTo>
                <a:cubicBezTo>
                  <a:pt x="3289273" y="5218665"/>
                  <a:pt x="3321424" y="5250822"/>
                  <a:pt x="3321424" y="5289358"/>
                </a:cubicBezTo>
                <a:cubicBezTo>
                  <a:pt x="3321424" y="5321515"/>
                  <a:pt x="3289273" y="5353672"/>
                  <a:pt x="3250679" y="5353672"/>
                </a:cubicBezTo>
                <a:close/>
                <a:moveTo>
                  <a:pt x="637118" y="5377314"/>
                </a:moveTo>
                <a:cubicBezTo>
                  <a:pt x="553001" y="5377944"/>
                  <a:pt x="483949" y="5309521"/>
                  <a:pt x="483949" y="5225403"/>
                </a:cubicBezTo>
                <a:cubicBezTo>
                  <a:pt x="483949" y="5141285"/>
                  <a:pt x="551743" y="5072239"/>
                  <a:pt x="635859" y="5072239"/>
                </a:cubicBezTo>
                <a:cubicBezTo>
                  <a:pt x="719976" y="5071609"/>
                  <a:pt x="789028" y="5140032"/>
                  <a:pt x="789028" y="5224152"/>
                </a:cubicBezTo>
                <a:cubicBezTo>
                  <a:pt x="789651" y="5308269"/>
                  <a:pt x="721228" y="5377314"/>
                  <a:pt x="637118" y="5377314"/>
                </a:cubicBezTo>
                <a:close/>
                <a:moveTo>
                  <a:pt x="1822594" y="5385068"/>
                </a:moveTo>
                <a:cubicBezTo>
                  <a:pt x="1744751" y="5385068"/>
                  <a:pt x="1680726" y="5322295"/>
                  <a:pt x="1680726" y="5243827"/>
                </a:cubicBezTo>
                <a:cubicBezTo>
                  <a:pt x="1680726" y="5165989"/>
                  <a:pt x="1743499" y="5101958"/>
                  <a:pt x="1821965" y="5101958"/>
                </a:cubicBezTo>
                <a:cubicBezTo>
                  <a:pt x="1899802" y="5101958"/>
                  <a:pt x="1963833" y="5164731"/>
                  <a:pt x="1963833" y="5243198"/>
                </a:cubicBezTo>
                <a:cubicBezTo>
                  <a:pt x="1963833" y="5321038"/>
                  <a:pt x="1900431" y="5385068"/>
                  <a:pt x="1822594" y="5385068"/>
                </a:cubicBezTo>
                <a:close/>
                <a:moveTo>
                  <a:pt x="64027" y="5415148"/>
                </a:moveTo>
                <a:cubicBezTo>
                  <a:pt x="51000" y="5415148"/>
                  <a:pt x="38523" y="5412519"/>
                  <a:pt x="27135" y="5407753"/>
                </a:cubicBezTo>
                <a:lnTo>
                  <a:pt x="0" y="5389675"/>
                </a:lnTo>
                <a:lnTo>
                  <a:pt x="0" y="5250177"/>
                </a:lnTo>
                <a:lnTo>
                  <a:pt x="26253" y="5232443"/>
                </a:lnTo>
                <a:cubicBezTo>
                  <a:pt x="37660" y="5227617"/>
                  <a:pt x="50215" y="5224949"/>
                  <a:pt x="63398" y="5224949"/>
                </a:cubicBezTo>
                <a:cubicBezTo>
                  <a:pt x="116129" y="5224949"/>
                  <a:pt x="158810" y="5267005"/>
                  <a:pt x="158810" y="5319739"/>
                </a:cubicBezTo>
                <a:cubicBezTo>
                  <a:pt x="158810" y="5372467"/>
                  <a:pt x="116758" y="5415148"/>
                  <a:pt x="64027" y="5415148"/>
                </a:cubicBezTo>
                <a:close/>
                <a:moveTo>
                  <a:pt x="2151676" y="5430955"/>
                </a:moveTo>
                <a:cubicBezTo>
                  <a:pt x="2092044" y="5430955"/>
                  <a:pt x="2043083" y="5383253"/>
                  <a:pt x="2043083" y="5322992"/>
                </a:cubicBezTo>
                <a:cubicBezTo>
                  <a:pt x="2043083" y="5263352"/>
                  <a:pt x="2091421" y="5214390"/>
                  <a:pt x="2151054" y="5214390"/>
                </a:cubicBezTo>
                <a:cubicBezTo>
                  <a:pt x="2210686" y="5214390"/>
                  <a:pt x="2259647" y="5262097"/>
                  <a:pt x="2259647" y="5322361"/>
                </a:cubicBezTo>
                <a:cubicBezTo>
                  <a:pt x="2259647" y="5381993"/>
                  <a:pt x="2211315" y="5430955"/>
                  <a:pt x="2151676" y="5430955"/>
                </a:cubicBezTo>
                <a:close/>
                <a:moveTo>
                  <a:pt x="2479474" y="5482904"/>
                </a:moveTo>
                <a:cubicBezTo>
                  <a:pt x="2434275" y="5482904"/>
                  <a:pt x="2397238" y="5446495"/>
                  <a:pt x="2397238" y="5401304"/>
                </a:cubicBezTo>
                <a:cubicBezTo>
                  <a:pt x="2397238" y="5356734"/>
                  <a:pt x="2433646" y="5319697"/>
                  <a:pt x="2478845" y="5319068"/>
                </a:cubicBezTo>
                <a:cubicBezTo>
                  <a:pt x="2524038" y="5319068"/>
                  <a:pt x="2561075" y="5355476"/>
                  <a:pt x="2561075" y="5400674"/>
                </a:cubicBezTo>
                <a:cubicBezTo>
                  <a:pt x="2561075" y="5445874"/>
                  <a:pt x="2524667" y="5482904"/>
                  <a:pt x="2479474" y="5482904"/>
                </a:cubicBezTo>
                <a:close/>
                <a:moveTo>
                  <a:pt x="2805452" y="5542928"/>
                </a:moveTo>
                <a:cubicBezTo>
                  <a:pt x="2769922" y="5542928"/>
                  <a:pt x="2740750" y="5513743"/>
                  <a:pt x="2740750" y="5478225"/>
                </a:cubicBezTo>
                <a:cubicBezTo>
                  <a:pt x="2740750" y="5442707"/>
                  <a:pt x="2768663" y="5413523"/>
                  <a:pt x="2805452" y="5413523"/>
                </a:cubicBezTo>
                <a:cubicBezTo>
                  <a:pt x="2840970" y="5413523"/>
                  <a:pt x="2870155" y="5442707"/>
                  <a:pt x="2870155" y="5478225"/>
                </a:cubicBezTo>
                <a:cubicBezTo>
                  <a:pt x="2870155" y="5513743"/>
                  <a:pt x="2840970" y="5542928"/>
                  <a:pt x="2805452" y="5542928"/>
                </a:cubicBezTo>
                <a:close/>
                <a:moveTo>
                  <a:pt x="432254" y="5561139"/>
                </a:moveTo>
                <a:cubicBezTo>
                  <a:pt x="361320" y="5561139"/>
                  <a:pt x="303568" y="5504015"/>
                  <a:pt x="303568" y="5433082"/>
                </a:cubicBezTo>
                <a:cubicBezTo>
                  <a:pt x="303568" y="5362149"/>
                  <a:pt x="360691" y="5304397"/>
                  <a:pt x="431625" y="5304397"/>
                </a:cubicBezTo>
                <a:cubicBezTo>
                  <a:pt x="502559" y="5304397"/>
                  <a:pt x="560311" y="5361519"/>
                  <a:pt x="560311" y="5432453"/>
                </a:cubicBezTo>
                <a:cubicBezTo>
                  <a:pt x="560311" y="5503388"/>
                  <a:pt x="503189" y="5561139"/>
                  <a:pt x="432254" y="5561139"/>
                </a:cubicBezTo>
                <a:close/>
                <a:moveTo>
                  <a:pt x="1666966" y="5607507"/>
                </a:moveTo>
                <a:cubicBezTo>
                  <a:pt x="1601681" y="5608129"/>
                  <a:pt x="1548950" y="5555400"/>
                  <a:pt x="1548950" y="5490746"/>
                </a:cubicBezTo>
                <a:cubicBezTo>
                  <a:pt x="1548321" y="5426094"/>
                  <a:pt x="1601052" y="5373364"/>
                  <a:pt x="1666337" y="5373364"/>
                </a:cubicBezTo>
                <a:cubicBezTo>
                  <a:pt x="1730992" y="5372734"/>
                  <a:pt x="1783723" y="5425464"/>
                  <a:pt x="1783723" y="5490116"/>
                </a:cubicBezTo>
                <a:cubicBezTo>
                  <a:pt x="1783723" y="5554775"/>
                  <a:pt x="1731621" y="5607507"/>
                  <a:pt x="1666966" y="5607507"/>
                </a:cubicBezTo>
                <a:close/>
                <a:moveTo>
                  <a:pt x="3130114" y="5619540"/>
                </a:moveTo>
                <a:cubicBezTo>
                  <a:pt x="3096147" y="5619540"/>
                  <a:pt x="3065553" y="5592320"/>
                  <a:pt x="3065553" y="5554945"/>
                </a:cubicBezTo>
                <a:cubicBezTo>
                  <a:pt x="3065553" y="5517572"/>
                  <a:pt x="3096147" y="5486978"/>
                  <a:pt x="3126741" y="5490385"/>
                </a:cubicBezTo>
                <a:cubicBezTo>
                  <a:pt x="3164115" y="5490385"/>
                  <a:pt x="3194709" y="5517572"/>
                  <a:pt x="3194709" y="5554945"/>
                </a:cubicBezTo>
                <a:cubicBezTo>
                  <a:pt x="3198116" y="5588947"/>
                  <a:pt x="3167522" y="5619540"/>
                  <a:pt x="3130114" y="5619540"/>
                </a:cubicBezTo>
                <a:close/>
                <a:moveTo>
                  <a:pt x="2001975" y="5659784"/>
                </a:moveTo>
                <a:cubicBezTo>
                  <a:pt x="1954266" y="5659784"/>
                  <a:pt x="1915348" y="5621495"/>
                  <a:pt x="1915348" y="5573786"/>
                </a:cubicBezTo>
                <a:cubicBezTo>
                  <a:pt x="1915348" y="5526707"/>
                  <a:pt x="1953637" y="5487787"/>
                  <a:pt x="2001345" y="5487159"/>
                </a:cubicBezTo>
                <a:cubicBezTo>
                  <a:pt x="2049054" y="5487159"/>
                  <a:pt x="2087972" y="5525448"/>
                  <a:pt x="2087972" y="5573156"/>
                </a:cubicBezTo>
                <a:cubicBezTo>
                  <a:pt x="2087972" y="5620866"/>
                  <a:pt x="2049683" y="5659784"/>
                  <a:pt x="2001975" y="5659784"/>
                </a:cubicBezTo>
                <a:close/>
                <a:moveTo>
                  <a:pt x="2335375" y="5719486"/>
                </a:moveTo>
                <a:cubicBezTo>
                  <a:pt x="2299321" y="5719486"/>
                  <a:pt x="2270353" y="5690517"/>
                  <a:pt x="2270353" y="5655108"/>
                </a:cubicBezTo>
                <a:cubicBezTo>
                  <a:pt x="2270353" y="5619699"/>
                  <a:pt x="2298676" y="5590731"/>
                  <a:pt x="2334730" y="5590086"/>
                </a:cubicBezTo>
                <a:cubicBezTo>
                  <a:pt x="2370783" y="5590086"/>
                  <a:pt x="2399751" y="5619055"/>
                  <a:pt x="2399751" y="5654463"/>
                </a:cubicBezTo>
                <a:cubicBezTo>
                  <a:pt x="2399751" y="5690517"/>
                  <a:pt x="2370783" y="5719486"/>
                  <a:pt x="2335375" y="5719486"/>
                </a:cubicBezTo>
                <a:close/>
                <a:moveTo>
                  <a:pt x="208233" y="5751408"/>
                </a:moveTo>
                <a:cubicBezTo>
                  <a:pt x="135418" y="5751408"/>
                  <a:pt x="76415" y="5693027"/>
                  <a:pt x="75786" y="5620212"/>
                </a:cubicBezTo>
                <a:cubicBezTo>
                  <a:pt x="75786" y="5548018"/>
                  <a:pt x="134789" y="5489015"/>
                  <a:pt x="207610" y="5488386"/>
                </a:cubicBezTo>
                <a:cubicBezTo>
                  <a:pt x="279796" y="5488386"/>
                  <a:pt x="339428" y="5546767"/>
                  <a:pt x="339428" y="5619583"/>
                </a:cubicBezTo>
                <a:cubicBezTo>
                  <a:pt x="339428" y="5691770"/>
                  <a:pt x="281054" y="5751408"/>
                  <a:pt x="208233" y="5751408"/>
                </a:cubicBezTo>
                <a:close/>
                <a:moveTo>
                  <a:pt x="2666078" y="5799312"/>
                </a:moveTo>
                <a:cubicBezTo>
                  <a:pt x="2630548" y="5799312"/>
                  <a:pt x="2601376" y="5770126"/>
                  <a:pt x="2601376" y="5734609"/>
                </a:cubicBezTo>
                <a:cubicBezTo>
                  <a:pt x="2601376" y="5699092"/>
                  <a:pt x="2629289" y="5669907"/>
                  <a:pt x="2666078" y="5669907"/>
                </a:cubicBezTo>
                <a:cubicBezTo>
                  <a:pt x="2701596" y="5669907"/>
                  <a:pt x="2730768" y="5699092"/>
                  <a:pt x="2730768" y="5734609"/>
                </a:cubicBezTo>
                <a:cubicBezTo>
                  <a:pt x="2730768" y="5770126"/>
                  <a:pt x="2701596" y="5799312"/>
                  <a:pt x="2666078" y="5799312"/>
                </a:cubicBezTo>
                <a:close/>
                <a:moveTo>
                  <a:pt x="1492315" y="5868417"/>
                </a:moveTo>
                <a:cubicBezTo>
                  <a:pt x="1413219" y="5869048"/>
                  <a:pt x="1348565" y="5805015"/>
                  <a:pt x="1347936" y="5725296"/>
                </a:cubicBezTo>
                <a:cubicBezTo>
                  <a:pt x="1347936" y="5645569"/>
                  <a:pt x="1411961" y="5581535"/>
                  <a:pt x="1491056" y="5580914"/>
                </a:cubicBezTo>
                <a:cubicBezTo>
                  <a:pt x="1570152" y="5580285"/>
                  <a:pt x="1634806" y="5644310"/>
                  <a:pt x="1635435" y="5724037"/>
                </a:cubicBezTo>
                <a:cubicBezTo>
                  <a:pt x="1636064" y="5803134"/>
                  <a:pt x="1571410" y="5868417"/>
                  <a:pt x="1492315" y="5868417"/>
                </a:cubicBezTo>
                <a:close/>
                <a:moveTo>
                  <a:pt x="2995160" y="5878794"/>
                </a:moveTo>
                <a:cubicBezTo>
                  <a:pt x="2962839" y="5878794"/>
                  <a:pt x="2930464" y="5851871"/>
                  <a:pt x="2930464" y="5814081"/>
                </a:cubicBezTo>
                <a:cubicBezTo>
                  <a:pt x="2930464" y="5776345"/>
                  <a:pt x="2962839" y="5743961"/>
                  <a:pt x="2995160" y="5749367"/>
                </a:cubicBezTo>
                <a:cubicBezTo>
                  <a:pt x="3032886" y="5749367"/>
                  <a:pt x="3059856" y="5776345"/>
                  <a:pt x="3059856" y="5814081"/>
                </a:cubicBezTo>
                <a:cubicBezTo>
                  <a:pt x="3059856" y="5851871"/>
                  <a:pt x="3032886" y="5878794"/>
                  <a:pt x="2995160" y="5878794"/>
                </a:cubicBezTo>
                <a:close/>
                <a:moveTo>
                  <a:pt x="580240" y="5882856"/>
                </a:moveTo>
                <a:cubicBezTo>
                  <a:pt x="499891" y="5882856"/>
                  <a:pt x="433977" y="5817571"/>
                  <a:pt x="433977" y="5737224"/>
                </a:cubicBezTo>
                <a:cubicBezTo>
                  <a:pt x="433348" y="5656245"/>
                  <a:pt x="498633" y="5590961"/>
                  <a:pt x="579611" y="5590961"/>
                </a:cubicBezTo>
                <a:cubicBezTo>
                  <a:pt x="599699" y="5590961"/>
                  <a:pt x="618885" y="5595040"/>
                  <a:pt x="636364" y="5602418"/>
                </a:cubicBezTo>
                <a:lnTo>
                  <a:pt x="669550" y="5624700"/>
                </a:lnTo>
                <a:lnTo>
                  <a:pt x="650469" y="5596632"/>
                </a:lnTo>
                <a:cubicBezTo>
                  <a:pt x="642584" y="5578251"/>
                  <a:pt x="638150" y="5558047"/>
                  <a:pt x="637993" y="5536861"/>
                </a:cubicBezTo>
                <a:cubicBezTo>
                  <a:pt x="637364" y="5452118"/>
                  <a:pt x="706417" y="5383066"/>
                  <a:pt x="791157" y="5382443"/>
                </a:cubicBezTo>
                <a:lnTo>
                  <a:pt x="829413" y="5389916"/>
                </a:lnTo>
                <a:lnTo>
                  <a:pt x="825795" y="5384597"/>
                </a:lnTo>
                <a:cubicBezTo>
                  <a:pt x="816978" y="5363998"/>
                  <a:pt x="812034" y="5341321"/>
                  <a:pt x="811877" y="5317465"/>
                </a:cubicBezTo>
                <a:cubicBezTo>
                  <a:pt x="811877" y="5222052"/>
                  <a:pt x="889086" y="5144212"/>
                  <a:pt x="983876" y="5144212"/>
                </a:cubicBezTo>
                <a:lnTo>
                  <a:pt x="1003968" y="5148148"/>
                </a:lnTo>
                <a:lnTo>
                  <a:pt x="1003242" y="5147081"/>
                </a:lnTo>
                <a:cubicBezTo>
                  <a:pt x="994738" y="5127162"/>
                  <a:pt x="990030" y="5105231"/>
                  <a:pt x="990030" y="5082165"/>
                </a:cubicBezTo>
                <a:cubicBezTo>
                  <a:pt x="989401" y="4989884"/>
                  <a:pt x="1064098" y="4915179"/>
                  <a:pt x="1156377" y="4914558"/>
                </a:cubicBezTo>
                <a:lnTo>
                  <a:pt x="1157320" y="4914741"/>
                </a:lnTo>
                <a:lnTo>
                  <a:pt x="1147184" y="4899835"/>
                </a:lnTo>
                <a:cubicBezTo>
                  <a:pt x="1138240" y="4878953"/>
                  <a:pt x="1133219" y="4855960"/>
                  <a:pt x="1133063" y="4831793"/>
                </a:cubicBezTo>
                <a:cubicBezTo>
                  <a:pt x="1132591" y="4759290"/>
                  <a:pt x="1176257" y="4697030"/>
                  <a:pt x="1238901" y="4670426"/>
                </a:cubicBezTo>
                <a:lnTo>
                  <a:pt x="1302861" y="4657482"/>
                </a:lnTo>
                <a:lnTo>
                  <a:pt x="1285895" y="4632557"/>
                </a:lnTo>
                <a:cubicBezTo>
                  <a:pt x="1277577" y="4613167"/>
                  <a:pt x="1272908" y="4591824"/>
                  <a:pt x="1272751" y="4569384"/>
                </a:cubicBezTo>
                <a:cubicBezTo>
                  <a:pt x="1272751" y="4502059"/>
                  <a:pt x="1313356" y="4444268"/>
                  <a:pt x="1371528" y="4419318"/>
                </a:cubicBezTo>
                <a:lnTo>
                  <a:pt x="1433163" y="4406496"/>
                </a:lnTo>
                <a:lnTo>
                  <a:pt x="1430650" y="4404815"/>
                </a:lnTo>
                <a:cubicBezTo>
                  <a:pt x="1402638" y="4377039"/>
                  <a:pt x="1385219" y="4338595"/>
                  <a:pt x="1385219" y="4296224"/>
                </a:cubicBezTo>
                <a:cubicBezTo>
                  <a:pt x="1384590" y="4210846"/>
                  <a:pt x="1453642" y="4141802"/>
                  <a:pt x="1538381" y="4141802"/>
                </a:cubicBezTo>
                <a:lnTo>
                  <a:pt x="1544525" y="4143007"/>
                </a:lnTo>
                <a:lnTo>
                  <a:pt x="1511406" y="4120864"/>
                </a:lnTo>
                <a:cubicBezTo>
                  <a:pt x="1484021" y="4093713"/>
                  <a:pt x="1467073" y="4056207"/>
                  <a:pt x="1467073" y="4014775"/>
                </a:cubicBezTo>
                <a:cubicBezTo>
                  <a:pt x="1467073" y="3952631"/>
                  <a:pt x="1504503" y="3898963"/>
                  <a:pt x="1558705" y="3876012"/>
                </a:cubicBezTo>
                <a:lnTo>
                  <a:pt x="1607131" y="3866259"/>
                </a:lnTo>
                <a:lnTo>
                  <a:pt x="1562279" y="3836312"/>
                </a:lnTo>
                <a:cubicBezTo>
                  <a:pt x="1534268" y="3808613"/>
                  <a:pt x="1516849" y="3770324"/>
                  <a:pt x="1516849" y="3727962"/>
                </a:cubicBezTo>
                <a:cubicBezTo>
                  <a:pt x="1516849" y="3663922"/>
                  <a:pt x="1555336" y="3609076"/>
                  <a:pt x="1610332" y="3585656"/>
                </a:cubicBezTo>
                <a:lnTo>
                  <a:pt x="1647563" y="3578094"/>
                </a:lnTo>
                <a:lnTo>
                  <a:pt x="1639313" y="3576431"/>
                </a:lnTo>
                <a:cubicBezTo>
                  <a:pt x="1584849" y="3553451"/>
                  <a:pt x="1546361" y="3499662"/>
                  <a:pt x="1546361" y="3437058"/>
                </a:cubicBezTo>
                <a:cubicBezTo>
                  <a:pt x="1546361" y="3374450"/>
                  <a:pt x="1584141" y="3320666"/>
                  <a:pt x="1638517" y="3297425"/>
                </a:cubicBezTo>
                <a:lnTo>
                  <a:pt x="1680874" y="3288643"/>
                </a:lnTo>
                <a:lnTo>
                  <a:pt x="1642437" y="3281111"/>
                </a:lnTo>
                <a:cubicBezTo>
                  <a:pt x="1589709" y="3259067"/>
                  <a:pt x="1552518" y="3206813"/>
                  <a:pt x="1552046" y="3146080"/>
                </a:cubicBezTo>
                <a:cubicBezTo>
                  <a:pt x="1551417" y="3065122"/>
                  <a:pt x="1617330" y="2998585"/>
                  <a:pt x="1698937" y="2997956"/>
                </a:cubicBezTo>
                <a:cubicBezTo>
                  <a:pt x="1779915" y="2997956"/>
                  <a:pt x="1846451" y="3063870"/>
                  <a:pt x="1846451" y="3144829"/>
                </a:cubicBezTo>
                <a:cubicBezTo>
                  <a:pt x="1846451" y="3205556"/>
                  <a:pt x="1809375" y="3258167"/>
                  <a:pt x="1756674" y="3280650"/>
                </a:cubicBezTo>
                <a:lnTo>
                  <a:pt x="1716184" y="3288913"/>
                </a:lnTo>
                <a:lnTo>
                  <a:pt x="1756509" y="3297061"/>
                </a:lnTo>
                <a:cubicBezTo>
                  <a:pt x="1810826" y="3320040"/>
                  <a:pt x="1849078" y="3373821"/>
                  <a:pt x="1849550" y="3436433"/>
                </a:cubicBezTo>
                <a:cubicBezTo>
                  <a:pt x="1849550" y="3499037"/>
                  <a:pt x="1811416" y="3553178"/>
                  <a:pt x="1757129" y="3576332"/>
                </a:cubicBezTo>
                <a:lnTo>
                  <a:pt x="1721353" y="3583624"/>
                </a:lnTo>
                <a:lnTo>
                  <a:pt x="1729804" y="3585283"/>
                </a:lnTo>
                <a:cubicBezTo>
                  <a:pt x="1785003" y="3608410"/>
                  <a:pt x="1823963" y="3663140"/>
                  <a:pt x="1824435" y="3726698"/>
                </a:cubicBezTo>
                <a:cubicBezTo>
                  <a:pt x="1824435" y="3790253"/>
                  <a:pt x="1785948" y="3844983"/>
                  <a:pt x="1730952" y="3868639"/>
                </a:cubicBezTo>
                <a:lnTo>
                  <a:pt x="1680961" y="3879090"/>
                </a:lnTo>
                <a:lnTo>
                  <a:pt x="1724131" y="3908063"/>
                </a:lnTo>
                <a:cubicBezTo>
                  <a:pt x="1751436" y="3935213"/>
                  <a:pt x="1768385" y="3972718"/>
                  <a:pt x="1768385" y="4014150"/>
                </a:cubicBezTo>
                <a:cubicBezTo>
                  <a:pt x="1768385" y="4097011"/>
                  <a:pt x="1701220" y="4164807"/>
                  <a:pt x="1618355" y="4164807"/>
                </a:cubicBezTo>
                <a:lnTo>
                  <a:pt x="1613709" y="4163874"/>
                </a:lnTo>
                <a:lnTo>
                  <a:pt x="1647370" y="4186372"/>
                </a:lnTo>
                <a:cubicBezTo>
                  <a:pt x="1675382" y="4214147"/>
                  <a:pt x="1692801" y="4252596"/>
                  <a:pt x="1692801" y="4294968"/>
                </a:cubicBezTo>
                <a:cubicBezTo>
                  <a:pt x="1693273" y="4358527"/>
                  <a:pt x="1654549" y="4413249"/>
                  <a:pt x="1599408" y="4436910"/>
                </a:cubicBezTo>
                <a:lnTo>
                  <a:pt x="1543097" y="4448660"/>
                </a:lnTo>
                <a:lnTo>
                  <a:pt x="1549971" y="4453252"/>
                </a:lnTo>
                <a:cubicBezTo>
                  <a:pt x="1579553" y="4482597"/>
                  <a:pt x="1597914" y="4523246"/>
                  <a:pt x="1597914" y="4568131"/>
                </a:cubicBezTo>
                <a:cubicBezTo>
                  <a:pt x="1598386" y="4635451"/>
                  <a:pt x="1557542" y="4693596"/>
                  <a:pt x="1499223" y="4718461"/>
                </a:cubicBezTo>
                <a:lnTo>
                  <a:pt x="1445826" y="4729330"/>
                </a:lnTo>
                <a:lnTo>
                  <a:pt x="1468306" y="4762495"/>
                </a:lnTo>
                <a:cubicBezTo>
                  <a:pt x="1477173" y="4783375"/>
                  <a:pt x="1482077" y="4806366"/>
                  <a:pt x="1482077" y="4830536"/>
                </a:cubicBezTo>
                <a:cubicBezTo>
                  <a:pt x="1482706" y="4926583"/>
                  <a:pt x="1404869" y="5005674"/>
                  <a:pt x="1308199" y="5005674"/>
                </a:cubicBezTo>
                <a:lnTo>
                  <a:pt x="1302861" y="5004626"/>
                </a:lnTo>
                <a:lnTo>
                  <a:pt x="1310505" y="5015893"/>
                </a:lnTo>
                <a:cubicBezTo>
                  <a:pt x="1319038" y="5035864"/>
                  <a:pt x="1323825" y="5057835"/>
                  <a:pt x="1323982" y="5080903"/>
                </a:cubicBezTo>
                <a:cubicBezTo>
                  <a:pt x="1324611" y="5173185"/>
                  <a:pt x="1249908" y="5247884"/>
                  <a:pt x="1157635" y="5248512"/>
                </a:cubicBezTo>
                <a:lnTo>
                  <a:pt x="1140879" y="5245163"/>
                </a:lnTo>
                <a:lnTo>
                  <a:pt x="1143480" y="5248995"/>
                </a:lnTo>
                <a:cubicBezTo>
                  <a:pt x="1152268" y="5269642"/>
                  <a:pt x="1157133" y="5292358"/>
                  <a:pt x="1157133" y="5316214"/>
                </a:cubicBezTo>
                <a:cubicBezTo>
                  <a:pt x="1157133" y="5411633"/>
                  <a:pt x="1080547" y="5489471"/>
                  <a:pt x="985134" y="5489471"/>
                </a:cubicBezTo>
                <a:lnTo>
                  <a:pt x="934152" y="5479265"/>
                </a:lnTo>
                <a:lnTo>
                  <a:pt x="945579" y="5535604"/>
                </a:lnTo>
                <a:cubicBezTo>
                  <a:pt x="946208" y="5620350"/>
                  <a:pt x="877155" y="5690026"/>
                  <a:pt x="792415" y="5690026"/>
                </a:cubicBezTo>
                <a:cubicBezTo>
                  <a:pt x="771228" y="5690183"/>
                  <a:pt x="751023" y="5685984"/>
                  <a:pt x="732623" y="5678276"/>
                </a:cubicBezTo>
                <a:lnTo>
                  <a:pt x="696944" y="5654361"/>
                </a:lnTo>
                <a:lnTo>
                  <a:pt x="714319" y="5679942"/>
                </a:lnTo>
                <a:cubicBezTo>
                  <a:pt x="721754" y="5697361"/>
                  <a:pt x="725873" y="5716508"/>
                  <a:pt x="725873" y="5736595"/>
                </a:cubicBezTo>
                <a:cubicBezTo>
                  <a:pt x="725873" y="5816949"/>
                  <a:pt x="660588" y="5882856"/>
                  <a:pt x="580240" y="5882856"/>
                </a:cubicBezTo>
                <a:close/>
                <a:moveTo>
                  <a:pt x="1835066" y="5906921"/>
                </a:moveTo>
                <a:cubicBezTo>
                  <a:pt x="1783593" y="5907548"/>
                  <a:pt x="1740904" y="5865490"/>
                  <a:pt x="1740904" y="5813388"/>
                </a:cubicBezTo>
                <a:cubicBezTo>
                  <a:pt x="1740904" y="5761286"/>
                  <a:pt x="1782963" y="5719226"/>
                  <a:pt x="1834436" y="5719226"/>
                </a:cubicBezTo>
                <a:cubicBezTo>
                  <a:pt x="1885915" y="5719226"/>
                  <a:pt x="1928598" y="5760656"/>
                  <a:pt x="1928598" y="5812758"/>
                </a:cubicBezTo>
                <a:cubicBezTo>
                  <a:pt x="1929227" y="5864237"/>
                  <a:pt x="1887168" y="5906921"/>
                  <a:pt x="1835066" y="5906921"/>
                </a:cubicBezTo>
                <a:close/>
                <a:moveTo>
                  <a:pt x="0" y="5908550"/>
                </a:moveTo>
                <a:lnTo>
                  <a:pt x="0" y="5658693"/>
                </a:lnTo>
                <a:lnTo>
                  <a:pt x="16628" y="5662012"/>
                </a:lnTo>
                <a:cubicBezTo>
                  <a:pt x="64118" y="5681844"/>
                  <a:pt x="97661" y="5728336"/>
                  <a:pt x="97661" y="5782949"/>
                </a:cubicBezTo>
                <a:cubicBezTo>
                  <a:pt x="97661" y="5837559"/>
                  <a:pt x="64826" y="5884755"/>
                  <a:pt x="17686" y="5904940"/>
                </a:cubicBezTo>
                <a:close/>
                <a:moveTo>
                  <a:pt x="2174916" y="5963402"/>
                </a:moveTo>
                <a:cubicBezTo>
                  <a:pt x="2139507" y="5963402"/>
                  <a:pt x="2109894" y="5934432"/>
                  <a:pt x="2109894" y="5899023"/>
                </a:cubicBezTo>
                <a:cubicBezTo>
                  <a:pt x="2109894" y="5862969"/>
                  <a:pt x="2138862" y="5834002"/>
                  <a:pt x="2174271" y="5834002"/>
                </a:cubicBezTo>
                <a:cubicBezTo>
                  <a:pt x="2210324" y="5834002"/>
                  <a:pt x="2239292" y="5862969"/>
                  <a:pt x="2239292" y="5898379"/>
                </a:cubicBezTo>
                <a:cubicBezTo>
                  <a:pt x="2239292" y="5934432"/>
                  <a:pt x="2210963" y="5963402"/>
                  <a:pt x="2174916" y="5963402"/>
                </a:cubicBezTo>
                <a:close/>
                <a:moveTo>
                  <a:pt x="944170" y="5981628"/>
                </a:moveTo>
                <a:cubicBezTo>
                  <a:pt x="868844" y="5981628"/>
                  <a:pt x="806700" y="5920735"/>
                  <a:pt x="806700" y="5844773"/>
                </a:cubicBezTo>
                <a:cubicBezTo>
                  <a:pt x="806071" y="5768818"/>
                  <a:pt x="866962" y="5707303"/>
                  <a:pt x="943541" y="5707303"/>
                </a:cubicBezTo>
                <a:cubicBezTo>
                  <a:pt x="962374" y="5707303"/>
                  <a:pt x="980383" y="5711109"/>
                  <a:pt x="996802" y="5718003"/>
                </a:cubicBezTo>
                <a:lnTo>
                  <a:pt x="1032709" y="5742017"/>
                </a:lnTo>
                <a:lnTo>
                  <a:pt x="1000297" y="5694280"/>
                </a:lnTo>
                <a:cubicBezTo>
                  <a:pt x="992265" y="5675517"/>
                  <a:pt x="987754" y="5654878"/>
                  <a:pt x="987598" y="5633221"/>
                </a:cubicBezTo>
                <a:cubicBezTo>
                  <a:pt x="986969" y="5545970"/>
                  <a:pt x="1057274" y="5475666"/>
                  <a:pt x="1143900" y="5475666"/>
                </a:cubicBezTo>
                <a:lnTo>
                  <a:pt x="1182349" y="5483194"/>
                </a:lnTo>
                <a:lnTo>
                  <a:pt x="1173854" y="5470670"/>
                </a:lnTo>
                <a:cubicBezTo>
                  <a:pt x="1165321" y="5450701"/>
                  <a:pt x="1160536" y="5428734"/>
                  <a:pt x="1160380" y="5405666"/>
                </a:cubicBezTo>
                <a:cubicBezTo>
                  <a:pt x="1159751" y="5313388"/>
                  <a:pt x="1234448" y="5238060"/>
                  <a:pt x="1326727" y="5238060"/>
                </a:cubicBezTo>
                <a:lnTo>
                  <a:pt x="1346608" y="5241952"/>
                </a:lnTo>
                <a:lnTo>
                  <a:pt x="1337756" y="5228905"/>
                </a:lnTo>
                <a:cubicBezTo>
                  <a:pt x="1329223" y="5208936"/>
                  <a:pt x="1324438" y="5186963"/>
                  <a:pt x="1324282" y="5163893"/>
                </a:cubicBezTo>
                <a:cubicBezTo>
                  <a:pt x="1323653" y="5071614"/>
                  <a:pt x="1398350" y="4996287"/>
                  <a:pt x="1490629" y="4996287"/>
                </a:cubicBezTo>
                <a:lnTo>
                  <a:pt x="1513231" y="5000811"/>
                </a:lnTo>
                <a:lnTo>
                  <a:pt x="1492209" y="4969814"/>
                </a:lnTo>
                <a:cubicBezTo>
                  <a:pt x="1484343" y="4951335"/>
                  <a:pt x="1479988" y="4931011"/>
                  <a:pt x="1479988" y="4909668"/>
                </a:cubicBezTo>
                <a:cubicBezTo>
                  <a:pt x="1479359" y="4824288"/>
                  <a:pt x="1548411" y="4754613"/>
                  <a:pt x="1633780" y="4753981"/>
                </a:cubicBezTo>
                <a:lnTo>
                  <a:pt x="1653737" y="4757973"/>
                </a:lnTo>
                <a:lnTo>
                  <a:pt x="1647662" y="4753897"/>
                </a:lnTo>
                <a:cubicBezTo>
                  <a:pt x="1619572" y="4725964"/>
                  <a:pt x="1602153" y="4687357"/>
                  <a:pt x="1602153" y="4644671"/>
                </a:cubicBezTo>
                <a:cubicBezTo>
                  <a:pt x="1601524" y="4559294"/>
                  <a:pt x="1670576" y="4489615"/>
                  <a:pt x="1756574" y="4488988"/>
                </a:cubicBezTo>
                <a:lnTo>
                  <a:pt x="1778451" y="4493388"/>
                </a:lnTo>
                <a:lnTo>
                  <a:pt x="1751682" y="4475444"/>
                </a:lnTo>
                <a:cubicBezTo>
                  <a:pt x="1724611" y="4448533"/>
                  <a:pt x="1707819" y="4411336"/>
                  <a:pt x="1707505" y="4370218"/>
                </a:cubicBezTo>
                <a:cubicBezTo>
                  <a:pt x="1707505" y="4287359"/>
                  <a:pt x="1774048" y="4220815"/>
                  <a:pt x="1856277" y="4220194"/>
                </a:cubicBezTo>
                <a:cubicBezTo>
                  <a:pt x="1939142" y="4219565"/>
                  <a:pt x="2006308" y="4286730"/>
                  <a:pt x="2006308" y="4368965"/>
                </a:cubicBezTo>
                <a:cubicBezTo>
                  <a:pt x="2006937" y="4451825"/>
                  <a:pt x="1939765" y="4518996"/>
                  <a:pt x="1857536" y="4518996"/>
                </a:cubicBezTo>
                <a:lnTo>
                  <a:pt x="1837487" y="4514981"/>
                </a:lnTo>
                <a:lnTo>
                  <a:pt x="1866112" y="4534185"/>
                </a:lnTo>
                <a:cubicBezTo>
                  <a:pt x="1894204" y="4562122"/>
                  <a:pt x="1911624" y="4600729"/>
                  <a:pt x="1911624" y="4643414"/>
                </a:cubicBezTo>
                <a:cubicBezTo>
                  <a:pt x="1911624" y="4729411"/>
                  <a:pt x="1842572" y="4799095"/>
                  <a:pt x="1757197" y="4799095"/>
                </a:cubicBezTo>
                <a:lnTo>
                  <a:pt x="1737947" y="4795224"/>
                </a:lnTo>
                <a:lnTo>
                  <a:pt x="1743869" y="4799182"/>
                </a:lnTo>
                <a:cubicBezTo>
                  <a:pt x="1772039" y="4827115"/>
                  <a:pt x="1789459" y="4865719"/>
                  <a:pt x="1789459" y="4908411"/>
                </a:cubicBezTo>
                <a:cubicBezTo>
                  <a:pt x="1789459" y="4994411"/>
                  <a:pt x="1720407" y="5064095"/>
                  <a:pt x="1635032" y="5064095"/>
                </a:cubicBezTo>
                <a:lnTo>
                  <a:pt x="1619800" y="5061030"/>
                </a:lnTo>
                <a:lnTo>
                  <a:pt x="1644757" y="5097714"/>
                </a:lnTo>
                <a:cubicBezTo>
                  <a:pt x="1653290" y="5117635"/>
                  <a:pt x="1658077" y="5139565"/>
                  <a:pt x="1658234" y="5162634"/>
                </a:cubicBezTo>
                <a:cubicBezTo>
                  <a:pt x="1658863" y="5254915"/>
                  <a:pt x="1584160" y="5329619"/>
                  <a:pt x="1491887" y="5330242"/>
                </a:cubicBezTo>
                <a:lnTo>
                  <a:pt x="1472297" y="5326403"/>
                </a:lnTo>
                <a:lnTo>
                  <a:pt x="1481120" y="5339398"/>
                </a:lnTo>
                <a:cubicBezTo>
                  <a:pt x="1489624" y="5359367"/>
                  <a:pt x="1494332" y="5381337"/>
                  <a:pt x="1494332" y="5404407"/>
                </a:cubicBezTo>
                <a:cubicBezTo>
                  <a:pt x="1494961" y="5496683"/>
                  <a:pt x="1420258" y="5572010"/>
                  <a:pt x="1327985" y="5572010"/>
                </a:cubicBezTo>
                <a:lnTo>
                  <a:pt x="1283896" y="5563367"/>
                </a:lnTo>
                <a:lnTo>
                  <a:pt x="1289024" y="5570914"/>
                </a:lnTo>
                <a:cubicBezTo>
                  <a:pt x="1297028" y="5589675"/>
                  <a:pt x="1301461" y="5610314"/>
                  <a:pt x="1301461" y="5631968"/>
                </a:cubicBezTo>
                <a:cubicBezTo>
                  <a:pt x="1302090" y="5718597"/>
                  <a:pt x="1231779" y="5789530"/>
                  <a:pt x="1145153" y="5789530"/>
                </a:cubicBezTo>
                <a:cubicBezTo>
                  <a:pt x="1123496" y="5789690"/>
                  <a:pt x="1102860" y="5785413"/>
                  <a:pt x="1084077" y="5777556"/>
                </a:cubicBezTo>
                <a:lnTo>
                  <a:pt x="1041960" y="5749347"/>
                </a:lnTo>
                <a:lnTo>
                  <a:pt x="1070129" y="5790723"/>
                </a:lnTo>
                <a:cubicBezTo>
                  <a:pt x="1077132" y="5807112"/>
                  <a:pt x="1081016" y="5825160"/>
                  <a:pt x="1081016" y="5844149"/>
                </a:cubicBezTo>
                <a:cubicBezTo>
                  <a:pt x="1081016" y="5919477"/>
                  <a:pt x="1020125" y="5981628"/>
                  <a:pt x="944170" y="5981628"/>
                </a:cubicBezTo>
                <a:close/>
                <a:moveTo>
                  <a:pt x="2511644" y="6047089"/>
                </a:moveTo>
                <a:cubicBezTo>
                  <a:pt x="2475915" y="6047089"/>
                  <a:pt x="2446943" y="6018117"/>
                  <a:pt x="2446943" y="5982389"/>
                </a:cubicBezTo>
                <a:cubicBezTo>
                  <a:pt x="2446943" y="5946660"/>
                  <a:pt x="2475915" y="5917688"/>
                  <a:pt x="2511644" y="5917688"/>
                </a:cubicBezTo>
                <a:cubicBezTo>
                  <a:pt x="2547373" y="5917688"/>
                  <a:pt x="2576345" y="5946660"/>
                  <a:pt x="2576345" y="5982389"/>
                </a:cubicBezTo>
                <a:cubicBezTo>
                  <a:pt x="2576345" y="6018117"/>
                  <a:pt x="2547373" y="6047089"/>
                  <a:pt x="2511644" y="6047089"/>
                </a:cubicBezTo>
                <a:close/>
                <a:moveTo>
                  <a:pt x="351481" y="6062421"/>
                </a:moveTo>
                <a:cubicBezTo>
                  <a:pt x="271756" y="6063051"/>
                  <a:pt x="207102" y="5999019"/>
                  <a:pt x="207102" y="5919290"/>
                </a:cubicBezTo>
                <a:cubicBezTo>
                  <a:pt x="207102" y="5840192"/>
                  <a:pt x="271133" y="5775533"/>
                  <a:pt x="350222" y="5774911"/>
                </a:cubicBezTo>
                <a:cubicBezTo>
                  <a:pt x="429947" y="5774281"/>
                  <a:pt x="493972" y="5838311"/>
                  <a:pt x="494601" y="5918032"/>
                </a:cubicBezTo>
                <a:cubicBezTo>
                  <a:pt x="495230" y="5997137"/>
                  <a:pt x="431199" y="6062421"/>
                  <a:pt x="351481" y="6062421"/>
                </a:cubicBezTo>
                <a:close/>
                <a:moveTo>
                  <a:pt x="1301312" y="6067134"/>
                </a:moveTo>
                <a:cubicBezTo>
                  <a:pt x="1234148" y="6067764"/>
                  <a:pt x="1178907" y="6013146"/>
                  <a:pt x="1178907" y="5945983"/>
                </a:cubicBezTo>
                <a:cubicBezTo>
                  <a:pt x="1178907" y="5878811"/>
                  <a:pt x="1232889" y="5824199"/>
                  <a:pt x="1300689" y="5823570"/>
                </a:cubicBezTo>
                <a:cubicBezTo>
                  <a:pt x="1367224" y="5822942"/>
                  <a:pt x="1422465" y="5877553"/>
                  <a:pt x="1422465" y="5944724"/>
                </a:cubicBezTo>
                <a:cubicBezTo>
                  <a:pt x="1422465" y="6011894"/>
                  <a:pt x="1368483" y="6067134"/>
                  <a:pt x="1301312" y="6067134"/>
                </a:cubicBezTo>
                <a:close/>
                <a:moveTo>
                  <a:pt x="2846317" y="6129704"/>
                </a:moveTo>
                <a:cubicBezTo>
                  <a:pt x="2809936" y="6129704"/>
                  <a:pt x="2781621" y="6099363"/>
                  <a:pt x="2781621" y="6064988"/>
                </a:cubicBezTo>
                <a:cubicBezTo>
                  <a:pt x="2781621" y="6030614"/>
                  <a:pt x="2809936" y="6000292"/>
                  <a:pt x="2846317" y="6000292"/>
                </a:cubicBezTo>
                <a:cubicBezTo>
                  <a:pt x="2882719" y="6000292"/>
                  <a:pt x="2911033" y="6028607"/>
                  <a:pt x="2911033" y="6064988"/>
                </a:cubicBezTo>
                <a:cubicBezTo>
                  <a:pt x="2911033" y="6101390"/>
                  <a:pt x="2880692" y="6129704"/>
                  <a:pt x="2846317" y="6129704"/>
                </a:cubicBezTo>
                <a:close/>
                <a:moveTo>
                  <a:pt x="1652239" y="6134497"/>
                </a:moveTo>
                <a:cubicBezTo>
                  <a:pt x="1600767" y="6134497"/>
                  <a:pt x="1558079" y="6093068"/>
                  <a:pt x="1558079" y="6040967"/>
                </a:cubicBezTo>
                <a:cubicBezTo>
                  <a:pt x="1558079" y="5988866"/>
                  <a:pt x="1600137" y="5946808"/>
                  <a:pt x="1651609" y="5946808"/>
                </a:cubicBezTo>
                <a:cubicBezTo>
                  <a:pt x="1703711" y="5946808"/>
                  <a:pt x="1745769" y="5988237"/>
                  <a:pt x="1745769" y="6040337"/>
                </a:cubicBezTo>
                <a:cubicBezTo>
                  <a:pt x="1745769" y="6091816"/>
                  <a:pt x="1704340" y="6134497"/>
                  <a:pt x="1652239" y="6134497"/>
                </a:cubicBezTo>
                <a:close/>
                <a:moveTo>
                  <a:pt x="727026" y="6180171"/>
                </a:moveTo>
                <a:cubicBezTo>
                  <a:pt x="649184" y="6180171"/>
                  <a:pt x="585788" y="6118022"/>
                  <a:pt x="585788" y="6040185"/>
                </a:cubicBezTo>
                <a:cubicBezTo>
                  <a:pt x="585159" y="5962350"/>
                  <a:pt x="647931" y="5899570"/>
                  <a:pt x="726397" y="5898939"/>
                </a:cubicBezTo>
                <a:cubicBezTo>
                  <a:pt x="803611" y="5898939"/>
                  <a:pt x="866383" y="5961091"/>
                  <a:pt x="867006" y="6038933"/>
                </a:cubicBezTo>
                <a:cubicBezTo>
                  <a:pt x="867006" y="6116769"/>
                  <a:pt x="804863" y="6180171"/>
                  <a:pt x="727026" y="6180171"/>
                </a:cubicBezTo>
                <a:close/>
                <a:moveTo>
                  <a:pt x="1999598" y="6197703"/>
                </a:moveTo>
                <a:cubicBezTo>
                  <a:pt x="1963837" y="6197703"/>
                  <a:pt x="1934391" y="6169313"/>
                  <a:pt x="1934391" y="6133553"/>
                </a:cubicBezTo>
                <a:cubicBezTo>
                  <a:pt x="1934391" y="6097793"/>
                  <a:pt x="1963837" y="6068349"/>
                  <a:pt x="1998544" y="6067295"/>
                </a:cubicBezTo>
                <a:cubicBezTo>
                  <a:pt x="2034306" y="6067295"/>
                  <a:pt x="2063752" y="6096739"/>
                  <a:pt x="2063752" y="6132499"/>
                </a:cubicBezTo>
                <a:cubicBezTo>
                  <a:pt x="2064806" y="6168258"/>
                  <a:pt x="2035360" y="6197703"/>
                  <a:pt x="1999598" y="6197703"/>
                </a:cubicBezTo>
                <a:close/>
                <a:moveTo>
                  <a:pt x="3178847" y="6210654"/>
                </a:moveTo>
                <a:cubicBezTo>
                  <a:pt x="3141865" y="6210654"/>
                  <a:pt x="3114151" y="6182848"/>
                  <a:pt x="3114151" y="6145866"/>
                </a:cubicBezTo>
                <a:cubicBezTo>
                  <a:pt x="3114151" y="6108884"/>
                  <a:pt x="3141865" y="6081170"/>
                  <a:pt x="3178847" y="6081170"/>
                </a:cubicBezTo>
                <a:cubicBezTo>
                  <a:pt x="3215829" y="6081170"/>
                  <a:pt x="3243635" y="6108884"/>
                  <a:pt x="3243635" y="6145866"/>
                </a:cubicBezTo>
                <a:cubicBezTo>
                  <a:pt x="3243635" y="6182848"/>
                  <a:pt x="3215829" y="6210654"/>
                  <a:pt x="3178847" y="6210654"/>
                </a:cubicBezTo>
                <a:close/>
                <a:moveTo>
                  <a:pt x="107572" y="6223995"/>
                </a:moveTo>
                <a:cubicBezTo>
                  <a:pt x="67084" y="6223995"/>
                  <a:pt x="30519" y="6207673"/>
                  <a:pt x="3998" y="6181309"/>
                </a:cubicBezTo>
                <a:lnTo>
                  <a:pt x="0" y="6175430"/>
                </a:lnTo>
                <a:lnTo>
                  <a:pt x="0" y="5979658"/>
                </a:lnTo>
                <a:lnTo>
                  <a:pt x="3211" y="5974866"/>
                </a:lnTo>
                <a:cubicBezTo>
                  <a:pt x="29576" y="5948421"/>
                  <a:pt x="66140" y="5932099"/>
                  <a:pt x="106943" y="5932099"/>
                </a:cubicBezTo>
                <a:cubicBezTo>
                  <a:pt x="187289" y="5932099"/>
                  <a:pt x="253201" y="5997389"/>
                  <a:pt x="253201" y="6077734"/>
                </a:cubicBezTo>
                <a:cubicBezTo>
                  <a:pt x="253201" y="6158085"/>
                  <a:pt x="187918" y="6223995"/>
                  <a:pt x="107572" y="6223995"/>
                </a:cubicBezTo>
                <a:close/>
                <a:moveTo>
                  <a:pt x="1093967" y="6270351"/>
                </a:moveTo>
                <a:cubicBezTo>
                  <a:pt x="1028055" y="6270351"/>
                  <a:pt x="974073" y="6216991"/>
                  <a:pt x="974073" y="6151078"/>
                </a:cubicBezTo>
                <a:cubicBezTo>
                  <a:pt x="974073" y="6085164"/>
                  <a:pt x="1026803" y="6031181"/>
                  <a:pt x="1092714" y="6031181"/>
                </a:cubicBezTo>
                <a:cubicBezTo>
                  <a:pt x="1158626" y="6031181"/>
                  <a:pt x="1212608" y="6084542"/>
                  <a:pt x="1212608" y="6150448"/>
                </a:cubicBezTo>
                <a:cubicBezTo>
                  <a:pt x="1213237" y="6216362"/>
                  <a:pt x="1159878" y="6270351"/>
                  <a:pt x="1093967" y="6270351"/>
                </a:cubicBezTo>
                <a:close/>
                <a:moveTo>
                  <a:pt x="2342587" y="6285418"/>
                </a:moveTo>
                <a:cubicBezTo>
                  <a:pt x="2308082" y="6285418"/>
                  <a:pt x="2277880" y="6257378"/>
                  <a:pt x="2277880" y="6220712"/>
                </a:cubicBezTo>
                <a:cubicBezTo>
                  <a:pt x="2277880" y="6184045"/>
                  <a:pt x="2305920" y="6156005"/>
                  <a:pt x="2342587" y="6156005"/>
                </a:cubicBezTo>
                <a:cubicBezTo>
                  <a:pt x="2379253" y="6156005"/>
                  <a:pt x="2407293" y="6186207"/>
                  <a:pt x="2407293" y="6220712"/>
                </a:cubicBezTo>
                <a:cubicBezTo>
                  <a:pt x="2407293" y="6257378"/>
                  <a:pt x="2379253" y="6285418"/>
                  <a:pt x="2342587" y="6285418"/>
                </a:cubicBezTo>
                <a:close/>
                <a:moveTo>
                  <a:pt x="493774" y="6344519"/>
                </a:moveTo>
                <a:cubicBezTo>
                  <a:pt x="422840" y="6344519"/>
                  <a:pt x="365088" y="6287397"/>
                  <a:pt x="365088" y="6216463"/>
                </a:cubicBezTo>
                <a:cubicBezTo>
                  <a:pt x="365088" y="6145529"/>
                  <a:pt x="422211" y="6088406"/>
                  <a:pt x="493145" y="6087778"/>
                </a:cubicBezTo>
                <a:cubicBezTo>
                  <a:pt x="564079" y="6087778"/>
                  <a:pt x="621831" y="6144900"/>
                  <a:pt x="621831" y="6215834"/>
                </a:cubicBezTo>
                <a:cubicBezTo>
                  <a:pt x="621831" y="6286768"/>
                  <a:pt x="564709" y="6344519"/>
                  <a:pt x="493774" y="6344519"/>
                </a:cubicBezTo>
                <a:close/>
                <a:moveTo>
                  <a:pt x="1454361" y="6357516"/>
                </a:moveTo>
                <a:cubicBezTo>
                  <a:pt x="1397861" y="6358138"/>
                  <a:pt x="1351410" y="6312318"/>
                  <a:pt x="1351410" y="6255196"/>
                </a:cubicBezTo>
                <a:cubicBezTo>
                  <a:pt x="1350781" y="6198074"/>
                  <a:pt x="1396609" y="6151618"/>
                  <a:pt x="1453731" y="6152247"/>
                </a:cubicBezTo>
                <a:cubicBezTo>
                  <a:pt x="1510225" y="6152247"/>
                  <a:pt x="1556682" y="6198074"/>
                  <a:pt x="1556682" y="6254566"/>
                </a:cubicBezTo>
                <a:cubicBezTo>
                  <a:pt x="1557305" y="6311059"/>
                  <a:pt x="1510854" y="6357516"/>
                  <a:pt x="1454361" y="6357516"/>
                </a:cubicBezTo>
                <a:close/>
                <a:moveTo>
                  <a:pt x="2682869" y="6371877"/>
                </a:moveTo>
                <a:cubicBezTo>
                  <a:pt x="2645900" y="6371877"/>
                  <a:pt x="2618150" y="6344173"/>
                  <a:pt x="2618150" y="6307204"/>
                </a:cubicBezTo>
                <a:cubicBezTo>
                  <a:pt x="2618150" y="6270235"/>
                  <a:pt x="2650487" y="6242485"/>
                  <a:pt x="2682869" y="6242485"/>
                </a:cubicBezTo>
                <a:cubicBezTo>
                  <a:pt x="2719838" y="6242485"/>
                  <a:pt x="2747542" y="6270235"/>
                  <a:pt x="2747542" y="6307204"/>
                </a:cubicBezTo>
                <a:cubicBezTo>
                  <a:pt x="2747542" y="6344173"/>
                  <a:pt x="2719838" y="6371877"/>
                  <a:pt x="2682869" y="6371877"/>
                </a:cubicBezTo>
                <a:close/>
                <a:moveTo>
                  <a:pt x="1809156" y="6428951"/>
                </a:moveTo>
                <a:cubicBezTo>
                  <a:pt x="1767728" y="6428951"/>
                  <a:pt x="1733831" y="6395055"/>
                  <a:pt x="1733831" y="6353626"/>
                </a:cubicBezTo>
                <a:cubicBezTo>
                  <a:pt x="1733831" y="6312193"/>
                  <a:pt x="1767098" y="6278296"/>
                  <a:pt x="1809156" y="6278296"/>
                </a:cubicBezTo>
                <a:cubicBezTo>
                  <a:pt x="1850584" y="6277672"/>
                  <a:pt x="1884481" y="6311569"/>
                  <a:pt x="1884481" y="6352998"/>
                </a:cubicBezTo>
                <a:cubicBezTo>
                  <a:pt x="1884481" y="6395055"/>
                  <a:pt x="1850584" y="6428951"/>
                  <a:pt x="1809156" y="6428951"/>
                </a:cubicBezTo>
                <a:close/>
                <a:moveTo>
                  <a:pt x="871999" y="6465599"/>
                </a:moveTo>
                <a:cubicBezTo>
                  <a:pt x="802952" y="6466229"/>
                  <a:pt x="746453" y="6410365"/>
                  <a:pt x="746453" y="6341313"/>
                </a:cubicBezTo>
                <a:cubicBezTo>
                  <a:pt x="746453" y="6272261"/>
                  <a:pt x="801694" y="6215769"/>
                  <a:pt x="870746" y="6215769"/>
                </a:cubicBezTo>
                <a:cubicBezTo>
                  <a:pt x="939793" y="6215139"/>
                  <a:pt x="996292" y="6271009"/>
                  <a:pt x="996292" y="6340055"/>
                </a:cubicBezTo>
                <a:cubicBezTo>
                  <a:pt x="996915" y="6409107"/>
                  <a:pt x="941051" y="6464976"/>
                  <a:pt x="871999" y="6465599"/>
                </a:cubicBezTo>
                <a:close/>
                <a:moveTo>
                  <a:pt x="247710" y="6508631"/>
                </a:moveTo>
                <a:cubicBezTo>
                  <a:pt x="173007" y="6508631"/>
                  <a:pt x="112115" y="6448369"/>
                  <a:pt x="111492" y="6373043"/>
                </a:cubicBezTo>
                <a:cubicBezTo>
                  <a:pt x="110863" y="6297717"/>
                  <a:pt x="171755" y="6236197"/>
                  <a:pt x="247081" y="6236826"/>
                </a:cubicBezTo>
                <a:cubicBezTo>
                  <a:pt x="321778" y="6236826"/>
                  <a:pt x="383299" y="6297088"/>
                  <a:pt x="383299" y="6372414"/>
                </a:cubicBezTo>
                <a:cubicBezTo>
                  <a:pt x="383299" y="6447110"/>
                  <a:pt x="323037" y="6508631"/>
                  <a:pt x="247710" y="6508631"/>
                </a:cubicBezTo>
                <a:close/>
                <a:moveTo>
                  <a:pt x="2160210" y="6513179"/>
                </a:moveTo>
                <a:cubicBezTo>
                  <a:pt x="2123442" y="6513179"/>
                  <a:pt x="2094838" y="6484576"/>
                  <a:pt x="2094838" y="6449159"/>
                </a:cubicBezTo>
                <a:cubicBezTo>
                  <a:pt x="2094838" y="6412391"/>
                  <a:pt x="2124807" y="6383788"/>
                  <a:pt x="2158858" y="6383788"/>
                </a:cubicBezTo>
                <a:cubicBezTo>
                  <a:pt x="2195626" y="6383788"/>
                  <a:pt x="2224230" y="6412391"/>
                  <a:pt x="2224230" y="6447807"/>
                </a:cubicBezTo>
                <a:cubicBezTo>
                  <a:pt x="2224230" y="6484576"/>
                  <a:pt x="2195626" y="6513179"/>
                  <a:pt x="2160210" y="6513179"/>
                </a:cubicBezTo>
                <a:close/>
                <a:moveTo>
                  <a:pt x="1241852" y="6541647"/>
                </a:moveTo>
                <a:cubicBezTo>
                  <a:pt x="1194143" y="6541647"/>
                  <a:pt x="1155225" y="6503359"/>
                  <a:pt x="1155225" y="6455651"/>
                </a:cubicBezTo>
                <a:cubicBezTo>
                  <a:pt x="1155225" y="6407942"/>
                  <a:pt x="1193514" y="6369024"/>
                  <a:pt x="1241222" y="6369024"/>
                </a:cubicBezTo>
                <a:cubicBezTo>
                  <a:pt x="1288931" y="6369024"/>
                  <a:pt x="1327849" y="6407313"/>
                  <a:pt x="1327849" y="6455022"/>
                </a:cubicBezTo>
                <a:cubicBezTo>
                  <a:pt x="1327849" y="6502730"/>
                  <a:pt x="1289560" y="6541647"/>
                  <a:pt x="1241852" y="6541647"/>
                </a:cubicBezTo>
                <a:close/>
                <a:moveTo>
                  <a:pt x="2506494" y="6604865"/>
                </a:moveTo>
                <a:cubicBezTo>
                  <a:pt x="2470534" y="6608468"/>
                  <a:pt x="2441780" y="6579718"/>
                  <a:pt x="2441780" y="6543763"/>
                </a:cubicBezTo>
                <a:cubicBezTo>
                  <a:pt x="2445383" y="6507843"/>
                  <a:pt x="2470534" y="6482696"/>
                  <a:pt x="2506494" y="6475490"/>
                </a:cubicBezTo>
                <a:cubicBezTo>
                  <a:pt x="2542418" y="6475490"/>
                  <a:pt x="2571172" y="6504240"/>
                  <a:pt x="2571172" y="6540196"/>
                </a:cubicBezTo>
                <a:cubicBezTo>
                  <a:pt x="2571172" y="6576115"/>
                  <a:pt x="2542418" y="6604865"/>
                  <a:pt x="2506494" y="6604865"/>
                </a:cubicBezTo>
                <a:close/>
                <a:moveTo>
                  <a:pt x="636161" y="6620104"/>
                </a:moveTo>
                <a:cubicBezTo>
                  <a:pt x="577151" y="6620104"/>
                  <a:pt x="528818" y="6571767"/>
                  <a:pt x="528818" y="6512764"/>
                </a:cubicBezTo>
                <a:cubicBezTo>
                  <a:pt x="528189" y="6453133"/>
                  <a:pt x="575898" y="6404796"/>
                  <a:pt x="635532" y="6405425"/>
                </a:cubicBezTo>
                <a:cubicBezTo>
                  <a:pt x="694542" y="6404796"/>
                  <a:pt x="742875" y="6453133"/>
                  <a:pt x="742875" y="6512135"/>
                </a:cubicBezTo>
                <a:cubicBezTo>
                  <a:pt x="743504" y="6571767"/>
                  <a:pt x="695795" y="6619475"/>
                  <a:pt x="636161" y="6620104"/>
                </a:cubicBezTo>
                <a:close/>
                <a:moveTo>
                  <a:pt x="0" y="6625003"/>
                </a:moveTo>
                <a:lnTo>
                  <a:pt x="0" y="6394664"/>
                </a:lnTo>
                <a:lnTo>
                  <a:pt x="34326" y="6401495"/>
                </a:lnTo>
                <a:cubicBezTo>
                  <a:pt x="76698" y="6419179"/>
                  <a:pt x="106355" y="6460609"/>
                  <a:pt x="106355" y="6509100"/>
                </a:cubicBezTo>
                <a:cubicBezTo>
                  <a:pt x="106827" y="6558067"/>
                  <a:pt x="77284" y="6599967"/>
                  <a:pt x="35208" y="6617856"/>
                </a:cubicBezTo>
                <a:close/>
                <a:moveTo>
                  <a:pt x="1605782" y="6627599"/>
                </a:moveTo>
                <a:cubicBezTo>
                  <a:pt x="1569804" y="6627599"/>
                  <a:pt x="1540767" y="6598564"/>
                  <a:pt x="1540767" y="6563214"/>
                </a:cubicBezTo>
                <a:cubicBezTo>
                  <a:pt x="1540134" y="6527237"/>
                  <a:pt x="1569171" y="6498202"/>
                  <a:pt x="1605149" y="6498202"/>
                </a:cubicBezTo>
                <a:cubicBezTo>
                  <a:pt x="1641134" y="6498202"/>
                  <a:pt x="1670171" y="6527237"/>
                  <a:pt x="1670171" y="6562587"/>
                </a:cubicBezTo>
                <a:cubicBezTo>
                  <a:pt x="1670171" y="6598564"/>
                  <a:pt x="1641134" y="6627599"/>
                  <a:pt x="1605782" y="6627599"/>
                </a:cubicBezTo>
                <a:close/>
                <a:moveTo>
                  <a:pt x="1964034" y="6729553"/>
                </a:moveTo>
                <a:cubicBezTo>
                  <a:pt x="1927278" y="6730905"/>
                  <a:pt x="1898683" y="6700958"/>
                  <a:pt x="1898683" y="6665550"/>
                </a:cubicBezTo>
                <a:cubicBezTo>
                  <a:pt x="1898683" y="6630143"/>
                  <a:pt x="1928642" y="6600183"/>
                  <a:pt x="1962683" y="6600183"/>
                </a:cubicBezTo>
                <a:cubicBezTo>
                  <a:pt x="1999440" y="6598831"/>
                  <a:pt x="2028034" y="6628778"/>
                  <a:pt x="2028034" y="6664185"/>
                </a:cubicBezTo>
                <a:cubicBezTo>
                  <a:pt x="2029399" y="6700958"/>
                  <a:pt x="1999440" y="6729553"/>
                  <a:pt x="1964034" y="6729553"/>
                </a:cubicBezTo>
                <a:close/>
                <a:moveTo>
                  <a:pt x="1016008" y="6740237"/>
                </a:moveTo>
                <a:cubicBezTo>
                  <a:pt x="961397" y="6740237"/>
                  <a:pt x="916199" y="6696297"/>
                  <a:pt x="916199" y="6641058"/>
                </a:cubicBezTo>
                <a:cubicBezTo>
                  <a:pt x="916199" y="6586447"/>
                  <a:pt x="960767" y="6541879"/>
                  <a:pt x="1015378" y="6541249"/>
                </a:cubicBezTo>
                <a:cubicBezTo>
                  <a:pt x="1070619" y="6541249"/>
                  <a:pt x="1115187" y="6585189"/>
                  <a:pt x="1115187" y="6640428"/>
                </a:cubicBezTo>
                <a:cubicBezTo>
                  <a:pt x="1115187" y="6695669"/>
                  <a:pt x="1071248" y="6740237"/>
                  <a:pt x="1016008" y="6740237"/>
                </a:cubicBezTo>
                <a:close/>
                <a:moveTo>
                  <a:pt x="388474" y="6779360"/>
                </a:moveTo>
                <a:cubicBezTo>
                  <a:pt x="326330" y="6779983"/>
                  <a:pt x="276110" y="6729769"/>
                  <a:pt x="276110" y="6668248"/>
                </a:cubicBezTo>
                <a:cubicBezTo>
                  <a:pt x="276110" y="6606104"/>
                  <a:pt x="325701" y="6555884"/>
                  <a:pt x="387221" y="6555884"/>
                </a:cubicBezTo>
                <a:cubicBezTo>
                  <a:pt x="449365" y="6555254"/>
                  <a:pt x="499585" y="6605475"/>
                  <a:pt x="499585" y="6666996"/>
                </a:cubicBezTo>
                <a:cubicBezTo>
                  <a:pt x="500214" y="6729139"/>
                  <a:pt x="449995" y="6779360"/>
                  <a:pt x="388474" y="6779360"/>
                </a:cubicBezTo>
                <a:close/>
                <a:moveTo>
                  <a:pt x="2317645" y="6827001"/>
                </a:moveTo>
                <a:cubicBezTo>
                  <a:pt x="2281685" y="6827001"/>
                  <a:pt x="2252931" y="6798247"/>
                  <a:pt x="2252931" y="6762323"/>
                </a:cubicBezTo>
                <a:cubicBezTo>
                  <a:pt x="2252931" y="6726363"/>
                  <a:pt x="2281685" y="6701213"/>
                  <a:pt x="2317645" y="6697609"/>
                </a:cubicBezTo>
                <a:cubicBezTo>
                  <a:pt x="2353569" y="6697609"/>
                  <a:pt x="2382323" y="6726363"/>
                  <a:pt x="2382323" y="6762323"/>
                </a:cubicBezTo>
                <a:cubicBezTo>
                  <a:pt x="2382323" y="6798247"/>
                  <a:pt x="2353569" y="6827001"/>
                  <a:pt x="2317645" y="6827001"/>
                </a:cubicBezTo>
                <a:close/>
                <a:moveTo>
                  <a:pt x="1388540" y="6844934"/>
                </a:moveTo>
                <a:cubicBezTo>
                  <a:pt x="1340831" y="6844934"/>
                  <a:pt x="1301913" y="6806646"/>
                  <a:pt x="1301913" y="6758937"/>
                </a:cubicBezTo>
                <a:cubicBezTo>
                  <a:pt x="1301913" y="6711229"/>
                  <a:pt x="1340202" y="6672940"/>
                  <a:pt x="1387910" y="6672311"/>
                </a:cubicBezTo>
                <a:cubicBezTo>
                  <a:pt x="1435619" y="6672311"/>
                  <a:pt x="1474537" y="6710600"/>
                  <a:pt x="1474537" y="6758308"/>
                </a:cubicBezTo>
                <a:cubicBezTo>
                  <a:pt x="1474537" y="6806016"/>
                  <a:pt x="1436248" y="6844934"/>
                  <a:pt x="1388540" y="6844934"/>
                </a:cubicBezTo>
                <a:close/>
                <a:moveTo>
                  <a:pt x="778121" y="6891725"/>
                </a:moveTo>
                <a:cubicBezTo>
                  <a:pt x="732922" y="6891725"/>
                  <a:pt x="695885" y="6855317"/>
                  <a:pt x="695885" y="6810125"/>
                </a:cubicBezTo>
                <a:cubicBezTo>
                  <a:pt x="695885" y="6764926"/>
                  <a:pt x="732293" y="6728517"/>
                  <a:pt x="777492" y="6727888"/>
                </a:cubicBezTo>
                <a:cubicBezTo>
                  <a:pt x="822685" y="6727888"/>
                  <a:pt x="859722" y="6764297"/>
                  <a:pt x="859722" y="6809495"/>
                </a:cubicBezTo>
                <a:cubicBezTo>
                  <a:pt x="859722" y="6854694"/>
                  <a:pt x="823314" y="6891725"/>
                  <a:pt x="778121" y="6891725"/>
                </a:cubicBezTo>
                <a:close/>
                <a:moveTo>
                  <a:pt x="129309" y="6896031"/>
                </a:moveTo>
                <a:cubicBezTo>
                  <a:pt x="78466" y="6896031"/>
                  <a:pt x="36408" y="6854602"/>
                  <a:pt x="36408" y="6803129"/>
                </a:cubicBezTo>
                <a:cubicBezTo>
                  <a:pt x="36408" y="6752279"/>
                  <a:pt x="77837" y="6710220"/>
                  <a:pt x="128686" y="6710220"/>
                </a:cubicBezTo>
                <a:cubicBezTo>
                  <a:pt x="180157" y="6709591"/>
                  <a:pt x="221586" y="6751027"/>
                  <a:pt x="222215" y="6802500"/>
                </a:cubicBezTo>
                <a:cubicBezTo>
                  <a:pt x="222215" y="6853972"/>
                  <a:pt x="180786" y="6895402"/>
                  <a:pt x="129309" y="6896031"/>
                </a:cubicBezTo>
                <a:close/>
                <a:moveTo>
                  <a:pt x="1754959" y="6933471"/>
                </a:moveTo>
                <a:cubicBezTo>
                  <a:pt x="1718973" y="6933471"/>
                  <a:pt x="1689840" y="6904337"/>
                  <a:pt x="1689840" y="6868349"/>
                </a:cubicBezTo>
                <a:cubicBezTo>
                  <a:pt x="1689840" y="6833221"/>
                  <a:pt x="1718114" y="6803228"/>
                  <a:pt x="1754959" y="6804087"/>
                </a:cubicBezTo>
                <a:cubicBezTo>
                  <a:pt x="1790945" y="6803228"/>
                  <a:pt x="1820077" y="6832362"/>
                  <a:pt x="1820077" y="6868349"/>
                </a:cubicBezTo>
                <a:cubicBezTo>
                  <a:pt x="1820077" y="6904337"/>
                  <a:pt x="1790945" y="6933471"/>
                  <a:pt x="1754959" y="6933471"/>
                </a:cubicBezTo>
                <a:close/>
                <a:moveTo>
                  <a:pt x="608501" y="6994525"/>
                </a:moveTo>
                <a:lnTo>
                  <a:pt x="448954" y="6994525"/>
                </a:lnTo>
                <a:lnTo>
                  <a:pt x="442420" y="6962396"/>
                </a:lnTo>
                <a:cubicBezTo>
                  <a:pt x="441791" y="6914688"/>
                  <a:pt x="480716" y="6875770"/>
                  <a:pt x="528419" y="6875770"/>
                </a:cubicBezTo>
                <a:cubicBezTo>
                  <a:pt x="576129" y="6875770"/>
                  <a:pt x="615048" y="6914059"/>
                  <a:pt x="615048" y="6961768"/>
                </a:cubicBezTo>
                <a:close/>
                <a:moveTo>
                  <a:pt x="1208063" y="6994525"/>
                </a:moveTo>
                <a:lnTo>
                  <a:pt x="1110791" y="6994525"/>
                </a:lnTo>
                <a:lnTo>
                  <a:pt x="1106799" y="6991851"/>
                </a:lnTo>
                <a:cubicBezTo>
                  <a:pt x="1093303" y="6978434"/>
                  <a:pt x="1084986" y="6959916"/>
                  <a:pt x="1084986" y="6939515"/>
                </a:cubicBezTo>
                <a:cubicBezTo>
                  <a:pt x="1084986" y="6898708"/>
                  <a:pt x="1118254" y="6865439"/>
                  <a:pt x="1159689" y="6865439"/>
                </a:cubicBezTo>
                <a:cubicBezTo>
                  <a:pt x="1200489" y="6865439"/>
                  <a:pt x="1233757" y="6898708"/>
                  <a:pt x="1233757" y="6939515"/>
                </a:cubicBezTo>
                <a:cubicBezTo>
                  <a:pt x="1233757" y="6959916"/>
                  <a:pt x="1225440" y="6978434"/>
                  <a:pt x="1212023" y="6991851"/>
                </a:cubicBezTo>
                <a:close/>
                <a:moveTo>
                  <a:pt x="2176182" y="6994525"/>
                </a:moveTo>
                <a:lnTo>
                  <a:pt x="2055562" y="6994525"/>
                </a:lnTo>
                <a:lnTo>
                  <a:pt x="2051176" y="6973520"/>
                </a:lnTo>
                <a:cubicBezTo>
                  <a:pt x="2051176" y="6936799"/>
                  <a:pt x="2080904" y="6908824"/>
                  <a:pt x="2115872" y="6908824"/>
                </a:cubicBezTo>
                <a:cubicBezTo>
                  <a:pt x="2150840" y="6908824"/>
                  <a:pt x="2180568" y="6936799"/>
                  <a:pt x="2180568" y="6973520"/>
                </a:cubicBezTo>
                <a:close/>
              </a:path>
            </a:pathLst>
          </a:custGeom>
          <a:gradFill flip="none" rotWithShape="1">
            <a:gsLst>
              <a:gs pos="0">
                <a:schemeClr val="accent3"/>
              </a:gs>
              <a:gs pos="100000">
                <a:schemeClr val="accent2">
                  <a:lumMod val="0"/>
                </a:schemeClr>
              </a:gs>
            </a:gsLst>
            <a:path path="circle">
              <a:fillToRect l="100000" t="100000"/>
            </a:path>
            <a:tileRect r="-100000" b="-100000"/>
          </a:gradFill>
          <a:ln w="10076"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Tree>
    <p:extLst>
      <p:ext uri="{BB962C8B-B14F-4D97-AF65-F5344CB8AC3E}">
        <p14:creationId xmlns:p14="http://schemas.microsoft.com/office/powerpoint/2010/main" val="3470803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gradFill>
          <a:gsLst>
            <a:gs pos="0">
              <a:schemeClr val="accent2">
                <a:lumMod val="50000"/>
              </a:schemeClr>
            </a:gs>
            <a:gs pos="42000">
              <a:srgbClr val="0F4E86"/>
            </a:gs>
            <a:gs pos="100000">
              <a:schemeClr val="accent2">
                <a:lumMod val="75000"/>
              </a:schemeClr>
            </a:gs>
          </a:gsLst>
          <a:lin ang="10800000" scaled="1"/>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32415"/>
            <a:ext cx="5557834" cy="784600"/>
          </a:xfrm>
          <a:noFill/>
        </p:spPr>
        <p:txBody>
          <a:bodyPr lIns="0" tIns="91440" rIns="0" bIns="91440" anchor="b" anchorCtr="0"/>
          <a:lstStyle>
            <a:lvl1pPr>
              <a:defRPr sz="3921" b="1" spc="-98"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89"/>
            <a:ext cx="5557834"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a:stretch>
            <a:fillRect/>
          </a:stretch>
        </p:blipFill>
        <p:spPr bwMode="black">
          <a:xfrm>
            <a:off x="572717" y="574354"/>
            <a:ext cx="1339387" cy="286897"/>
          </a:xfrm>
          <a:prstGeom prst="rect">
            <a:avLst/>
          </a:prstGeom>
        </p:spPr>
      </p:pic>
      <p:sp>
        <p:nvSpPr>
          <p:cNvPr id="133" name="Rectangle 132">
            <a:extLst>
              <a:ext uri="{FF2B5EF4-FFF2-40B4-BE49-F238E27FC236}">
                <a16:creationId xmlns:a16="http://schemas.microsoft.com/office/drawing/2014/main" id="{2B820122-4726-4501-8F84-5AEC5CBAEC8B}"/>
              </a:ext>
            </a:extLst>
          </p:cNvPr>
          <p:cNvSpPr/>
          <p:nvPr userDrawn="1"/>
        </p:nvSpPr>
        <p:spPr>
          <a:xfrm>
            <a:off x="588263" y="6598452"/>
            <a:ext cx="1232049" cy="135796"/>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Sans Text"/>
                <a:ea typeface="+mn-ea"/>
                <a:cs typeface="+mn-cs"/>
              </a:rPr>
              <a:t>Microsoft Confidential</a:t>
            </a:r>
          </a:p>
        </p:txBody>
      </p:sp>
      <p:grpSp>
        <p:nvGrpSpPr>
          <p:cNvPr id="2" name="Group 1">
            <a:extLst>
              <a:ext uri="{FF2B5EF4-FFF2-40B4-BE49-F238E27FC236}">
                <a16:creationId xmlns:a16="http://schemas.microsoft.com/office/drawing/2014/main" id="{8560C3DD-9D06-454D-AEB9-E2E97E102A28}"/>
              </a:ext>
              <a:ext uri="{C183D7F6-B498-43B3-948B-1728B52AA6E4}">
                <adec:decorative xmlns:adec="http://schemas.microsoft.com/office/drawing/2017/decorative" val="1"/>
              </a:ext>
            </a:extLst>
          </p:cNvPr>
          <p:cNvGrpSpPr/>
          <p:nvPr userDrawn="1"/>
        </p:nvGrpSpPr>
        <p:grpSpPr>
          <a:xfrm>
            <a:off x="5890628" y="-37115"/>
            <a:ext cx="6301372" cy="6879066"/>
            <a:chOff x="6008747" y="-37854"/>
            <a:chExt cx="6427728" cy="7016010"/>
          </a:xfrm>
        </p:grpSpPr>
        <p:pic>
          <p:nvPicPr>
            <p:cNvPr id="107" name="Picture 106">
              <a:extLst>
                <a:ext uri="{FF2B5EF4-FFF2-40B4-BE49-F238E27FC236}">
                  <a16:creationId xmlns:a16="http://schemas.microsoft.com/office/drawing/2014/main" id="{863E9115-9B04-4D5E-9293-4748BA4D3AF1}"/>
                </a:ext>
                <a:ext uri="{C183D7F6-B498-43B3-948B-1728B52AA6E4}">
                  <adec:decorative xmlns:adec="http://schemas.microsoft.com/office/drawing/2017/decorative" val="1"/>
                </a:ext>
              </a:extLst>
            </p:cNvPr>
            <p:cNvPicPr>
              <a:picLocks noChangeAspect="1"/>
            </p:cNvPicPr>
            <p:nvPr userDrawn="1"/>
          </p:nvPicPr>
          <p:blipFill rotWithShape="1">
            <a:blip r:embed="rId3">
              <a:alphaModFix amt="19000"/>
            </a:blip>
            <a:srcRect r="8486"/>
            <a:stretch/>
          </p:blipFill>
          <p:spPr>
            <a:xfrm>
              <a:off x="6008747" y="-37854"/>
              <a:ext cx="6427728" cy="7016010"/>
            </a:xfrm>
            <a:prstGeom prst="rect">
              <a:avLst/>
            </a:prstGeom>
          </p:spPr>
        </p:pic>
        <p:grpSp>
          <p:nvGrpSpPr>
            <p:cNvPr id="68" name="Group 67">
              <a:extLst>
                <a:ext uri="{FF2B5EF4-FFF2-40B4-BE49-F238E27FC236}">
                  <a16:creationId xmlns:a16="http://schemas.microsoft.com/office/drawing/2014/main" id="{22612AD0-C6FD-414B-95BF-74EDAA717CE8}"/>
                </a:ext>
                <a:ext uri="{C183D7F6-B498-43B3-948B-1728B52AA6E4}">
                  <adec:decorative xmlns:adec="http://schemas.microsoft.com/office/drawing/2017/decorative" val="1"/>
                </a:ext>
              </a:extLst>
            </p:cNvPr>
            <p:cNvGrpSpPr/>
            <p:nvPr userDrawn="1"/>
          </p:nvGrpSpPr>
          <p:grpSpPr>
            <a:xfrm>
              <a:off x="6642181" y="600985"/>
              <a:ext cx="5794294" cy="5792555"/>
              <a:chOff x="5791201" y="469000"/>
              <a:chExt cx="6059254" cy="6057435"/>
            </a:xfrm>
          </p:grpSpPr>
          <p:sp>
            <p:nvSpPr>
              <p:cNvPr id="10" name="Graphic 5">
                <a:extLst>
                  <a:ext uri="{FF2B5EF4-FFF2-40B4-BE49-F238E27FC236}">
                    <a16:creationId xmlns:a16="http://schemas.microsoft.com/office/drawing/2014/main" id="{D1F3EA73-F732-4CB9-AD76-BCD9588CDFB7}"/>
                  </a:ext>
                </a:extLst>
              </p:cNvPr>
              <p:cNvSpPr/>
              <p:nvPr/>
            </p:nvSpPr>
            <p:spPr>
              <a:xfrm>
                <a:off x="5793020" y="469000"/>
                <a:ext cx="6057435" cy="6057435"/>
              </a:xfrm>
              <a:custGeom>
                <a:avLst/>
                <a:gdLst>
                  <a:gd name="connsiteX0" fmla="*/ 6057437 w 6057436"/>
                  <a:gd name="connsiteY0" fmla="*/ 3028718 h 6057435"/>
                  <a:gd name="connsiteX1" fmla="*/ 3028718 w 6057436"/>
                  <a:gd name="connsiteY1" fmla="*/ 6057435 h 6057435"/>
                  <a:gd name="connsiteX2" fmla="*/ 0 w 6057436"/>
                  <a:gd name="connsiteY2" fmla="*/ 3028718 h 6057435"/>
                  <a:gd name="connsiteX3" fmla="*/ 3028718 w 6057436"/>
                  <a:gd name="connsiteY3" fmla="*/ 0 h 6057435"/>
                  <a:gd name="connsiteX4" fmla="*/ 6057437 w 6057436"/>
                  <a:gd name="connsiteY4" fmla="*/ 3028718 h 6057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436" h="6057435">
                    <a:moveTo>
                      <a:pt x="6057437" y="3028718"/>
                    </a:moveTo>
                    <a:cubicBezTo>
                      <a:pt x="6057437" y="4701432"/>
                      <a:pt x="4701433" y="6057435"/>
                      <a:pt x="3028718" y="6057435"/>
                    </a:cubicBezTo>
                    <a:cubicBezTo>
                      <a:pt x="1356003" y="6057435"/>
                      <a:pt x="0" y="4701432"/>
                      <a:pt x="0" y="3028718"/>
                    </a:cubicBezTo>
                    <a:cubicBezTo>
                      <a:pt x="0" y="1356003"/>
                      <a:pt x="1356003" y="0"/>
                      <a:pt x="3028718" y="0"/>
                    </a:cubicBezTo>
                    <a:cubicBezTo>
                      <a:pt x="4701433" y="0"/>
                      <a:pt x="6057437" y="1356003"/>
                      <a:pt x="6057437" y="3028718"/>
                    </a:cubicBezTo>
                    <a:close/>
                  </a:path>
                </a:pathLst>
              </a:custGeom>
              <a:gradFill>
                <a:gsLst>
                  <a:gs pos="0">
                    <a:schemeClr val="accent3">
                      <a:alpha val="37000"/>
                    </a:schemeClr>
                  </a:gs>
                  <a:gs pos="71000">
                    <a:schemeClr val="accent1">
                      <a:lumMod val="75000"/>
                      <a:alpha val="0"/>
                    </a:schemeClr>
                  </a:gs>
                </a:gsLst>
                <a:lin ang="0" scaled="1"/>
              </a:grad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11" name="Graphic 5">
                <a:extLst>
                  <a:ext uri="{FF2B5EF4-FFF2-40B4-BE49-F238E27FC236}">
                    <a16:creationId xmlns:a16="http://schemas.microsoft.com/office/drawing/2014/main" id="{6870A12A-B81D-4F62-A3AB-A735A5D276E3}"/>
                  </a:ext>
                </a:extLst>
              </p:cNvPr>
              <p:cNvGrpSpPr/>
              <p:nvPr/>
            </p:nvGrpSpPr>
            <p:grpSpPr>
              <a:xfrm>
                <a:off x="5791201" y="691285"/>
                <a:ext cx="5997587" cy="5668276"/>
                <a:chOff x="5791201" y="691285"/>
                <a:chExt cx="5997587" cy="5668276"/>
              </a:xfrm>
              <a:gradFill flip="none" rotWithShape="1">
                <a:gsLst>
                  <a:gs pos="0">
                    <a:schemeClr val="bg1"/>
                  </a:gs>
                  <a:gs pos="88000">
                    <a:schemeClr val="accent2">
                      <a:alpha val="0"/>
                    </a:schemeClr>
                  </a:gs>
                </a:gsLst>
                <a:lin ang="0" scaled="1"/>
                <a:tileRect/>
              </a:gradFill>
            </p:grpSpPr>
            <p:sp>
              <p:nvSpPr>
                <p:cNvPr id="12" name="Graphic 5">
                  <a:extLst>
                    <a:ext uri="{FF2B5EF4-FFF2-40B4-BE49-F238E27FC236}">
                      <a16:creationId xmlns:a16="http://schemas.microsoft.com/office/drawing/2014/main" id="{5CC9596A-B8CB-45A5-AACF-5B87C3334F65}"/>
                    </a:ext>
                  </a:extLst>
                </p:cNvPr>
                <p:cNvSpPr/>
                <p:nvPr/>
              </p:nvSpPr>
              <p:spPr>
                <a:xfrm>
                  <a:off x="7275322" y="741137"/>
                  <a:ext cx="4405748" cy="5344652"/>
                </a:xfrm>
                <a:custGeom>
                  <a:avLst/>
                  <a:gdLst>
                    <a:gd name="connsiteX0" fmla="*/ 2329853 w 4405748"/>
                    <a:gd name="connsiteY0" fmla="*/ 3752815 h 5344652"/>
                    <a:gd name="connsiteX1" fmla="*/ 2321669 w 4405748"/>
                    <a:gd name="connsiteY1" fmla="*/ 3760090 h 5344652"/>
                    <a:gd name="connsiteX2" fmla="*/ 2192990 w 4405748"/>
                    <a:gd name="connsiteY2" fmla="*/ 3644143 h 5344652"/>
                    <a:gd name="connsiteX3" fmla="*/ 2159343 w 4405748"/>
                    <a:gd name="connsiteY3" fmla="*/ 3583214 h 5344652"/>
                    <a:gd name="connsiteX4" fmla="*/ 2119330 w 4405748"/>
                    <a:gd name="connsiteY4" fmla="*/ 3532743 h 5344652"/>
                    <a:gd name="connsiteX5" fmla="*/ 2082500 w 4405748"/>
                    <a:gd name="connsiteY5" fmla="*/ 3406793 h 5344652"/>
                    <a:gd name="connsiteX6" fmla="*/ 2024754 w 4405748"/>
                    <a:gd name="connsiteY6" fmla="*/ 3326312 h 5344652"/>
                    <a:gd name="connsiteX7" fmla="*/ 1956095 w 4405748"/>
                    <a:gd name="connsiteY7" fmla="*/ 3171261 h 5344652"/>
                    <a:gd name="connsiteX8" fmla="*/ 2052035 w 4405748"/>
                    <a:gd name="connsiteY8" fmla="*/ 3296757 h 5344652"/>
                    <a:gd name="connsiteX9" fmla="*/ 2074770 w 4405748"/>
                    <a:gd name="connsiteY9" fmla="*/ 3328586 h 5344652"/>
                    <a:gd name="connsiteX10" fmla="*/ 2118875 w 4405748"/>
                    <a:gd name="connsiteY10" fmla="*/ 3360869 h 5344652"/>
                    <a:gd name="connsiteX11" fmla="*/ 2145702 w 4405748"/>
                    <a:gd name="connsiteY11" fmla="*/ 3439531 h 5344652"/>
                    <a:gd name="connsiteX12" fmla="*/ 2166618 w 4405748"/>
                    <a:gd name="connsiteY12" fmla="*/ 3471359 h 5344652"/>
                    <a:gd name="connsiteX13" fmla="*/ 2303027 w 4405748"/>
                    <a:gd name="connsiteY13" fmla="*/ 3628229 h 5344652"/>
                    <a:gd name="connsiteX14" fmla="*/ 2308483 w 4405748"/>
                    <a:gd name="connsiteY14" fmla="*/ 3702344 h 5344652"/>
                    <a:gd name="connsiteX15" fmla="*/ 2330763 w 4405748"/>
                    <a:gd name="connsiteY15" fmla="*/ 3751451 h 5344652"/>
                    <a:gd name="connsiteX16" fmla="*/ 2329853 w 4405748"/>
                    <a:gd name="connsiteY16" fmla="*/ 3752815 h 5344652"/>
                    <a:gd name="connsiteX17" fmla="*/ 2753174 w 4405748"/>
                    <a:gd name="connsiteY17" fmla="*/ 3134886 h 5344652"/>
                    <a:gd name="connsiteX18" fmla="*/ 2640864 w 4405748"/>
                    <a:gd name="connsiteY18" fmla="*/ 3228098 h 5344652"/>
                    <a:gd name="connsiteX19" fmla="*/ 2640409 w 4405748"/>
                    <a:gd name="connsiteY19" fmla="*/ 3154892 h 5344652"/>
                    <a:gd name="connsiteX20" fmla="*/ 2618584 w 4405748"/>
                    <a:gd name="connsiteY20" fmla="*/ 3149891 h 5344652"/>
                    <a:gd name="connsiteX21" fmla="*/ 2585846 w 4405748"/>
                    <a:gd name="connsiteY21" fmla="*/ 3157620 h 5344652"/>
                    <a:gd name="connsiteX22" fmla="*/ 2494907 w 4405748"/>
                    <a:gd name="connsiteY22" fmla="*/ 3070319 h 5344652"/>
                    <a:gd name="connsiteX23" fmla="*/ 2488087 w 4405748"/>
                    <a:gd name="connsiteY23" fmla="*/ 3025304 h 5344652"/>
                    <a:gd name="connsiteX24" fmla="*/ 2541741 w 4405748"/>
                    <a:gd name="connsiteY24" fmla="*/ 3040764 h 5344652"/>
                    <a:gd name="connsiteX25" fmla="*/ 2634498 w 4405748"/>
                    <a:gd name="connsiteY25" fmla="*/ 3107604 h 5344652"/>
                    <a:gd name="connsiteX26" fmla="*/ 2648139 w 4405748"/>
                    <a:gd name="connsiteY26" fmla="*/ 3107604 h 5344652"/>
                    <a:gd name="connsiteX27" fmla="*/ 2671329 w 4405748"/>
                    <a:gd name="connsiteY27" fmla="*/ 3126247 h 5344652"/>
                    <a:gd name="connsiteX28" fmla="*/ 2744989 w 4405748"/>
                    <a:gd name="connsiteY28" fmla="*/ 3125792 h 5344652"/>
                    <a:gd name="connsiteX29" fmla="*/ 2754992 w 4405748"/>
                    <a:gd name="connsiteY29" fmla="*/ 3123518 h 5344652"/>
                    <a:gd name="connsiteX30" fmla="*/ 2753174 w 4405748"/>
                    <a:gd name="connsiteY30" fmla="*/ 3134886 h 5344652"/>
                    <a:gd name="connsiteX31" fmla="*/ 1931996 w 4405748"/>
                    <a:gd name="connsiteY31" fmla="*/ 2851611 h 5344652"/>
                    <a:gd name="connsiteX32" fmla="*/ 1866065 w 4405748"/>
                    <a:gd name="connsiteY32" fmla="*/ 2998932 h 5344652"/>
                    <a:gd name="connsiteX33" fmla="*/ 1772398 w 4405748"/>
                    <a:gd name="connsiteY33" fmla="*/ 2974833 h 5344652"/>
                    <a:gd name="connsiteX34" fmla="*/ 1679640 w 4405748"/>
                    <a:gd name="connsiteY34" fmla="*/ 3011664 h 5344652"/>
                    <a:gd name="connsiteX35" fmla="*/ 1483213 w 4405748"/>
                    <a:gd name="connsiteY35" fmla="*/ 2950280 h 5344652"/>
                    <a:gd name="connsiteX36" fmla="*/ 1363628 w 4405748"/>
                    <a:gd name="connsiteY36" fmla="*/ 2999841 h 5344652"/>
                    <a:gd name="connsiteX37" fmla="*/ 1227675 w 4405748"/>
                    <a:gd name="connsiteY37" fmla="*/ 2996659 h 5344652"/>
                    <a:gd name="connsiteX38" fmla="*/ 1187207 w 4405748"/>
                    <a:gd name="connsiteY38" fmla="*/ 2952099 h 5344652"/>
                    <a:gd name="connsiteX39" fmla="*/ 1083991 w 4405748"/>
                    <a:gd name="connsiteY39" fmla="*/ 2919361 h 5344652"/>
                    <a:gd name="connsiteX40" fmla="*/ 1046251 w 4405748"/>
                    <a:gd name="connsiteY40" fmla="*/ 2772494 h 5344652"/>
                    <a:gd name="connsiteX41" fmla="*/ 1043978 w 4405748"/>
                    <a:gd name="connsiteY41" fmla="*/ 2752033 h 5344652"/>
                    <a:gd name="connsiteX42" fmla="*/ 983049 w 4405748"/>
                    <a:gd name="connsiteY42" fmla="*/ 2732027 h 5344652"/>
                    <a:gd name="connsiteX43" fmla="*/ 715689 w 4405748"/>
                    <a:gd name="connsiteY43" fmla="*/ 2741121 h 5344652"/>
                    <a:gd name="connsiteX44" fmla="*/ 607926 w 4405748"/>
                    <a:gd name="connsiteY44" fmla="*/ 2787045 h 5344652"/>
                    <a:gd name="connsiteX45" fmla="*/ 506984 w 4405748"/>
                    <a:gd name="connsiteY45" fmla="*/ 2775223 h 5344652"/>
                    <a:gd name="connsiteX46" fmla="*/ 540631 w 4405748"/>
                    <a:gd name="connsiteY46" fmla="*/ 2762491 h 5344652"/>
                    <a:gd name="connsiteX47" fmla="*/ 620203 w 4405748"/>
                    <a:gd name="connsiteY47" fmla="*/ 2740666 h 5344652"/>
                    <a:gd name="connsiteX48" fmla="*/ 733422 w 4405748"/>
                    <a:gd name="connsiteY48" fmla="*/ 2640633 h 5344652"/>
                    <a:gd name="connsiteX49" fmla="*/ 681132 w 4405748"/>
                    <a:gd name="connsiteY49" fmla="*/ 2624719 h 5344652"/>
                    <a:gd name="connsiteX50" fmla="*/ 699774 w 4405748"/>
                    <a:gd name="connsiteY50" fmla="*/ 2596983 h 5344652"/>
                    <a:gd name="connsiteX51" fmla="*/ 802081 w 4405748"/>
                    <a:gd name="connsiteY51" fmla="*/ 2529233 h 5344652"/>
                    <a:gd name="connsiteX52" fmla="*/ 822542 w 4405748"/>
                    <a:gd name="connsiteY52" fmla="*/ 2462393 h 5344652"/>
                    <a:gd name="connsiteX53" fmla="*/ 912571 w 4405748"/>
                    <a:gd name="connsiteY53" fmla="*/ 2486037 h 5344652"/>
                    <a:gd name="connsiteX54" fmla="*/ 990779 w 4405748"/>
                    <a:gd name="connsiteY54" fmla="*/ 2434202 h 5344652"/>
                    <a:gd name="connsiteX55" fmla="*/ 1016242 w 4405748"/>
                    <a:gd name="connsiteY55" fmla="*/ 2462848 h 5344652"/>
                    <a:gd name="connsiteX56" fmla="*/ 1081718 w 4405748"/>
                    <a:gd name="connsiteY56" fmla="*/ 2552877 h 5344652"/>
                    <a:gd name="connsiteX57" fmla="*/ 1189935 w 4405748"/>
                    <a:gd name="connsiteY57" fmla="*/ 2635632 h 5344652"/>
                    <a:gd name="connsiteX58" fmla="*/ 1206759 w 4405748"/>
                    <a:gd name="connsiteY58" fmla="*/ 2658821 h 5344652"/>
                    <a:gd name="connsiteX59" fmla="*/ 1140373 w 4405748"/>
                    <a:gd name="connsiteY59" fmla="*/ 2691104 h 5344652"/>
                    <a:gd name="connsiteX60" fmla="*/ 1174930 w 4405748"/>
                    <a:gd name="connsiteY60" fmla="*/ 2784771 h 5344652"/>
                    <a:gd name="connsiteX61" fmla="*/ 1258139 w 4405748"/>
                    <a:gd name="connsiteY61" fmla="*/ 2705655 h 5344652"/>
                    <a:gd name="connsiteX62" fmla="*/ 1308155 w 4405748"/>
                    <a:gd name="connsiteY62" fmla="*/ 2619263 h 5344652"/>
                    <a:gd name="connsiteX63" fmla="*/ 1226765 w 4405748"/>
                    <a:gd name="connsiteY63" fmla="*/ 2543783 h 5344652"/>
                    <a:gd name="connsiteX64" fmla="*/ 1107181 w 4405748"/>
                    <a:gd name="connsiteY64" fmla="*/ 2384640 h 5344652"/>
                    <a:gd name="connsiteX65" fmla="*/ 1114001 w 4405748"/>
                    <a:gd name="connsiteY65" fmla="*/ 2368271 h 5344652"/>
                    <a:gd name="connsiteX66" fmla="*/ 1153559 w 4405748"/>
                    <a:gd name="connsiteY66" fmla="*/ 2411467 h 5344652"/>
                    <a:gd name="connsiteX67" fmla="*/ 1312702 w 4405748"/>
                    <a:gd name="connsiteY67" fmla="*/ 2538327 h 5344652"/>
                    <a:gd name="connsiteX68" fmla="*/ 1354534 w 4405748"/>
                    <a:gd name="connsiteY68" fmla="*/ 2660185 h 5344652"/>
                    <a:gd name="connsiteX69" fmla="*/ 1436379 w 4405748"/>
                    <a:gd name="connsiteY69" fmla="*/ 2794774 h 5344652"/>
                    <a:gd name="connsiteX70" fmla="*/ 1540959 w 4405748"/>
                    <a:gd name="connsiteY70" fmla="*/ 2689740 h 5344652"/>
                    <a:gd name="connsiteX71" fmla="*/ 1496399 w 4405748"/>
                    <a:gd name="connsiteY71" fmla="*/ 2634722 h 5344652"/>
                    <a:gd name="connsiteX72" fmla="*/ 1523680 w 4405748"/>
                    <a:gd name="connsiteY72" fmla="*/ 2600620 h 5344652"/>
                    <a:gd name="connsiteX73" fmla="*/ 1614165 w 4405748"/>
                    <a:gd name="connsiteY73" fmla="*/ 2805232 h 5344652"/>
                    <a:gd name="connsiteX74" fmla="*/ 1496853 w 4405748"/>
                    <a:gd name="connsiteY74" fmla="*/ 2818419 h 5344652"/>
                    <a:gd name="connsiteX75" fmla="*/ 1596886 w 4405748"/>
                    <a:gd name="connsiteY75" fmla="*/ 2865252 h 5344652"/>
                    <a:gd name="connsiteX76" fmla="*/ 1717380 w 4405748"/>
                    <a:gd name="connsiteY76" fmla="*/ 2806142 h 5344652"/>
                    <a:gd name="connsiteX77" fmla="*/ 1840602 w 4405748"/>
                    <a:gd name="connsiteY77" fmla="*/ 2795229 h 5344652"/>
                    <a:gd name="connsiteX78" fmla="*/ 1821051 w 4405748"/>
                    <a:gd name="connsiteY78" fmla="*/ 2852066 h 5344652"/>
                    <a:gd name="connsiteX79" fmla="*/ 1914263 w 4405748"/>
                    <a:gd name="connsiteY79" fmla="*/ 2777041 h 5344652"/>
                    <a:gd name="connsiteX80" fmla="*/ 1931996 w 4405748"/>
                    <a:gd name="connsiteY80" fmla="*/ 2851611 h 5344652"/>
                    <a:gd name="connsiteX81" fmla="*/ 2079771 w 4405748"/>
                    <a:gd name="connsiteY81" fmla="*/ 2501042 h 5344652"/>
                    <a:gd name="connsiteX82" fmla="*/ 2007020 w 4405748"/>
                    <a:gd name="connsiteY82" fmla="*/ 2516956 h 5344652"/>
                    <a:gd name="connsiteX83" fmla="*/ 2004292 w 4405748"/>
                    <a:gd name="connsiteY83" fmla="*/ 2527869 h 5344652"/>
                    <a:gd name="connsiteX84" fmla="*/ 1934269 w 4405748"/>
                    <a:gd name="connsiteY84" fmla="*/ 2507863 h 5344652"/>
                    <a:gd name="connsiteX85" fmla="*/ 1872886 w 4405748"/>
                    <a:gd name="connsiteY85" fmla="*/ 2486492 h 5344652"/>
                    <a:gd name="connsiteX86" fmla="*/ 1811957 w 4405748"/>
                    <a:gd name="connsiteY86" fmla="*/ 2500587 h 5344652"/>
                    <a:gd name="connsiteX87" fmla="*/ 1681459 w 4405748"/>
                    <a:gd name="connsiteY87" fmla="*/ 2552423 h 5344652"/>
                    <a:gd name="connsiteX88" fmla="*/ 1633716 w 4405748"/>
                    <a:gd name="connsiteY88" fmla="*/ 2494222 h 5344652"/>
                    <a:gd name="connsiteX89" fmla="*/ 1709196 w 4405748"/>
                    <a:gd name="connsiteY89" fmla="*/ 2305978 h 5344652"/>
                    <a:gd name="connsiteX90" fmla="*/ 1756939 w 4405748"/>
                    <a:gd name="connsiteY90" fmla="*/ 2355540 h 5344652"/>
                    <a:gd name="connsiteX91" fmla="*/ 1806500 w 4405748"/>
                    <a:gd name="connsiteY91" fmla="*/ 2406920 h 5344652"/>
                    <a:gd name="connsiteX92" fmla="*/ 1896075 w 4405748"/>
                    <a:gd name="connsiteY92" fmla="*/ 2371454 h 5344652"/>
                    <a:gd name="connsiteX93" fmla="*/ 2023389 w 4405748"/>
                    <a:gd name="connsiteY93" fmla="*/ 2430565 h 5344652"/>
                    <a:gd name="connsiteX94" fmla="*/ 2079771 w 4405748"/>
                    <a:gd name="connsiteY94" fmla="*/ 2501042 h 5344652"/>
                    <a:gd name="connsiteX95" fmla="*/ 1908352 w 4405748"/>
                    <a:gd name="connsiteY95" fmla="*/ 2286426 h 5344652"/>
                    <a:gd name="connsiteX96" fmla="*/ 1874704 w 4405748"/>
                    <a:gd name="connsiteY96" fmla="*/ 2317346 h 5344652"/>
                    <a:gd name="connsiteX97" fmla="*/ 1845149 w 4405748"/>
                    <a:gd name="connsiteY97" fmla="*/ 2305978 h 5344652"/>
                    <a:gd name="connsiteX98" fmla="*/ 1859245 w 4405748"/>
                    <a:gd name="connsiteY98" fmla="*/ 2278697 h 5344652"/>
                    <a:gd name="connsiteX99" fmla="*/ 1903350 w 4405748"/>
                    <a:gd name="connsiteY99" fmla="*/ 2260963 h 5344652"/>
                    <a:gd name="connsiteX100" fmla="*/ 1908352 w 4405748"/>
                    <a:gd name="connsiteY100" fmla="*/ 2286426 h 5344652"/>
                    <a:gd name="connsiteX101" fmla="*/ 1122640 w 4405748"/>
                    <a:gd name="connsiteY101" fmla="*/ 1801268 h 5344652"/>
                    <a:gd name="connsiteX102" fmla="*/ 1110818 w 4405748"/>
                    <a:gd name="connsiteY102" fmla="*/ 1819001 h 5344652"/>
                    <a:gd name="connsiteX103" fmla="*/ 1097632 w 4405748"/>
                    <a:gd name="connsiteY103" fmla="*/ 1806724 h 5344652"/>
                    <a:gd name="connsiteX104" fmla="*/ 1087629 w 4405748"/>
                    <a:gd name="connsiteY104" fmla="*/ 1767620 h 5344652"/>
                    <a:gd name="connsiteX105" fmla="*/ 1099451 w 4405748"/>
                    <a:gd name="connsiteY105" fmla="*/ 1726698 h 5344652"/>
                    <a:gd name="connsiteX106" fmla="*/ 1122640 w 4405748"/>
                    <a:gd name="connsiteY106" fmla="*/ 1801268 h 5344652"/>
                    <a:gd name="connsiteX107" fmla="*/ 1421374 w 4405748"/>
                    <a:gd name="connsiteY107" fmla="*/ 1642125 h 5344652"/>
                    <a:gd name="connsiteX108" fmla="*/ 1375905 w 4405748"/>
                    <a:gd name="connsiteY108" fmla="*/ 1688049 h 5344652"/>
                    <a:gd name="connsiteX109" fmla="*/ 1372267 w 4405748"/>
                    <a:gd name="connsiteY109" fmla="*/ 1698507 h 5344652"/>
                    <a:gd name="connsiteX110" fmla="*/ 1354534 w 4405748"/>
                    <a:gd name="connsiteY110" fmla="*/ 1763983 h 5344652"/>
                    <a:gd name="connsiteX111" fmla="*/ 1338165 w 4405748"/>
                    <a:gd name="connsiteY111" fmla="*/ 1795357 h 5344652"/>
                    <a:gd name="connsiteX112" fmla="*/ 1341348 w 4405748"/>
                    <a:gd name="connsiteY112" fmla="*/ 1819910 h 5344652"/>
                    <a:gd name="connsiteX113" fmla="*/ 1326798 w 4405748"/>
                    <a:gd name="connsiteY113" fmla="*/ 1881749 h 5344652"/>
                    <a:gd name="connsiteX114" fmla="*/ 1324979 w 4405748"/>
                    <a:gd name="connsiteY114" fmla="*/ 1882203 h 5344652"/>
                    <a:gd name="connsiteX115" fmla="*/ 1278146 w 4405748"/>
                    <a:gd name="connsiteY115" fmla="*/ 1875383 h 5344652"/>
                    <a:gd name="connsiteX116" fmla="*/ 1196301 w 4405748"/>
                    <a:gd name="connsiteY116" fmla="*/ 1911758 h 5344652"/>
                    <a:gd name="connsiteX117" fmla="*/ 1177203 w 4405748"/>
                    <a:gd name="connsiteY117" fmla="*/ 1925399 h 5344652"/>
                    <a:gd name="connsiteX118" fmla="*/ 1158561 w 4405748"/>
                    <a:gd name="connsiteY118" fmla="*/ 1898118 h 5344652"/>
                    <a:gd name="connsiteX119" fmla="*/ 1302699 w 4405748"/>
                    <a:gd name="connsiteY119" fmla="*/ 1781716 h 5344652"/>
                    <a:gd name="connsiteX120" fmla="*/ 1318613 w 4405748"/>
                    <a:gd name="connsiteY120" fmla="*/ 1718059 h 5344652"/>
                    <a:gd name="connsiteX121" fmla="*/ 1272235 w 4405748"/>
                    <a:gd name="connsiteY121" fmla="*/ 1758527 h 5344652"/>
                    <a:gd name="connsiteX122" fmla="*/ 1268142 w 4405748"/>
                    <a:gd name="connsiteY122" fmla="*/ 1710329 h 5344652"/>
                    <a:gd name="connsiteX123" fmla="*/ 1277691 w 4405748"/>
                    <a:gd name="connsiteY123" fmla="*/ 1698507 h 5344652"/>
                    <a:gd name="connsiteX124" fmla="*/ 1355444 w 4405748"/>
                    <a:gd name="connsiteY124" fmla="*/ 1612570 h 5344652"/>
                    <a:gd name="connsiteX125" fmla="*/ 1369994 w 4405748"/>
                    <a:gd name="connsiteY125" fmla="*/ 1632121 h 5344652"/>
                    <a:gd name="connsiteX126" fmla="*/ 1376814 w 4405748"/>
                    <a:gd name="connsiteY126" fmla="*/ 1632121 h 5344652"/>
                    <a:gd name="connsiteX127" fmla="*/ 1383635 w 4405748"/>
                    <a:gd name="connsiteY127" fmla="*/ 1632121 h 5344652"/>
                    <a:gd name="connsiteX128" fmla="*/ 1390000 w 4405748"/>
                    <a:gd name="connsiteY128" fmla="*/ 1632121 h 5344652"/>
                    <a:gd name="connsiteX129" fmla="*/ 1396366 w 4405748"/>
                    <a:gd name="connsiteY129" fmla="*/ 1632121 h 5344652"/>
                    <a:gd name="connsiteX130" fmla="*/ 1402732 w 4405748"/>
                    <a:gd name="connsiteY130" fmla="*/ 1632121 h 5344652"/>
                    <a:gd name="connsiteX131" fmla="*/ 1409097 w 4405748"/>
                    <a:gd name="connsiteY131" fmla="*/ 1632121 h 5344652"/>
                    <a:gd name="connsiteX132" fmla="*/ 1415008 w 4405748"/>
                    <a:gd name="connsiteY132" fmla="*/ 1632121 h 5344652"/>
                    <a:gd name="connsiteX133" fmla="*/ 1420920 w 4405748"/>
                    <a:gd name="connsiteY133" fmla="*/ 1632121 h 5344652"/>
                    <a:gd name="connsiteX134" fmla="*/ 1421374 w 4405748"/>
                    <a:gd name="connsiteY134" fmla="*/ 1642125 h 5344652"/>
                    <a:gd name="connsiteX135" fmla="*/ 1543687 w 4405748"/>
                    <a:gd name="connsiteY135" fmla="*/ 1608023 h 5344652"/>
                    <a:gd name="connsiteX136" fmla="*/ 1533684 w 4405748"/>
                    <a:gd name="connsiteY136" fmla="*/ 1621664 h 5344652"/>
                    <a:gd name="connsiteX137" fmla="*/ 1501400 w 4405748"/>
                    <a:gd name="connsiteY137" fmla="*/ 1623028 h 5344652"/>
                    <a:gd name="connsiteX138" fmla="*/ 1466389 w 4405748"/>
                    <a:gd name="connsiteY138" fmla="*/ 1622573 h 5344652"/>
                    <a:gd name="connsiteX139" fmla="*/ 1465025 w 4405748"/>
                    <a:gd name="connsiteY139" fmla="*/ 1607568 h 5344652"/>
                    <a:gd name="connsiteX140" fmla="*/ 1534593 w 4405748"/>
                    <a:gd name="connsiteY140" fmla="*/ 1590744 h 5344652"/>
                    <a:gd name="connsiteX141" fmla="*/ 1543687 w 4405748"/>
                    <a:gd name="connsiteY141" fmla="*/ 1608023 h 5344652"/>
                    <a:gd name="connsiteX142" fmla="*/ 1424102 w 4405748"/>
                    <a:gd name="connsiteY142" fmla="*/ 1340663 h 5344652"/>
                    <a:gd name="connsiteX143" fmla="*/ 1378633 w 4405748"/>
                    <a:gd name="connsiteY143" fmla="*/ 1417961 h 5344652"/>
                    <a:gd name="connsiteX144" fmla="*/ 1351351 w 4405748"/>
                    <a:gd name="connsiteY144" fmla="*/ 1464794 h 5344652"/>
                    <a:gd name="connsiteX145" fmla="*/ 1353625 w 4405748"/>
                    <a:gd name="connsiteY145" fmla="*/ 1533908 h 5344652"/>
                    <a:gd name="connsiteX146" fmla="*/ 1358626 w 4405748"/>
                    <a:gd name="connsiteY146" fmla="*/ 1538000 h 5344652"/>
                    <a:gd name="connsiteX147" fmla="*/ 1322251 w 4405748"/>
                    <a:gd name="connsiteY147" fmla="*/ 1595291 h 5344652"/>
                    <a:gd name="connsiteX148" fmla="*/ 1313612 w 4405748"/>
                    <a:gd name="connsiteY148" fmla="*/ 1458428 h 5344652"/>
                    <a:gd name="connsiteX149" fmla="*/ 1369539 w 4405748"/>
                    <a:gd name="connsiteY149" fmla="*/ 1370218 h 5344652"/>
                    <a:gd name="connsiteX150" fmla="*/ 1415463 w 4405748"/>
                    <a:gd name="connsiteY150" fmla="*/ 1323839 h 5344652"/>
                    <a:gd name="connsiteX151" fmla="*/ 1426831 w 4405748"/>
                    <a:gd name="connsiteY151" fmla="*/ 1333387 h 5344652"/>
                    <a:gd name="connsiteX152" fmla="*/ 1424102 w 4405748"/>
                    <a:gd name="connsiteY152" fmla="*/ 1340663 h 5344652"/>
                    <a:gd name="connsiteX153" fmla="*/ 1775126 w 4405748"/>
                    <a:gd name="connsiteY153" fmla="*/ 1301559 h 5344652"/>
                    <a:gd name="connsiteX154" fmla="*/ 1769670 w 4405748"/>
                    <a:gd name="connsiteY154" fmla="*/ 1315200 h 5344652"/>
                    <a:gd name="connsiteX155" fmla="*/ 1748299 w 4405748"/>
                    <a:gd name="connsiteY155" fmla="*/ 1314745 h 5344652"/>
                    <a:gd name="connsiteX156" fmla="*/ 1704194 w 4405748"/>
                    <a:gd name="connsiteY156" fmla="*/ 1311107 h 5344652"/>
                    <a:gd name="connsiteX157" fmla="*/ 1716925 w 4405748"/>
                    <a:gd name="connsiteY157" fmla="*/ 1338844 h 5344652"/>
                    <a:gd name="connsiteX158" fmla="*/ 1730112 w 4405748"/>
                    <a:gd name="connsiteY158" fmla="*/ 1368854 h 5344652"/>
                    <a:gd name="connsiteX159" fmla="*/ 1688280 w 4405748"/>
                    <a:gd name="connsiteY159" fmla="*/ 1345664 h 5344652"/>
                    <a:gd name="connsiteX160" fmla="*/ 1659179 w 4405748"/>
                    <a:gd name="connsiteY160" fmla="*/ 1270640 h 5344652"/>
                    <a:gd name="connsiteX161" fmla="*/ 1760121 w 4405748"/>
                    <a:gd name="connsiteY161" fmla="*/ 1278824 h 5344652"/>
                    <a:gd name="connsiteX162" fmla="*/ 1775126 w 4405748"/>
                    <a:gd name="connsiteY162" fmla="*/ 1301559 h 5344652"/>
                    <a:gd name="connsiteX163" fmla="*/ 2403514 w 4405748"/>
                    <a:gd name="connsiteY163" fmla="*/ 1016011 h 5344652"/>
                    <a:gd name="connsiteX164" fmla="*/ 2398512 w 4405748"/>
                    <a:gd name="connsiteY164" fmla="*/ 1068301 h 5344652"/>
                    <a:gd name="connsiteX165" fmla="*/ 2389418 w 4405748"/>
                    <a:gd name="connsiteY165" fmla="*/ 1063754 h 5344652"/>
                    <a:gd name="connsiteX166" fmla="*/ 2385781 w 4405748"/>
                    <a:gd name="connsiteY166" fmla="*/ 983273 h 5344652"/>
                    <a:gd name="connsiteX167" fmla="*/ 2403514 w 4405748"/>
                    <a:gd name="connsiteY167" fmla="*/ 1016011 h 5344652"/>
                    <a:gd name="connsiteX168" fmla="*/ 3255611 w 4405748"/>
                    <a:gd name="connsiteY168" fmla="*/ 404447 h 5344652"/>
                    <a:gd name="connsiteX169" fmla="*/ 3288349 w 4405748"/>
                    <a:gd name="connsiteY169" fmla="*/ 433548 h 5344652"/>
                    <a:gd name="connsiteX170" fmla="*/ 3241060 w 4405748"/>
                    <a:gd name="connsiteY170" fmla="*/ 398991 h 5344652"/>
                    <a:gd name="connsiteX171" fmla="*/ 3255611 w 4405748"/>
                    <a:gd name="connsiteY171" fmla="*/ 404447 h 5344652"/>
                    <a:gd name="connsiteX172" fmla="*/ 2649049 w 4405748"/>
                    <a:gd name="connsiteY172" fmla="*/ 96165 h 5344652"/>
                    <a:gd name="connsiteX173" fmla="*/ 2651322 w 4405748"/>
                    <a:gd name="connsiteY173" fmla="*/ 98893 h 5344652"/>
                    <a:gd name="connsiteX174" fmla="*/ 2625405 w 4405748"/>
                    <a:gd name="connsiteY174" fmla="*/ 92982 h 5344652"/>
                    <a:gd name="connsiteX175" fmla="*/ 2587665 w 4405748"/>
                    <a:gd name="connsiteY175" fmla="*/ 77977 h 5344652"/>
                    <a:gd name="connsiteX176" fmla="*/ 2629497 w 4405748"/>
                    <a:gd name="connsiteY176" fmla="*/ 87980 h 5344652"/>
                    <a:gd name="connsiteX177" fmla="*/ 2649049 w 4405748"/>
                    <a:gd name="connsiteY177" fmla="*/ 96165 h 5344652"/>
                    <a:gd name="connsiteX178" fmla="*/ 2799552 w 4405748"/>
                    <a:gd name="connsiteY178" fmla="*/ 70247 h 5344652"/>
                    <a:gd name="connsiteX179" fmla="*/ 2495362 w 4405748"/>
                    <a:gd name="connsiteY179" fmla="*/ 9773 h 5344652"/>
                    <a:gd name="connsiteX180" fmla="*/ 2554017 w 4405748"/>
                    <a:gd name="connsiteY180" fmla="*/ 66155 h 5344652"/>
                    <a:gd name="connsiteX181" fmla="*/ 2556291 w 4405748"/>
                    <a:gd name="connsiteY181" fmla="*/ 69792 h 5344652"/>
                    <a:gd name="connsiteX182" fmla="*/ 2556291 w 4405748"/>
                    <a:gd name="connsiteY182" fmla="*/ 69792 h 5344652"/>
                    <a:gd name="connsiteX183" fmla="*/ 2556291 w 4405748"/>
                    <a:gd name="connsiteY183" fmla="*/ 69792 h 5344652"/>
                    <a:gd name="connsiteX184" fmla="*/ 2556291 w 4405748"/>
                    <a:gd name="connsiteY184" fmla="*/ 69792 h 5344652"/>
                    <a:gd name="connsiteX185" fmla="*/ 2556291 w 4405748"/>
                    <a:gd name="connsiteY185" fmla="*/ 69792 h 5344652"/>
                    <a:gd name="connsiteX186" fmla="*/ 2556291 w 4405748"/>
                    <a:gd name="connsiteY186" fmla="*/ 69792 h 5344652"/>
                    <a:gd name="connsiteX187" fmla="*/ 2556291 w 4405748"/>
                    <a:gd name="connsiteY187" fmla="*/ 69792 h 5344652"/>
                    <a:gd name="connsiteX188" fmla="*/ 2556291 w 4405748"/>
                    <a:gd name="connsiteY188" fmla="*/ 69792 h 5344652"/>
                    <a:gd name="connsiteX189" fmla="*/ 2556291 w 4405748"/>
                    <a:gd name="connsiteY189" fmla="*/ 69792 h 5344652"/>
                    <a:gd name="connsiteX190" fmla="*/ 2556291 w 4405748"/>
                    <a:gd name="connsiteY190" fmla="*/ 69792 h 5344652"/>
                    <a:gd name="connsiteX191" fmla="*/ 2556291 w 4405748"/>
                    <a:gd name="connsiteY191" fmla="*/ 69792 h 5344652"/>
                    <a:gd name="connsiteX192" fmla="*/ 2556291 w 4405748"/>
                    <a:gd name="connsiteY192" fmla="*/ 69792 h 5344652"/>
                    <a:gd name="connsiteX193" fmla="*/ 2556291 w 4405748"/>
                    <a:gd name="connsiteY193" fmla="*/ 69792 h 5344652"/>
                    <a:gd name="connsiteX194" fmla="*/ 2556291 w 4405748"/>
                    <a:gd name="connsiteY194" fmla="*/ 69792 h 5344652"/>
                    <a:gd name="connsiteX195" fmla="*/ 2556291 w 4405748"/>
                    <a:gd name="connsiteY195" fmla="*/ 69792 h 5344652"/>
                    <a:gd name="connsiteX196" fmla="*/ 2556291 w 4405748"/>
                    <a:gd name="connsiteY196" fmla="*/ 69792 h 5344652"/>
                    <a:gd name="connsiteX197" fmla="*/ 2651777 w 4405748"/>
                    <a:gd name="connsiteY197" fmla="*/ 129812 h 5344652"/>
                    <a:gd name="connsiteX198" fmla="*/ 2588574 w 4405748"/>
                    <a:gd name="connsiteY198" fmla="*/ 123901 h 5344652"/>
                    <a:gd name="connsiteX199" fmla="*/ 2625405 w 4405748"/>
                    <a:gd name="connsiteY199" fmla="*/ 168006 h 5344652"/>
                    <a:gd name="connsiteX200" fmla="*/ 2572660 w 4405748"/>
                    <a:gd name="connsiteY200" fmla="*/ 170280 h 5344652"/>
                    <a:gd name="connsiteX201" fmla="*/ 2655869 w 4405748"/>
                    <a:gd name="connsiteY201" fmla="*/ 283953 h 5344652"/>
                    <a:gd name="connsiteX202" fmla="*/ 2657688 w 4405748"/>
                    <a:gd name="connsiteY202" fmla="*/ 338517 h 5344652"/>
                    <a:gd name="connsiteX203" fmla="*/ 2705885 w 4405748"/>
                    <a:gd name="connsiteY203" fmla="*/ 368072 h 5344652"/>
                    <a:gd name="connsiteX204" fmla="*/ 2518551 w 4405748"/>
                    <a:gd name="connsiteY204" fmla="*/ 313054 h 5344652"/>
                    <a:gd name="connsiteX205" fmla="*/ 2553108 w 4405748"/>
                    <a:gd name="connsiteY205" fmla="*/ 363979 h 5344652"/>
                    <a:gd name="connsiteX206" fmla="*/ 2518551 w 4405748"/>
                    <a:gd name="connsiteY206" fmla="*/ 404902 h 5344652"/>
                    <a:gd name="connsiteX207" fmla="*/ 2309392 w 4405748"/>
                    <a:gd name="connsiteY207" fmla="*/ 308507 h 5344652"/>
                    <a:gd name="connsiteX208" fmla="*/ 2304845 w 4405748"/>
                    <a:gd name="connsiteY208" fmla="*/ 334879 h 5344652"/>
                    <a:gd name="connsiteX209" fmla="*/ 2064312 w 4405748"/>
                    <a:gd name="connsiteY209" fmla="*/ 244850 h 5344652"/>
                    <a:gd name="connsiteX210" fmla="*/ 2087956 w 4405748"/>
                    <a:gd name="connsiteY210" fmla="*/ 322602 h 5344652"/>
                    <a:gd name="connsiteX211" fmla="*/ 2171620 w 4405748"/>
                    <a:gd name="connsiteY211" fmla="*/ 315327 h 5344652"/>
                    <a:gd name="connsiteX212" fmla="*/ 2158434 w 4405748"/>
                    <a:gd name="connsiteY212" fmla="*/ 280316 h 5344652"/>
                    <a:gd name="connsiteX213" fmla="*/ 2271652 w 4405748"/>
                    <a:gd name="connsiteY213" fmla="*/ 360797 h 5344652"/>
                    <a:gd name="connsiteX214" fmla="*/ 2244825 w 4405748"/>
                    <a:gd name="connsiteY214" fmla="*/ 365344 h 5344652"/>
                    <a:gd name="connsiteX215" fmla="*/ 2298025 w 4405748"/>
                    <a:gd name="connsiteY215" fmla="*/ 618154 h 5344652"/>
                    <a:gd name="connsiteX216" fmla="*/ 2270288 w 4405748"/>
                    <a:gd name="connsiteY216" fmla="*/ 618154 h 5344652"/>
                    <a:gd name="connsiteX217" fmla="*/ 2235732 w 4405748"/>
                    <a:gd name="connsiteY217" fmla="*/ 569956 h 5344652"/>
                    <a:gd name="connsiteX218" fmla="*/ 2223455 w 4405748"/>
                    <a:gd name="connsiteY218" fmla="*/ 594509 h 5344652"/>
                    <a:gd name="connsiteX219" fmla="*/ 2270288 w 4405748"/>
                    <a:gd name="connsiteY219" fmla="*/ 724097 h 5344652"/>
                    <a:gd name="connsiteX220" fmla="*/ 2238460 w 4405748"/>
                    <a:gd name="connsiteY220" fmla="*/ 725461 h 5344652"/>
                    <a:gd name="connsiteX221" fmla="*/ 2220727 w 4405748"/>
                    <a:gd name="connsiteY221" fmla="*/ 675445 h 5344652"/>
                    <a:gd name="connsiteX222" fmla="*/ 2202084 w 4405748"/>
                    <a:gd name="connsiteY222" fmla="*/ 727280 h 5344652"/>
                    <a:gd name="connsiteX223" fmla="*/ 2238460 w 4405748"/>
                    <a:gd name="connsiteY223" fmla="*/ 775478 h 5344652"/>
                    <a:gd name="connsiteX224" fmla="*/ 2156160 w 4405748"/>
                    <a:gd name="connsiteY224" fmla="*/ 715913 h 5344652"/>
                    <a:gd name="connsiteX225" fmla="*/ 2130243 w 4405748"/>
                    <a:gd name="connsiteY225" fmla="*/ 727735 h 5344652"/>
                    <a:gd name="connsiteX226" fmla="*/ 2161616 w 4405748"/>
                    <a:gd name="connsiteY226" fmla="*/ 821857 h 5344652"/>
                    <a:gd name="connsiteX227" fmla="*/ 2248463 w 4405748"/>
                    <a:gd name="connsiteY227" fmla="*/ 990093 h 5344652"/>
                    <a:gd name="connsiteX228" fmla="*/ 1969281 w 4405748"/>
                    <a:gd name="connsiteY228" fmla="*/ 897790 h 5344652"/>
                    <a:gd name="connsiteX229" fmla="*/ 2018388 w 4405748"/>
                    <a:gd name="connsiteY229" fmla="*/ 664532 h 5344652"/>
                    <a:gd name="connsiteX230" fmla="*/ 2002019 w 4405748"/>
                    <a:gd name="connsiteY230" fmla="*/ 575412 h 5344652"/>
                    <a:gd name="connsiteX231" fmla="*/ 2089320 w 4405748"/>
                    <a:gd name="connsiteY231" fmla="*/ 998733 h 5344652"/>
                    <a:gd name="connsiteX232" fmla="*/ 1994289 w 4405748"/>
                    <a:gd name="connsiteY232" fmla="*/ 1027833 h 5344652"/>
                    <a:gd name="connsiteX233" fmla="*/ 1896984 w 4405748"/>
                    <a:gd name="connsiteY233" fmla="*/ 1173790 h 5344652"/>
                    <a:gd name="connsiteX234" fmla="*/ 1870157 w 4405748"/>
                    <a:gd name="connsiteY234" fmla="*/ 1174699 h 5344652"/>
                    <a:gd name="connsiteX235" fmla="*/ 1908806 w 4405748"/>
                    <a:gd name="connsiteY235" fmla="*/ 1056933 h 5344652"/>
                    <a:gd name="connsiteX236" fmla="*/ 1879251 w 4405748"/>
                    <a:gd name="connsiteY236" fmla="*/ 1049658 h 5344652"/>
                    <a:gd name="connsiteX237" fmla="*/ 1845149 w 4405748"/>
                    <a:gd name="connsiteY237" fmla="*/ 1091945 h 5344652"/>
                    <a:gd name="connsiteX238" fmla="*/ 1792405 w 4405748"/>
                    <a:gd name="connsiteY238" fmla="*/ 1101948 h 5344652"/>
                    <a:gd name="connsiteX239" fmla="*/ 1830144 w 4405748"/>
                    <a:gd name="connsiteY239" fmla="*/ 1208347 h 5344652"/>
                    <a:gd name="connsiteX240" fmla="*/ 1803317 w 4405748"/>
                    <a:gd name="connsiteY240" fmla="*/ 1216076 h 5344652"/>
                    <a:gd name="connsiteX241" fmla="*/ 1511858 w 4405748"/>
                    <a:gd name="connsiteY241" fmla="*/ 1031016 h 5344652"/>
                    <a:gd name="connsiteX242" fmla="*/ 1509130 w 4405748"/>
                    <a:gd name="connsiteY242" fmla="*/ 1031016 h 5344652"/>
                    <a:gd name="connsiteX243" fmla="*/ 1509130 w 4405748"/>
                    <a:gd name="connsiteY243" fmla="*/ 1031016 h 5344652"/>
                    <a:gd name="connsiteX244" fmla="*/ 1509130 w 4405748"/>
                    <a:gd name="connsiteY244" fmla="*/ 1031016 h 5344652"/>
                    <a:gd name="connsiteX245" fmla="*/ 1509130 w 4405748"/>
                    <a:gd name="connsiteY245" fmla="*/ 1031016 h 5344652"/>
                    <a:gd name="connsiteX246" fmla="*/ 1509130 w 4405748"/>
                    <a:gd name="connsiteY246" fmla="*/ 1031016 h 5344652"/>
                    <a:gd name="connsiteX247" fmla="*/ 1509130 w 4405748"/>
                    <a:gd name="connsiteY247" fmla="*/ 1031016 h 5344652"/>
                    <a:gd name="connsiteX248" fmla="*/ 1509130 w 4405748"/>
                    <a:gd name="connsiteY248" fmla="*/ 1031016 h 5344652"/>
                    <a:gd name="connsiteX249" fmla="*/ 1509130 w 4405748"/>
                    <a:gd name="connsiteY249" fmla="*/ 1031016 h 5344652"/>
                    <a:gd name="connsiteX250" fmla="*/ 1162653 w 4405748"/>
                    <a:gd name="connsiteY250" fmla="*/ 1199707 h 5344652"/>
                    <a:gd name="connsiteX251" fmla="*/ 1192208 w 4405748"/>
                    <a:gd name="connsiteY251" fmla="*/ 1206528 h 5344652"/>
                    <a:gd name="connsiteX252" fmla="*/ 1205394 w 4405748"/>
                    <a:gd name="connsiteY252" fmla="*/ 1232900 h 5344652"/>
                    <a:gd name="connsiteX253" fmla="*/ 964861 w 4405748"/>
                    <a:gd name="connsiteY253" fmla="*/ 1495259 h 5344652"/>
                    <a:gd name="connsiteX254" fmla="*/ 1040340 w 4405748"/>
                    <a:gd name="connsiteY254" fmla="*/ 1739429 h 5344652"/>
                    <a:gd name="connsiteX255" fmla="*/ 993052 w 4405748"/>
                    <a:gd name="connsiteY255" fmla="*/ 1927673 h 5344652"/>
                    <a:gd name="connsiteX256" fmla="*/ 796624 w 4405748"/>
                    <a:gd name="connsiteY256" fmla="*/ 2057715 h 5344652"/>
                    <a:gd name="connsiteX257" fmla="*/ 763886 w 4405748"/>
                    <a:gd name="connsiteY257" fmla="*/ 1720332 h 5344652"/>
                    <a:gd name="connsiteX258" fmla="*/ 741606 w 4405748"/>
                    <a:gd name="connsiteY258" fmla="*/ 1696233 h 5344652"/>
                    <a:gd name="connsiteX259" fmla="*/ 752519 w 4405748"/>
                    <a:gd name="connsiteY259" fmla="*/ 1642580 h 5344652"/>
                    <a:gd name="connsiteX260" fmla="*/ 637027 w 4405748"/>
                    <a:gd name="connsiteY260" fmla="*/ 1653492 h 5344652"/>
                    <a:gd name="connsiteX261" fmla="*/ 595195 w 4405748"/>
                    <a:gd name="connsiteY261" fmla="*/ 1729426 h 5344652"/>
                    <a:gd name="connsiteX262" fmla="*/ 618384 w 4405748"/>
                    <a:gd name="connsiteY262" fmla="*/ 1743522 h 5344652"/>
                    <a:gd name="connsiteX263" fmla="*/ 616565 w 4405748"/>
                    <a:gd name="connsiteY263" fmla="*/ 1811271 h 5344652"/>
                    <a:gd name="connsiteX264" fmla="*/ 589738 w 4405748"/>
                    <a:gd name="connsiteY264" fmla="*/ 1814454 h 5344652"/>
                    <a:gd name="connsiteX265" fmla="*/ 584282 w 4405748"/>
                    <a:gd name="connsiteY265" fmla="*/ 1813545 h 5344652"/>
                    <a:gd name="connsiteX266" fmla="*/ 583827 w 4405748"/>
                    <a:gd name="connsiteY266" fmla="*/ 1813545 h 5344652"/>
                    <a:gd name="connsiteX267" fmla="*/ 583373 w 4405748"/>
                    <a:gd name="connsiteY267" fmla="*/ 1813545 h 5344652"/>
                    <a:gd name="connsiteX268" fmla="*/ 582918 w 4405748"/>
                    <a:gd name="connsiteY268" fmla="*/ 1813545 h 5344652"/>
                    <a:gd name="connsiteX269" fmla="*/ 582463 w 4405748"/>
                    <a:gd name="connsiteY269" fmla="*/ 1813545 h 5344652"/>
                    <a:gd name="connsiteX270" fmla="*/ 582009 w 4405748"/>
                    <a:gd name="connsiteY270" fmla="*/ 1813545 h 5344652"/>
                    <a:gd name="connsiteX271" fmla="*/ 581554 w 4405748"/>
                    <a:gd name="connsiteY271" fmla="*/ 1813545 h 5344652"/>
                    <a:gd name="connsiteX272" fmla="*/ 581099 w 4405748"/>
                    <a:gd name="connsiteY272" fmla="*/ 1813545 h 5344652"/>
                    <a:gd name="connsiteX273" fmla="*/ 436506 w 4405748"/>
                    <a:gd name="connsiteY273" fmla="*/ 1977689 h 5344652"/>
                    <a:gd name="connsiteX274" fmla="*/ 441963 w 4405748"/>
                    <a:gd name="connsiteY274" fmla="*/ 2008154 h 5344652"/>
                    <a:gd name="connsiteX275" fmla="*/ 648849 w 4405748"/>
                    <a:gd name="connsiteY275" fmla="*/ 1884022 h 5344652"/>
                    <a:gd name="connsiteX276" fmla="*/ 656578 w 4405748"/>
                    <a:gd name="connsiteY276" fmla="*/ 1910849 h 5344652"/>
                    <a:gd name="connsiteX277" fmla="*/ 597468 w 4405748"/>
                    <a:gd name="connsiteY277" fmla="*/ 2043620 h 5344652"/>
                    <a:gd name="connsiteX278" fmla="*/ 549271 w 4405748"/>
                    <a:gd name="connsiteY278" fmla="*/ 2076358 h 5344652"/>
                    <a:gd name="connsiteX279" fmla="*/ 549725 w 4405748"/>
                    <a:gd name="connsiteY279" fmla="*/ 2105003 h 5344652"/>
                    <a:gd name="connsiteX280" fmla="*/ 766160 w 4405748"/>
                    <a:gd name="connsiteY280" fmla="*/ 2085906 h 5344652"/>
                    <a:gd name="connsiteX281" fmla="*/ 720690 w 4405748"/>
                    <a:gd name="connsiteY281" fmla="*/ 2127738 h 5344652"/>
                    <a:gd name="connsiteX282" fmla="*/ 692499 w 4405748"/>
                    <a:gd name="connsiteY282" fmla="*/ 2116826 h 5344652"/>
                    <a:gd name="connsiteX283" fmla="*/ 584282 w 4405748"/>
                    <a:gd name="connsiteY283" fmla="*/ 2172753 h 5344652"/>
                    <a:gd name="connsiteX284" fmla="*/ 660216 w 4405748"/>
                    <a:gd name="connsiteY284" fmla="*/ 2376910 h 5344652"/>
                    <a:gd name="connsiteX285" fmla="*/ 478793 w 4405748"/>
                    <a:gd name="connsiteY285" fmla="*/ 2386004 h 5344652"/>
                    <a:gd name="connsiteX286" fmla="*/ 375123 w 4405748"/>
                    <a:gd name="connsiteY286" fmla="*/ 2723387 h 5344652"/>
                    <a:gd name="connsiteX287" fmla="*/ 442872 w 4405748"/>
                    <a:gd name="connsiteY287" fmla="*/ 2759308 h 5344652"/>
                    <a:gd name="connsiteX288" fmla="*/ 183242 w 4405748"/>
                    <a:gd name="connsiteY288" fmla="*/ 3076230 h 5344652"/>
                    <a:gd name="connsiteX289" fmla="*/ 167328 w 4405748"/>
                    <a:gd name="connsiteY289" fmla="*/ 3021212 h 5344652"/>
                    <a:gd name="connsiteX290" fmla="*/ 115038 w 4405748"/>
                    <a:gd name="connsiteY290" fmla="*/ 3067591 h 5344652"/>
                    <a:gd name="connsiteX291" fmla="*/ 152777 w 4405748"/>
                    <a:gd name="connsiteY291" fmla="*/ 3104421 h 5344652"/>
                    <a:gd name="connsiteX292" fmla="*/ 0 w 4405748"/>
                    <a:gd name="connsiteY292" fmla="*/ 3363142 h 5344652"/>
                    <a:gd name="connsiteX293" fmla="*/ 1819 w 4405748"/>
                    <a:gd name="connsiteY293" fmla="*/ 3621863 h 5344652"/>
                    <a:gd name="connsiteX294" fmla="*/ 451057 w 4405748"/>
                    <a:gd name="connsiteY294" fmla="*/ 4088379 h 5344652"/>
                    <a:gd name="connsiteX295" fmla="*/ 1018970 w 4405748"/>
                    <a:gd name="connsiteY295" fmla="*/ 4207055 h 5344652"/>
                    <a:gd name="connsiteX296" fmla="*/ 975774 w 4405748"/>
                    <a:gd name="connsiteY296" fmla="*/ 4333005 h 5344652"/>
                    <a:gd name="connsiteX297" fmla="*/ 1153105 w 4405748"/>
                    <a:gd name="connsiteY297" fmla="*/ 4558533 h 5344652"/>
                    <a:gd name="connsiteX298" fmla="*/ 1134462 w 4405748"/>
                    <a:gd name="connsiteY298" fmla="*/ 4882730 h 5344652"/>
                    <a:gd name="connsiteX299" fmla="*/ 1343622 w 4405748"/>
                    <a:gd name="connsiteY299" fmla="*/ 5256489 h 5344652"/>
                    <a:gd name="connsiteX300" fmla="*/ 1751482 w 4405748"/>
                    <a:gd name="connsiteY300" fmla="*/ 5233754 h 5344652"/>
                    <a:gd name="connsiteX301" fmla="*/ 1948820 w 4405748"/>
                    <a:gd name="connsiteY301" fmla="*/ 5045056 h 5344652"/>
                    <a:gd name="connsiteX302" fmla="*/ 1973373 w 4405748"/>
                    <a:gd name="connsiteY302" fmla="*/ 4935475 h 5344652"/>
                    <a:gd name="connsiteX303" fmla="*/ 2174803 w 4405748"/>
                    <a:gd name="connsiteY303" fmla="*/ 4804977 h 5344652"/>
                    <a:gd name="connsiteX304" fmla="*/ 2183897 w 4405748"/>
                    <a:gd name="connsiteY304" fmla="*/ 4612642 h 5344652"/>
                    <a:gd name="connsiteX305" fmla="*/ 2326670 w 4405748"/>
                    <a:gd name="connsiteY305" fmla="*/ 4297084 h 5344652"/>
                    <a:gd name="connsiteX306" fmla="*/ 2660871 w 4405748"/>
                    <a:gd name="connsiteY306" fmla="*/ 3774186 h 5344652"/>
                    <a:gd name="connsiteX307" fmla="*/ 2354861 w 4405748"/>
                    <a:gd name="connsiteY307" fmla="*/ 3807378 h 5344652"/>
                    <a:gd name="connsiteX308" fmla="*/ 2910498 w 4405748"/>
                    <a:gd name="connsiteY308" fmla="*/ 3216731 h 5344652"/>
                    <a:gd name="connsiteX309" fmla="*/ 2829562 w 4405748"/>
                    <a:gd name="connsiteY309" fmla="*/ 3196269 h 5344652"/>
                    <a:gd name="connsiteX310" fmla="*/ 2820923 w 4405748"/>
                    <a:gd name="connsiteY310" fmla="*/ 3165805 h 5344652"/>
                    <a:gd name="connsiteX311" fmla="*/ 3143301 w 4405748"/>
                    <a:gd name="connsiteY311" fmla="*/ 3115788 h 5344652"/>
                    <a:gd name="connsiteX312" fmla="*/ 3398840 w 4405748"/>
                    <a:gd name="connsiteY312" fmla="*/ 3260836 h 5344652"/>
                    <a:gd name="connsiteX313" fmla="*/ 3576170 w 4405748"/>
                    <a:gd name="connsiteY313" fmla="*/ 3782370 h 5344652"/>
                    <a:gd name="connsiteX314" fmla="*/ 3630279 w 4405748"/>
                    <a:gd name="connsiteY314" fmla="*/ 3709619 h 5344652"/>
                    <a:gd name="connsiteX315" fmla="*/ 3648012 w 4405748"/>
                    <a:gd name="connsiteY315" fmla="*/ 3824657 h 5344652"/>
                    <a:gd name="connsiteX316" fmla="*/ 3674839 w 4405748"/>
                    <a:gd name="connsiteY316" fmla="*/ 3826930 h 5344652"/>
                    <a:gd name="connsiteX317" fmla="*/ 3700302 w 4405748"/>
                    <a:gd name="connsiteY317" fmla="*/ 3675972 h 5344652"/>
                    <a:gd name="connsiteX318" fmla="*/ 3919464 w 4405748"/>
                    <a:gd name="connsiteY318" fmla="*/ 3048949 h 5344652"/>
                    <a:gd name="connsiteX319" fmla="*/ 4014041 w 4405748"/>
                    <a:gd name="connsiteY319" fmla="*/ 3244012 h 5344652"/>
                    <a:gd name="connsiteX320" fmla="*/ 4040413 w 4405748"/>
                    <a:gd name="connsiteY320" fmla="*/ 3252197 h 5344652"/>
                    <a:gd name="connsiteX321" fmla="*/ 4070423 w 4405748"/>
                    <a:gd name="connsiteY321" fmla="*/ 3207182 h 5344652"/>
                    <a:gd name="connsiteX322" fmla="*/ 4117711 w 4405748"/>
                    <a:gd name="connsiteY322" fmla="*/ 3778733 h 5344652"/>
                    <a:gd name="connsiteX323" fmla="*/ 4073151 w 4405748"/>
                    <a:gd name="connsiteY323" fmla="*/ 3690977 h 5344652"/>
                    <a:gd name="connsiteX324" fmla="*/ 4046324 w 4405748"/>
                    <a:gd name="connsiteY324" fmla="*/ 3683247 h 5344652"/>
                    <a:gd name="connsiteX325" fmla="*/ 4022225 w 4405748"/>
                    <a:gd name="connsiteY325" fmla="*/ 3881494 h 5344652"/>
                    <a:gd name="connsiteX326" fmla="*/ 4050871 w 4405748"/>
                    <a:gd name="connsiteY326" fmla="*/ 3865579 h 5344652"/>
                    <a:gd name="connsiteX327" fmla="*/ 4038140 w 4405748"/>
                    <a:gd name="connsiteY327" fmla="*/ 4007898 h 5344652"/>
                    <a:gd name="connsiteX328" fmla="*/ 4075879 w 4405748"/>
                    <a:gd name="connsiteY328" fmla="*/ 4152491 h 5344652"/>
                    <a:gd name="connsiteX329" fmla="*/ 4157269 w 4405748"/>
                    <a:gd name="connsiteY329" fmla="*/ 4170224 h 5344652"/>
                    <a:gd name="connsiteX330" fmla="*/ 4203194 w 4405748"/>
                    <a:gd name="connsiteY330" fmla="*/ 4137941 h 5344652"/>
                    <a:gd name="connsiteX331" fmla="*/ 4195918 w 4405748"/>
                    <a:gd name="connsiteY331" fmla="*/ 4167041 h 5344652"/>
                    <a:gd name="connsiteX332" fmla="*/ 4272307 w 4405748"/>
                    <a:gd name="connsiteY332" fmla="*/ 4053823 h 5344652"/>
                    <a:gd name="connsiteX333" fmla="*/ 4212288 w 4405748"/>
                    <a:gd name="connsiteY333" fmla="*/ 4170679 h 5344652"/>
                    <a:gd name="connsiteX334" fmla="*/ 4315503 w 4405748"/>
                    <a:gd name="connsiteY334" fmla="*/ 3976525 h 5344652"/>
                    <a:gd name="connsiteX335" fmla="*/ 4210923 w 4405748"/>
                    <a:gd name="connsiteY335" fmla="*/ 4101566 h 5344652"/>
                    <a:gd name="connsiteX336" fmla="*/ 4213197 w 4405748"/>
                    <a:gd name="connsiteY336" fmla="*/ 4048366 h 5344652"/>
                    <a:gd name="connsiteX337" fmla="*/ 4144538 w 4405748"/>
                    <a:gd name="connsiteY337" fmla="*/ 4091107 h 5344652"/>
                    <a:gd name="connsiteX338" fmla="*/ 4119985 w 4405748"/>
                    <a:gd name="connsiteY338" fmla="*/ 4075193 h 5344652"/>
                    <a:gd name="connsiteX339" fmla="*/ 4149085 w 4405748"/>
                    <a:gd name="connsiteY339" fmla="*/ 3976070 h 5344652"/>
                    <a:gd name="connsiteX340" fmla="*/ 4176821 w 4405748"/>
                    <a:gd name="connsiteY340" fmla="*/ 3967885 h 5344652"/>
                    <a:gd name="connsiteX341" fmla="*/ 4180004 w 4405748"/>
                    <a:gd name="connsiteY341" fmla="*/ 3911958 h 5344652"/>
                    <a:gd name="connsiteX342" fmla="*/ 4154087 w 4405748"/>
                    <a:gd name="connsiteY342" fmla="*/ 3904228 h 5344652"/>
                    <a:gd name="connsiteX343" fmla="*/ 4150449 w 4405748"/>
                    <a:gd name="connsiteY343" fmla="*/ 3329040 h 5344652"/>
                    <a:gd name="connsiteX344" fmla="*/ 4219108 w 4405748"/>
                    <a:gd name="connsiteY344" fmla="*/ 3481363 h 5344652"/>
                    <a:gd name="connsiteX345" fmla="*/ 4260485 w 4405748"/>
                    <a:gd name="connsiteY345" fmla="*/ 2862979 h 5344652"/>
                    <a:gd name="connsiteX346" fmla="*/ 4289131 w 4405748"/>
                    <a:gd name="connsiteY346" fmla="*/ 2865252 h 5344652"/>
                    <a:gd name="connsiteX347" fmla="*/ 4286403 w 4405748"/>
                    <a:gd name="connsiteY347" fmla="*/ 2989838 h 5344652"/>
                    <a:gd name="connsiteX348" fmla="*/ 4314594 w 4405748"/>
                    <a:gd name="connsiteY348" fmla="*/ 2990293 h 5344652"/>
                    <a:gd name="connsiteX349" fmla="*/ 4368248 w 4405748"/>
                    <a:gd name="connsiteY349" fmla="*/ 2360087 h 5344652"/>
                    <a:gd name="connsiteX350" fmla="*/ 4186824 w 4405748"/>
                    <a:gd name="connsiteY350" fmla="*/ 1910394 h 5344652"/>
                    <a:gd name="connsiteX351" fmla="*/ 4146357 w 4405748"/>
                    <a:gd name="connsiteY351" fmla="*/ 1945860 h 5344652"/>
                    <a:gd name="connsiteX352" fmla="*/ 4120439 w 4405748"/>
                    <a:gd name="connsiteY352" fmla="*/ 1928582 h 5344652"/>
                    <a:gd name="connsiteX353" fmla="*/ 4101342 w 4405748"/>
                    <a:gd name="connsiteY353" fmla="*/ 1808088 h 5344652"/>
                    <a:gd name="connsiteX354" fmla="*/ 4144993 w 4405748"/>
                    <a:gd name="connsiteY354" fmla="*/ 1887205 h 5344652"/>
                    <a:gd name="connsiteX355" fmla="*/ 4154087 w 4405748"/>
                    <a:gd name="connsiteY355" fmla="*/ 1832187 h 5344652"/>
                    <a:gd name="connsiteX356" fmla="*/ 4309592 w 4405748"/>
                    <a:gd name="connsiteY356" fmla="*/ 2041346 h 5344652"/>
                    <a:gd name="connsiteX357" fmla="*/ 4128169 w 4405748"/>
                    <a:gd name="connsiteY357" fmla="*/ 1584379 h 5344652"/>
                    <a:gd name="connsiteX358" fmla="*/ 4143628 w 4405748"/>
                    <a:gd name="connsiteY358" fmla="*/ 1560735 h 5344652"/>
                    <a:gd name="connsiteX359" fmla="*/ 3830799 w 4405748"/>
                    <a:gd name="connsiteY359" fmla="*/ 1061026 h 5344652"/>
                    <a:gd name="connsiteX360" fmla="*/ 4117256 w 4405748"/>
                    <a:gd name="connsiteY360" fmla="*/ 1390679 h 5344652"/>
                    <a:gd name="connsiteX361" fmla="*/ 4395984 w 4405748"/>
                    <a:gd name="connsiteY361" fmla="*/ 2136377 h 5344652"/>
                    <a:gd name="connsiteX362" fmla="*/ 4036321 w 4405748"/>
                    <a:gd name="connsiteY362" fmla="*/ 1164696 h 5344652"/>
                    <a:gd name="connsiteX363" fmla="*/ 4106798 w 4405748"/>
                    <a:gd name="connsiteY363" fmla="*/ 1326112 h 5344652"/>
                    <a:gd name="connsiteX364" fmla="*/ 4051780 w 4405748"/>
                    <a:gd name="connsiteY364" fmla="*/ 1290192 h 5344652"/>
                    <a:gd name="connsiteX365" fmla="*/ 3683478 w 4405748"/>
                    <a:gd name="connsiteY365" fmla="*/ 903701 h 5344652"/>
                    <a:gd name="connsiteX366" fmla="*/ 3734859 w 4405748"/>
                    <a:gd name="connsiteY366" fmla="*/ 970087 h 5344652"/>
                    <a:gd name="connsiteX367" fmla="*/ 3709851 w 4405748"/>
                    <a:gd name="connsiteY367" fmla="*/ 957355 h 5344652"/>
                    <a:gd name="connsiteX368" fmla="*/ 3688480 w 4405748"/>
                    <a:gd name="connsiteY368" fmla="*/ 975998 h 5344652"/>
                    <a:gd name="connsiteX369" fmla="*/ 3652559 w 4405748"/>
                    <a:gd name="connsiteY369" fmla="*/ 934166 h 5344652"/>
                    <a:gd name="connsiteX370" fmla="*/ 3652559 w 4405748"/>
                    <a:gd name="connsiteY370" fmla="*/ 960993 h 5344652"/>
                    <a:gd name="connsiteX371" fmla="*/ 3450220 w 4405748"/>
                    <a:gd name="connsiteY371" fmla="*/ 719096 h 5344652"/>
                    <a:gd name="connsiteX372" fmla="*/ 3432032 w 4405748"/>
                    <a:gd name="connsiteY372" fmla="*/ 638160 h 5344652"/>
                    <a:gd name="connsiteX373" fmla="*/ 3458859 w 4405748"/>
                    <a:gd name="connsiteY373" fmla="*/ 643616 h 5344652"/>
                    <a:gd name="connsiteX374" fmla="*/ 3245153 w 4405748"/>
                    <a:gd name="connsiteY374" fmla="*/ 436276 h 5344652"/>
                    <a:gd name="connsiteX375" fmla="*/ 3905824 w 4405748"/>
                    <a:gd name="connsiteY375" fmla="*/ 987820 h 5344652"/>
                    <a:gd name="connsiteX376" fmla="*/ 3906278 w 4405748"/>
                    <a:gd name="connsiteY376" fmla="*/ 985546 h 5344652"/>
                    <a:gd name="connsiteX377" fmla="*/ 3906733 w 4405748"/>
                    <a:gd name="connsiteY377" fmla="*/ 983728 h 5344652"/>
                    <a:gd name="connsiteX378" fmla="*/ 3907187 w 4405748"/>
                    <a:gd name="connsiteY378" fmla="*/ 981909 h 5344652"/>
                    <a:gd name="connsiteX379" fmla="*/ 3907643 w 4405748"/>
                    <a:gd name="connsiteY379" fmla="*/ 980090 h 5344652"/>
                    <a:gd name="connsiteX380" fmla="*/ 3908097 w 4405748"/>
                    <a:gd name="connsiteY380" fmla="*/ 978726 h 5344652"/>
                    <a:gd name="connsiteX381" fmla="*/ 3908552 w 4405748"/>
                    <a:gd name="connsiteY381" fmla="*/ 977362 h 5344652"/>
                    <a:gd name="connsiteX382" fmla="*/ 3908552 w 4405748"/>
                    <a:gd name="connsiteY382" fmla="*/ 975998 h 5344652"/>
                    <a:gd name="connsiteX383" fmla="*/ 3908552 w 4405748"/>
                    <a:gd name="connsiteY383" fmla="*/ 975088 h 5344652"/>
                    <a:gd name="connsiteX384" fmla="*/ 3339729 w 4405748"/>
                    <a:gd name="connsiteY384" fmla="*/ 454918 h 5344652"/>
                    <a:gd name="connsiteX385" fmla="*/ 2795915 w 4405748"/>
                    <a:gd name="connsiteY385" fmla="*/ 99347 h 5344652"/>
                    <a:gd name="connsiteX386" fmla="*/ 2821833 w 4405748"/>
                    <a:gd name="connsiteY386" fmla="*/ 92527 h 5344652"/>
                    <a:gd name="connsiteX387" fmla="*/ 2799552 w 4405748"/>
                    <a:gd name="connsiteY387" fmla="*/ 70247 h 534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4405748" h="5344652">
                      <a:moveTo>
                        <a:pt x="2329853" y="3752815"/>
                      </a:moveTo>
                      <a:cubicBezTo>
                        <a:pt x="2327125" y="3755089"/>
                        <a:pt x="2324397" y="3757817"/>
                        <a:pt x="2321669" y="3760090"/>
                      </a:cubicBezTo>
                      <a:cubicBezTo>
                        <a:pt x="2252101" y="3717804"/>
                        <a:pt x="2193445" y="3644598"/>
                        <a:pt x="2192990" y="3644143"/>
                      </a:cubicBezTo>
                      <a:cubicBezTo>
                        <a:pt x="2177531" y="3619135"/>
                        <a:pt x="2159343" y="3583669"/>
                        <a:pt x="2159343" y="3583214"/>
                      </a:cubicBezTo>
                      <a:cubicBezTo>
                        <a:pt x="2149340" y="3563662"/>
                        <a:pt x="2131152" y="3550931"/>
                        <a:pt x="2119330" y="3532743"/>
                      </a:cubicBezTo>
                      <a:cubicBezTo>
                        <a:pt x="2093867" y="3494549"/>
                        <a:pt x="2098414" y="3447715"/>
                        <a:pt x="2082500" y="3406793"/>
                      </a:cubicBezTo>
                      <a:cubicBezTo>
                        <a:pt x="2081590" y="3404519"/>
                        <a:pt x="2081590" y="3404065"/>
                        <a:pt x="2024754" y="3326312"/>
                      </a:cubicBezTo>
                      <a:cubicBezTo>
                        <a:pt x="1936543" y="3205818"/>
                        <a:pt x="1936543" y="3205818"/>
                        <a:pt x="1956095" y="3171261"/>
                      </a:cubicBezTo>
                      <a:cubicBezTo>
                        <a:pt x="1987923" y="3213093"/>
                        <a:pt x="2020207" y="3254925"/>
                        <a:pt x="2052035" y="3296757"/>
                      </a:cubicBezTo>
                      <a:cubicBezTo>
                        <a:pt x="2059765" y="3307215"/>
                        <a:pt x="2065221" y="3319492"/>
                        <a:pt x="2074770" y="3328586"/>
                      </a:cubicBezTo>
                      <a:cubicBezTo>
                        <a:pt x="2087956" y="3341317"/>
                        <a:pt x="2108417" y="3344500"/>
                        <a:pt x="2118875" y="3360869"/>
                      </a:cubicBezTo>
                      <a:cubicBezTo>
                        <a:pt x="2119330" y="3361323"/>
                        <a:pt x="2119330" y="3361323"/>
                        <a:pt x="2145702" y="3439531"/>
                      </a:cubicBezTo>
                      <a:cubicBezTo>
                        <a:pt x="2154341" y="3464539"/>
                        <a:pt x="2162526" y="3469086"/>
                        <a:pt x="2166618" y="3471359"/>
                      </a:cubicBezTo>
                      <a:cubicBezTo>
                        <a:pt x="2204358" y="3492730"/>
                        <a:pt x="2221636" y="3502278"/>
                        <a:pt x="2303027" y="3628229"/>
                      </a:cubicBezTo>
                      <a:cubicBezTo>
                        <a:pt x="2318486" y="3651873"/>
                        <a:pt x="2296206" y="3678245"/>
                        <a:pt x="2308483" y="3702344"/>
                      </a:cubicBezTo>
                      <a:cubicBezTo>
                        <a:pt x="2311211" y="3707800"/>
                        <a:pt x="2311211" y="3707800"/>
                        <a:pt x="2330763" y="3751451"/>
                      </a:cubicBezTo>
                      <a:cubicBezTo>
                        <a:pt x="2330763" y="3751906"/>
                        <a:pt x="2330308" y="3752360"/>
                        <a:pt x="2329853" y="3752815"/>
                      </a:cubicBezTo>
                      <a:moveTo>
                        <a:pt x="2753174" y="3134886"/>
                      </a:moveTo>
                      <a:cubicBezTo>
                        <a:pt x="2742716" y="3181719"/>
                        <a:pt x="2714525" y="3236282"/>
                        <a:pt x="2640864" y="3228098"/>
                      </a:cubicBezTo>
                      <a:cubicBezTo>
                        <a:pt x="2649049" y="3189449"/>
                        <a:pt x="2651777" y="3169443"/>
                        <a:pt x="2640409" y="3154892"/>
                      </a:cubicBezTo>
                      <a:cubicBezTo>
                        <a:pt x="2635862" y="3148981"/>
                        <a:pt x="2624041" y="3149891"/>
                        <a:pt x="2618584" y="3149891"/>
                      </a:cubicBezTo>
                      <a:cubicBezTo>
                        <a:pt x="2607217" y="3150345"/>
                        <a:pt x="2597213" y="3156256"/>
                        <a:pt x="2585846" y="3157620"/>
                      </a:cubicBezTo>
                      <a:cubicBezTo>
                        <a:pt x="2569023" y="3158530"/>
                        <a:pt x="2538558" y="3129429"/>
                        <a:pt x="2494907" y="3070319"/>
                      </a:cubicBezTo>
                      <a:cubicBezTo>
                        <a:pt x="2481266" y="3052131"/>
                        <a:pt x="2479448" y="3037126"/>
                        <a:pt x="2488087" y="3025304"/>
                      </a:cubicBezTo>
                      <a:cubicBezTo>
                        <a:pt x="2494907" y="3016211"/>
                        <a:pt x="2518097" y="2991202"/>
                        <a:pt x="2541741" y="3040764"/>
                      </a:cubicBezTo>
                      <a:cubicBezTo>
                        <a:pt x="2562657" y="3085779"/>
                        <a:pt x="2584937" y="3110787"/>
                        <a:pt x="2634498" y="3107604"/>
                      </a:cubicBezTo>
                      <a:cubicBezTo>
                        <a:pt x="2646775" y="3106695"/>
                        <a:pt x="2646775" y="3106695"/>
                        <a:pt x="2648139" y="3107604"/>
                      </a:cubicBezTo>
                      <a:cubicBezTo>
                        <a:pt x="2657233" y="3112151"/>
                        <a:pt x="2662235" y="3121700"/>
                        <a:pt x="2671329" y="3126247"/>
                      </a:cubicBezTo>
                      <a:cubicBezTo>
                        <a:pt x="2694064" y="3136705"/>
                        <a:pt x="2721345" y="3130794"/>
                        <a:pt x="2744989" y="3125792"/>
                      </a:cubicBezTo>
                      <a:cubicBezTo>
                        <a:pt x="2748172" y="3125337"/>
                        <a:pt x="2752264" y="3124428"/>
                        <a:pt x="2754992" y="3123518"/>
                      </a:cubicBezTo>
                      <a:cubicBezTo>
                        <a:pt x="2754992" y="3127156"/>
                        <a:pt x="2754083" y="3131703"/>
                        <a:pt x="2753174" y="3134886"/>
                      </a:cubicBezTo>
                      <a:moveTo>
                        <a:pt x="1931996" y="2851611"/>
                      </a:moveTo>
                      <a:cubicBezTo>
                        <a:pt x="1906533" y="2990748"/>
                        <a:pt x="1876978" y="2996659"/>
                        <a:pt x="1866065" y="2998932"/>
                      </a:cubicBezTo>
                      <a:cubicBezTo>
                        <a:pt x="1831054" y="3006207"/>
                        <a:pt x="1807864" y="2967104"/>
                        <a:pt x="1772398" y="2974833"/>
                      </a:cubicBezTo>
                      <a:cubicBezTo>
                        <a:pt x="1739660" y="2982109"/>
                        <a:pt x="1717380" y="3016665"/>
                        <a:pt x="1679640" y="3011664"/>
                      </a:cubicBezTo>
                      <a:cubicBezTo>
                        <a:pt x="1597796" y="3001206"/>
                        <a:pt x="1549598" y="2979835"/>
                        <a:pt x="1483213" y="2950280"/>
                      </a:cubicBezTo>
                      <a:cubicBezTo>
                        <a:pt x="1482303" y="2949825"/>
                        <a:pt x="1390000" y="2913450"/>
                        <a:pt x="1363628" y="2999841"/>
                      </a:cubicBezTo>
                      <a:cubicBezTo>
                        <a:pt x="1328617" y="3113515"/>
                        <a:pt x="1228584" y="2998023"/>
                        <a:pt x="1227675" y="2996659"/>
                      </a:cubicBezTo>
                      <a:cubicBezTo>
                        <a:pt x="1206759" y="2962557"/>
                        <a:pt x="1206759" y="2962557"/>
                        <a:pt x="1187207" y="2952099"/>
                      </a:cubicBezTo>
                      <a:cubicBezTo>
                        <a:pt x="1154924" y="2934820"/>
                        <a:pt x="1116275" y="2936184"/>
                        <a:pt x="1083991" y="2919361"/>
                      </a:cubicBezTo>
                      <a:cubicBezTo>
                        <a:pt x="1065349" y="2909812"/>
                        <a:pt x="1052162" y="2902992"/>
                        <a:pt x="1046251" y="2772494"/>
                      </a:cubicBezTo>
                      <a:cubicBezTo>
                        <a:pt x="1045797" y="2766129"/>
                        <a:pt x="1045342" y="2757944"/>
                        <a:pt x="1043978" y="2752033"/>
                      </a:cubicBezTo>
                      <a:cubicBezTo>
                        <a:pt x="1043523" y="2752033"/>
                        <a:pt x="1008512" y="2732936"/>
                        <a:pt x="983049" y="2732027"/>
                      </a:cubicBezTo>
                      <a:lnTo>
                        <a:pt x="715689" y="2741121"/>
                      </a:lnTo>
                      <a:cubicBezTo>
                        <a:pt x="662035" y="2745213"/>
                        <a:pt x="636117" y="2765674"/>
                        <a:pt x="607926" y="2787045"/>
                      </a:cubicBezTo>
                      <a:cubicBezTo>
                        <a:pt x="592921" y="2798867"/>
                        <a:pt x="539267" y="2794774"/>
                        <a:pt x="506984" y="2775223"/>
                      </a:cubicBezTo>
                      <a:cubicBezTo>
                        <a:pt x="514714" y="2766583"/>
                        <a:pt x="515623" y="2765674"/>
                        <a:pt x="540631" y="2762491"/>
                      </a:cubicBezTo>
                      <a:cubicBezTo>
                        <a:pt x="560638" y="2759763"/>
                        <a:pt x="597923" y="2754761"/>
                        <a:pt x="620203" y="2740666"/>
                      </a:cubicBezTo>
                      <a:cubicBezTo>
                        <a:pt x="663399" y="2713384"/>
                        <a:pt x="690681" y="2668370"/>
                        <a:pt x="733422" y="2640633"/>
                      </a:cubicBezTo>
                      <a:cubicBezTo>
                        <a:pt x="710232" y="2633813"/>
                        <a:pt x="702957" y="2631539"/>
                        <a:pt x="681132" y="2624719"/>
                      </a:cubicBezTo>
                      <a:cubicBezTo>
                        <a:pt x="687498" y="2615625"/>
                        <a:pt x="692499" y="2605167"/>
                        <a:pt x="699774" y="2596983"/>
                      </a:cubicBezTo>
                      <a:cubicBezTo>
                        <a:pt x="727511" y="2565154"/>
                        <a:pt x="773890" y="2560607"/>
                        <a:pt x="802081" y="2529233"/>
                      </a:cubicBezTo>
                      <a:cubicBezTo>
                        <a:pt x="819359" y="2510136"/>
                        <a:pt x="796170" y="2478762"/>
                        <a:pt x="822542" y="2462393"/>
                      </a:cubicBezTo>
                      <a:cubicBezTo>
                        <a:pt x="859827" y="2439204"/>
                        <a:pt x="877105" y="2499223"/>
                        <a:pt x="912571" y="2486037"/>
                      </a:cubicBezTo>
                      <a:cubicBezTo>
                        <a:pt x="942581" y="2474670"/>
                        <a:pt x="951675" y="2431929"/>
                        <a:pt x="990779" y="2434202"/>
                      </a:cubicBezTo>
                      <a:cubicBezTo>
                        <a:pt x="1003510" y="2435112"/>
                        <a:pt x="1012149" y="2452844"/>
                        <a:pt x="1016242" y="2462848"/>
                      </a:cubicBezTo>
                      <a:cubicBezTo>
                        <a:pt x="1030792" y="2499678"/>
                        <a:pt x="1043978" y="2522867"/>
                        <a:pt x="1081718" y="2552877"/>
                      </a:cubicBezTo>
                      <a:cubicBezTo>
                        <a:pt x="1117184" y="2581523"/>
                        <a:pt x="1158106" y="2602439"/>
                        <a:pt x="1189935" y="2635632"/>
                      </a:cubicBezTo>
                      <a:cubicBezTo>
                        <a:pt x="1194937" y="2640633"/>
                        <a:pt x="1204940" y="2651546"/>
                        <a:pt x="1206759" y="2658821"/>
                      </a:cubicBezTo>
                      <a:cubicBezTo>
                        <a:pt x="1212215" y="2687921"/>
                        <a:pt x="1180386" y="2689285"/>
                        <a:pt x="1140373" y="2691104"/>
                      </a:cubicBezTo>
                      <a:cubicBezTo>
                        <a:pt x="991688" y="2697470"/>
                        <a:pt x="1170383" y="2783862"/>
                        <a:pt x="1174930" y="2784771"/>
                      </a:cubicBezTo>
                      <a:cubicBezTo>
                        <a:pt x="1188116" y="2783407"/>
                        <a:pt x="1188116" y="2783407"/>
                        <a:pt x="1258139" y="2705655"/>
                      </a:cubicBezTo>
                      <a:cubicBezTo>
                        <a:pt x="1280874" y="2680192"/>
                        <a:pt x="1285875" y="2644725"/>
                        <a:pt x="1308155" y="2619263"/>
                      </a:cubicBezTo>
                      <a:cubicBezTo>
                        <a:pt x="1302699" y="2590162"/>
                        <a:pt x="1267688" y="2568337"/>
                        <a:pt x="1226765" y="2543783"/>
                      </a:cubicBezTo>
                      <a:cubicBezTo>
                        <a:pt x="1182660" y="2516956"/>
                        <a:pt x="1171292" y="2496950"/>
                        <a:pt x="1107181" y="2384640"/>
                      </a:cubicBezTo>
                      <a:cubicBezTo>
                        <a:pt x="1108999" y="2379639"/>
                        <a:pt x="1111728" y="2372818"/>
                        <a:pt x="1114001" y="2368271"/>
                      </a:cubicBezTo>
                      <a:cubicBezTo>
                        <a:pt x="1130370" y="2373273"/>
                        <a:pt x="1153559" y="2411013"/>
                        <a:pt x="1153559" y="2411467"/>
                      </a:cubicBezTo>
                      <a:cubicBezTo>
                        <a:pt x="1189026" y="2476034"/>
                        <a:pt x="1265414" y="2488765"/>
                        <a:pt x="1312702" y="2538327"/>
                      </a:cubicBezTo>
                      <a:cubicBezTo>
                        <a:pt x="1345440" y="2572429"/>
                        <a:pt x="1327707" y="2623810"/>
                        <a:pt x="1354534" y="2660185"/>
                      </a:cubicBezTo>
                      <a:cubicBezTo>
                        <a:pt x="1385908" y="2702472"/>
                        <a:pt x="1390000" y="2761127"/>
                        <a:pt x="1436379" y="2794774"/>
                      </a:cubicBezTo>
                      <a:cubicBezTo>
                        <a:pt x="1485941" y="2830241"/>
                        <a:pt x="1541868" y="2692014"/>
                        <a:pt x="1540959" y="2689740"/>
                      </a:cubicBezTo>
                      <a:cubicBezTo>
                        <a:pt x="1533229" y="2665641"/>
                        <a:pt x="1501400" y="2661094"/>
                        <a:pt x="1496399" y="2634722"/>
                      </a:cubicBezTo>
                      <a:cubicBezTo>
                        <a:pt x="1495489" y="2629721"/>
                        <a:pt x="1495489" y="2629721"/>
                        <a:pt x="1523680" y="2600620"/>
                      </a:cubicBezTo>
                      <a:cubicBezTo>
                        <a:pt x="1550962" y="2632903"/>
                        <a:pt x="1589157" y="2694287"/>
                        <a:pt x="1614165" y="2805232"/>
                      </a:cubicBezTo>
                      <a:cubicBezTo>
                        <a:pt x="1575061" y="2811143"/>
                        <a:pt x="1535957" y="2813417"/>
                        <a:pt x="1496853" y="2818419"/>
                      </a:cubicBezTo>
                      <a:cubicBezTo>
                        <a:pt x="1474574" y="2867980"/>
                        <a:pt x="1560056" y="2879347"/>
                        <a:pt x="1596886" y="2865252"/>
                      </a:cubicBezTo>
                      <a:cubicBezTo>
                        <a:pt x="1638718" y="2849338"/>
                        <a:pt x="1673730" y="2818873"/>
                        <a:pt x="1717380" y="2806142"/>
                      </a:cubicBezTo>
                      <a:cubicBezTo>
                        <a:pt x="1805591" y="2780679"/>
                        <a:pt x="1805591" y="2780679"/>
                        <a:pt x="1840602" y="2795229"/>
                      </a:cubicBezTo>
                      <a:cubicBezTo>
                        <a:pt x="1828780" y="2814781"/>
                        <a:pt x="1828780" y="2814781"/>
                        <a:pt x="1821051" y="2852066"/>
                      </a:cubicBezTo>
                      <a:cubicBezTo>
                        <a:pt x="1871976" y="2892079"/>
                        <a:pt x="1891528" y="2838880"/>
                        <a:pt x="1914263" y="2777041"/>
                      </a:cubicBezTo>
                      <a:cubicBezTo>
                        <a:pt x="1924721" y="2799321"/>
                        <a:pt x="1936998" y="2824330"/>
                        <a:pt x="1931996" y="2851611"/>
                      </a:cubicBezTo>
                      <a:moveTo>
                        <a:pt x="2079771" y="2501042"/>
                      </a:moveTo>
                      <a:cubicBezTo>
                        <a:pt x="2077953" y="2512410"/>
                        <a:pt x="2077953" y="2512410"/>
                        <a:pt x="2007020" y="2516956"/>
                      </a:cubicBezTo>
                      <a:cubicBezTo>
                        <a:pt x="2006111" y="2520594"/>
                        <a:pt x="2005202" y="2524231"/>
                        <a:pt x="2004292" y="2527869"/>
                      </a:cubicBezTo>
                      <a:cubicBezTo>
                        <a:pt x="1981103" y="2521049"/>
                        <a:pt x="1957459" y="2515138"/>
                        <a:pt x="1934269" y="2507863"/>
                      </a:cubicBezTo>
                      <a:cubicBezTo>
                        <a:pt x="1913353" y="2501497"/>
                        <a:pt x="1894711" y="2489675"/>
                        <a:pt x="1872886" y="2486492"/>
                      </a:cubicBezTo>
                      <a:cubicBezTo>
                        <a:pt x="1851515" y="2483309"/>
                        <a:pt x="1832418" y="2491039"/>
                        <a:pt x="1811957" y="2500587"/>
                      </a:cubicBezTo>
                      <a:cubicBezTo>
                        <a:pt x="1730112" y="2538327"/>
                        <a:pt x="1696010" y="2551513"/>
                        <a:pt x="1681459" y="2552423"/>
                      </a:cubicBezTo>
                      <a:cubicBezTo>
                        <a:pt x="1643720" y="2546966"/>
                        <a:pt x="1633716" y="2494676"/>
                        <a:pt x="1633716" y="2494222"/>
                      </a:cubicBezTo>
                      <a:cubicBezTo>
                        <a:pt x="1636899" y="2465576"/>
                        <a:pt x="1693736" y="2319165"/>
                        <a:pt x="1709196" y="2305978"/>
                      </a:cubicBezTo>
                      <a:cubicBezTo>
                        <a:pt x="1726474" y="2290973"/>
                        <a:pt x="1737841" y="2315527"/>
                        <a:pt x="1756939" y="2355540"/>
                      </a:cubicBezTo>
                      <a:cubicBezTo>
                        <a:pt x="1781037" y="2406466"/>
                        <a:pt x="1781492" y="2407375"/>
                        <a:pt x="1806500" y="2406920"/>
                      </a:cubicBezTo>
                      <a:cubicBezTo>
                        <a:pt x="1841057" y="2406466"/>
                        <a:pt x="1855153" y="2355085"/>
                        <a:pt x="1896075" y="2371454"/>
                      </a:cubicBezTo>
                      <a:cubicBezTo>
                        <a:pt x="1939726" y="2388733"/>
                        <a:pt x="1980648" y="2411467"/>
                        <a:pt x="2023389" y="2430565"/>
                      </a:cubicBezTo>
                      <a:cubicBezTo>
                        <a:pt x="2030664" y="2432838"/>
                        <a:pt x="2082954" y="2476489"/>
                        <a:pt x="2079771" y="2501042"/>
                      </a:cubicBezTo>
                      <a:moveTo>
                        <a:pt x="1908352" y="2286426"/>
                      </a:moveTo>
                      <a:cubicBezTo>
                        <a:pt x="1907442" y="2314618"/>
                        <a:pt x="1874704" y="2317346"/>
                        <a:pt x="1874704" y="2317346"/>
                      </a:cubicBezTo>
                      <a:cubicBezTo>
                        <a:pt x="1858335" y="2315982"/>
                        <a:pt x="1846059" y="2307797"/>
                        <a:pt x="1845149" y="2305978"/>
                      </a:cubicBezTo>
                      <a:cubicBezTo>
                        <a:pt x="1846059" y="2300067"/>
                        <a:pt x="1848332" y="2287336"/>
                        <a:pt x="1859245" y="2278697"/>
                      </a:cubicBezTo>
                      <a:cubicBezTo>
                        <a:pt x="1872431" y="2268693"/>
                        <a:pt x="1888345" y="2267329"/>
                        <a:pt x="1903350" y="2260963"/>
                      </a:cubicBezTo>
                      <a:cubicBezTo>
                        <a:pt x="1904714" y="2266420"/>
                        <a:pt x="1908352" y="2276423"/>
                        <a:pt x="1908352" y="2286426"/>
                      </a:cubicBezTo>
                      <a:moveTo>
                        <a:pt x="1122640" y="1801268"/>
                      </a:moveTo>
                      <a:cubicBezTo>
                        <a:pt x="1119912" y="1808088"/>
                        <a:pt x="1114456" y="1813090"/>
                        <a:pt x="1110818" y="1819001"/>
                      </a:cubicBezTo>
                      <a:cubicBezTo>
                        <a:pt x="1098087" y="1807633"/>
                        <a:pt x="1098087" y="1807633"/>
                        <a:pt x="1097632" y="1806724"/>
                      </a:cubicBezTo>
                      <a:cubicBezTo>
                        <a:pt x="1097632" y="1806724"/>
                        <a:pt x="1088993" y="1776714"/>
                        <a:pt x="1087629" y="1767620"/>
                      </a:cubicBezTo>
                      <a:cubicBezTo>
                        <a:pt x="1085355" y="1750342"/>
                        <a:pt x="1092176" y="1737611"/>
                        <a:pt x="1099451" y="1726698"/>
                      </a:cubicBezTo>
                      <a:cubicBezTo>
                        <a:pt x="1124004" y="1797176"/>
                        <a:pt x="1124004" y="1797176"/>
                        <a:pt x="1122640" y="1801268"/>
                      </a:cubicBezTo>
                      <a:moveTo>
                        <a:pt x="1421374" y="1642125"/>
                      </a:moveTo>
                      <a:cubicBezTo>
                        <a:pt x="1402277" y="1651219"/>
                        <a:pt x="1390000" y="1657130"/>
                        <a:pt x="1375905" y="1688049"/>
                      </a:cubicBezTo>
                      <a:cubicBezTo>
                        <a:pt x="1374541" y="1691232"/>
                        <a:pt x="1373177" y="1695324"/>
                        <a:pt x="1372267" y="1698507"/>
                      </a:cubicBezTo>
                      <a:cubicBezTo>
                        <a:pt x="1364537" y="1719878"/>
                        <a:pt x="1361809" y="1742612"/>
                        <a:pt x="1354534" y="1763983"/>
                      </a:cubicBezTo>
                      <a:cubicBezTo>
                        <a:pt x="1350442" y="1775350"/>
                        <a:pt x="1341348" y="1783535"/>
                        <a:pt x="1338165" y="1795357"/>
                      </a:cubicBezTo>
                      <a:cubicBezTo>
                        <a:pt x="1336346" y="1801722"/>
                        <a:pt x="1336801" y="1811726"/>
                        <a:pt x="1341348" y="1819910"/>
                      </a:cubicBezTo>
                      <a:cubicBezTo>
                        <a:pt x="1362264" y="1859014"/>
                        <a:pt x="1326798" y="1881749"/>
                        <a:pt x="1326798" y="1881749"/>
                      </a:cubicBezTo>
                      <a:cubicBezTo>
                        <a:pt x="1326343" y="1881749"/>
                        <a:pt x="1325434" y="1882203"/>
                        <a:pt x="1324979" y="1882203"/>
                      </a:cubicBezTo>
                      <a:cubicBezTo>
                        <a:pt x="1308155" y="1887205"/>
                        <a:pt x="1294060" y="1875383"/>
                        <a:pt x="1278146" y="1875383"/>
                      </a:cubicBezTo>
                      <a:cubicBezTo>
                        <a:pt x="1273144" y="1875383"/>
                        <a:pt x="1227675" y="1876292"/>
                        <a:pt x="1196301" y="1911758"/>
                      </a:cubicBezTo>
                      <a:cubicBezTo>
                        <a:pt x="1185843" y="1923580"/>
                        <a:pt x="1182205" y="1924490"/>
                        <a:pt x="1177203" y="1925399"/>
                      </a:cubicBezTo>
                      <a:cubicBezTo>
                        <a:pt x="1170383" y="1925854"/>
                        <a:pt x="1155833" y="1911304"/>
                        <a:pt x="1158561" y="1898118"/>
                      </a:cubicBezTo>
                      <a:cubicBezTo>
                        <a:pt x="1160380" y="1888114"/>
                        <a:pt x="1160380" y="1888114"/>
                        <a:pt x="1302699" y="1781716"/>
                      </a:cubicBezTo>
                      <a:cubicBezTo>
                        <a:pt x="1323160" y="1766711"/>
                        <a:pt x="1323160" y="1766711"/>
                        <a:pt x="1318613" y="1718059"/>
                      </a:cubicBezTo>
                      <a:cubicBezTo>
                        <a:pt x="1284966" y="1732154"/>
                        <a:pt x="1284966" y="1732154"/>
                        <a:pt x="1272235" y="1758527"/>
                      </a:cubicBezTo>
                      <a:cubicBezTo>
                        <a:pt x="1262231" y="1737611"/>
                        <a:pt x="1259048" y="1726698"/>
                        <a:pt x="1268142" y="1710329"/>
                      </a:cubicBezTo>
                      <a:cubicBezTo>
                        <a:pt x="1270416" y="1706237"/>
                        <a:pt x="1274963" y="1701690"/>
                        <a:pt x="1277691" y="1698507"/>
                      </a:cubicBezTo>
                      <a:cubicBezTo>
                        <a:pt x="1292241" y="1683502"/>
                        <a:pt x="1354989" y="1613479"/>
                        <a:pt x="1355444" y="1612570"/>
                      </a:cubicBezTo>
                      <a:cubicBezTo>
                        <a:pt x="1360445" y="1618935"/>
                        <a:pt x="1364992" y="1625756"/>
                        <a:pt x="1369994" y="1632121"/>
                      </a:cubicBezTo>
                      <a:cubicBezTo>
                        <a:pt x="1372267" y="1632121"/>
                        <a:pt x="1374541" y="1632121"/>
                        <a:pt x="1376814" y="1632121"/>
                      </a:cubicBezTo>
                      <a:cubicBezTo>
                        <a:pt x="1379088" y="1632121"/>
                        <a:pt x="1381361" y="1632121"/>
                        <a:pt x="1383635" y="1632121"/>
                      </a:cubicBezTo>
                      <a:cubicBezTo>
                        <a:pt x="1385908" y="1632121"/>
                        <a:pt x="1388182" y="1632121"/>
                        <a:pt x="1390000" y="1632121"/>
                      </a:cubicBezTo>
                      <a:cubicBezTo>
                        <a:pt x="1392274" y="1632121"/>
                        <a:pt x="1394093" y="1632121"/>
                        <a:pt x="1396366" y="1632121"/>
                      </a:cubicBezTo>
                      <a:cubicBezTo>
                        <a:pt x="1398640" y="1632121"/>
                        <a:pt x="1400458" y="1632121"/>
                        <a:pt x="1402732" y="1632121"/>
                      </a:cubicBezTo>
                      <a:cubicBezTo>
                        <a:pt x="1405005" y="1632121"/>
                        <a:pt x="1406824" y="1632121"/>
                        <a:pt x="1409097" y="1632121"/>
                      </a:cubicBezTo>
                      <a:cubicBezTo>
                        <a:pt x="1410916" y="1632121"/>
                        <a:pt x="1413190" y="1632121"/>
                        <a:pt x="1415008" y="1632121"/>
                      </a:cubicBezTo>
                      <a:cubicBezTo>
                        <a:pt x="1416827" y="1632121"/>
                        <a:pt x="1419101" y="1632121"/>
                        <a:pt x="1420920" y="1632121"/>
                      </a:cubicBezTo>
                      <a:cubicBezTo>
                        <a:pt x="1421829" y="1635759"/>
                        <a:pt x="1421829" y="1638942"/>
                        <a:pt x="1421374" y="1642125"/>
                      </a:cubicBezTo>
                      <a:moveTo>
                        <a:pt x="1543687" y="1608023"/>
                      </a:moveTo>
                      <a:cubicBezTo>
                        <a:pt x="1540959" y="1615753"/>
                        <a:pt x="1535957" y="1621209"/>
                        <a:pt x="1533684" y="1621664"/>
                      </a:cubicBezTo>
                      <a:cubicBezTo>
                        <a:pt x="1529591" y="1623028"/>
                        <a:pt x="1504129" y="1623028"/>
                        <a:pt x="1501400" y="1623028"/>
                      </a:cubicBezTo>
                      <a:cubicBezTo>
                        <a:pt x="1489578" y="1623028"/>
                        <a:pt x="1478211" y="1622573"/>
                        <a:pt x="1466389" y="1622573"/>
                      </a:cubicBezTo>
                      <a:cubicBezTo>
                        <a:pt x="1465934" y="1617571"/>
                        <a:pt x="1465480" y="1612570"/>
                        <a:pt x="1465025" y="1607568"/>
                      </a:cubicBezTo>
                      <a:cubicBezTo>
                        <a:pt x="1532320" y="1590744"/>
                        <a:pt x="1532320" y="1590744"/>
                        <a:pt x="1534593" y="1590744"/>
                      </a:cubicBezTo>
                      <a:cubicBezTo>
                        <a:pt x="1535957" y="1591199"/>
                        <a:pt x="1546870" y="1599384"/>
                        <a:pt x="1543687" y="1608023"/>
                      </a:cubicBezTo>
                      <a:moveTo>
                        <a:pt x="1424102" y="1340663"/>
                      </a:moveTo>
                      <a:cubicBezTo>
                        <a:pt x="1406824" y="1378857"/>
                        <a:pt x="1396821" y="1392952"/>
                        <a:pt x="1378633" y="1417961"/>
                      </a:cubicBezTo>
                      <a:cubicBezTo>
                        <a:pt x="1362264" y="1440695"/>
                        <a:pt x="1358172" y="1447061"/>
                        <a:pt x="1351351" y="1464794"/>
                      </a:cubicBezTo>
                      <a:cubicBezTo>
                        <a:pt x="1342712" y="1487983"/>
                        <a:pt x="1353170" y="1511173"/>
                        <a:pt x="1353625" y="1533908"/>
                      </a:cubicBezTo>
                      <a:cubicBezTo>
                        <a:pt x="1355444" y="1535272"/>
                        <a:pt x="1357262" y="1536636"/>
                        <a:pt x="1358626" y="1538000"/>
                      </a:cubicBezTo>
                      <a:cubicBezTo>
                        <a:pt x="1330435" y="1595291"/>
                        <a:pt x="1330435" y="1595291"/>
                        <a:pt x="1322251" y="1595291"/>
                      </a:cubicBezTo>
                      <a:cubicBezTo>
                        <a:pt x="1264505" y="1579832"/>
                        <a:pt x="1259048" y="1490257"/>
                        <a:pt x="1313612" y="1458428"/>
                      </a:cubicBezTo>
                      <a:cubicBezTo>
                        <a:pt x="1337710" y="1444333"/>
                        <a:pt x="1360445" y="1431147"/>
                        <a:pt x="1369539" y="1370218"/>
                      </a:cubicBezTo>
                      <a:cubicBezTo>
                        <a:pt x="1370448" y="1364761"/>
                        <a:pt x="1371358" y="1359305"/>
                        <a:pt x="1415463" y="1323839"/>
                      </a:cubicBezTo>
                      <a:cubicBezTo>
                        <a:pt x="1420010" y="1324748"/>
                        <a:pt x="1426831" y="1333387"/>
                        <a:pt x="1426831" y="1333387"/>
                      </a:cubicBezTo>
                      <a:cubicBezTo>
                        <a:pt x="1425921" y="1335661"/>
                        <a:pt x="1425012" y="1338389"/>
                        <a:pt x="1424102" y="1340663"/>
                      </a:cubicBezTo>
                      <a:moveTo>
                        <a:pt x="1775126" y="1301559"/>
                      </a:moveTo>
                      <a:cubicBezTo>
                        <a:pt x="1775126" y="1312926"/>
                        <a:pt x="1771034" y="1314745"/>
                        <a:pt x="1769670" y="1315200"/>
                      </a:cubicBezTo>
                      <a:cubicBezTo>
                        <a:pt x="1767396" y="1316564"/>
                        <a:pt x="1751028" y="1317473"/>
                        <a:pt x="1748299" y="1314745"/>
                      </a:cubicBezTo>
                      <a:cubicBezTo>
                        <a:pt x="1711015" y="1278369"/>
                        <a:pt x="1704194" y="1310653"/>
                        <a:pt x="1704194" y="1311107"/>
                      </a:cubicBezTo>
                      <a:cubicBezTo>
                        <a:pt x="1704194" y="1316109"/>
                        <a:pt x="1710105" y="1326112"/>
                        <a:pt x="1716925" y="1338844"/>
                      </a:cubicBezTo>
                      <a:cubicBezTo>
                        <a:pt x="1722382" y="1348847"/>
                        <a:pt x="1722382" y="1348847"/>
                        <a:pt x="1730112" y="1368854"/>
                      </a:cubicBezTo>
                      <a:cubicBezTo>
                        <a:pt x="1713288" y="1366580"/>
                        <a:pt x="1699647" y="1362033"/>
                        <a:pt x="1688280" y="1345664"/>
                      </a:cubicBezTo>
                      <a:cubicBezTo>
                        <a:pt x="1671911" y="1323384"/>
                        <a:pt x="1673275" y="1293829"/>
                        <a:pt x="1659179" y="1270640"/>
                      </a:cubicBezTo>
                      <a:cubicBezTo>
                        <a:pt x="1757848" y="1278369"/>
                        <a:pt x="1757848" y="1278369"/>
                        <a:pt x="1760121" y="1278824"/>
                      </a:cubicBezTo>
                      <a:cubicBezTo>
                        <a:pt x="1760121" y="1279279"/>
                        <a:pt x="1775581" y="1285645"/>
                        <a:pt x="1775126" y="1301559"/>
                      </a:cubicBezTo>
                      <a:moveTo>
                        <a:pt x="2403514" y="1016011"/>
                      </a:moveTo>
                      <a:cubicBezTo>
                        <a:pt x="2407606" y="1026924"/>
                        <a:pt x="2415336" y="1053751"/>
                        <a:pt x="2398512" y="1068301"/>
                      </a:cubicBezTo>
                      <a:cubicBezTo>
                        <a:pt x="2395329" y="1066937"/>
                        <a:pt x="2392601" y="1065573"/>
                        <a:pt x="2389418" y="1063754"/>
                      </a:cubicBezTo>
                      <a:cubicBezTo>
                        <a:pt x="2388509" y="1036927"/>
                        <a:pt x="2387600" y="1011919"/>
                        <a:pt x="2385781" y="983273"/>
                      </a:cubicBezTo>
                      <a:cubicBezTo>
                        <a:pt x="2389873" y="989184"/>
                        <a:pt x="2398057" y="1000551"/>
                        <a:pt x="2403514" y="1016011"/>
                      </a:cubicBezTo>
                      <a:moveTo>
                        <a:pt x="3255611" y="404447"/>
                      </a:moveTo>
                      <a:cubicBezTo>
                        <a:pt x="3271525" y="418543"/>
                        <a:pt x="3283347" y="429001"/>
                        <a:pt x="3288349" y="433548"/>
                      </a:cubicBezTo>
                      <a:cubicBezTo>
                        <a:pt x="3245153" y="408994"/>
                        <a:pt x="3241515" y="400355"/>
                        <a:pt x="3241060" y="398991"/>
                      </a:cubicBezTo>
                      <a:cubicBezTo>
                        <a:pt x="3241060" y="398536"/>
                        <a:pt x="3250609" y="399900"/>
                        <a:pt x="3255611" y="404447"/>
                      </a:cubicBezTo>
                      <a:moveTo>
                        <a:pt x="2649049" y="96165"/>
                      </a:moveTo>
                      <a:cubicBezTo>
                        <a:pt x="2649958" y="97074"/>
                        <a:pt x="2651322" y="97529"/>
                        <a:pt x="2651322" y="98893"/>
                      </a:cubicBezTo>
                      <a:cubicBezTo>
                        <a:pt x="2650868" y="98893"/>
                        <a:pt x="2639955" y="97983"/>
                        <a:pt x="2625405" y="92982"/>
                      </a:cubicBezTo>
                      <a:cubicBezTo>
                        <a:pt x="2613128" y="88890"/>
                        <a:pt x="2596759" y="81614"/>
                        <a:pt x="2587665" y="77977"/>
                      </a:cubicBezTo>
                      <a:cubicBezTo>
                        <a:pt x="2625859" y="87071"/>
                        <a:pt x="2625859" y="87071"/>
                        <a:pt x="2629497" y="87980"/>
                      </a:cubicBezTo>
                      <a:cubicBezTo>
                        <a:pt x="2629497" y="87980"/>
                        <a:pt x="2648139" y="95255"/>
                        <a:pt x="2649049" y="96165"/>
                      </a:cubicBezTo>
                      <a:moveTo>
                        <a:pt x="2799552" y="70247"/>
                      </a:moveTo>
                      <a:cubicBezTo>
                        <a:pt x="2634044" y="-685"/>
                        <a:pt x="2596304" y="-11598"/>
                        <a:pt x="2495362" y="9773"/>
                      </a:cubicBezTo>
                      <a:cubicBezTo>
                        <a:pt x="2512640" y="31143"/>
                        <a:pt x="2536739" y="44784"/>
                        <a:pt x="2554017" y="66155"/>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556291" y="69792"/>
                        <a:pt x="2556291" y="69792"/>
                        <a:pt x="2556291" y="69792"/>
                      </a:cubicBezTo>
                      <a:cubicBezTo>
                        <a:pt x="2651322" y="129812"/>
                        <a:pt x="2651322" y="129812"/>
                        <a:pt x="2651777" y="129812"/>
                      </a:cubicBezTo>
                      <a:cubicBezTo>
                        <a:pt x="2632680" y="129357"/>
                        <a:pt x="2607217" y="127539"/>
                        <a:pt x="2588574" y="123901"/>
                      </a:cubicBezTo>
                      <a:cubicBezTo>
                        <a:pt x="2597213" y="138906"/>
                        <a:pt x="2612673" y="156639"/>
                        <a:pt x="2625405" y="168006"/>
                      </a:cubicBezTo>
                      <a:cubicBezTo>
                        <a:pt x="2609945" y="172099"/>
                        <a:pt x="2588120" y="173008"/>
                        <a:pt x="2572660" y="170280"/>
                      </a:cubicBezTo>
                      <a:cubicBezTo>
                        <a:pt x="2563566" y="231209"/>
                        <a:pt x="2563111" y="234846"/>
                        <a:pt x="2655869" y="283953"/>
                      </a:cubicBezTo>
                      <a:cubicBezTo>
                        <a:pt x="2657688" y="300322"/>
                        <a:pt x="2658597" y="322148"/>
                        <a:pt x="2657688" y="338517"/>
                      </a:cubicBezTo>
                      <a:cubicBezTo>
                        <a:pt x="2672238" y="347156"/>
                        <a:pt x="2691790" y="359433"/>
                        <a:pt x="2705885" y="368072"/>
                      </a:cubicBezTo>
                      <a:cubicBezTo>
                        <a:pt x="2642683" y="352612"/>
                        <a:pt x="2595849" y="280316"/>
                        <a:pt x="2518551" y="313054"/>
                      </a:cubicBezTo>
                      <a:cubicBezTo>
                        <a:pt x="2527191" y="329423"/>
                        <a:pt x="2540832" y="350339"/>
                        <a:pt x="2553108" y="363979"/>
                      </a:cubicBezTo>
                      <a:cubicBezTo>
                        <a:pt x="2539013" y="371709"/>
                        <a:pt x="2524008" y="389897"/>
                        <a:pt x="2518551" y="404902"/>
                      </a:cubicBezTo>
                      <a:cubicBezTo>
                        <a:pt x="2344858" y="300777"/>
                        <a:pt x="2309392" y="308507"/>
                        <a:pt x="2309392" y="308507"/>
                      </a:cubicBezTo>
                      <a:cubicBezTo>
                        <a:pt x="2308028" y="316237"/>
                        <a:pt x="2306209" y="327149"/>
                        <a:pt x="2304845" y="334879"/>
                      </a:cubicBezTo>
                      <a:cubicBezTo>
                        <a:pt x="2096595" y="249851"/>
                        <a:pt x="2096595" y="249851"/>
                        <a:pt x="2064312" y="244850"/>
                      </a:cubicBezTo>
                      <a:cubicBezTo>
                        <a:pt x="2061129" y="277588"/>
                        <a:pt x="2061129" y="277588"/>
                        <a:pt x="2087956" y="322602"/>
                      </a:cubicBezTo>
                      <a:cubicBezTo>
                        <a:pt x="2117966" y="325330"/>
                        <a:pt x="2117966" y="325330"/>
                        <a:pt x="2171620" y="315327"/>
                      </a:cubicBezTo>
                      <a:cubicBezTo>
                        <a:pt x="2167527" y="304869"/>
                        <a:pt x="2162071" y="290774"/>
                        <a:pt x="2158434" y="280316"/>
                      </a:cubicBezTo>
                      <a:cubicBezTo>
                        <a:pt x="2209359" y="315782"/>
                        <a:pt x="2271652" y="360342"/>
                        <a:pt x="2271652" y="360797"/>
                      </a:cubicBezTo>
                      <a:cubicBezTo>
                        <a:pt x="2263468" y="362161"/>
                        <a:pt x="2253010" y="363979"/>
                        <a:pt x="2244825" y="365344"/>
                      </a:cubicBezTo>
                      <a:cubicBezTo>
                        <a:pt x="2259376" y="450371"/>
                        <a:pt x="2288021" y="532216"/>
                        <a:pt x="2298025" y="618154"/>
                      </a:cubicBezTo>
                      <a:cubicBezTo>
                        <a:pt x="2289840" y="618154"/>
                        <a:pt x="2278927" y="618154"/>
                        <a:pt x="2270288" y="618154"/>
                      </a:cubicBezTo>
                      <a:cubicBezTo>
                        <a:pt x="2260285" y="603603"/>
                        <a:pt x="2246190" y="584051"/>
                        <a:pt x="2235732" y="569956"/>
                      </a:cubicBezTo>
                      <a:cubicBezTo>
                        <a:pt x="2232094" y="577231"/>
                        <a:pt x="2227093" y="587234"/>
                        <a:pt x="2223455" y="594509"/>
                      </a:cubicBezTo>
                      <a:cubicBezTo>
                        <a:pt x="2249372" y="626338"/>
                        <a:pt x="2249372" y="626338"/>
                        <a:pt x="2270288" y="724097"/>
                      </a:cubicBezTo>
                      <a:cubicBezTo>
                        <a:pt x="2260740" y="724552"/>
                        <a:pt x="2248008" y="725007"/>
                        <a:pt x="2238460" y="725461"/>
                      </a:cubicBezTo>
                      <a:cubicBezTo>
                        <a:pt x="2238460" y="709547"/>
                        <a:pt x="2230730" y="687722"/>
                        <a:pt x="2220727" y="675445"/>
                      </a:cubicBezTo>
                      <a:cubicBezTo>
                        <a:pt x="2213906" y="690450"/>
                        <a:pt x="2206176" y="711366"/>
                        <a:pt x="2202084" y="727280"/>
                      </a:cubicBezTo>
                      <a:cubicBezTo>
                        <a:pt x="2214361" y="740921"/>
                        <a:pt x="2228911" y="760018"/>
                        <a:pt x="2238460" y="775478"/>
                      </a:cubicBezTo>
                      <a:cubicBezTo>
                        <a:pt x="2206631" y="760473"/>
                        <a:pt x="2206631" y="760473"/>
                        <a:pt x="2156160" y="715913"/>
                      </a:cubicBezTo>
                      <a:cubicBezTo>
                        <a:pt x="2148430" y="719550"/>
                        <a:pt x="2137972" y="724097"/>
                        <a:pt x="2130243" y="727735"/>
                      </a:cubicBezTo>
                      <a:cubicBezTo>
                        <a:pt x="2134335" y="765929"/>
                        <a:pt x="2136154" y="781389"/>
                        <a:pt x="2161616" y="821857"/>
                      </a:cubicBezTo>
                      <a:cubicBezTo>
                        <a:pt x="2150704" y="853685"/>
                        <a:pt x="2150704" y="853685"/>
                        <a:pt x="2248463" y="990093"/>
                      </a:cubicBezTo>
                      <a:cubicBezTo>
                        <a:pt x="2157979" y="951899"/>
                        <a:pt x="2039758" y="997369"/>
                        <a:pt x="1969281" y="897790"/>
                      </a:cubicBezTo>
                      <a:cubicBezTo>
                        <a:pt x="1953366" y="875056"/>
                        <a:pt x="1978829" y="710911"/>
                        <a:pt x="2018388" y="664532"/>
                      </a:cubicBezTo>
                      <a:cubicBezTo>
                        <a:pt x="2070678" y="603603"/>
                        <a:pt x="2029300" y="586780"/>
                        <a:pt x="2002019" y="575412"/>
                      </a:cubicBezTo>
                      <a:cubicBezTo>
                        <a:pt x="1853334" y="741830"/>
                        <a:pt x="1748299" y="950080"/>
                        <a:pt x="2089320" y="998733"/>
                      </a:cubicBezTo>
                      <a:cubicBezTo>
                        <a:pt x="2071587" y="1036927"/>
                        <a:pt x="2071587" y="1036927"/>
                        <a:pt x="1994289" y="1027833"/>
                      </a:cubicBezTo>
                      <a:cubicBezTo>
                        <a:pt x="1914263" y="1127411"/>
                        <a:pt x="1914263" y="1127411"/>
                        <a:pt x="1896984" y="1173790"/>
                      </a:cubicBezTo>
                      <a:cubicBezTo>
                        <a:pt x="1888800" y="1173790"/>
                        <a:pt x="1877887" y="1174245"/>
                        <a:pt x="1870157" y="1174699"/>
                      </a:cubicBezTo>
                      <a:cubicBezTo>
                        <a:pt x="1914717" y="1080123"/>
                        <a:pt x="1914717" y="1080123"/>
                        <a:pt x="1908806" y="1056933"/>
                      </a:cubicBezTo>
                      <a:cubicBezTo>
                        <a:pt x="1900167" y="1054660"/>
                        <a:pt x="1888345" y="1051477"/>
                        <a:pt x="1879251" y="1049658"/>
                      </a:cubicBezTo>
                      <a:cubicBezTo>
                        <a:pt x="1867884" y="1061026"/>
                        <a:pt x="1853788" y="1078304"/>
                        <a:pt x="1845149" y="1091945"/>
                      </a:cubicBezTo>
                      <a:cubicBezTo>
                        <a:pt x="1829235" y="1094673"/>
                        <a:pt x="1807864" y="1098765"/>
                        <a:pt x="1792405" y="1101948"/>
                      </a:cubicBezTo>
                      <a:cubicBezTo>
                        <a:pt x="1792405" y="1134231"/>
                        <a:pt x="1792405" y="1134231"/>
                        <a:pt x="1830144" y="1208347"/>
                      </a:cubicBezTo>
                      <a:cubicBezTo>
                        <a:pt x="1821960" y="1210620"/>
                        <a:pt x="1811502" y="1213803"/>
                        <a:pt x="1803317" y="1216076"/>
                      </a:cubicBezTo>
                      <a:cubicBezTo>
                        <a:pt x="1739206" y="1102403"/>
                        <a:pt x="1598705" y="1109223"/>
                        <a:pt x="1511858"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509130" y="1031016"/>
                        <a:pt x="1509130" y="1031016"/>
                        <a:pt x="1509130" y="1031016"/>
                      </a:cubicBezTo>
                      <a:cubicBezTo>
                        <a:pt x="1358172" y="1026014"/>
                        <a:pt x="1342257" y="1025559"/>
                        <a:pt x="1162653" y="1199707"/>
                      </a:cubicBezTo>
                      <a:cubicBezTo>
                        <a:pt x="1171747" y="1201526"/>
                        <a:pt x="1183569" y="1204254"/>
                        <a:pt x="1192208" y="1206528"/>
                      </a:cubicBezTo>
                      <a:cubicBezTo>
                        <a:pt x="1196301" y="1214258"/>
                        <a:pt x="1201302" y="1225170"/>
                        <a:pt x="1205394" y="1232900"/>
                      </a:cubicBezTo>
                      <a:cubicBezTo>
                        <a:pt x="1150831" y="1343845"/>
                        <a:pt x="1005329" y="1371582"/>
                        <a:pt x="964861" y="1495259"/>
                      </a:cubicBezTo>
                      <a:cubicBezTo>
                        <a:pt x="891655" y="1719878"/>
                        <a:pt x="981230" y="1731700"/>
                        <a:pt x="1040340" y="1739429"/>
                      </a:cubicBezTo>
                      <a:cubicBezTo>
                        <a:pt x="990324" y="1793538"/>
                        <a:pt x="1013513" y="1866289"/>
                        <a:pt x="993052" y="1927673"/>
                      </a:cubicBezTo>
                      <a:cubicBezTo>
                        <a:pt x="916209" y="1953590"/>
                        <a:pt x="872558" y="2029524"/>
                        <a:pt x="796624" y="2057715"/>
                      </a:cubicBezTo>
                      <a:cubicBezTo>
                        <a:pt x="812993" y="1942678"/>
                        <a:pt x="744789" y="1835825"/>
                        <a:pt x="763886" y="1720332"/>
                      </a:cubicBezTo>
                      <a:cubicBezTo>
                        <a:pt x="757066" y="1713057"/>
                        <a:pt x="748427" y="1703508"/>
                        <a:pt x="741606" y="1696233"/>
                      </a:cubicBezTo>
                      <a:cubicBezTo>
                        <a:pt x="742970" y="1679864"/>
                        <a:pt x="747517" y="1658494"/>
                        <a:pt x="752519" y="1642580"/>
                      </a:cubicBezTo>
                      <a:cubicBezTo>
                        <a:pt x="713870" y="1644853"/>
                        <a:pt x="676130" y="1656675"/>
                        <a:pt x="637027" y="1653492"/>
                      </a:cubicBezTo>
                      <a:cubicBezTo>
                        <a:pt x="597014" y="1690777"/>
                        <a:pt x="596559" y="1695324"/>
                        <a:pt x="595195" y="1729426"/>
                      </a:cubicBezTo>
                      <a:cubicBezTo>
                        <a:pt x="602015" y="1733518"/>
                        <a:pt x="611564" y="1739429"/>
                        <a:pt x="618384" y="1743522"/>
                      </a:cubicBezTo>
                      <a:cubicBezTo>
                        <a:pt x="617929" y="1763983"/>
                        <a:pt x="617020" y="1790810"/>
                        <a:pt x="616565" y="1811271"/>
                      </a:cubicBezTo>
                      <a:cubicBezTo>
                        <a:pt x="608381" y="1812180"/>
                        <a:pt x="597468" y="1813545"/>
                        <a:pt x="589738" y="1814454"/>
                      </a:cubicBezTo>
                      <a:cubicBezTo>
                        <a:pt x="584282" y="1813545"/>
                        <a:pt x="584282" y="1813545"/>
                        <a:pt x="584282" y="1813545"/>
                      </a:cubicBezTo>
                      <a:cubicBezTo>
                        <a:pt x="584282" y="1813545"/>
                        <a:pt x="584282" y="1813545"/>
                        <a:pt x="583827" y="1813545"/>
                      </a:cubicBezTo>
                      <a:cubicBezTo>
                        <a:pt x="583827" y="1813545"/>
                        <a:pt x="583827" y="1813545"/>
                        <a:pt x="583373" y="1813545"/>
                      </a:cubicBezTo>
                      <a:cubicBezTo>
                        <a:pt x="583373" y="1813545"/>
                        <a:pt x="583373" y="1813545"/>
                        <a:pt x="582918" y="1813545"/>
                      </a:cubicBezTo>
                      <a:cubicBezTo>
                        <a:pt x="582918" y="1813545"/>
                        <a:pt x="582918" y="1813545"/>
                        <a:pt x="582463" y="1813545"/>
                      </a:cubicBezTo>
                      <a:cubicBezTo>
                        <a:pt x="582463" y="1813545"/>
                        <a:pt x="582463" y="1813545"/>
                        <a:pt x="582009" y="1813545"/>
                      </a:cubicBezTo>
                      <a:cubicBezTo>
                        <a:pt x="582009" y="1813545"/>
                        <a:pt x="582009" y="1813545"/>
                        <a:pt x="581554" y="1813545"/>
                      </a:cubicBezTo>
                      <a:cubicBezTo>
                        <a:pt x="581554" y="1813545"/>
                        <a:pt x="581554" y="1813545"/>
                        <a:pt x="581099" y="1813545"/>
                      </a:cubicBezTo>
                      <a:cubicBezTo>
                        <a:pt x="549271" y="1816273"/>
                        <a:pt x="549271" y="1816273"/>
                        <a:pt x="436506" y="1977689"/>
                      </a:cubicBezTo>
                      <a:cubicBezTo>
                        <a:pt x="438325" y="1986783"/>
                        <a:pt x="440599" y="1999060"/>
                        <a:pt x="441963" y="2008154"/>
                      </a:cubicBezTo>
                      <a:cubicBezTo>
                        <a:pt x="551089" y="2039982"/>
                        <a:pt x="572460" y="1912668"/>
                        <a:pt x="648849" y="1884022"/>
                      </a:cubicBezTo>
                      <a:cubicBezTo>
                        <a:pt x="651122" y="1892207"/>
                        <a:pt x="654305" y="1902664"/>
                        <a:pt x="656578" y="1910849"/>
                      </a:cubicBezTo>
                      <a:cubicBezTo>
                        <a:pt x="632480" y="1929946"/>
                        <a:pt x="582463" y="1969959"/>
                        <a:pt x="597468" y="2043620"/>
                      </a:cubicBezTo>
                      <a:cubicBezTo>
                        <a:pt x="584282" y="2055442"/>
                        <a:pt x="564730" y="2068628"/>
                        <a:pt x="549271" y="2076358"/>
                      </a:cubicBezTo>
                      <a:cubicBezTo>
                        <a:pt x="549271" y="2084997"/>
                        <a:pt x="549725" y="2096364"/>
                        <a:pt x="549725" y="2105003"/>
                      </a:cubicBezTo>
                      <a:cubicBezTo>
                        <a:pt x="624750" y="2132285"/>
                        <a:pt x="693409" y="2086816"/>
                        <a:pt x="766160" y="2085906"/>
                      </a:cubicBezTo>
                      <a:cubicBezTo>
                        <a:pt x="756157" y="2101366"/>
                        <a:pt x="736605" y="2118190"/>
                        <a:pt x="720690" y="2127738"/>
                      </a:cubicBezTo>
                      <a:cubicBezTo>
                        <a:pt x="712051" y="2124555"/>
                        <a:pt x="700684" y="2120008"/>
                        <a:pt x="692499" y="2116826"/>
                      </a:cubicBezTo>
                      <a:cubicBezTo>
                        <a:pt x="657943" y="2138651"/>
                        <a:pt x="612928" y="2140015"/>
                        <a:pt x="584282" y="2172753"/>
                      </a:cubicBezTo>
                      <a:cubicBezTo>
                        <a:pt x="600651" y="2244140"/>
                        <a:pt x="705686" y="2285062"/>
                        <a:pt x="660216" y="2376910"/>
                      </a:cubicBezTo>
                      <a:cubicBezTo>
                        <a:pt x="635208" y="2427382"/>
                        <a:pt x="632025" y="2433747"/>
                        <a:pt x="478793" y="2386004"/>
                      </a:cubicBezTo>
                      <a:cubicBezTo>
                        <a:pt x="378760" y="2354631"/>
                        <a:pt x="328289" y="2641088"/>
                        <a:pt x="375123" y="2723387"/>
                      </a:cubicBezTo>
                      <a:cubicBezTo>
                        <a:pt x="425594" y="2732027"/>
                        <a:pt x="425594" y="2732027"/>
                        <a:pt x="442872" y="2759308"/>
                      </a:cubicBezTo>
                      <a:cubicBezTo>
                        <a:pt x="442418" y="2762036"/>
                        <a:pt x="273726" y="3060316"/>
                        <a:pt x="183242" y="3076230"/>
                      </a:cubicBezTo>
                      <a:cubicBezTo>
                        <a:pt x="175057" y="3061225"/>
                        <a:pt x="167782" y="3038490"/>
                        <a:pt x="167328" y="3021212"/>
                      </a:cubicBezTo>
                      <a:cubicBezTo>
                        <a:pt x="150049" y="3033034"/>
                        <a:pt x="129133" y="3051677"/>
                        <a:pt x="115038" y="3067591"/>
                      </a:cubicBezTo>
                      <a:cubicBezTo>
                        <a:pt x="128679" y="3075321"/>
                        <a:pt x="144593" y="3090780"/>
                        <a:pt x="152777" y="3104421"/>
                      </a:cubicBezTo>
                      <a:cubicBezTo>
                        <a:pt x="1364" y="3358595"/>
                        <a:pt x="1364" y="3358595"/>
                        <a:pt x="0" y="3363142"/>
                      </a:cubicBezTo>
                      <a:cubicBezTo>
                        <a:pt x="17733" y="3398608"/>
                        <a:pt x="71387" y="3506371"/>
                        <a:pt x="1819" y="3621863"/>
                      </a:cubicBezTo>
                      <a:cubicBezTo>
                        <a:pt x="3183" y="3626865"/>
                        <a:pt x="207341" y="4128847"/>
                        <a:pt x="451057" y="4088379"/>
                      </a:cubicBezTo>
                      <a:cubicBezTo>
                        <a:pt x="762068" y="4036999"/>
                        <a:pt x="953039" y="4077012"/>
                        <a:pt x="1018970" y="4207055"/>
                      </a:cubicBezTo>
                      <a:cubicBezTo>
                        <a:pt x="994416" y="4274804"/>
                        <a:pt x="974864" y="4328458"/>
                        <a:pt x="975774" y="4333005"/>
                      </a:cubicBezTo>
                      <a:cubicBezTo>
                        <a:pt x="993962" y="4440313"/>
                        <a:pt x="1124459" y="4459410"/>
                        <a:pt x="1153105" y="4558533"/>
                      </a:cubicBezTo>
                      <a:cubicBezTo>
                        <a:pt x="1184933" y="4669024"/>
                        <a:pt x="1100360" y="4772694"/>
                        <a:pt x="1134462" y="4882730"/>
                      </a:cubicBezTo>
                      <a:cubicBezTo>
                        <a:pt x="1134917" y="4884549"/>
                        <a:pt x="1189935" y="5059151"/>
                        <a:pt x="1343622" y="5256489"/>
                      </a:cubicBezTo>
                      <a:cubicBezTo>
                        <a:pt x="1331345" y="5344244"/>
                        <a:pt x="1514132" y="5409721"/>
                        <a:pt x="1751482" y="5233754"/>
                      </a:cubicBezTo>
                      <a:cubicBezTo>
                        <a:pt x="1892892" y="5128720"/>
                        <a:pt x="1948365" y="5045511"/>
                        <a:pt x="1948820" y="5045056"/>
                      </a:cubicBezTo>
                      <a:cubicBezTo>
                        <a:pt x="1965188" y="5010499"/>
                        <a:pt x="1943818" y="4966848"/>
                        <a:pt x="1973373" y="4935475"/>
                      </a:cubicBezTo>
                      <a:cubicBezTo>
                        <a:pt x="2029755" y="4875455"/>
                        <a:pt x="2127969" y="4880002"/>
                        <a:pt x="2174803" y="4804977"/>
                      </a:cubicBezTo>
                      <a:cubicBezTo>
                        <a:pt x="2175257" y="4804068"/>
                        <a:pt x="2226638" y="4691758"/>
                        <a:pt x="2183897" y="4612642"/>
                      </a:cubicBezTo>
                      <a:cubicBezTo>
                        <a:pt x="2163890" y="4575811"/>
                        <a:pt x="2137972" y="4471232"/>
                        <a:pt x="2326670" y="4297084"/>
                      </a:cubicBezTo>
                      <a:cubicBezTo>
                        <a:pt x="2468080" y="4166132"/>
                        <a:pt x="2731803" y="3922416"/>
                        <a:pt x="2660871" y="3774186"/>
                      </a:cubicBezTo>
                      <a:cubicBezTo>
                        <a:pt x="2556746" y="3766001"/>
                        <a:pt x="2374413" y="3951062"/>
                        <a:pt x="2354861" y="3807378"/>
                      </a:cubicBezTo>
                      <a:cubicBezTo>
                        <a:pt x="2564476" y="3697797"/>
                        <a:pt x="3202411" y="3364506"/>
                        <a:pt x="2910498" y="3216731"/>
                      </a:cubicBezTo>
                      <a:cubicBezTo>
                        <a:pt x="2885035" y="3203999"/>
                        <a:pt x="2855025" y="3209456"/>
                        <a:pt x="2829562" y="3196269"/>
                      </a:cubicBezTo>
                      <a:cubicBezTo>
                        <a:pt x="2826834" y="3187175"/>
                        <a:pt x="2823651" y="3174899"/>
                        <a:pt x="2820923" y="3165805"/>
                      </a:cubicBezTo>
                      <a:lnTo>
                        <a:pt x="3143301" y="3115788"/>
                      </a:lnTo>
                      <a:cubicBezTo>
                        <a:pt x="3233331" y="3155802"/>
                        <a:pt x="3289713" y="3254925"/>
                        <a:pt x="3398840" y="3260836"/>
                      </a:cubicBezTo>
                      <a:cubicBezTo>
                        <a:pt x="3392928" y="3399063"/>
                        <a:pt x="3574351" y="3779642"/>
                        <a:pt x="3576170" y="3782370"/>
                      </a:cubicBezTo>
                      <a:cubicBezTo>
                        <a:pt x="3594813" y="3766911"/>
                        <a:pt x="3594813" y="3766911"/>
                        <a:pt x="3630279" y="3709619"/>
                      </a:cubicBezTo>
                      <a:cubicBezTo>
                        <a:pt x="3647103" y="3746449"/>
                        <a:pt x="3633007" y="3787827"/>
                        <a:pt x="3648012" y="3824657"/>
                      </a:cubicBezTo>
                      <a:cubicBezTo>
                        <a:pt x="3656196" y="3825111"/>
                        <a:pt x="3666655" y="3826021"/>
                        <a:pt x="3674839" y="3826930"/>
                      </a:cubicBezTo>
                      <a:cubicBezTo>
                        <a:pt x="3752137" y="3751451"/>
                        <a:pt x="3700757" y="3676881"/>
                        <a:pt x="3700302" y="3675972"/>
                      </a:cubicBezTo>
                      <a:cubicBezTo>
                        <a:pt x="3611636" y="3565936"/>
                        <a:pt x="3750773" y="3049858"/>
                        <a:pt x="3919464" y="3048949"/>
                      </a:cubicBezTo>
                      <a:cubicBezTo>
                        <a:pt x="4005856" y="3165805"/>
                        <a:pt x="4006311" y="3171716"/>
                        <a:pt x="4014041" y="3244012"/>
                      </a:cubicBezTo>
                      <a:cubicBezTo>
                        <a:pt x="4021771" y="3246286"/>
                        <a:pt x="4032228" y="3249469"/>
                        <a:pt x="4040413" y="3252197"/>
                      </a:cubicBezTo>
                      <a:cubicBezTo>
                        <a:pt x="4051326" y="3239920"/>
                        <a:pt x="4063148" y="3221732"/>
                        <a:pt x="4070423" y="3207182"/>
                      </a:cubicBezTo>
                      <a:cubicBezTo>
                        <a:pt x="4105889" y="3437257"/>
                        <a:pt x="4125441" y="3563662"/>
                        <a:pt x="4117711" y="3778733"/>
                      </a:cubicBezTo>
                      <a:cubicBezTo>
                        <a:pt x="4094976" y="3746449"/>
                        <a:pt x="4094976" y="3746449"/>
                        <a:pt x="4073151" y="3690977"/>
                      </a:cubicBezTo>
                      <a:cubicBezTo>
                        <a:pt x="4064967" y="3688703"/>
                        <a:pt x="4054508" y="3685520"/>
                        <a:pt x="4046324" y="3683247"/>
                      </a:cubicBezTo>
                      <a:cubicBezTo>
                        <a:pt x="3968571" y="3736446"/>
                        <a:pt x="4049052" y="3817836"/>
                        <a:pt x="4022225" y="3881494"/>
                      </a:cubicBezTo>
                      <a:cubicBezTo>
                        <a:pt x="4030865" y="3876492"/>
                        <a:pt x="4042232" y="3870126"/>
                        <a:pt x="4050871" y="3865579"/>
                      </a:cubicBezTo>
                      <a:cubicBezTo>
                        <a:pt x="4067240" y="3923325"/>
                        <a:pt x="4067240" y="3923325"/>
                        <a:pt x="4038140" y="4007898"/>
                      </a:cubicBezTo>
                      <a:cubicBezTo>
                        <a:pt x="4052690" y="4020630"/>
                        <a:pt x="4079517" y="4044274"/>
                        <a:pt x="4075879" y="4152491"/>
                      </a:cubicBezTo>
                      <a:cubicBezTo>
                        <a:pt x="4077698" y="4152946"/>
                        <a:pt x="4077698" y="4152946"/>
                        <a:pt x="4157269" y="4170224"/>
                      </a:cubicBezTo>
                      <a:cubicBezTo>
                        <a:pt x="4170455" y="4159766"/>
                        <a:pt x="4188643" y="4146580"/>
                        <a:pt x="4203194" y="4137941"/>
                      </a:cubicBezTo>
                      <a:cubicBezTo>
                        <a:pt x="4200920" y="4146580"/>
                        <a:pt x="4198192" y="4158402"/>
                        <a:pt x="4195918" y="4167041"/>
                      </a:cubicBezTo>
                      <a:cubicBezTo>
                        <a:pt x="4210923" y="4152491"/>
                        <a:pt x="4210923" y="4152491"/>
                        <a:pt x="4272307" y="4053823"/>
                      </a:cubicBezTo>
                      <a:cubicBezTo>
                        <a:pt x="4270943" y="4057005"/>
                        <a:pt x="4270943" y="4057005"/>
                        <a:pt x="4212288" y="4170679"/>
                      </a:cubicBezTo>
                      <a:cubicBezTo>
                        <a:pt x="4271398" y="4085196"/>
                        <a:pt x="4295951" y="4024722"/>
                        <a:pt x="4315503" y="3976525"/>
                      </a:cubicBezTo>
                      <a:cubicBezTo>
                        <a:pt x="4290950" y="4022449"/>
                        <a:pt x="4253210" y="4081104"/>
                        <a:pt x="4210923" y="4101566"/>
                      </a:cubicBezTo>
                      <a:cubicBezTo>
                        <a:pt x="4206377" y="4086106"/>
                        <a:pt x="4207286" y="4062917"/>
                        <a:pt x="4213197" y="4048366"/>
                      </a:cubicBezTo>
                      <a:cubicBezTo>
                        <a:pt x="4205467" y="4055641"/>
                        <a:pt x="4205467" y="4055641"/>
                        <a:pt x="4144538" y="4091107"/>
                      </a:cubicBezTo>
                      <a:cubicBezTo>
                        <a:pt x="4137263" y="4086106"/>
                        <a:pt x="4127260" y="4079740"/>
                        <a:pt x="4119985" y="4075193"/>
                      </a:cubicBezTo>
                      <a:cubicBezTo>
                        <a:pt x="4131806" y="4024722"/>
                        <a:pt x="4131806" y="4024722"/>
                        <a:pt x="4149085" y="3976070"/>
                      </a:cubicBezTo>
                      <a:cubicBezTo>
                        <a:pt x="4157269" y="3973796"/>
                        <a:pt x="4168637" y="3970613"/>
                        <a:pt x="4176821" y="3967885"/>
                      </a:cubicBezTo>
                      <a:cubicBezTo>
                        <a:pt x="4184096" y="3952881"/>
                        <a:pt x="4185461" y="3927872"/>
                        <a:pt x="4180004" y="3911958"/>
                      </a:cubicBezTo>
                      <a:cubicBezTo>
                        <a:pt x="4172274" y="3909685"/>
                        <a:pt x="4161816" y="3906502"/>
                        <a:pt x="4154087" y="3904228"/>
                      </a:cubicBezTo>
                      <a:cubicBezTo>
                        <a:pt x="4173639" y="3712347"/>
                        <a:pt x="4122713" y="3520921"/>
                        <a:pt x="4150449" y="3329040"/>
                      </a:cubicBezTo>
                      <a:cubicBezTo>
                        <a:pt x="4215016" y="3395425"/>
                        <a:pt x="4215470" y="3410430"/>
                        <a:pt x="4219108" y="3481363"/>
                      </a:cubicBezTo>
                      <a:cubicBezTo>
                        <a:pt x="4479193" y="3347682"/>
                        <a:pt x="4201830" y="3066227"/>
                        <a:pt x="4260485" y="2862979"/>
                      </a:cubicBezTo>
                      <a:cubicBezTo>
                        <a:pt x="4269125" y="2863888"/>
                        <a:pt x="4280492" y="2864798"/>
                        <a:pt x="4289131" y="2865252"/>
                      </a:cubicBezTo>
                      <a:cubicBezTo>
                        <a:pt x="4290040" y="2907084"/>
                        <a:pt x="4276400" y="2948006"/>
                        <a:pt x="4286403" y="2989838"/>
                      </a:cubicBezTo>
                      <a:cubicBezTo>
                        <a:pt x="4295042" y="2989838"/>
                        <a:pt x="4306409" y="2990293"/>
                        <a:pt x="4314594" y="2990293"/>
                      </a:cubicBezTo>
                      <a:cubicBezTo>
                        <a:pt x="4393256" y="2612897"/>
                        <a:pt x="4393256" y="2571520"/>
                        <a:pt x="4368248" y="2360087"/>
                      </a:cubicBezTo>
                      <a:cubicBezTo>
                        <a:pt x="4364155" y="2327349"/>
                        <a:pt x="4188643" y="1912213"/>
                        <a:pt x="4186824" y="1910394"/>
                      </a:cubicBezTo>
                      <a:cubicBezTo>
                        <a:pt x="4175912" y="1922216"/>
                        <a:pt x="4159543" y="1936767"/>
                        <a:pt x="4146357" y="1945860"/>
                      </a:cubicBezTo>
                      <a:cubicBezTo>
                        <a:pt x="4138627" y="1940859"/>
                        <a:pt x="4128169" y="1934038"/>
                        <a:pt x="4120439" y="1928582"/>
                      </a:cubicBezTo>
                      <a:cubicBezTo>
                        <a:pt x="4120439" y="1904029"/>
                        <a:pt x="4120439" y="1904029"/>
                        <a:pt x="4101342" y="1808088"/>
                      </a:cubicBezTo>
                      <a:cubicBezTo>
                        <a:pt x="4118166" y="1833096"/>
                        <a:pt x="4130443" y="1860833"/>
                        <a:pt x="4144993" y="1887205"/>
                      </a:cubicBezTo>
                      <a:cubicBezTo>
                        <a:pt x="4150904" y="1871291"/>
                        <a:pt x="4154541" y="1848556"/>
                        <a:pt x="4154087" y="1832187"/>
                      </a:cubicBezTo>
                      <a:cubicBezTo>
                        <a:pt x="4240933" y="1875838"/>
                        <a:pt x="4251391" y="1976325"/>
                        <a:pt x="4309592" y="2041346"/>
                      </a:cubicBezTo>
                      <a:cubicBezTo>
                        <a:pt x="4335964" y="1854467"/>
                        <a:pt x="4172729" y="1743067"/>
                        <a:pt x="4128169" y="1584379"/>
                      </a:cubicBezTo>
                      <a:cubicBezTo>
                        <a:pt x="4132716" y="1577104"/>
                        <a:pt x="4139081" y="1568010"/>
                        <a:pt x="4143628" y="1560735"/>
                      </a:cubicBezTo>
                      <a:cubicBezTo>
                        <a:pt x="4100432" y="1434329"/>
                        <a:pt x="4100432" y="1434329"/>
                        <a:pt x="3830799" y="1061026"/>
                      </a:cubicBezTo>
                      <a:cubicBezTo>
                        <a:pt x="3883089" y="1097401"/>
                        <a:pt x="4116347" y="1388406"/>
                        <a:pt x="4117256" y="1390679"/>
                      </a:cubicBezTo>
                      <a:cubicBezTo>
                        <a:pt x="4241843" y="1627575"/>
                        <a:pt x="4272307" y="1899482"/>
                        <a:pt x="4395984" y="2136377"/>
                      </a:cubicBezTo>
                      <a:cubicBezTo>
                        <a:pt x="4473282" y="1813999"/>
                        <a:pt x="4067240" y="1198343"/>
                        <a:pt x="4036321" y="1164696"/>
                      </a:cubicBezTo>
                      <a:cubicBezTo>
                        <a:pt x="4097250" y="1287463"/>
                        <a:pt x="4097704" y="1290192"/>
                        <a:pt x="4106798" y="1326112"/>
                      </a:cubicBezTo>
                      <a:cubicBezTo>
                        <a:pt x="4089520" y="1316564"/>
                        <a:pt x="4067695" y="1302468"/>
                        <a:pt x="4051780" y="1290192"/>
                      </a:cubicBezTo>
                      <a:cubicBezTo>
                        <a:pt x="4055418" y="1216986"/>
                        <a:pt x="3687116" y="905975"/>
                        <a:pt x="3683478" y="903701"/>
                      </a:cubicBezTo>
                      <a:cubicBezTo>
                        <a:pt x="3692117" y="924163"/>
                        <a:pt x="3692117" y="924163"/>
                        <a:pt x="3734859" y="970087"/>
                      </a:cubicBezTo>
                      <a:cubicBezTo>
                        <a:pt x="3727129" y="965994"/>
                        <a:pt x="3717126" y="960993"/>
                        <a:pt x="3709851" y="957355"/>
                      </a:cubicBezTo>
                      <a:cubicBezTo>
                        <a:pt x="3703485" y="962812"/>
                        <a:pt x="3694845" y="970087"/>
                        <a:pt x="3688480" y="975998"/>
                      </a:cubicBezTo>
                      <a:cubicBezTo>
                        <a:pt x="3678022" y="963266"/>
                        <a:pt x="3663471" y="946443"/>
                        <a:pt x="3652559" y="934166"/>
                      </a:cubicBezTo>
                      <a:cubicBezTo>
                        <a:pt x="3652559" y="942350"/>
                        <a:pt x="3652559" y="952808"/>
                        <a:pt x="3652559" y="960993"/>
                      </a:cubicBezTo>
                      <a:cubicBezTo>
                        <a:pt x="3586628" y="888242"/>
                        <a:pt x="3450675" y="720005"/>
                        <a:pt x="3450220" y="719096"/>
                      </a:cubicBezTo>
                      <a:cubicBezTo>
                        <a:pt x="3463861" y="686358"/>
                        <a:pt x="3465679" y="682265"/>
                        <a:pt x="3432032" y="638160"/>
                      </a:cubicBezTo>
                      <a:cubicBezTo>
                        <a:pt x="3440217" y="639979"/>
                        <a:pt x="3450675" y="642252"/>
                        <a:pt x="3458859" y="643616"/>
                      </a:cubicBezTo>
                      <a:cubicBezTo>
                        <a:pt x="3451584" y="617244"/>
                        <a:pt x="3451584" y="617244"/>
                        <a:pt x="3245153" y="436276"/>
                      </a:cubicBezTo>
                      <a:cubicBezTo>
                        <a:pt x="3372013" y="486292"/>
                        <a:pt x="3804427" y="846865"/>
                        <a:pt x="3905824" y="987820"/>
                      </a:cubicBezTo>
                      <a:cubicBezTo>
                        <a:pt x="3905824" y="986910"/>
                        <a:pt x="3906278" y="986456"/>
                        <a:pt x="3906278" y="985546"/>
                      </a:cubicBezTo>
                      <a:cubicBezTo>
                        <a:pt x="3906278" y="985092"/>
                        <a:pt x="3906733" y="984182"/>
                        <a:pt x="3906733" y="983728"/>
                      </a:cubicBezTo>
                      <a:cubicBezTo>
                        <a:pt x="3906733" y="983273"/>
                        <a:pt x="3907187" y="982364"/>
                        <a:pt x="3907187" y="981909"/>
                      </a:cubicBezTo>
                      <a:cubicBezTo>
                        <a:pt x="3907187" y="981454"/>
                        <a:pt x="3907643" y="980999"/>
                        <a:pt x="3907643" y="980090"/>
                      </a:cubicBezTo>
                      <a:cubicBezTo>
                        <a:pt x="3907643" y="979635"/>
                        <a:pt x="3907643" y="979181"/>
                        <a:pt x="3908097" y="978726"/>
                      </a:cubicBezTo>
                      <a:cubicBezTo>
                        <a:pt x="3908097" y="978271"/>
                        <a:pt x="3908097" y="977817"/>
                        <a:pt x="3908552" y="977362"/>
                      </a:cubicBezTo>
                      <a:cubicBezTo>
                        <a:pt x="3908552" y="976907"/>
                        <a:pt x="3908552" y="976453"/>
                        <a:pt x="3908552" y="975998"/>
                      </a:cubicBezTo>
                      <a:cubicBezTo>
                        <a:pt x="3908552" y="975543"/>
                        <a:pt x="3908552" y="975543"/>
                        <a:pt x="3908552" y="975088"/>
                      </a:cubicBezTo>
                      <a:cubicBezTo>
                        <a:pt x="3705304" y="692269"/>
                        <a:pt x="3390200" y="461284"/>
                        <a:pt x="3339729" y="454918"/>
                      </a:cubicBezTo>
                      <a:cubicBezTo>
                        <a:pt x="3244244" y="320784"/>
                        <a:pt x="3140118" y="269403"/>
                        <a:pt x="2795915" y="99347"/>
                      </a:cubicBezTo>
                      <a:cubicBezTo>
                        <a:pt x="2803645" y="97074"/>
                        <a:pt x="2814103" y="94346"/>
                        <a:pt x="2821833" y="92527"/>
                      </a:cubicBezTo>
                      <a:cubicBezTo>
                        <a:pt x="2815922" y="82978"/>
                        <a:pt x="2807282" y="74794"/>
                        <a:pt x="2799552" y="70247"/>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Graphic 5">
                  <a:extLst>
                    <a:ext uri="{FF2B5EF4-FFF2-40B4-BE49-F238E27FC236}">
                      <a16:creationId xmlns:a16="http://schemas.microsoft.com/office/drawing/2014/main" id="{8D21A566-814D-42DB-BDA7-383E55105EA9}"/>
                    </a:ext>
                  </a:extLst>
                </p:cNvPr>
                <p:cNvSpPr/>
                <p:nvPr/>
              </p:nvSpPr>
              <p:spPr>
                <a:xfrm>
                  <a:off x="5791201" y="691285"/>
                  <a:ext cx="2510821" cy="5458208"/>
                </a:xfrm>
                <a:custGeom>
                  <a:avLst/>
                  <a:gdLst>
                    <a:gd name="connsiteX0" fmla="*/ 2031119 w 2510821"/>
                    <a:gd name="connsiteY0" fmla="*/ 1039490 h 5458208"/>
                    <a:gd name="connsiteX1" fmla="*/ 2010658 w 2510821"/>
                    <a:gd name="connsiteY1" fmla="*/ 1054495 h 5458208"/>
                    <a:gd name="connsiteX2" fmla="*/ 2006566 w 2510821"/>
                    <a:gd name="connsiteY2" fmla="*/ 1050858 h 5458208"/>
                    <a:gd name="connsiteX3" fmla="*/ 2001564 w 2510821"/>
                    <a:gd name="connsiteY3" fmla="*/ 1040400 h 5458208"/>
                    <a:gd name="connsiteX4" fmla="*/ 2028846 w 2510821"/>
                    <a:gd name="connsiteY4" fmla="*/ 1018574 h 5458208"/>
                    <a:gd name="connsiteX5" fmla="*/ 2032029 w 2510821"/>
                    <a:gd name="connsiteY5" fmla="*/ 1034943 h 5458208"/>
                    <a:gd name="connsiteX6" fmla="*/ 2031119 w 2510821"/>
                    <a:gd name="connsiteY6" fmla="*/ 1039490 h 5458208"/>
                    <a:gd name="connsiteX7" fmla="*/ 1345895 w 2510821"/>
                    <a:gd name="connsiteY7" fmla="*/ 854430 h 5458208"/>
                    <a:gd name="connsiteX8" fmla="*/ 1205849 w 2510821"/>
                    <a:gd name="connsiteY8" fmla="*/ 913085 h 5458208"/>
                    <a:gd name="connsiteX9" fmla="*/ 1118548 w 2510821"/>
                    <a:gd name="connsiteY9" fmla="*/ 984927 h 5458208"/>
                    <a:gd name="connsiteX10" fmla="*/ 1092176 w 2510821"/>
                    <a:gd name="connsiteY10" fmla="*/ 981744 h 5458208"/>
                    <a:gd name="connsiteX11" fmla="*/ 1088083 w 2510821"/>
                    <a:gd name="connsiteY11" fmla="*/ 997204 h 5458208"/>
                    <a:gd name="connsiteX12" fmla="*/ 915300 w 2510821"/>
                    <a:gd name="connsiteY12" fmla="*/ 1155892 h 5458208"/>
                    <a:gd name="connsiteX13" fmla="*/ 881652 w 2510821"/>
                    <a:gd name="connsiteY13" fmla="*/ 1178172 h 5458208"/>
                    <a:gd name="connsiteX14" fmla="*/ 860281 w 2510821"/>
                    <a:gd name="connsiteY14" fmla="*/ 1243193 h 5458208"/>
                    <a:gd name="connsiteX15" fmla="*/ 755702 w 2510821"/>
                    <a:gd name="connsiteY15" fmla="*/ 1336406 h 5458208"/>
                    <a:gd name="connsiteX16" fmla="*/ 709778 w 2510821"/>
                    <a:gd name="connsiteY16" fmla="*/ 1366416 h 5458208"/>
                    <a:gd name="connsiteX17" fmla="*/ 645211 w 2510821"/>
                    <a:gd name="connsiteY17" fmla="*/ 1448260 h 5458208"/>
                    <a:gd name="connsiteX18" fmla="*/ 641574 w 2510821"/>
                    <a:gd name="connsiteY18" fmla="*/ 1451898 h 5458208"/>
                    <a:gd name="connsiteX19" fmla="*/ 625205 w 2510821"/>
                    <a:gd name="connsiteY19" fmla="*/ 1451898 h 5458208"/>
                    <a:gd name="connsiteX20" fmla="*/ 636572 w 2510821"/>
                    <a:gd name="connsiteY20" fmla="*/ 1431891 h 5458208"/>
                    <a:gd name="connsiteX21" fmla="*/ 732058 w 2510821"/>
                    <a:gd name="connsiteY21" fmla="*/ 1291391 h 5458208"/>
                    <a:gd name="connsiteX22" fmla="*/ 734331 w 2510821"/>
                    <a:gd name="connsiteY22" fmla="*/ 1220913 h 5458208"/>
                    <a:gd name="connsiteX23" fmla="*/ 767524 w 2510821"/>
                    <a:gd name="connsiteY23" fmla="*/ 1133612 h 5458208"/>
                    <a:gd name="connsiteX24" fmla="*/ 769797 w 2510821"/>
                    <a:gd name="connsiteY24" fmla="*/ 1122699 h 5458208"/>
                    <a:gd name="connsiteX25" fmla="*/ 778437 w 2510821"/>
                    <a:gd name="connsiteY25" fmla="*/ 1081777 h 5458208"/>
                    <a:gd name="connsiteX26" fmla="*/ 788440 w 2510821"/>
                    <a:gd name="connsiteY26" fmla="*/ 1066317 h 5458208"/>
                    <a:gd name="connsiteX27" fmla="*/ 887563 w 2510821"/>
                    <a:gd name="connsiteY27" fmla="*/ 947642 h 5458208"/>
                    <a:gd name="connsiteX28" fmla="*/ 1059892 w 2510821"/>
                    <a:gd name="connsiteY28" fmla="*/ 860341 h 5458208"/>
                    <a:gd name="connsiteX29" fmla="*/ 1068986 w 2510821"/>
                    <a:gd name="connsiteY29" fmla="*/ 868980 h 5458208"/>
                    <a:gd name="connsiteX30" fmla="*/ 1163108 w 2510821"/>
                    <a:gd name="connsiteY30" fmla="*/ 813962 h 5458208"/>
                    <a:gd name="connsiteX31" fmla="*/ 1142647 w 2510821"/>
                    <a:gd name="connsiteY31" fmla="*/ 833059 h 5458208"/>
                    <a:gd name="connsiteX32" fmla="*/ 1044887 w 2510821"/>
                    <a:gd name="connsiteY32" fmla="*/ 946278 h 5458208"/>
                    <a:gd name="connsiteX33" fmla="*/ 999418 w 2510821"/>
                    <a:gd name="connsiteY33" fmla="*/ 1006298 h 5458208"/>
                    <a:gd name="connsiteX34" fmla="*/ 1056255 w 2510821"/>
                    <a:gd name="connsiteY34" fmla="*/ 941276 h 5458208"/>
                    <a:gd name="connsiteX35" fmla="*/ 1086265 w 2510821"/>
                    <a:gd name="connsiteY35" fmla="*/ 925817 h 5458208"/>
                    <a:gd name="connsiteX36" fmla="*/ 1081718 w 2510821"/>
                    <a:gd name="connsiteY36" fmla="*/ 969922 h 5458208"/>
                    <a:gd name="connsiteX37" fmla="*/ 1156742 w 2510821"/>
                    <a:gd name="connsiteY37" fmla="*/ 876710 h 5458208"/>
                    <a:gd name="connsiteX38" fmla="*/ 1189480 w 2510821"/>
                    <a:gd name="connsiteY38" fmla="*/ 813507 h 5458208"/>
                    <a:gd name="connsiteX39" fmla="*/ 1180841 w 2510821"/>
                    <a:gd name="connsiteY39" fmla="*/ 853521 h 5458208"/>
                    <a:gd name="connsiteX40" fmla="*/ 1231312 w 2510821"/>
                    <a:gd name="connsiteY40" fmla="*/ 819873 h 5458208"/>
                    <a:gd name="connsiteX41" fmla="*/ 1398185 w 2510821"/>
                    <a:gd name="connsiteY41" fmla="*/ 689831 h 5458208"/>
                    <a:gd name="connsiteX42" fmla="*/ 1402732 w 2510821"/>
                    <a:gd name="connsiteY42" fmla="*/ 690285 h 5458208"/>
                    <a:gd name="connsiteX43" fmla="*/ 1359081 w 2510821"/>
                    <a:gd name="connsiteY43" fmla="*/ 760763 h 5458208"/>
                    <a:gd name="connsiteX44" fmla="*/ 1401822 w 2510821"/>
                    <a:gd name="connsiteY44" fmla="*/ 736209 h 5458208"/>
                    <a:gd name="connsiteX45" fmla="*/ 1314976 w 2510821"/>
                    <a:gd name="connsiteY45" fmla="*/ 812143 h 5458208"/>
                    <a:gd name="connsiteX46" fmla="*/ 1366811 w 2510821"/>
                    <a:gd name="connsiteY46" fmla="*/ 828512 h 5458208"/>
                    <a:gd name="connsiteX47" fmla="*/ 1345895 w 2510821"/>
                    <a:gd name="connsiteY47" fmla="*/ 854430 h 5458208"/>
                    <a:gd name="connsiteX48" fmla="*/ 1336801 w 2510821"/>
                    <a:gd name="connsiteY48" fmla="*/ 601620 h 5458208"/>
                    <a:gd name="connsiteX49" fmla="*/ 1309974 w 2510821"/>
                    <a:gd name="connsiteY49" fmla="*/ 618444 h 5458208"/>
                    <a:gd name="connsiteX50" fmla="*/ 1283147 w 2510821"/>
                    <a:gd name="connsiteY50" fmla="*/ 625719 h 5458208"/>
                    <a:gd name="connsiteX51" fmla="*/ 1303608 w 2510821"/>
                    <a:gd name="connsiteY51" fmla="*/ 607076 h 5458208"/>
                    <a:gd name="connsiteX52" fmla="*/ 1322251 w 2510821"/>
                    <a:gd name="connsiteY52" fmla="*/ 600711 h 5458208"/>
                    <a:gd name="connsiteX53" fmla="*/ 1369084 w 2510821"/>
                    <a:gd name="connsiteY53" fmla="*/ 568882 h 5458208"/>
                    <a:gd name="connsiteX54" fmla="*/ 1336801 w 2510821"/>
                    <a:gd name="connsiteY54" fmla="*/ 601620 h 5458208"/>
                    <a:gd name="connsiteX55" fmla="*/ 1310883 w 2510821"/>
                    <a:gd name="connsiteY55" fmla="*/ 578431 h 5458208"/>
                    <a:gd name="connsiteX56" fmla="*/ 1280874 w 2510821"/>
                    <a:gd name="connsiteY56" fmla="*/ 592526 h 5458208"/>
                    <a:gd name="connsiteX57" fmla="*/ 1343621 w 2510821"/>
                    <a:gd name="connsiteY57" fmla="*/ 503861 h 5458208"/>
                    <a:gd name="connsiteX58" fmla="*/ 1322706 w 2510821"/>
                    <a:gd name="connsiteY58" fmla="*/ 534325 h 5458208"/>
                    <a:gd name="connsiteX59" fmla="*/ 1322706 w 2510821"/>
                    <a:gd name="connsiteY59" fmla="*/ 542510 h 5458208"/>
                    <a:gd name="connsiteX60" fmla="*/ 1331345 w 2510821"/>
                    <a:gd name="connsiteY60" fmla="*/ 555696 h 5458208"/>
                    <a:gd name="connsiteX61" fmla="*/ 1310883 w 2510821"/>
                    <a:gd name="connsiteY61" fmla="*/ 578431 h 5458208"/>
                    <a:gd name="connsiteX62" fmla="*/ 1329526 w 2510821"/>
                    <a:gd name="connsiteY62" fmla="*/ 491584 h 5458208"/>
                    <a:gd name="connsiteX63" fmla="*/ 1299516 w 2510821"/>
                    <a:gd name="connsiteY63" fmla="*/ 504770 h 5458208"/>
                    <a:gd name="connsiteX64" fmla="*/ 1299516 w 2510821"/>
                    <a:gd name="connsiteY64" fmla="*/ 504770 h 5458208"/>
                    <a:gd name="connsiteX65" fmla="*/ 1324070 w 2510821"/>
                    <a:gd name="connsiteY65" fmla="*/ 478853 h 5458208"/>
                    <a:gd name="connsiteX66" fmla="*/ 1340893 w 2510821"/>
                    <a:gd name="connsiteY66" fmla="*/ 482490 h 5458208"/>
                    <a:gd name="connsiteX67" fmla="*/ 1329526 w 2510821"/>
                    <a:gd name="connsiteY67" fmla="*/ 491584 h 5458208"/>
                    <a:gd name="connsiteX68" fmla="*/ 1662817 w 2510821"/>
                    <a:gd name="connsiteY68" fmla="*/ 433383 h 5458208"/>
                    <a:gd name="connsiteX69" fmla="*/ 1653723 w 2510821"/>
                    <a:gd name="connsiteY69" fmla="*/ 438385 h 5458208"/>
                    <a:gd name="connsiteX70" fmla="*/ 1662817 w 2510821"/>
                    <a:gd name="connsiteY70" fmla="*/ 407920 h 5458208"/>
                    <a:gd name="connsiteX71" fmla="*/ 1701011 w 2510821"/>
                    <a:gd name="connsiteY71" fmla="*/ 393370 h 5458208"/>
                    <a:gd name="connsiteX72" fmla="*/ 1666000 w 2510821"/>
                    <a:gd name="connsiteY72" fmla="*/ 430655 h 5458208"/>
                    <a:gd name="connsiteX73" fmla="*/ 1662817 w 2510821"/>
                    <a:gd name="connsiteY73" fmla="*/ 433383 h 5458208"/>
                    <a:gd name="connsiteX74" fmla="*/ 1763304 w 2510821"/>
                    <a:gd name="connsiteY74" fmla="*/ 469304 h 5458208"/>
                    <a:gd name="connsiteX75" fmla="*/ 1757393 w 2510821"/>
                    <a:gd name="connsiteY75" fmla="*/ 467485 h 5458208"/>
                    <a:gd name="connsiteX76" fmla="*/ 1764214 w 2510821"/>
                    <a:gd name="connsiteY76" fmla="*/ 455663 h 5458208"/>
                    <a:gd name="connsiteX77" fmla="*/ 1771034 w 2510821"/>
                    <a:gd name="connsiteY77" fmla="*/ 423835 h 5458208"/>
                    <a:gd name="connsiteX78" fmla="*/ 1758303 w 2510821"/>
                    <a:gd name="connsiteY78" fmla="*/ 422925 h 5458208"/>
                    <a:gd name="connsiteX79" fmla="*/ 1754665 w 2510821"/>
                    <a:gd name="connsiteY79" fmla="*/ 417014 h 5458208"/>
                    <a:gd name="connsiteX80" fmla="*/ 1756029 w 2510821"/>
                    <a:gd name="connsiteY80" fmla="*/ 398372 h 5458208"/>
                    <a:gd name="connsiteX81" fmla="*/ 1742843 w 2510821"/>
                    <a:gd name="connsiteY81" fmla="*/ 404737 h 5458208"/>
                    <a:gd name="connsiteX82" fmla="*/ 1791495 w 2510821"/>
                    <a:gd name="connsiteY82" fmla="*/ 364724 h 5458208"/>
                    <a:gd name="connsiteX83" fmla="*/ 1793769 w 2510821"/>
                    <a:gd name="connsiteY83" fmla="*/ 372909 h 5458208"/>
                    <a:gd name="connsiteX84" fmla="*/ 1791950 w 2510821"/>
                    <a:gd name="connsiteY84" fmla="*/ 382457 h 5458208"/>
                    <a:gd name="connsiteX85" fmla="*/ 1789677 w 2510821"/>
                    <a:gd name="connsiteY85" fmla="*/ 402464 h 5458208"/>
                    <a:gd name="connsiteX86" fmla="*/ 1797861 w 2510821"/>
                    <a:gd name="connsiteY86" fmla="*/ 411103 h 5458208"/>
                    <a:gd name="connsiteX87" fmla="*/ 1796497 w 2510821"/>
                    <a:gd name="connsiteY87" fmla="*/ 424744 h 5458208"/>
                    <a:gd name="connsiteX88" fmla="*/ 1763759 w 2510821"/>
                    <a:gd name="connsiteY88" fmla="*/ 470213 h 5458208"/>
                    <a:gd name="connsiteX89" fmla="*/ 1763304 w 2510821"/>
                    <a:gd name="connsiteY89" fmla="*/ 469304 h 5458208"/>
                    <a:gd name="connsiteX90" fmla="*/ 2045215 w 2510821"/>
                    <a:gd name="connsiteY90" fmla="*/ 262873 h 5458208"/>
                    <a:gd name="connsiteX91" fmla="*/ 2022025 w 2510821"/>
                    <a:gd name="connsiteY91" fmla="*/ 269693 h 5458208"/>
                    <a:gd name="connsiteX92" fmla="*/ 2033393 w 2510821"/>
                    <a:gd name="connsiteY92" fmla="*/ 256962 h 5458208"/>
                    <a:gd name="connsiteX93" fmla="*/ 2036121 w 2510821"/>
                    <a:gd name="connsiteY93" fmla="*/ 255598 h 5458208"/>
                    <a:gd name="connsiteX94" fmla="*/ 2043851 w 2510821"/>
                    <a:gd name="connsiteY94" fmla="*/ 251960 h 5458208"/>
                    <a:gd name="connsiteX95" fmla="*/ 2044305 w 2510821"/>
                    <a:gd name="connsiteY95" fmla="*/ 252415 h 5458208"/>
                    <a:gd name="connsiteX96" fmla="*/ 2044760 w 2510821"/>
                    <a:gd name="connsiteY96" fmla="*/ 252870 h 5458208"/>
                    <a:gd name="connsiteX97" fmla="*/ 2045215 w 2510821"/>
                    <a:gd name="connsiteY97" fmla="*/ 253324 h 5458208"/>
                    <a:gd name="connsiteX98" fmla="*/ 2045669 w 2510821"/>
                    <a:gd name="connsiteY98" fmla="*/ 253779 h 5458208"/>
                    <a:gd name="connsiteX99" fmla="*/ 2046124 w 2510821"/>
                    <a:gd name="connsiteY99" fmla="*/ 254234 h 5458208"/>
                    <a:gd name="connsiteX100" fmla="*/ 2046579 w 2510821"/>
                    <a:gd name="connsiteY100" fmla="*/ 254688 h 5458208"/>
                    <a:gd name="connsiteX101" fmla="*/ 2047034 w 2510821"/>
                    <a:gd name="connsiteY101" fmla="*/ 255143 h 5458208"/>
                    <a:gd name="connsiteX102" fmla="*/ 2047488 w 2510821"/>
                    <a:gd name="connsiteY102" fmla="*/ 255598 h 5458208"/>
                    <a:gd name="connsiteX103" fmla="*/ 2047943 w 2510821"/>
                    <a:gd name="connsiteY103" fmla="*/ 256052 h 5458208"/>
                    <a:gd name="connsiteX104" fmla="*/ 2048398 w 2510821"/>
                    <a:gd name="connsiteY104" fmla="*/ 256507 h 5458208"/>
                    <a:gd name="connsiteX105" fmla="*/ 2048852 w 2510821"/>
                    <a:gd name="connsiteY105" fmla="*/ 256962 h 5458208"/>
                    <a:gd name="connsiteX106" fmla="*/ 2049307 w 2510821"/>
                    <a:gd name="connsiteY106" fmla="*/ 257416 h 5458208"/>
                    <a:gd name="connsiteX107" fmla="*/ 2049762 w 2510821"/>
                    <a:gd name="connsiteY107" fmla="*/ 257871 h 5458208"/>
                    <a:gd name="connsiteX108" fmla="*/ 2050216 w 2510821"/>
                    <a:gd name="connsiteY108" fmla="*/ 258326 h 5458208"/>
                    <a:gd name="connsiteX109" fmla="*/ 2050671 w 2510821"/>
                    <a:gd name="connsiteY109" fmla="*/ 258781 h 5458208"/>
                    <a:gd name="connsiteX110" fmla="*/ 2051126 w 2510821"/>
                    <a:gd name="connsiteY110" fmla="*/ 259235 h 5458208"/>
                    <a:gd name="connsiteX111" fmla="*/ 2045215 w 2510821"/>
                    <a:gd name="connsiteY111" fmla="*/ 262873 h 5458208"/>
                    <a:gd name="connsiteX112" fmla="*/ 2026572 w 2510821"/>
                    <a:gd name="connsiteY112" fmla="*/ 298339 h 5458208"/>
                    <a:gd name="connsiteX113" fmla="*/ 2018842 w 2510821"/>
                    <a:gd name="connsiteY113" fmla="*/ 301977 h 5458208"/>
                    <a:gd name="connsiteX114" fmla="*/ 2051580 w 2510821"/>
                    <a:gd name="connsiteY114" fmla="*/ 264237 h 5458208"/>
                    <a:gd name="connsiteX115" fmla="*/ 2067495 w 2510821"/>
                    <a:gd name="connsiteY115" fmla="*/ 260599 h 5458208"/>
                    <a:gd name="connsiteX116" fmla="*/ 2026572 w 2510821"/>
                    <a:gd name="connsiteY116" fmla="*/ 298339 h 5458208"/>
                    <a:gd name="connsiteX117" fmla="*/ 2502637 w 2510821"/>
                    <a:gd name="connsiteY117" fmla="*/ 549785 h 5458208"/>
                    <a:gd name="connsiteX118" fmla="*/ 2510822 w 2510821"/>
                    <a:gd name="connsiteY118" fmla="*/ 519775 h 5458208"/>
                    <a:gd name="connsiteX119" fmla="*/ 2450802 w 2510821"/>
                    <a:gd name="connsiteY119" fmla="*/ 508862 h 5458208"/>
                    <a:gd name="connsiteX120" fmla="*/ 2452166 w 2510821"/>
                    <a:gd name="connsiteY120" fmla="*/ 506134 h 5458208"/>
                    <a:gd name="connsiteX121" fmla="*/ 2453985 w 2510821"/>
                    <a:gd name="connsiteY121" fmla="*/ 503406 h 5458208"/>
                    <a:gd name="connsiteX122" fmla="*/ 2455804 w 2510821"/>
                    <a:gd name="connsiteY122" fmla="*/ 500223 h 5458208"/>
                    <a:gd name="connsiteX123" fmla="*/ 2458077 w 2510821"/>
                    <a:gd name="connsiteY123" fmla="*/ 496586 h 5458208"/>
                    <a:gd name="connsiteX124" fmla="*/ 2460350 w 2510821"/>
                    <a:gd name="connsiteY124" fmla="*/ 492948 h 5458208"/>
                    <a:gd name="connsiteX125" fmla="*/ 2463079 w 2510821"/>
                    <a:gd name="connsiteY125" fmla="*/ 488856 h 5458208"/>
                    <a:gd name="connsiteX126" fmla="*/ 2465807 w 2510821"/>
                    <a:gd name="connsiteY126" fmla="*/ 484309 h 5458208"/>
                    <a:gd name="connsiteX127" fmla="*/ 2468990 w 2510821"/>
                    <a:gd name="connsiteY127" fmla="*/ 479307 h 5458208"/>
                    <a:gd name="connsiteX128" fmla="*/ 2442618 w 2510821"/>
                    <a:gd name="connsiteY128" fmla="*/ 490675 h 5458208"/>
                    <a:gd name="connsiteX129" fmla="*/ 2451257 w 2510821"/>
                    <a:gd name="connsiteY129" fmla="*/ 401554 h 5458208"/>
                    <a:gd name="connsiteX130" fmla="*/ 2318486 w 2510821"/>
                    <a:gd name="connsiteY130" fmla="*/ 355630 h 5458208"/>
                    <a:gd name="connsiteX131" fmla="*/ 2262559 w 2510821"/>
                    <a:gd name="connsiteY131" fmla="*/ 377456 h 5458208"/>
                    <a:gd name="connsiteX132" fmla="*/ 2246644 w 2510821"/>
                    <a:gd name="connsiteY132" fmla="*/ 352902 h 5458208"/>
                    <a:gd name="connsiteX133" fmla="*/ 2218453 w 2510821"/>
                    <a:gd name="connsiteY133" fmla="*/ 363360 h 5458208"/>
                    <a:gd name="connsiteX134" fmla="*/ 2199811 w 2510821"/>
                    <a:gd name="connsiteY134" fmla="*/ 342899 h 5458208"/>
                    <a:gd name="connsiteX135" fmla="*/ 2221636 w 2510821"/>
                    <a:gd name="connsiteY135" fmla="*/ 229225 h 5458208"/>
                    <a:gd name="connsiteX136" fmla="*/ 2192536 w 2510821"/>
                    <a:gd name="connsiteY136" fmla="*/ 224678 h 5458208"/>
                    <a:gd name="connsiteX137" fmla="*/ 2184806 w 2510821"/>
                    <a:gd name="connsiteY137" fmla="*/ 191486 h 5458208"/>
                    <a:gd name="connsiteX138" fmla="*/ 2073406 w 2510821"/>
                    <a:gd name="connsiteY138" fmla="*/ 231044 h 5458208"/>
                    <a:gd name="connsiteX139" fmla="*/ 2142519 w 2510821"/>
                    <a:gd name="connsiteY139" fmla="*/ 174662 h 5458208"/>
                    <a:gd name="connsiteX140" fmla="*/ 1922902 w 2510821"/>
                    <a:gd name="connsiteY140" fmla="*/ 288336 h 5458208"/>
                    <a:gd name="connsiteX141" fmla="*/ 1948365 w 2510821"/>
                    <a:gd name="connsiteY141" fmla="*/ 300612 h 5458208"/>
                    <a:gd name="connsiteX142" fmla="*/ 1855152 w 2510821"/>
                    <a:gd name="connsiteY142" fmla="*/ 337443 h 5458208"/>
                    <a:gd name="connsiteX143" fmla="*/ 1859245 w 2510821"/>
                    <a:gd name="connsiteY143" fmla="*/ 303795 h 5458208"/>
                    <a:gd name="connsiteX144" fmla="*/ 2046579 w 2510821"/>
                    <a:gd name="connsiteY144" fmla="*/ 167842 h 5458208"/>
                    <a:gd name="connsiteX145" fmla="*/ 1909261 w 2510821"/>
                    <a:gd name="connsiteY145" fmla="*/ 235136 h 5458208"/>
                    <a:gd name="connsiteX146" fmla="*/ 1908352 w 2510821"/>
                    <a:gd name="connsiteY146" fmla="*/ 264692 h 5458208"/>
                    <a:gd name="connsiteX147" fmla="*/ 1723291 w 2510821"/>
                    <a:gd name="connsiteY147" fmla="*/ 381093 h 5458208"/>
                    <a:gd name="connsiteX148" fmla="*/ 1845604 w 2510821"/>
                    <a:gd name="connsiteY148" fmla="*/ 269239 h 5458208"/>
                    <a:gd name="connsiteX149" fmla="*/ 1863792 w 2510821"/>
                    <a:gd name="connsiteY149" fmla="*/ 248323 h 5458208"/>
                    <a:gd name="connsiteX150" fmla="*/ 1795588 w 2510821"/>
                    <a:gd name="connsiteY150" fmla="*/ 279696 h 5458208"/>
                    <a:gd name="connsiteX151" fmla="*/ 1891983 w 2510821"/>
                    <a:gd name="connsiteY151" fmla="*/ 210583 h 5458208"/>
                    <a:gd name="connsiteX152" fmla="*/ 1833327 w 2510821"/>
                    <a:gd name="connsiteY152" fmla="*/ 226497 h 5458208"/>
                    <a:gd name="connsiteX153" fmla="*/ 1966098 w 2510821"/>
                    <a:gd name="connsiteY153" fmla="*/ 154656 h 5458208"/>
                    <a:gd name="connsiteX154" fmla="*/ 1941544 w 2510821"/>
                    <a:gd name="connsiteY154" fmla="*/ 173298 h 5458208"/>
                    <a:gd name="connsiteX155" fmla="*/ 2048398 w 2510821"/>
                    <a:gd name="connsiteY155" fmla="*/ 136013 h 5458208"/>
                    <a:gd name="connsiteX156" fmla="*/ 2019297 w 2510821"/>
                    <a:gd name="connsiteY156" fmla="*/ 140105 h 5458208"/>
                    <a:gd name="connsiteX157" fmla="*/ 1998836 w 2510821"/>
                    <a:gd name="connsiteY157" fmla="*/ 121918 h 5458208"/>
                    <a:gd name="connsiteX158" fmla="*/ 1708741 w 2510821"/>
                    <a:gd name="connsiteY158" fmla="*/ 271057 h 5458208"/>
                    <a:gd name="connsiteX159" fmla="*/ 1722382 w 2510821"/>
                    <a:gd name="connsiteY159" fmla="*/ 295156 h 5458208"/>
                    <a:gd name="connsiteX160" fmla="*/ 1750118 w 2510821"/>
                    <a:gd name="connsiteY160" fmla="*/ 287881 h 5458208"/>
                    <a:gd name="connsiteX161" fmla="*/ 1728293 w 2510821"/>
                    <a:gd name="connsiteY161" fmla="*/ 306523 h 5458208"/>
                    <a:gd name="connsiteX162" fmla="*/ 1755120 w 2510821"/>
                    <a:gd name="connsiteY162" fmla="*/ 299703 h 5458208"/>
                    <a:gd name="connsiteX163" fmla="*/ 1523226 w 2510821"/>
                    <a:gd name="connsiteY163" fmla="*/ 476124 h 5458208"/>
                    <a:gd name="connsiteX164" fmla="*/ 1660998 w 2510821"/>
                    <a:gd name="connsiteY164" fmla="*/ 371090 h 5458208"/>
                    <a:gd name="connsiteX165" fmla="*/ 1433651 w 2510821"/>
                    <a:gd name="connsiteY165" fmla="*/ 491584 h 5458208"/>
                    <a:gd name="connsiteX166" fmla="*/ 1493671 w 2510821"/>
                    <a:gd name="connsiteY166" fmla="*/ 476124 h 5458208"/>
                    <a:gd name="connsiteX167" fmla="*/ 1374995 w 2510821"/>
                    <a:gd name="connsiteY167" fmla="*/ 536599 h 5458208"/>
                    <a:gd name="connsiteX168" fmla="*/ 1667818 w 2510821"/>
                    <a:gd name="connsiteY168" fmla="*/ 332896 h 5458208"/>
                    <a:gd name="connsiteX169" fmla="*/ 1580517 w 2510821"/>
                    <a:gd name="connsiteY169" fmla="*/ 352448 h 5458208"/>
                    <a:gd name="connsiteX170" fmla="*/ 1771034 w 2510821"/>
                    <a:gd name="connsiteY170" fmla="*/ 204672 h 5458208"/>
                    <a:gd name="connsiteX171" fmla="*/ 1818322 w 2510821"/>
                    <a:gd name="connsiteY171" fmla="*/ 168296 h 5458208"/>
                    <a:gd name="connsiteX172" fmla="*/ 1415009 w 2510821"/>
                    <a:gd name="connsiteY172" fmla="*/ 387459 h 5458208"/>
                    <a:gd name="connsiteX173" fmla="*/ 1587792 w 2510821"/>
                    <a:gd name="connsiteY173" fmla="*/ 247868 h 5458208"/>
                    <a:gd name="connsiteX174" fmla="*/ 1977920 w 2510821"/>
                    <a:gd name="connsiteY174" fmla="*/ 3697 h 5458208"/>
                    <a:gd name="connsiteX175" fmla="*/ 1797861 w 2510821"/>
                    <a:gd name="connsiteY175" fmla="*/ 48257 h 5458208"/>
                    <a:gd name="connsiteX176" fmla="*/ 1823324 w 2510821"/>
                    <a:gd name="connsiteY176" fmla="*/ 35071 h 5458208"/>
                    <a:gd name="connsiteX177" fmla="*/ 1390910 w 2510821"/>
                    <a:gd name="connsiteY177" fmla="*/ 259690 h 5458208"/>
                    <a:gd name="connsiteX178" fmla="*/ 1242679 w 2510821"/>
                    <a:gd name="connsiteY178" fmla="*/ 361541 h 5458208"/>
                    <a:gd name="connsiteX179" fmla="*/ 1242679 w 2510821"/>
                    <a:gd name="connsiteY179" fmla="*/ 361541 h 5458208"/>
                    <a:gd name="connsiteX180" fmla="*/ 1220399 w 2510821"/>
                    <a:gd name="connsiteY180" fmla="*/ 377910 h 5458208"/>
                    <a:gd name="connsiteX181" fmla="*/ 1244498 w 2510821"/>
                    <a:gd name="connsiteY181" fmla="*/ 360632 h 5458208"/>
                    <a:gd name="connsiteX182" fmla="*/ 828453 w 2510821"/>
                    <a:gd name="connsiteY182" fmla="*/ 726661 h 5458208"/>
                    <a:gd name="connsiteX183" fmla="*/ 847095 w 2510821"/>
                    <a:gd name="connsiteY183" fmla="*/ 706654 h 5458208"/>
                    <a:gd name="connsiteX184" fmla="*/ 776618 w 2510821"/>
                    <a:gd name="connsiteY184" fmla="*/ 782588 h 5458208"/>
                    <a:gd name="connsiteX185" fmla="*/ 780255 w 2510821"/>
                    <a:gd name="connsiteY185" fmla="*/ 778496 h 5458208"/>
                    <a:gd name="connsiteX186" fmla="*/ 800262 w 2510821"/>
                    <a:gd name="connsiteY186" fmla="*/ 756671 h 5458208"/>
                    <a:gd name="connsiteX187" fmla="*/ 643392 w 2510821"/>
                    <a:gd name="connsiteY187" fmla="*/ 940822 h 5458208"/>
                    <a:gd name="connsiteX188" fmla="*/ 371030 w 2510821"/>
                    <a:gd name="connsiteY188" fmla="*/ 1353684 h 5458208"/>
                    <a:gd name="connsiteX189" fmla="*/ 169601 w 2510821"/>
                    <a:gd name="connsiteY189" fmla="*/ 1806105 h 5458208"/>
                    <a:gd name="connsiteX190" fmla="*/ 44105 w 2510821"/>
                    <a:gd name="connsiteY190" fmla="*/ 2291263 h 5458208"/>
                    <a:gd name="connsiteX191" fmla="*/ 0 w 2510821"/>
                    <a:gd name="connsiteY191" fmla="*/ 2801430 h 5458208"/>
                    <a:gd name="connsiteX192" fmla="*/ 0 w 2510821"/>
                    <a:gd name="connsiteY192" fmla="*/ 2843717 h 5458208"/>
                    <a:gd name="connsiteX193" fmla="*/ 0 w 2510821"/>
                    <a:gd name="connsiteY193" fmla="*/ 2844172 h 5458208"/>
                    <a:gd name="connsiteX194" fmla="*/ 79117 w 2510821"/>
                    <a:gd name="connsiteY194" fmla="*/ 3397080 h 5458208"/>
                    <a:gd name="connsiteX195" fmla="*/ 80481 w 2510821"/>
                    <a:gd name="connsiteY195" fmla="*/ 3337060 h 5458208"/>
                    <a:gd name="connsiteX196" fmla="*/ 1535048 w 2510821"/>
                    <a:gd name="connsiteY196" fmla="*/ 5441385 h 5458208"/>
                    <a:gd name="connsiteX197" fmla="*/ 1564603 w 2510821"/>
                    <a:gd name="connsiteY197" fmla="*/ 5458209 h 5458208"/>
                    <a:gd name="connsiteX198" fmla="*/ 1561875 w 2510821"/>
                    <a:gd name="connsiteY198" fmla="*/ 5456844 h 5458208"/>
                    <a:gd name="connsiteX199" fmla="*/ 1273599 w 2510821"/>
                    <a:gd name="connsiteY199" fmla="*/ 5265418 h 5458208"/>
                    <a:gd name="connsiteX200" fmla="*/ 1298607 w 2510821"/>
                    <a:gd name="connsiteY200" fmla="*/ 5279514 h 5458208"/>
                    <a:gd name="connsiteX201" fmla="*/ 1179022 w 2510821"/>
                    <a:gd name="connsiteY201" fmla="*/ 5151290 h 5458208"/>
                    <a:gd name="connsiteX202" fmla="*/ 1056255 w 2510821"/>
                    <a:gd name="connsiteY202" fmla="*/ 4905755 h 5458208"/>
                    <a:gd name="connsiteX203" fmla="*/ 1063985 w 2510821"/>
                    <a:gd name="connsiteY203" fmla="*/ 4876655 h 5458208"/>
                    <a:gd name="connsiteX204" fmla="*/ 1124004 w 2510821"/>
                    <a:gd name="connsiteY204" fmla="*/ 4864833 h 5458208"/>
                    <a:gd name="connsiteX205" fmla="*/ 1128096 w 2510821"/>
                    <a:gd name="connsiteY205" fmla="*/ 4837096 h 5458208"/>
                    <a:gd name="connsiteX206" fmla="*/ 1040340 w 2510821"/>
                    <a:gd name="connsiteY206" fmla="*/ 4584286 h 5458208"/>
                    <a:gd name="connsiteX207" fmla="*/ 1079444 w 2510821"/>
                    <a:gd name="connsiteY207" fmla="*/ 4418778 h 5458208"/>
                    <a:gd name="connsiteX208" fmla="*/ 1036248 w 2510821"/>
                    <a:gd name="connsiteY208" fmla="*/ 4313288 h 5458208"/>
                    <a:gd name="connsiteX209" fmla="*/ 694318 w 2510821"/>
                    <a:gd name="connsiteY209" fmla="*/ 4062297 h 5458208"/>
                    <a:gd name="connsiteX210" fmla="*/ 427867 w 2510821"/>
                    <a:gd name="connsiteY210" fmla="*/ 3709000 h 5458208"/>
                    <a:gd name="connsiteX211" fmla="*/ 330563 w 2510821"/>
                    <a:gd name="connsiteY211" fmla="*/ 3454371 h 5458208"/>
                    <a:gd name="connsiteX212" fmla="*/ 148685 w 2510821"/>
                    <a:gd name="connsiteY212" fmla="*/ 3248395 h 5458208"/>
                    <a:gd name="connsiteX213" fmla="*/ 101397 w 2510821"/>
                    <a:gd name="connsiteY213" fmla="*/ 3336151 h 5458208"/>
                    <a:gd name="connsiteX214" fmla="*/ 28646 w 2510821"/>
                    <a:gd name="connsiteY214" fmla="*/ 2658656 h 5458208"/>
                    <a:gd name="connsiteX215" fmla="*/ 7730 w 2510821"/>
                    <a:gd name="connsiteY215" fmla="*/ 2711856 h 5458208"/>
                    <a:gd name="connsiteX216" fmla="*/ 62748 w 2510821"/>
                    <a:gd name="connsiteY216" fmla="*/ 2252160 h 5458208"/>
                    <a:gd name="connsiteX217" fmla="*/ 67749 w 2510821"/>
                    <a:gd name="connsiteY217" fmla="*/ 2309906 h 5458208"/>
                    <a:gd name="connsiteX218" fmla="*/ 95031 w 2510821"/>
                    <a:gd name="connsiteY218" fmla="*/ 2306723 h 5458208"/>
                    <a:gd name="connsiteX219" fmla="*/ 80936 w 2510821"/>
                    <a:gd name="connsiteY219" fmla="*/ 2627737 h 5458208"/>
                    <a:gd name="connsiteX220" fmla="*/ 113219 w 2510821"/>
                    <a:gd name="connsiteY220" fmla="*/ 2529068 h 5458208"/>
                    <a:gd name="connsiteX221" fmla="*/ 303281 w 2510821"/>
                    <a:gd name="connsiteY221" fmla="*/ 2144397 h 5458208"/>
                    <a:gd name="connsiteX222" fmla="*/ 533356 w 2510821"/>
                    <a:gd name="connsiteY222" fmla="*/ 1949333 h 5458208"/>
                    <a:gd name="connsiteX223" fmla="*/ 542905 w 2510821"/>
                    <a:gd name="connsiteY223" fmla="*/ 2005715 h 5458208"/>
                    <a:gd name="connsiteX224" fmla="*/ 728420 w 2510821"/>
                    <a:gd name="connsiteY224" fmla="*/ 1900226 h 5458208"/>
                    <a:gd name="connsiteX225" fmla="*/ 670219 w 2510821"/>
                    <a:gd name="connsiteY225" fmla="*/ 1842935 h 5458208"/>
                    <a:gd name="connsiteX226" fmla="*/ 718872 w 2510821"/>
                    <a:gd name="connsiteY226" fmla="*/ 1711528 h 5458208"/>
                    <a:gd name="connsiteX227" fmla="*/ 740242 w 2510821"/>
                    <a:gd name="connsiteY227" fmla="*/ 1817472 h 5458208"/>
                    <a:gd name="connsiteX228" fmla="*/ 865738 w 2510821"/>
                    <a:gd name="connsiteY228" fmla="*/ 1750632 h 5458208"/>
                    <a:gd name="connsiteX229" fmla="*/ 758885 w 2510821"/>
                    <a:gd name="connsiteY229" fmla="*/ 1894770 h 5458208"/>
                    <a:gd name="connsiteX230" fmla="*/ 871194 w 2510821"/>
                    <a:gd name="connsiteY230" fmla="*/ 1974342 h 5458208"/>
                    <a:gd name="connsiteX231" fmla="*/ 900295 w 2510821"/>
                    <a:gd name="connsiteY231" fmla="*/ 1854302 h 5458208"/>
                    <a:gd name="connsiteX232" fmla="*/ 879379 w 2510821"/>
                    <a:gd name="connsiteY232" fmla="*/ 1833841 h 5458208"/>
                    <a:gd name="connsiteX233" fmla="*/ 1105362 w 2510821"/>
                    <a:gd name="connsiteY233" fmla="*/ 1258198 h 5458208"/>
                    <a:gd name="connsiteX234" fmla="*/ 1021698 w 2510821"/>
                    <a:gd name="connsiteY234" fmla="*/ 1296847 h 5458208"/>
                    <a:gd name="connsiteX235" fmla="*/ 996690 w 2510821"/>
                    <a:gd name="connsiteY235" fmla="*/ 1284571 h 5458208"/>
                    <a:gd name="connsiteX236" fmla="*/ 1025790 w 2510821"/>
                    <a:gd name="connsiteY236" fmla="*/ 1236828 h 5458208"/>
                    <a:gd name="connsiteX237" fmla="*/ 1053527 w 2510821"/>
                    <a:gd name="connsiteY237" fmla="*/ 1241375 h 5458208"/>
                    <a:gd name="connsiteX238" fmla="*/ 1108999 w 2510821"/>
                    <a:gd name="connsiteY238" fmla="*/ 1050403 h 5458208"/>
                    <a:gd name="connsiteX239" fmla="*/ 1085355 w 2510821"/>
                    <a:gd name="connsiteY239" fmla="*/ 1035853 h 5458208"/>
                    <a:gd name="connsiteX240" fmla="*/ 1152650 w 2510821"/>
                    <a:gd name="connsiteY240" fmla="*/ 985382 h 5458208"/>
                    <a:gd name="connsiteX241" fmla="*/ 1110818 w 2510821"/>
                    <a:gd name="connsiteY241" fmla="*/ 1187266 h 5458208"/>
                    <a:gd name="connsiteX242" fmla="*/ 1295879 w 2510821"/>
                    <a:gd name="connsiteY242" fmla="*/ 994021 h 5458208"/>
                    <a:gd name="connsiteX243" fmla="*/ 1285875 w 2510821"/>
                    <a:gd name="connsiteY243" fmla="*/ 1053586 h 5458208"/>
                    <a:gd name="connsiteX244" fmla="*/ 1419101 w 2510821"/>
                    <a:gd name="connsiteY244" fmla="*/ 979471 h 5458208"/>
                    <a:gd name="connsiteX245" fmla="*/ 1649176 w 2510821"/>
                    <a:gd name="connsiteY245" fmla="*/ 556605 h 5458208"/>
                    <a:gd name="connsiteX246" fmla="*/ 1645084 w 2510821"/>
                    <a:gd name="connsiteY246" fmla="*/ 477034 h 5458208"/>
                    <a:gd name="connsiteX247" fmla="*/ 1415918 w 2510821"/>
                    <a:gd name="connsiteY247" fmla="*/ 602529 h 5458208"/>
                    <a:gd name="connsiteX248" fmla="*/ 1305882 w 2510821"/>
                    <a:gd name="connsiteY248" fmla="*/ 704835 h 5458208"/>
                    <a:gd name="connsiteX249" fmla="*/ 1657815 w 2510821"/>
                    <a:gd name="connsiteY249" fmla="*/ 447024 h 5458208"/>
                    <a:gd name="connsiteX250" fmla="*/ 1665545 w 2510821"/>
                    <a:gd name="connsiteY250" fmla="*/ 504315 h 5458208"/>
                    <a:gd name="connsiteX251" fmla="*/ 1829235 w 2510821"/>
                    <a:gd name="connsiteY251" fmla="*/ 441568 h 5458208"/>
                    <a:gd name="connsiteX252" fmla="*/ 2160707 w 2510821"/>
                    <a:gd name="connsiteY252" fmla="*/ 336988 h 5458208"/>
                    <a:gd name="connsiteX253" fmla="*/ 1800134 w 2510821"/>
                    <a:gd name="connsiteY253" fmla="*/ 558424 h 5458208"/>
                    <a:gd name="connsiteX254" fmla="*/ 1826961 w 2510821"/>
                    <a:gd name="connsiteY254" fmla="*/ 565699 h 5458208"/>
                    <a:gd name="connsiteX255" fmla="*/ 1842421 w 2510821"/>
                    <a:gd name="connsiteY255" fmla="*/ 594345 h 5458208"/>
                    <a:gd name="connsiteX256" fmla="*/ 1565058 w 2510821"/>
                    <a:gd name="connsiteY256" fmla="*/ 946278 h 5458208"/>
                    <a:gd name="connsiteX257" fmla="*/ 1591885 w 2510821"/>
                    <a:gd name="connsiteY257" fmla="*/ 954008 h 5458208"/>
                    <a:gd name="connsiteX258" fmla="*/ 1326798 w 2510821"/>
                    <a:gd name="connsiteY258" fmla="*/ 1386422 h 5458208"/>
                    <a:gd name="connsiteX259" fmla="*/ 1356808 w 2510821"/>
                    <a:gd name="connsiteY259" fmla="*/ 1469631 h 5458208"/>
                    <a:gd name="connsiteX260" fmla="*/ 1387727 w 2510821"/>
                    <a:gd name="connsiteY260" fmla="*/ 1474633 h 5458208"/>
                    <a:gd name="connsiteX261" fmla="*/ 1822869 w 2510821"/>
                    <a:gd name="connsiteY261" fmla="*/ 1163167 h 5458208"/>
                    <a:gd name="connsiteX262" fmla="*/ 2258466 w 2510821"/>
                    <a:gd name="connsiteY262" fmla="*/ 811689 h 5458208"/>
                    <a:gd name="connsiteX263" fmla="*/ 2502637 w 2510821"/>
                    <a:gd name="connsiteY263" fmla="*/ 549785 h 545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2510821" h="5458208">
                      <a:moveTo>
                        <a:pt x="2031119" y="1039490"/>
                      </a:moveTo>
                      <a:cubicBezTo>
                        <a:pt x="2028846" y="1042673"/>
                        <a:pt x="2016569" y="1055405"/>
                        <a:pt x="2010658" y="1054495"/>
                      </a:cubicBezTo>
                      <a:cubicBezTo>
                        <a:pt x="2009294" y="1054041"/>
                        <a:pt x="2008385" y="1053586"/>
                        <a:pt x="2006566" y="1050858"/>
                      </a:cubicBezTo>
                      <a:cubicBezTo>
                        <a:pt x="2004292" y="1047675"/>
                        <a:pt x="2003383" y="1044037"/>
                        <a:pt x="2001564" y="1040400"/>
                      </a:cubicBezTo>
                      <a:cubicBezTo>
                        <a:pt x="2010658" y="1033125"/>
                        <a:pt x="2019752" y="1025850"/>
                        <a:pt x="2028846" y="1018574"/>
                      </a:cubicBezTo>
                      <a:cubicBezTo>
                        <a:pt x="2029755" y="1024031"/>
                        <a:pt x="2031119" y="1029487"/>
                        <a:pt x="2032029" y="1034943"/>
                      </a:cubicBezTo>
                      <a:cubicBezTo>
                        <a:pt x="2032029" y="1036762"/>
                        <a:pt x="2032029" y="1038126"/>
                        <a:pt x="2031119" y="1039490"/>
                      </a:cubicBezTo>
                      <a:moveTo>
                        <a:pt x="1345895" y="854430"/>
                      </a:moveTo>
                      <a:cubicBezTo>
                        <a:pt x="1344986" y="855339"/>
                        <a:pt x="1251319" y="933547"/>
                        <a:pt x="1205849" y="913085"/>
                      </a:cubicBezTo>
                      <a:cubicBezTo>
                        <a:pt x="1170383" y="897171"/>
                        <a:pt x="1134007" y="958555"/>
                        <a:pt x="1118548" y="984927"/>
                      </a:cubicBezTo>
                      <a:cubicBezTo>
                        <a:pt x="1109909" y="984018"/>
                        <a:pt x="1100815" y="983108"/>
                        <a:pt x="1092176" y="981744"/>
                      </a:cubicBezTo>
                      <a:cubicBezTo>
                        <a:pt x="1090811" y="986746"/>
                        <a:pt x="1089447" y="992202"/>
                        <a:pt x="1088083" y="997204"/>
                      </a:cubicBezTo>
                      <a:cubicBezTo>
                        <a:pt x="1087629" y="998113"/>
                        <a:pt x="977593" y="1128156"/>
                        <a:pt x="915300" y="1155892"/>
                      </a:cubicBezTo>
                      <a:cubicBezTo>
                        <a:pt x="892565" y="1165895"/>
                        <a:pt x="888018" y="1168169"/>
                        <a:pt x="881652" y="1178172"/>
                      </a:cubicBezTo>
                      <a:cubicBezTo>
                        <a:pt x="868921" y="1198179"/>
                        <a:pt x="871649" y="1223187"/>
                        <a:pt x="860281" y="1243193"/>
                      </a:cubicBezTo>
                      <a:cubicBezTo>
                        <a:pt x="857099" y="1248195"/>
                        <a:pt x="787985" y="1338225"/>
                        <a:pt x="755702" y="1336406"/>
                      </a:cubicBezTo>
                      <a:cubicBezTo>
                        <a:pt x="729784" y="1334587"/>
                        <a:pt x="729784" y="1334587"/>
                        <a:pt x="709778" y="1366416"/>
                      </a:cubicBezTo>
                      <a:cubicBezTo>
                        <a:pt x="702048" y="1378692"/>
                        <a:pt x="645666" y="1447806"/>
                        <a:pt x="645211" y="1448260"/>
                      </a:cubicBezTo>
                      <a:cubicBezTo>
                        <a:pt x="644302" y="1449170"/>
                        <a:pt x="642483" y="1450989"/>
                        <a:pt x="641574" y="1451898"/>
                      </a:cubicBezTo>
                      <a:cubicBezTo>
                        <a:pt x="636572" y="1456900"/>
                        <a:pt x="629297" y="1461447"/>
                        <a:pt x="625205" y="1451898"/>
                      </a:cubicBezTo>
                      <a:cubicBezTo>
                        <a:pt x="622931" y="1446896"/>
                        <a:pt x="621112" y="1442804"/>
                        <a:pt x="636572" y="1431891"/>
                      </a:cubicBezTo>
                      <a:cubicBezTo>
                        <a:pt x="668855" y="1409611"/>
                        <a:pt x="731148" y="1292755"/>
                        <a:pt x="732058" y="1291391"/>
                      </a:cubicBezTo>
                      <a:cubicBezTo>
                        <a:pt x="742516" y="1268202"/>
                        <a:pt x="728875" y="1244103"/>
                        <a:pt x="734331" y="1220913"/>
                      </a:cubicBezTo>
                      <a:cubicBezTo>
                        <a:pt x="741606" y="1190449"/>
                        <a:pt x="760703" y="1164077"/>
                        <a:pt x="767524" y="1133612"/>
                      </a:cubicBezTo>
                      <a:cubicBezTo>
                        <a:pt x="768433" y="1130429"/>
                        <a:pt x="769343" y="1125882"/>
                        <a:pt x="769797" y="1122699"/>
                      </a:cubicBezTo>
                      <a:cubicBezTo>
                        <a:pt x="771161" y="1115879"/>
                        <a:pt x="778437" y="1081777"/>
                        <a:pt x="778437" y="1081777"/>
                      </a:cubicBezTo>
                      <a:cubicBezTo>
                        <a:pt x="779346" y="1079503"/>
                        <a:pt x="780710" y="1076775"/>
                        <a:pt x="788440" y="1066317"/>
                      </a:cubicBezTo>
                      <a:cubicBezTo>
                        <a:pt x="860736" y="967649"/>
                        <a:pt x="874377" y="957645"/>
                        <a:pt x="887563" y="947642"/>
                      </a:cubicBezTo>
                      <a:cubicBezTo>
                        <a:pt x="950766" y="899445"/>
                        <a:pt x="1059438" y="860341"/>
                        <a:pt x="1059892" y="860341"/>
                      </a:cubicBezTo>
                      <a:cubicBezTo>
                        <a:pt x="1063985" y="862160"/>
                        <a:pt x="1066258" y="866252"/>
                        <a:pt x="1068986" y="868980"/>
                      </a:cubicBezTo>
                      <a:cubicBezTo>
                        <a:pt x="1077171" y="864888"/>
                        <a:pt x="1077171" y="864888"/>
                        <a:pt x="1163108" y="813962"/>
                      </a:cubicBezTo>
                      <a:cubicBezTo>
                        <a:pt x="1159925" y="821692"/>
                        <a:pt x="1159925" y="821692"/>
                        <a:pt x="1142647" y="833059"/>
                      </a:cubicBezTo>
                      <a:cubicBezTo>
                        <a:pt x="1108090" y="855794"/>
                        <a:pt x="1017151" y="916723"/>
                        <a:pt x="1044887" y="946278"/>
                      </a:cubicBezTo>
                      <a:cubicBezTo>
                        <a:pt x="998963" y="1004479"/>
                        <a:pt x="998963" y="1004479"/>
                        <a:pt x="999418" y="1006298"/>
                      </a:cubicBezTo>
                      <a:cubicBezTo>
                        <a:pt x="999873" y="1006298"/>
                        <a:pt x="1059892" y="1010845"/>
                        <a:pt x="1056255" y="941276"/>
                      </a:cubicBezTo>
                      <a:cubicBezTo>
                        <a:pt x="1078989" y="923998"/>
                        <a:pt x="1080808" y="924453"/>
                        <a:pt x="1086265" y="925817"/>
                      </a:cubicBezTo>
                      <a:cubicBezTo>
                        <a:pt x="1086719" y="940822"/>
                        <a:pt x="1074443" y="954463"/>
                        <a:pt x="1081718" y="969922"/>
                      </a:cubicBezTo>
                      <a:cubicBezTo>
                        <a:pt x="1113546" y="973560"/>
                        <a:pt x="1153559" y="887623"/>
                        <a:pt x="1156742" y="876710"/>
                      </a:cubicBezTo>
                      <a:cubicBezTo>
                        <a:pt x="1162199" y="857158"/>
                        <a:pt x="1173566" y="823056"/>
                        <a:pt x="1189480" y="813507"/>
                      </a:cubicBezTo>
                      <a:cubicBezTo>
                        <a:pt x="1189480" y="818964"/>
                        <a:pt x="1189480" y="818964"/>
                        <a:pt x="1180841" y="853521"/>
                      </a:cubicBezTo>
                      <a:cubicBezTo>
                        <a:pt x="1201757" y="831695"/>
                        <a:pt x="1211305" y="823965"/>
                        <a:pt x="1231312" y="819873"/>
                      </a:cubicBezTo>
                      <a:cubicBezTo>
                        <a:pt x="1297243" y="805323"/>
                        <a:pt x="1397275" y="690740"/>
                        <a:pt x="1398185" y="689831"/>
                      </a:cubicBezTo>
                      <a:cubicBezTo>
                        <a:pt x="1399549" y="689831"/>
                        <a:pt x="1401368" y="689831"/>
                        <a:pt x="1402732" y="690285"/>
                      </a:cubicBezTo>
                      <a:cubicBezTo>
                        <a:pt x="1398640" y="720295"/>
                        <a:pt x="1373177" y="737119"/>
                        <a:pt x="1359081" y="760763"/>
                      </a:cubicBezTo>
                      <a:cubicBezTo>
                        <a:pt x="1392274" y="741666"/>
                        <a:pt x="1395457" y="739847"/>
                        <a:pt x="1401822" y="736209"/>
                      </a:cubicBezTo>
                      <a:cubicBezTo>
                        <a:pt x="1390455" y="781679"/>
                        <a:pt x="1343167" y="785771"/>
                        <a:pt x="1314976" y="812143"/>
                      </a:cubicBezTo>
                      <a:cubicBezTo>
                        <a:pt x="1238132" y="883985"/>
                        <a:pt x="1328162" y="844881"/>
                        <a:pt x="1366811" y="828512"/>
                      </a:cubicBezTo>
                      <a:cubicBezTo>
                        <a:pt x="1363173" y="833969"/>
                        <a:pt x="1357717" y="843972"/>
                        <a:pt x="1345895" y="854430"/>
                      </a:cubicBezTo>
                      <a:moveTo>
                        <a:pt x="1336801" y="601620"/>
                      </a:moveTo>
                      <a:cubicBezTo>
                        <a:pt x="1329981" y="606622"/>
                        <a:pt x="1319977" y="613897"/>
                        <a:pt x="1309974" y="618444"/>
                      </a:cubicBezTo>
                      <a:cubicBezTo>
                        <a:pt x="1301335" y="622081"/>
                        <a:pt x="1292241" y="622991"/>
                        <a:pt x="1283147" y="625719"/>
                      </a:cubicBezTo>
                      <a:cubicBezTo>
                        <a:pt x="1290877" y="618898"/>
                        <a:pt x="1294515" y="615261"/>
                        <a:pt x="1303608" y="607076"/>
                      </a:cubicBezTo>
                      <a:cubicBezTo>
                        <a:pt x="1306791" y="607531"/>
                        <a:pt x="1310883" y="607531"/>
                        <a:pt x="1322251" y="600711"/>
                      </a:cubicBezTo>
                      <a:cubicBezTo>
                        <a:pt x="1338620" y="591162"/>
                        <a:pt x="1353625" y="579340"/>
                        <a:pt x="1369084" y="568882"/>
                      </a:cubicBezTo>
                      <a:cubicBezTo>
                        <a:pt x="1364992" y="574793"/>
                        <a:pt x="1354989" y="587524"/>
                        <a:pt x="1336801" y="601620"/>
                      </a:cubicBezTo>
                      <a:moveTo>
                        <a:pt x="1310883" y="578431"/>
                      </a:moveTo>
                      <a:cubicBezTo>
                        <a:pt x="1310883" y="578431"/>
                        <a:pt x="1286330" y="592981"/>
                        <a:pt x="1280874" y="592526"/>
                      </a:cubicBezTo>
                      <a:cubicBezTo>
                        <a:pt x="1287239" y="551604"/>
                        <a:pt x="1319523" y="522503"/>
                        <a:pt x="1343621" y="503861"/>
                      </a:cubicBezTo>
                      <a:cubicBezTo>
                        <a:pt x="1336346" y="512045"/>
                        <a:pt x="1324979" y="524777"/>
                        <a:pt x="1322706" y="534325"/>
                      </a:cubicBezTo>
                      <a:cubicBezTo>
                        <a:pt x="1321342" y="539327"/>
                        <a:pt x="1322706" y="542510"/>
                        <a:pt x="1322706" y="542510"/>
                      </a:cubicBezTo>
                      <a:cubicBezTo>
                        <a:pt x="1324524" y="547511"/>
                        <a:pt x="1328617" y="551149"/>
                        <a:pt x="1331345" y="555696"/>
                      </a:cubicBezTo>
                      <a:cubicBezTo>
                        <a:pt x="1329071" y="560697"/>
                        <a:pt x="1313612" y="576612"/>
                        <a:pt x="1310883" y="578431"/>
                      </a:cubicBezTo>
                      <a:moveTo>
                        <a:pt x="1329526" y="491584"/>
                      </a:moveTo>
                      <a:cubicBezTo>
                        <a:pt x="1300880" y="504770"/>
                        <a:pt x="1300880" y="504770"/>
                        <a:pt x="1299516" y="504770"/>
                      </a:cubicBezTo>
                      <a:cubicBezTo>
                        <a:pt x="1299516" y="504770"/>
                        <a:pt x="1299516" y="504770"/>
                        <a:pt x="1299516" y="504770"/>
                      </a:cubicBezTo>
                      <a:cubicBezTo>
                        <a:pt x="1299516" y="503861"/>
                        <a:pt x="1299516" y="503861"/>
                        <a:pt x="1324070" y="478853"/>
                      </a:cubicBezTo>
                      <a:cubicBezTo>
                        <a:pt x="1330435" y="480217"/>
                        <a:pt x="1334073" y="481126"/>
                        <a:pt x="1340893" y="482490"/>
                      </a:cubicBezTo>
                      <a:cubicBezTo>
                        <a:pt x="1331345" y="490675"/>
                        <a:pt x="1331345" y="490675"/>
                        <a:pt x="1329526" y="491584"/>
                      </a:cubicBezTo>
                      <a:moveTo>
                        <a:pt x="1662817" y="433383"/>
                      </a:moveTo>
                      <a:cubicBezTo>
                        <a:pt x="1659634" y="435202"/>
                        <a:pt x="1656906" y="436566"/>
                        <a:pt x="1653723" y="438385"/>
                      </a:cubicBezTo>
                      <a:cubicBezTo>
                        <a:pt x="1657361" y="424289"/>
                        <a:pt x="1660089" y="415650"/>
                        <a:pt x="1662817" y="407920"/>
                      </a:cubicBezTo>
                      <a:cubicBezTo>
                        <a:pt x="1675548" y="402919"/>
                        <a:pt x="1688280" y="398372"/>
                        <a:pt x="1701011" y="393370"/>
                      </a:cubicBezTo>
                      <a:cubicBezTo>
                        <a:pt x="1696010" y="398372"/>
                        <a:pt x="1681459" y="413377"/>
                        <a:pt x="1666000" y="430655"/>
                      </a:cubicBezTo>
                      <a:cubicBezTo>
                        <a:pt x="1665090" y="431564"/>
                        <a:pt x="1663726" y="432928"/>
                        <a:pt x="1662817" y="433383"/>
                      </a:cubicBezTo>
                      <a:moveTo>
                        <a:pt x="1763304" y="469304"/>
                      </a:moveTo>
                      <a:cubicBezTo>
                        <a:pt x="1757393" y="467940"/>
                        <a:pt x="1757393" y="467940"/>
                        <a:pt x="1757393" y="467485"/>
                      </a:cubicBezTo>
                      <a:cubicBezTo>
                        <a:pt x="1756939" y="465212"/>
                        <a:pt x="1759667" y="461574"/>
                        <a:pt x="1764214" y="455663"/>
                      </a:cubicBezTo>
                      <a:cubicBezTo>
                        <a:pt x="1773762" y="442932"/>
                        <a:pt x="1783311" y="427472"/>
                        <a:pt x="1771034" y="423835"/>
                      </a:cubicBezTo>
                      <a:cubicBezTo>
                        <a:pt x="1766942" y="422470"/>
                        <a:pt x="1762395" y="424289"/>
                        <a:pt x="1758303" y="422925"/>
                      </a:cubicBezTo>
                      <a:cubicBezTo>
                        <a:pt x="1756939" y="422470"/>
                        <a:pt x="1755120" y="421106"/>
                        <a:pt x="1754665" y="417014"/>
                      </a:cubicBezTo>
                      <a:cubicBezTo>
                        <a:pt x="1754210" y="412922"/>
                        <a:pt x="1754210" y="412922"/>
                        <a:pt x="1756029" y="398372"/>
                      </a:cubicBezTo>
                      <a:cubicBezTo>
                        <a:pt x="1752392" y="400190"/>
                        <a:pt x="1751482" y="400645"/>
                        <a:pt x="1742843" y="404737"/>
                      </a:cubicBezTo>
                      <a:cubicBezTo>
                        <a:pt x="1767851" y="379275"/>
                        <a:pt x="1767851" y="379275"/>
                        <a:pt x="1791495" y="364724"/>
                      </a:cubicBezTo>
                      <a:cubicBezTo>
                        <a:pt x="1793769" y="371999"/>
                        <a:pt x="1793769" y="371999"/>
                        <a:pt x="1793769" y="372909"/>
                      </a:cubicBezTo>
                      <a:cubicBezTo>
                        <a:pt x="1793769" y="372909"/>
                        <a:pt x="1793769" y="375182"/>
                        <a:pt x="1791950" y="382457"/>
                      </a:cubicBezTo>
                      <a:cubicBezTo>
                        <a:pt x="1789222" y="391551"/>
                        <a:pt x="1787403" y="398372"/>
                        <a:pt x="1789677" y="402464"/>
                      </a:cubicBezTo>
                      <a:cubicBezTo>
                        <a:pt x="1791950" y="405647"/>
                        <a:pt x="1796497" y="406556"/>
                        <a:pt x="1797861" y="411103"/>
                      </a:cubicBezTo>
                      <a:cubicBezTo>
                        <a:pt x="1799225" y="415195"/>
                        <a:pt x="1797406" y="421106"/>
                        <a:pt x="1796497" y="424744"/>
                      </a:cubicBezTo>
                      <a:cubicBezTo>
                        <a:pt x="1790131" y="448388"/>
                        <a:pt x="1780128" y="456573"/>
                        <a:pt x="1763759" y="470213"/>
                      </a:cubicBezTo>
                      <a:cubicBezTo>
                        <a:pt x="1763759" y="469759"/>
                        <a:pt x="1763759" y="469304"/>
                        <a:pt x="1763304" y="469304"/>
                      </a:cubicBezTo>
                      <a:moveTo>
                        <a:pt x="2045215" y="262873"/>
                      </a:moveTo>
                      <a:cubicBezTo>
                        <a:pt x="2023389" y="270603"/>
                        <a:pt x="2023389" y="270603"/>
                        <a:pt x="2022025" y="269693"/>
                      </a:cubicBezTo>
                      <a:cubicBezTo>
                        <a:pt x="2020661" y="268329"/>
                        <a:pt x="2032938" y="256962"/>
                        <a:pt x="2033393" y="256962"/>
                      </a:cubicBezTo>
                      <a:cubicBezTo>
                        <a:pt x="2034302" y="256507"/>
                        <a:pt x="2035211" y="256052"/>
                        <a:pt x="2036121" y="255598"/>
                      </a:cubicBezTo>
                      <a:cubicBezTo>
                        <a:pt x="2038849" y="254234"/>
                        <a:pt x="2041577" y="253324"/>
                        <a:pt x="2043851" y="251960"/>
                      </a:cubicBezTo>
                      <a:cubicBezTo>
                        <a:pt x="2043851" y="251960"/>
                        <a:pt x="2044305" y="251960"/>
                        <a:pt x="2044305" y="252415"/>
                      </a:cubicBezTo>
                      <a:cubicBezTo>
                        <a:pt x="2044305" y="252415"/>
                        <a:pt x="2044760" y="252415"/>
                        <a:pt x="2044760" y="252870"/>
                      </a:cubicBezTo>
                      <a:cubicBezTo>
                        <a:pt x="2044760" y="252870"/>
                        <a:pt x="2045215" y="252870"/>
                        <a:pt x="2045215" y="253324"/>
                      </a:cubicBezTo>
                      <a:cubicBezTo>
                        <a:pt x="2045215" y="253324"/>
                        <a:pt x="2045669" y="253324"/>
                        <a:pt x="2045669" y="253779"/>
                      </a:cubicBezTo>
                      <a:cubicBezTo>
                        <a:pt x="2045669" y="253779"/>
                        <a:pt x="2046124" y="253779"/>
                        <a:pt x="2046124" y="254234"/>
                      </a:cubicBezTo>
                      <a:cubicBezTo>
                        <a:pt x="2046124" y="254234"/>
                        <a:pt x="2046579" y="254234"/>
                        <a:pt x="2046579" y="254688"/>
                      </a:cubicBezTo>
                      <a:cubicBezTo>
                        <a:pt x="2046579" y="254688"/>
                        <a:pt x="2047034" y="254688"/>
                        <a:pt x="2047034" y="255143"/>
                      </a:cubicBezTo>
                      <a:cubicBezTo>
                        <a:pt x="2047034" y="255143"/>
                        <a:pt x="2047488" y="255143"/>
                        <a:pt x="2047488" y="255598"/>
                      </a:cubicBezTo>
                      <a:cubicBezTo>
                        <a:pt x="2047488" y="255598"/>
                        <a:pt x="2047943" y="255598"/>
                        <a:pt x="2047943" y="256052"/>
                      </a:cubicBezTo>
                      <a:cubicBezTo>
                        <a:pt x="2047943" y="256507"/>
                        <a:pt x="2048398" y="256052"/>
                        <a:pt x="2048398" y="256507"/>
                      </a:cubicBezTo>
                      <a:cubicBezTo>
                        <a:pt x="2048398" y="256507"/>
                        <a:pt x="2048852" y="256507"/>
                        <a:pt x="2048852" y="256962"/>
                      </a:cubicBezTo>
                      <a:cubicBezTo>
                        <a:pt x="2048852" y="256962"/>
                        <a:pt x="2049307" y="256962"/>
                        <a:pt x="2049307" y="257416"/>
                      </a:cubicBezTo>
                      <a:cubicBezTo>
                        <a:pt x="2049307" y="257416"/>
                        <a:pt x="2049762" y="257416"/>
                        <a:pt x="2049762" y="257871"/>
                      </a:cubicBezTo>
                      <a:cubicBezTo>
                        <a:pt x="2049762" y="257871"/>
                        <a:pt x="2050216" y="257871"/>
                        <a:pt x="2050216" y="258326"/>
                      </a:cubicBezTo>
                      <a:cubicBezTo>
                        <a:pt x="2050216" y="258326"/>
                        <a:pt x="2050671" y="258326"/>
                        <a:pt x="2050671" y="258781"/>
                      </a:cubicBezTo>
                      <a:cubicBezTo>
                        <a:pt x="2050671" y="259235"/>
                        <a:pt x="2051126" y="258781"/>
                        <a:pt x="2051126" y="259235"/>
                      </a:cubicBezTo>
                      <a:cubicBezTo>
                        <a:pt x="2047034" y="262418"/>
                        <a:pt x="2047034" y="262418"/>
                        <a:pt x="2045215" y="262873"/>
                      </a:cubicBezTo>
                      <a:moveTo>
                        <a:pt x="2026572" y="298339"/>
                      </a:moveTo>
                      <a:cubicBezTo>
                        <a:pt x="2023844" y="299703"/>
                        <a:pt x="2021571" y="300612"/>
                        <a:pt x="2018842" y="301977"/>
                      </a:cubicBezTo>
                      <a:cubicBezTo>
                        <a:pt x="2037485" y="279242"/>
                        <a:pt x="2051580" y="264237"/>
                        <a:pt x="2051580" y="264237"/>
                      </a:cubicBezTo>
                      <a:cubicBezTo>
                        <a:pt x="2051580" y="264237"/>
                        <a:pt x="2067495" y="257416"/>
                        <a:pt x="2067495" y="260599"/>
                      </a:cubicBezTo>
                      <a:cubicBezTo>
                        <a:pt x="2067495" y="263782"/>
                        <a:pt x="2031574" y="296065"/>
                        <a:pt x="2026572" y="298339"/>
                      </a:cubicBezTo>
                      <a:moveTo>
                        <a:pt x="2502637" y="549785"/>
                      </a:moveTo>
                      <a:cubicBezTo>
                        <a:pt x="2504911" y="540691"/>
                        <a:pt x="2508093" y="528869"/>
                        <a:pt x="2510822" y="519775"/>
                      </a:cubicBezTo>
                      <a:cubicBezTo>
                        <a:pt x="2493998" y="513409"/>
                        <a:pt x="2469444" y="509317"/>
                        <a:pt x="2450802" y="508862"/>
                      </a:cubicBezTo>
                      <a:cubicBezTo>
                        <a:pt x="2451257" y="507953"/>
                        <a:pt x="2451711" y="507044"/>
                        <a:pt x="2452166" y="506134"/>
                      </a:cubicBezTo>
                      <a:cubicBezTo>
                        <a:pt x="2452621" y="505225"/>
                        <a:pt x="2453530" y="504315"/>
                        <a:pt x="2453985" y="503406"/>
                      </a:cubicBezTo>
                      <a:cubicBezTo>
                        <a:pt x="2454439" y="502497"/>
                        <a:pt x="2455349" y="501133"/>
                        <a:pt x="2455804" y="500223"/>
                      </a:cubicBezTo>
                      <a:cubicBezTo>
                        <a:pt x="2456713" y="498859"/>
                        <a:pt x="2457168" y="497950"/>
                        <a:pt x="2458077" y="496586"/>
                      </a:cubicBezTo>
                      <a:cubicBezTo>
                        <a:pt x="2458986" y="495222"/>
                        <a:pt x="2459896" y="493857"/>
                        <a:pt x="2460350" y="492948"/>
                      </a:cubicBezTo>
                      <a:cubicBezTo>
                        <a:pt x="2461260" y="491584"/>
                        <a:pt x="2462169" y="490220"/>
                        <a:pt x="2463079" y="488856"/>
                      </a:cubicBezTo>
                      <a:cubicBezTo>
                        <a:pt x="2463988" y="487492"/>
                        <a:pt x="2464897" y="485673"/>
                        <a:pt x="2465807" y="484309"/>
                      </a:cubicBezTo>
                      <a:cubicBezTo>
                        <a:pt x="2466716" y="482490"/>
                        <a:pt x="2468080" y="481126"/>
                        <a:pt x="2468990" y="479307"/>
                      </a:cubicBezTo>
                      <a:cubicBezTo>
                        <a:pt x="2461260" y="482490"/>
                        <a:pt x="2450802" y="487037"/>
                        <a:pt x="2442618" y="490675"/>
                      </a:cubicBezTo>
                      <a:cubicBezTo>
                        <a:pt x="2438980" y="473396"/>
                        <a:pt x="2438980" y="473396"/>
                        <a:pt x="2451257" y="401554"/>
                      </a:cubicBezTo>
                      <a:cubicBezTo>
                        <a:pt x="2414426" y="364724"/>
                        <a:pt x="2360773" y="376546"/>
                        <a:pt x="2318486" y="355630"/>
                      </a:cubicBezTo>
                      <a:cubicBezTo>
                        <a:pt x="2301662" y="361996"/>
                        <a:pt x="2279382" y="371090"/>
                        <a:pt x="2262559" y="377456"/>
                      </a:cubicBezTo>
                      <a:cubicBezTo>
                        <a:pt x="2257557" y="370181"/>
                        <a:pt x="2251191" y="360177"/>
                        <a:pt x="2246644" y="352902"/>
                      </a:cubicBezTo>
                      <a:cubicBezTo>
                        <a:pt x="2238005" y="356085"/>
                        <a:pt x="2226638" y="360177"/>
                        <a:pt x="2218453" y="363360"/>
                      </a:cubicBezTo>
                      <a:cubicBezTo>
                        <a:pt x="2212997" y="357449"/>
                        <a:pt x="2205267" y="349265"/>
                        <a:pt x="2199811" y="342899"/>
                      </a:cubicBezTo>
                      <a:cubicBezTo>
                        <a:pt x="2202994" y="313799"/>
                        <a:pt x="2205722" y="292883"/>
                        <a:pt x="2221636" y="229225"/>
                      </a:cubicBezTo>
                      <a:cubicBezTo>
                        <a:pt x="2212997" y="227861"/>
                        <a:pt x="2201175" y="226043"/>
                        <a:pt x="2192536" y="224678"/>
                      </a:cubicBezTo>
                      <a:cubicBezTo>
                        <a:pt x="2191172" y="214675"/>
                        <a:pt x="2192081" y="198761"/>
                        <a:pt x="2184806" y="191486"/>
                      </a:cubicBezTo>
                      <a:cubicBezTo>
                        <a:pt x="2141155" y="186029"/>
                        <a:pt x="2138427" y="187848"/>
                        <a:pt x="2073406" y="231044"/>
                      </a:cubicBezTo>
                      <a:cubicBezTo>
                        <a:pt x="2076134" y="227861"/>
                        <a:pt x="2076134" y="227861"/>
                        <a:pt x="2142519" y="174662"/>
                      </a:cubicBezTo>
                      <a:cubicBezTo>
                        <a:pt x="2087501" y="184211"/>
                        <a:pt x="2025208" y="195123"/>
                        <a:pt x="1922902" y="288336"/>
                      </a:cubicBezTo>
                      <a:cubicBezTo>
                        <a:pt x="1930632" y="291973"/>
                        <a:pt x="1940635" y="296975"/>
                        <a:pt x="1948365" y="300612"/>
                      </a:cubicBezTo>
                      <a:cubicBezTo>
                        <a:pt x="1917900" y="314708"/>
                        <a:pt x="1912444" y="316981"/>
                        <a:pt x="1855152" y="337443"/>
                      </a:cubicBezTo>
                      <a:cubicBezTo>
                        <a:pt x="1856517" y="327439"/>
                        <a:pt x="1858335" y="313799"/>
                        <a:pt x="1859245" y="303795"/>
                      </a:cubicBezTo>
                      <a:cubicBezTo>
                        <a:pt x="1908352" y="298794"/>
                        <a:pt x="1981557" y="229225"/>
                        <a:pt x="2046579" y="167842"/>
                      </a:cubicBezTo>
                      <a:cubicBezTo>
                        <a:pt x="2040213" y="169206"/>
                        <a:pt x="2040213" y="169206"/>
                        <a:pt x="1909261" y="235136"/>
                      </a:cubicBezTo>
                      <a:cubicBezTo>
                        <a:pt x="1908806" y="244230"/>
                        <a:pt x="1908352" y="256052"/>
                        <a:pt x="1908352" y="264692"/>
                      </a:cubicBezTo>
                      <a:cubicBezTo>
                        <a:pt x="1855152" y="307888"/>
                        <a:pt x="1724655" y="380184"/>
                        <a:pt x="1723291" y="381093"/>
                      </a:cubicBezTo>
                      <a:cubicBezTo>
                        <a:pt x="1761485" y="341080"/>
                        <a:pt x="1817868" y="320619"/>
                        <a:pt x="1845604" y="269239"/>
                      </a:cubicBezTo>
                      <a:cubicBezTo>
                        <a:pt x="1851060" y="262873"/>
                        <a:pt x="1858335" y="254688"/>
                        <a:pt x="1863792" y="248323"/>
                      </a:cubicBezTo>
                      <a:cubicBezTo>
                        <a:pt x="1842421" y="255143"/>
                        <a:pt x="1815139" y="268329"/>
                        <a:pt x="1795588" y="279696"/>
                      </a:cubicBezTo>
                      <a:cubicBezTo>
                        <a:pt x="1825143" y="247868"/>
                        <a:pt x="1825143" y="247868"/>
                        <a:pt x="1891983" y="210583"/>
                      </a:cubicBezTo>
                      <a:cubicBezTo>
                        <a:pt x="1873795" y="211492"/>
                        <a:pt x="1849242" y="217858"/>
                        <a:pt x="1833327" y="226497"/>
                      </a:cubicBezTo>
                      <a:cubicBezTo>
                        <a:pt x="1901077" y="171479"/>
                        <a:pt x="1920174" y="166478"/>
                        <a:pt x="1966098" y="154656"/>
                      </a:cubicBezTo>
                      <a:cubicBezTo>
                        <a:pt x="1958823" y="160112"/>
                        <a:pt x="1948820" y="167387"/>
                        <a:pt x="1941544" y="173298"/>
                      </a:cubicBezTo>
                      <a:cubicBezTo>
                        <a:pt x="1987469" y="178300"/>
                        <a:pt x="2024753" y="156020"/>
                        <a:pt x="2048398" y="136013"/>
                      </a:cubicBezTo>
                      <a:cubicBezTo>
                        <a:pt x="2039758" y="137377"/>
                        <a:pt x="2027936" y="138741"/>
                        <a:pt x="2019297" y="140105"/>
                      </a:cubicBezTo>
                      <a:cubicBezTo>
                        <a:pt x="2012931" y="134649"/>
                        <a:pt x="2004747" y="127374"/>
                        <a:pt x="1998836" y="121918"/>
                      </a:cubicBezTo>
                      <a:cubicBezTo>
                        <a:pt x="1932451" y="134194"/>
                        <a:pt x="1850606" y="150563"/>
                        <a:pt x="1708741" y="271057"/>
                      </a:cubicBezTo>
                      <a:cubicBezTo>
                        <a:pt x="1712833" y="278332"/>
                        <a:pt x="1718290" y="287881"/>
                        <a:pt x="1722382" y="295156"/>
                      </a:cubicBezTo>
                      <a:cubicBezTo>
                        <a:pt x="1730566" y="292883"/>
                        <a:pt x="1741934" y="290154"/>
                        <a:pt x="1750118" y="287881"/>
                      </a:cubicBezTo>
                      <a:cubicBezTo>
                        <a:pt x="1743752" y="293337"/>
                        <a:pt x="1734659" y="301067"/>
                        <a:pt x="1728293" y="306523"/>
                      </a:cubicBezTo>
                      <a:cubicBezTo>
                        <a:pt x="1736477" y="304705"/>
                        <a:pt x="1746935" y="301977"/>
                        <a:pt x="1755120" y="299703"/>
                      </a:cubicBezTo>
                      <a:cubicBezTo>
                        <a:pt x="1716471" y="352448"/>
                        <a:pt x="1525044" y="474760"/>
                        <a:pt x="1523226" y="476124"/>
                      </a:cubicBezTo>
                      <a:cubicBezTo>
                        <a:pt x="1561420" y="431110"/>
                        <a:pt x="1627351" y="422016"/>
                        <a:pt x="1660998" y="371090"/>
                      </a:cubicBezTo>
                      <a:cubicBezTo>
                        <a:pt x="1622349" y="374728"/>
                        <a:pt x="1622349" y="374728"/>
                        <a:pt x="1433651" y="491584"/>
                      </a:cubicBezTo>
                      <a:cubicBezTo>
                        <a:pt x="1451839" y="488401"/>
                        <a:pt x="1475938" y="482490"/>
                        <a:pt x="1493671" y="476124"/>
                      </a:cubicBezTo>
                      <a:cubicBezTo>
                        <a:pt x="1414099" y="535235"/>
                        <a:pt x="1414099" y="535235"/>
                        <a:pt x="1374995" y="536599"/>
                      </a:cubicBezTo>
                      <a:cubicBezTo>
                        <a:pt x="1379542" y="531597"/>
                        <a:pt x="1379542" y="531597"/>
                        <a:pt x="1667818" y="332896"/>
                      </a:cubicBezTo>
                      <a:cubicBezTo>
                        <a:pt x="1616438" y="334260"/>
                        <a:pt x="1616438" y="334260"/>
                        <a:pt x="1580517" y="352448"/>
                      </a:cubicBezTo>
                      <a:cubicBezTo>
                        <a:pt x="1648721" y="308797"/>
                        <a:pt x="1770579" y="205127"/>
                        <a:pt x="1771034" y="204672"/>
                      </a:cubicBezTo>
                      <a:cubicBezTo>
                        <a:pt x="1786039" y="195123"/>
                        <a:pt x="1805591" y="180573"/>
                        <a:pt x="1818322" y="168296"/>
                      </a:cubicBezTo>
                      <a:cubicBezTo>
                        <a:pt x="1671911" y="208764"/>
                        <a:pt x="1671911" y="208764"/>
                        <a:pt x="1415009" y="387459"/>
                      </a:cubicBezTo>
                      <a:cubicBezTo>
                        <a:pt x="1415918" y="386550"/>
                        <a:pt x="1521862" y="284243"/>
                        <a:pt x="1587792" y="247868"/>
                      </a:cubicBezTo>
                      <a:cubicBezTo>
                        <a:pt x="1590975" y="234682"/>
                        <a:pt x="1590975" y="234682"/>
                        <a:pt x="1977920" y="3697"/>
                      </a:cubicBezTo>
                      <a:cubicBezTo>
                        <a:pt x="1926540" y="-4033"/>
                        <a:pt x="1926540" y="-4033"/>
                        <a:pt x="1797861" y="48257"/>
                      </a:cubicBezTo>
                      <a:cubicBezTo>
                        <a:pt x="1805591" y="44165"/>
                        <a:pt x="1816049" y="39163"/>
                        <a:pt x="1823324" y="35071"/>
                      </a:cubicBezTo>
                      <a:cubicBezTo>
                        <a:pt x="1761031" y="52349"/>
                        <a:pt x="1615074" y="120554"/>
                        <a:pt x="1390910" y="259690"/>
                      </a:cubicBezTo>
                      <a:lnTo>
                        <a:pt x="1242679" y="361541"/>
                      </a:lnTo>
                      <a:lnTo>
                        <a:pt x="1242679" y="361541"/>
                      </a:lnTo>
                      <a:cubicBezTo>
                        <a:pt x="1235859" y="366543"/>
                        <a:pt x="1226765" y="372909"/>
                        <a:pt x="1220399" y="377910"/>
                      </a:cubicBezTo>
                      <a:cubicBezTo>
                        <a:pt x="1227674" y="372909"/>
                        <a:pt x="1237223" y="365634"/>
                        <a:pt x="1244498" y="360632"/>
                      </a:cubicBezTo>
                      <a:cubicBezTo>
                        <a:pt x="1138554" y="439749"/>
                        <a:pt x="980321" y="567518"/>
                        <a:pt x="828453" y="726661"/>
                      </a:cubicBezTo>
                      <a:cubicBezTo>
                        <a:pt x="833909" y="720750"/>
                        <a:pt x="841639" y="712565"/>
                        <a:pt x="847095" y="706654"/>
                      </a:cubicBezTo>
                      <a:cubicBezTo>
                        <a:pt x="825725" y="729389"/>
                        <a:pt x="797534" y="759854"/>
                        <a:pt x="776618" y="782588"/>
                      </a:cubicBezTo>
                      <a:lnTo>
                        <a:pt x="780255" y="778496"/>
                      </a:lnTo>
                      <a:cubicBezTo>
                        <a:pt x="786166" y="772130"/>
                        <a:pt x="794351" y="763036"/>
                        <a:pt x="800262" y="756671"/>
                      </a:cubicBezTo>
                      <a:cubicBezTo>
                        <a:pt x="727966" y="836697"/>
                        <a:pt x="715234" y="852611"/>
                        <a:pt x="643392" y="940822"/>
                      </a:cubicBezTo>
                      <a:cubicBezTo>
                        <a:pt x="470154" y="1179991"/>
                        <a:pt x="459696" y="1194086"/>
                        <a:pt x="371030" y="1353684"/>
                      </a:cubicBezTo>
                      <a:cubicBezTo>
                        <a:pt x="234622" y="1626955"/>
                        <a:pt x="229166" y="1637868"/>
                        <a:pt x="169601" y="1806105"/>
                      </a:cubicBezTo>
                      <a:cubicBezTo>
                        <a:pt x="78662" y="2103475"/>
                        <a:pt x="75025" y="2115297"/>
                        <a:pt x="44105" y="2291263"/>
                      </a:cubicBezTo>
                      <a:cubicBezTo>
                        <a:pt x="2728" y="2606366"/>
                        <a:pt x="909" y="2619098"/>
                        <a:pt x="0" y="2801430"/>
                      </a:cubicBezTo>
                      <a:lnTo>
                        <a:pt x="0" y="2843717"/>
                      </a:lnTo>
                      <a:lnTo>
                        <a:pt x="0" y="2844172"/>
                      </a:lnTo>
                      <a:cubicBezTo>
                        <a:pt x="2273" y="2984672"/>
                        <a:pt x="18188" y="3194286"/>
                        <a:pt x="79117" y="3397080"/>
                      </a:cubicBezTo>
                      <a:cubicBezTo>
                        <a:pt x="80481" y="3378892"/>
                        <a:pt x="81390" y="3354793"/>
                        <a:pt x="80481" y="3337060"/>
                      </a:cubicBezTo>
                      <a:cubicBezTo>
                        <a:pt x="177785" y="3771748"/>
                        <a:pt x="405133" y="4790263"/>
                        <a:pt x="1535048" y="5441385"/>
                      </a:cubicBezTo>
                      <a:lnTo>
                        <a:pt x="1564603" y="5458209"/>
                      </a:lnTo>
                      <a:lnTo>
                        <a:pt x="1561875" y="5456844"/>
                      </a:lnTo>
                      <a:cubicBezTo>
                        <a:pt x="1446382" y="5390004"/>
                        <a:pt x="1446382" y="5390004"/>
                        <a:pt x="1273599" y="5265418"/>
                      </a:cubicBezTo>
                      <a:cubicBezTo>
                        <a:pt x="1280874" y="5269510"/>
                        <a:pt x="1290877" y="5275421"/>
                        <a:pt x="1298607" y="5279514"/>
                      </a:cubicBezTo>
                      <a:cubicBezTo>
                        <a:pt x="1255411" y="5239955"/>
                        <a:pt x="1226765" y="5187210"/>
                        <a:pt x="1179022" y="5151290"/>
                      </a:cubicBezTo>
                      <a:cubicBezTo>
                        <a:pt x="1182660" y="5119916"/>
                        <a:pt x="1185388" y="5097181"/>
                        <a:pt x="1056255" y="4905755"/>
                      </a:cubicBezTo>
                      <a:cubicBezTo>
                        <a:pt x="1058528" y="4897116"/>
                        <a:pt x="1061711" y="4885294"/>
                        <a:pt x="1063985" y="4876655"/>
                      </a:cubicBezTo>
                      <a:cubicBezTo>
                        <a:pt x="1081263" y="4870289"/>
                        <a:pt x="1105816" y="4865287"/>
                        <a:pt x="1124004" y="4864833"/>
                      </a:cubicBezTo>
                      <a:cubicBezTo>
                        <a:pt x="1125368" y="4856648"/>
                        <a:pt x="1129006" y="4845735"/>
                        <a:pt x="1128096" y="4837096"/>
                      </a:cubicBezTo>
                      <a:cubicBezTo>
                        <a:pt x="1119003" y="4745702"/>
                        <a:pt x="1051253" y="4674770"/>
                        <a:pt x="1040340" y="4584286"/>
                      </a:cubicBezTo>
                      <a:cubicBezTo>
                        <a:pt x="1033520" y="4524267"/>
                        <a:pt x="1088993" y="4479252"/>
                        <a:pt x="1079444" y="4418778"/>
                      </a:cubicBezTo>
                      <a:cubicBezTo>
                        <a:pt x="1079444" y="4418323"/>
                        <a:pt x="1068986" y="4367852"/>
                        <a:pt x="1036248" y="4313288"/>
                      </a:cubicBezTo>
                      <a:cubicBezTo>
                        <a:pt x="957131" y="4181882"/>
                        <a:pt x="806628" y="4148689"/>
                        <a:pt x="694318" y="4062297"/>
                      </a:cubicBezTo>
                      <a:cubicBezTo>
                        <a:pt x="572915" y="3969085"/>
                        <a:pt x="631116" y="3740374"/>
                        <a:pt x="427867" y="3709000"/>
                      </a:cubicBezTo>
                      <a:cubicBezTo>
                        <a:pt x="328744" y="3551676"/>
                        <a:pt x="329199" y="3540763"/>
                        <a:pt x="330563" y="3454371"/>
                      </a:cubicBezTo>
                      <a:cubicBezTo>
                        <a:pt x="294187" y="3446641"/>
                        <a:pt x="173693" y="3408902"/>
                        <a:pt x="148685" y="3248395"/>
                      </a:cubicBezTo>
                      <a:cubicBezTo>
                        <a:pt x="114583" y="3273858"/>
                        <a:pt x="105489" y="3286589"/>
                        <a:pt x="101397" y="3336151"/>
                      </a:cubicBezTo>
                      <a:cubicBezTo>
                        <a:pt x="43196" y="3234754"/>
                        <a:pt x="43196" y="3234754"/>
                        <a:pt x="28646" y="2658656"/>
                      </a:cubicBezTo>
                      <a:cubicBezTo>
                        <a:pt x="18642" y="2672752"/>
                        <a:pt x="9094" y="2694577"/>
                        <a:pt x="7730" y="2711856"/>
                      </a:cubicBezTo>
                      <a:cubicBezTo>
                        <a:pt x="-5456" y="2626373"/>
                        <a:pt x="30465" y="2325365"/>
                        <a:pt x="62748" y="2252160"/>
                      </a:cubicBezTo>
                      <a:cubicBezTo>
                        <a:pt x="67295" y="2268984"/>
                        <a:pt x="69114" y="2292627"/>
                        <a:pt x="67749" y="2309906"/>
                      </a:cubicBezTo>
                      <a:cubicBezTo>
                        <a:pt x="75934" y="2308997"/>
                        <a:pt x="86847" y="2307633"/>
                        <a:pt x="95031" y="2306723"/>
                      </a:cubicBezTo>
                      <a:cubicBezTo>
                        <a:pt x="109127" y="2414486"/>
                        <a:pt x="80936" y="2520429"/>
                        <a:pt x="80936" y="2627737"/>
                      </a:cubicBezTo>
                      <a:cubicBezTo>
                        <a:pt x="105034" y="2587269"/>
                        <a:pt x="105034" y="2587269"/>
                        <a:pt x="113219" y="2529068"/>
                      </a:cubicBezTo>
                      <a:cubicBezTo>
                        <a:pt x="131407" y="2402209"/>
                        <a:pt x="131407" y="2402209"/>
                        <a:pt x="303281" y="2144397"/>
                      </a:cubicBezTo>
                      <a:cubicBezTo>
                        <a:pt x="341021" y="2087560"/>
                        <a:pt x="411498" y="1982071"/>
                        <a:pt x="533356" y="1949333"/>
                      </a:cubicBezTo>
                      <a:cubicBezTo>
                        <a:pt x="542450" y="1963884"/>
                        <a:pt x="546088" y="1988892"/>
                        <a:pt x="542905" y="2005715"/>
                      </a:cubicBezTo>
                      <a:cubicBezTo>
                        <a:pt x="684315" y="1994803"/>
                        <a:pt x="705685" y="1974796"/>
                        <a:pt x="728420" y="1900226"/>
                      </a:cubicBezTo>
                      <a:cubicBezTo>
                        <a:pt x="681132" y="1883858"/>
                        <a:pt x="679313" y="1877946"/>
                        <a:pt x="670219" y="1842935"/>
                      </a:cubicBezTo>
                      <a:cubicBezTo>
                        <a:pt x="706595" y="1785189"/>
                        <a:pt x="706595" y="1785189"/>
                        <a:pt x="718872" y="1711528"/>
                      </a:cubicBezTo>
                      <a:cubicBezTo>
                        <a:pt x="743880" y="1743357"/>
                        <a:pt x="732058" y="1782461"/>
                        <a:pt x="740242" y="1817472"/>
                      </a:cubicBezTo>
                      <a:cubicBezTo>
                        <a:pt x="844367" y="1756543"/>
                        <a:pt x="844367" y="1756543"/>
                        <a:pt x="865738" y="1750632"/>
                      </a:cubicBezTo>
                      <a:cubicBezTo>
                        <a:pt x="844822" y="1809288"/>
                        <a:pt x="768888" y="1827475"/>
                        <a:pt x="758885" y="1894770"/>
                      </a:cubicBezTo>
                      <a:cubicBezTo>
                        <a:pt x="797988" y="1918869"/>
                        <a:pt x="811174" y="1979798"/>
                        <a:pt x="871194" y="1974342"/>
                      </a:cubicBezTo>
                      <a:cubicBezTo>
                        <a:pt x="891201" y="1932510"/>
                        <a:pt x="892565" y="1923871"/>
                        <a:pt x="900295" y="1854302"/>
                      </a:cubicBezTo>
                      <a:cubicBezTo>
                        <a:pt x="893929" y="1847937"/>
                        <a:pt x="885290" y="1839752"/>
                        <a:pt x="879379" y="1833841"/>
                      </a:cubicBezTo>
                      <a:cubicBezTo>
                        <a:pt x="947583" y="1639232"/>
                        <a:pt x="1064439" y="1463720"/>
                        <a:pt x="1105362" y="1258198"/>
                      </a:cubicBezTo>
                      <a:cubicBezTo>
                        <a:pt x="1079444" y="1259562"/>
                        <a:pt x="1079444" y="1259562"/>
                        <a:pt x="1021698" y="1296847"/>
                      </a:cubicBezTo>
                      <a:cubicBezTo>
                        <a:pt x="1014423" y="1293210"/>
                        <a:pt x="1004420" y="1288208"/>
                        <a:pt x="996690" y="1284571"/>
                      </a:cubicBezTo>
                      <a:cubicBezTo>
                        <a:pt x="1001691" y="1268656"/>
                        <a:pt x="1014423" y="1249104"/>
                        <a:pt x="1025790" y="1236828"/>
                      </a:cubicBezTo>
                      <a:cubicBezTo>
                        <a:pt x="1033975" y="1238192"/>
                        <a:pt x="1044887" y="1240011"/>
                        <a:pt x="1053527" y="1241375"/>
                      </a:cubicBezTo>
                      <a:cubicBezTo>
                        <a:pt x="1095813" y="1184538"/>
                        <a:pt x="1087629" y="1113151"/>
                        <a:pt x="1108999" y="1050403"/>
                      </a:cubicBezTo>
                      <a:cubicBezTo>
                        <a:pt x="1101724" y="1045856"/>
                        <a:pt x="1092630" y="1040400"/>
                        <a:pt x="1085355" y="1035853"/>
                      </a:cubicBezTo>
                      <a:cubicBezTo>
                        <a:pt x="1114001" y="994021"/>
                        <a:pt x="1116274" y="993566"/>
                        <a:pt x="1152650" y="985382"/>
                      </a:cubicBezTo>
                      <a:cubicBezTo>
                        <a:pt x="1162653" y="1057678"/>
                        <a:pt x="1113546" y="1117698"/>
                        <a:pt x="1110818" y="1187266"/>
                      </a:cubicBezTo>
                      <a:cubicBezTo>
                        <a:pt x="1198119" y="1173625"/>
                        <a:pt x="1248136" y="1082232"/>
                        <a:pt x="1295879" y="994021"/>
                      </a:cubicBezTo>
                      <a:cubicBezTo>
                        <a:pt x="1296788" y="1012209"/>
                        <a:pt x="1292696" y="1036762"/>
                        <a:pt x="1285875" y="1053586"/>
                      </a:cubicBezTo>
                      <a:cubicBezTo>
                        <a:pt x="1356353" y="1060861"/>
                        <a:pt x="1416373" y="982654"/>
                        <a:pt x="1419101" y="979471"/>
                      </a:cubicBezTo>
                      <a:cubicBezTo>
                        <a:pt x="1418646" y="978561"/>
                        <a:pt x="1419101" y="848974"/>
                        <a:pt x="1649176" y="556605"/>
                      </a:cubicBezTo>
                      <a:cubicBezTo>
                        <a:pt x="1632807" y="502042"/>
                        <a:pt x="1632807" y="502042"/>
                        <a:pt x="1645084" y="477034"/>
                      </a:cubicBezTo>
                      <a:cubicBezTo>
                        <a:pt x="1554145" y="489765"/>
                        <a:pt x="1503219" y="527050"/>
                        <a:pt x="1415918" y="602529"/>
                      </a:cubicBezTo>
                      <a:cubicBezTo>
                        <a:pt x="1414099" y="640269"/>
                        <a:pt x="1413644" y="645271"/>
                        <a:pt x="1305882" y="704835"/>
                      </a:cubicBezTo>
                      <a:cubicBezTo>
                        <a:pt x="1421829" y="570246"/>
                        <a:pt x="1421829" y="570246"/>
                        <a:pt x="1657815" y="447024"/>
                      </a:cubicBezTo>
                      <a:cubicBezTo>
                        <a:pt x="1660543" y="464302"/>
                        <a:pt x="1663726" y="487037"/>
                        <a:pt x="1665545" y="504315"/>
                      </a:cubicBezTo>
                      <a:cubicBezTo>
                        <a:pt x="1716016" y="520684"/>
                        <a:pt x="1796952" y="465666"/>
                        <a:pt x="1829235" y="441568"/>
                      </a:cubicBezTo>
                      <a:cubicBezTo>
                        <a:pt x="1835601" y="436566"/>
                        <a:pt x="2158888" y="336988"/>
                        <a:pt x="2160707" y="336988"/>
                      </a:cubicBezTo>
                      <a:cubicBezTo>
                        <a:pt x="1811047" y="531142"/>
                        <a:pt x="1811047" y="531142"/>
                        <a:pt x="1800134" y="558424"/>
                      </a:cubicBezTo>
                      <a:cubicBezTo>
                        <a:pt x="1808319" y="560697"/>
                        <a:pt x="1819232" y="563880"/>
                        <a:pt x="1826961" y="565699"/>
                      </a:cubicBezTo>
                      <a:cubicBezTo>
                        <a:pt x="1831508" y="574338"/>
                        <a:pt x="1837874" y="585706"/>
                        <a:pt x="1842421" y="594345"/>
                      </a:cubicBezTo>
                      <a:cubicBezTo>
                        <a:pt x="1770579" y="727570"/>
                        <a:pt x="1618257" y="797593"/>
                        <a:pt x="1565058" y="946278"/>
                      </a:cubicBezTo>
                      <a:cubicBezTo>
                        <a:pt x="1573242" y="948552"/>
                        <a:pt x="1584155" y="951734"/>
                        <a:pt x="1591885" y="954008"/>
                      </a:cubicBezTo>
                      <a:cubicBezTo>
                        <a:pt x="1328162" y="1379602"/>
                        <a:pt x="1328162" y="1379602"/>
                        <a:pt x="1326798" y="1386422"/>
                      </a:cubicBezTo>
                      <a:cubicBezTo>
                        <a:pt x="1352261" y="1410976"/>
                        <a:pt x="1352261" y="1410976"/>
                        <a:pt x="1356808" y="1469631"/>
                      </a:cubicBezTo>
                      <a:cubicBezTo>
                        <a:pt x="1365901" y="1470995"/>
                        <a:pt x="1378633" y="1473269"/>
                        <a:pt x="1387727" y="1474633"/>
                      </a:cubicBezTo>
                      <a:cubicBezTo>
                        <a:pt x="1605525" y="1270930"/>
                        <a:pt x="1605525" y="1270930"/>
                        <a:pt x="1822869" y="1163167"/>
                      </a:cubicBezTo>
                      <a:cubicBezTo>
                        <a:pt x="2240733" y="955827"/>
                        <a:pt x="2240733" y="955827"/>
                        <a:pt x="2258466" y="811689"/>
                      </a:cubicBezTo>
                      <a:cubicBezTo>
                        <a:pt x="2373049" y="755307"/>
                        <a:pt x="2385781" y="604348"/>
                        <a:pt x="2502637" y="54978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Graphic 5">
                  <a:extLst>
                    <a:ext uri="{FF2B5EF4-FFF2-40B4-BE49-F238E27FC236}">
                      <a16:creationId xmlns:a16="http://schemas.microsoft.com/office/drawing/2014/main" id="{3860135D-5C77-4483-8DF0-FEB7B2804AA1}"/>
                    </a:ext>
                  </a:extLst>
                </p:cNvPr>
                <p:cNvSpPr/>
                <p:nvPr/>
              </p:nvSpPr>
              <p:spPr>
                <a:xfrm>
                  <a:off x="10700079" y="4846340"/>
                  <a:ext cx="833909" cy="1021697"/>
                </a:xfrm>
                <a:custGeom>
                  <a:avLst/>
                  <a:gdLst>
                    <a:gd name="connsiteX0" fmla="*/ 764341 w 833909"/>
                    <a:gd name="connsiteY0" fmla="*/ 131861 h 1021697"/>
                    <a:gd name="connsiteX1" fmla="*/ 487887 w 833909"/>
                    <a:gd name="connsiteY1" fmla="*/ 541996 h 1021697"/>
                    <a:gd name="connsiteX2" fmla="*/ 144138 w 833909"/>
                    <a:gd name="connsiteY2" fmla="*/ 905751 h 1021697"/>
                    <a:gd name="connsiteX3" fmla="*/ 72751 w 833909"/>
                    <a:gd name="connsiteY3" fmla="*/ 967589 h 1021697"/>
                    <a:gd name="connsiteX4" fmla="*/ 0 w 833909"/>
                    <a:gd name="connsiteY4" fmla="*/ 1021698 h 1021697"/>
                    <a:gd name="connsiteX5" fmla="*/ 75479 w 833909"/>
                    <a:gd name="connsiteY5" fmla="*/ 951675 h 1021697"/>
                    <a:gd name="connsiteX6" fmla="*/ 163690 w 833909"/>
                    <a:gd name="connsiteY6" fmla="*/ 868466 h 1021697"/>
                    <a:gd name="connsiteX7" fmla="*/ 350115 w 833909"/>
                    <a:gd name="connsiteY7" fmla="*/ 658852 h 1021697"/>
                    <a:gd name="connsiteX8" fmla="*/ 567913 w 833909"/>
                    <a:gd name="connsiteY8" fmla="*/ 420137 h 1021697"/>
                    <a:gd name="connsiteX9" fmla="*/ 760249 w 833909"/>
                    <a:gd name="connsiteY9" fmla="*/ 134135 h 1021697"/>
                    <a:gd name="connsiteX10" fmla="*/ 734786 w 833909"/>
                    <a:gd name="connsiteY10" fmla="*/ 182787 h 1021697"/>
                    <a:gd name="connsiteX11" fmla="*/ 833909 w 833909"/>
                    <a:gd name="connsiteY11" fmla="*/ 0 h 1021697"/>
                    <a:gd name="connsiteX12" fmla="*/ 764341 w 833909"/>
                    <a:gd name="connsiteY12" fmla="*/ 131861 h 10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3909" h="1021697">
                      <a:moveTo>
                        <a:pt x="764341" y="131861"/>
                      </a:moveTo>
                      <a:cubicBezTo>
                        <a:pt x="607017" y="389218"/>
                        <a:pt x="600651" y="399221"/>
                        <a:pt x="487887" y="541996"/>
                      </a:cubicBezTo>
                      <a:cubicBezTo>
                        <a:pt x="301917" y="757521"/>
                        <a:pt x="286912" y="775253"/>
                        <a:pt x="144138" y="905751"/>
                      </a:cubicBezTo>
                      <a:lnTo>
                        <a:pt x="72751" y="967589"/>
                      </a:lnTo>
                      <a:cubicBezTo>
                        <a:pt x="62748" y="975774"/>
                        <a:pt x="0" y="1021698"/>
                        <a:pt x="0" y="1021698"/>
                      </a:cubicBezTo>
                      <a:cubicBezTo>
                        <a:pt x="2728" y="1013513"/>
                        <a:pt x="2728" y="1013513"/>
                        <a:pt x="75479" y="951675"/>
                      </a:cubicBezTo>
                      <a:cubicBezTo>
                        <a:pt x="85483" y="943490"/>
                        <a:pt x="85483" y="943490"/>
                        <a:pt x="163690" y="868466"/>
                      </a:cubicBezTo>
                      <a:cubicBezTo>
                        <a:pt x="198702" y="835273"/>
                        <a:pt x="238714" y="789349"/>
                        <a:pt x="350115" y="658852"/>
                      </a:cubicBezTo>
                      <a:cubicBezTo>
                        <a:pt x="420138" y="577007"/>
                        <a:pt x="501073" y="505165"/>
                        <a:pt x="567913" y="420137"/>
                      </a:cubicBezTo>
                      <a:cubicBezTo>
                        <a:pt x="616565" y="357844"/>
                        <a:pt x="616565" y="357844"/>
                        <a:pt x="760249" y="134135"/>
                      </a:cubicBezTo>
                      <a:cubicBezTo>
                        <a:pt x="757976" y="140955"/>
                        <a:pt x="757976" y="140955"/>
                        <a:pt x="734786" y="182787"/>
                      </a:cubicBezTo>
                      <a:cubicBezTo>
                        <a:pt x="749791" y="157779"/>
                        <a:pt x="788895" y="90029"/>
                        <a:pt x="833909" y="0"/>
                      </a:cubicBezTo>
                      <a:lnTo>
                        <a:pt x="764341" y="131861"/>
                      </a:ln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Graphic 5">
                  <a:extLst>
                    <a:ext uri="{FF2B5EF4-FFF2-40B4-BE49-F238E27FC236}">
                      <a16:creationId xmlns:a16="http://schemas.microsoft.com/office/drawing/2014/main" id="{FC18CC14-80C2-4484-BA0F-3DB737F15471}"/>
                    </a:ext>
                  </a:extLst>
                </p:cNvPr>
                <p:cNvSpPr/>
                <p:nvPr/>
              </p:nvSpPr>
              <p:spPr>
                <a:xfrm>
                  <a:off x="11486612" y="3540458"/>
                  <a:ext cx="302176" cy="1152195"/>
                </a:xfrm>
                <a:custGeom>
                  <a:avLst/>
                  <a:gdLst>
                    <a:gd name="connsiteX0" fmla="*/ 285637 w 302176"/>
                    <a:gd name="connsiteY0" fmla="*/ 406951 h 1152195"/>
                    <a:gd name="connsiteX1" fmla="*/ 274269 w 302176"/>
                    <a:gd name="connsiteY1" fmla="*/ 451511 h 1152195"/>
                    <a:gd name="connsiteX2" fmla="*/ 272905 w 302176"/>
                    <a:gd name="connsiteY2" fmla="*/ 439234 h 1152195"/>
                    <a:gd name="connsiteX3" fmla="*/ 272450 w 302176"/>
                    <a:gd name="connsiteY3" fmla="*/ 437416 h 1152195"/>
                    <a:gd name="connsiteX4" fmla="*/ 273360 w 302176"/>
                    <a:gd name="connsiteY4" fmla="*/ 434233 h 1152195"/>
                    <a:gd name="connsiteX5" fmla="*/ 284727 w 302176"/>
                    <a:gd name="connsiteY5" fmla="*/ 389673 h 1152195"/>
                    <a:gd name="connsiteX6" fmla="*/ 285637 w 302176"/>
                    <a:gd name="connsiteY6" fmla="*/ 406951 h 1152195"/>
                    <a:gd name="connsiteX7" fmla="*/ 292912 w 302176"/>
                    <a:gd name="connsiteY7" fmla="*/ 472882 h 1152195"/>
                    <a:gd name="connsiteX8" fmla="*/ 285182 w 302176"/>
                    <a:gd name="connsiteY8" fmla="*/ 176876 h 1152195"/>
                    <a:gd name="connsiteX9" fmla="*/ 273360 w 302176"/>
                    <a:gd name="connsiteY9" fmla="*/ 185970 h 1152195"/>
                    <a:gd name="connsiteX10" fmla="*/ 267449 w 302176"/>
                    <a:gd name="connsiteY10" fmla="*/ 125041 h 1152195"/>
                    <a:gd name="connsiteX11" fmla="*/ 254717 w 302176"/>
                    <a:gd name="connsiteY11" fmla="*/ 0 h 1152195"/>
                    <a:gd name="connsiteX12" fmla="*/ 248807 w 302176"/>
                    <a:gd name="connsiteY12" fmla="*/ 2273 h 1152195"/>
                    <a:gd name="connsiteX13" fmla="*/ 252898 w 302176"/>
                    <a:gd name="connsiteY13" fmla="*/ 322833 h 1152195"/>
                    <a:gd name="connsiteX14" fmla="*/ 258810 w 302176"/>
                    <a:gd name="connsiteY14" fmla="*/ 321469 h 1152195"/>
                    <a:gd name="connsiteX15" fmla="*/ 213795 w 302176"/>
                    <a:gd name="connsiteY15" fmla="*/ 663853 h 1152195"/>
                    <a:gd name="connsiteX16" fmla="*/ 197426 w 302176"/>
                    <a:gd name="connsiteY16" fmla="*/ 598832 h 1152195"/>
                    <a:gd name="connsiteX17" fmla="*/ 191060 w 302176"/>
                    <a:gd name="connsiteY17" fmla="*/ 598377 h 1152195"/>
                    <a:gd name="connsiteX18" fmla="*/ 108760 w 302176"/>
                    <a:gd name="connsiteY18" fmla="*/ 828453 h 1152195"/>
                    <a:gd name="connsiteX19" fmla="*/ 29644 w 302176"/>
                    <a:gd name="connsiteY19" fmla="*/ 963952 h 1152195"/>
                    <a:gd name="connsiteX20" fmla="*/ 25551 w 302176"/>
                    <a:gd name="connsiteY20" fmla="*/ 975319 h 1152195"/>
                    <a:gd name="connsiteX21" fmla="*/ 88 w 302176"/>
                    <a:gd name="connsiteY21" fmla="*/ 1139009 h 1152195"/>
                    <a:gd name="connsiteX22" fmla="*/ 31917 w 302176"/>
                    <a:gd name="connsiteY22" fmla="*/ 1132188 h 1152195"/>
                    <a:gd name="connsiteX23" fmla="*/ 40102 w 302176"/>
                    <a:gd name="connsiteY23" fmla="*/ 1149922 h 1152195"/>
                    <a:gd name="connsiteX24" fmla="*/ 46468 w 302176"/>
                    <a:gd name="connsiteY24" fmla="*/ 1152195 h 1152195"/>
                    <a:gd name="connsiteX25" fmla="*/ 164233 w 302176"/>
                    <a:gd name="connsiteY25" fmla="*/ 876650 h 1152195"/>
                    <a:gd name="connsiteX26" fmla="*/ 206974 w 302176"/>
                    <a:gd name="connsiteY26" fmla="*/ 689771 h 1152195"/>
                    <a:gd name="connsiteX27" fmla="*/ 260174 w 302176"/>
                    <a:gd name="connsiteY27" fmla="*/ 531992 h 1152195"/>
                    <a:gd name="connsiteX28" fmla="*/ 264266 w 302176"/>
                    <a:gd name="connsiteY28" fmla="*/ 592012 h 1152195"/>
                    <a:gd name="connsiteX29" fmla="*/ 269722 w 302176"/>
                    <a:gd name="connsiteY29" fmla="*/ 589738 h 1152195"/>
                    <a:gd name="connsiteX30" fmla="*/ 292912 w 302176"/>
                    <a:gd name="connsiteY30" fmla="*/ 472882 h 115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2176" h="1152195">
                      <a:moveTo>
                        <a:pt x="285637" y="406951"/>
                      </a:moveTo>
                      <a:cubicBezTo>
                        <a:pt x="284727" y="411498"/>
                        <a:pt x="281090" y="426503"/>
                        <a:pt x="274269" y="451511"/>
                      </a:cubicBezTo>
                      <a:cubicBezTo>
                        <a:pt x="273815" y="447419"/>
                        <a:pt x="273360" y="443327"/>
                        <a:pt x="272905" y="439234"/>
                      </a:cubicBezTo>
                      <a:cubicBezTo>
                        <a:pt x="272905" y="438780"/>
                        <a:pt x="272450" y="437870"/>
                        <a:pt x="272450" y="437416"/>
                      </a:cubicBezTo>
                      <a:cubicBezTo>
                        <a:pt x="272450" y="436506"/>
                        <a:pt x="272905" y="435142"/>
                        <a:pt x="273360" y="434233"/>
                      </a:cubicBezTo>
                      <a:cubicBezTo>
                        <a:pt x="276088" y="424684"/>
                        <a:pt x="280180" y="409225"/>
                        <a:pt x="284727" y="389673"/>
                      </a:cubicBezTo>
                      <a:cubicBezTo>
                        <a:pt x="286091" y="405587"/>
                        <a:pt x="286091" y="405587"/>
                        <a:pt x="285637" y="406951"/>
                      </a:cubicBezTo>
                      <a:moveTo>
                        <a:pt x="292912" y="472882"/>
                      </a:moveTo>
                      <a:cubicBezTo>
                        <a:pt x="293366" y="470608"/>
                        <a:pt x="317920" y="245989"/>
                        <a:pt x="285182" y="176876"/>
                      </a:cubicBezTo>
                      <a:cubicBezTo>
                        <a:pt x="281090" y="178695"/>
                        <a:pt x="276543" y="182787"/>
                        <a:pt x="273360" y="185970"/>
                      </a:cubicBezTo>
                      <a:cubicBezTo>
                        <a:pt x="267449" y="180514"/>
                        <a:pt x="265175" y="178695"/>
                        <a:pt x="267449" y="125041"/>
                      </a:cubicBezTo>
                      <a:cubicBezTo>
                        <a:pt x="267903" y="108672"/>
                        <a:pt x="270632" y="24554"/>
                        <a:pt x="254717" y="0"/>
                      </a:cubicBezTo>
                      <a:cubicBezTo>
                        <a:pt x="252898" y="455"/>
                        <a:pt x="250625" y="1364"/>
                        <a:pt x="248807" y="2273"/>
                      </a:cubicBezTo>
                      <a:cubicBezTo>
                        <a:pt x="214249" y="77753"/>
                        <a:pt x="251989" y="321014"/>
                        <a:pt x="252898" y="322833"/>
                      </a:cubicBezTo>
                      <a:cubicBezTo>
                        <a:pt x="254717" y="322378"/>
                        <a:pt x="256991" y="321923"/>
                        <a:pt x="258810" y="321469"/>
                      </a:cubicBezTo>
                      <a:cubicBezTo>
                        <a:pt x="296549" y="386035"/>
                        <a:pt x="218796" y="653850"/>
                        <a:pt x="213795" y="663853"/>
                      </a:cubicBezTo>
                      <a:cubicBezTo>
                        <a:pt x="197426" y="644756"/>
                        <a:pt x="203337" y="620203"/>
                        <a:pt x="197426" y="598832"/>
                      </a:cubicBezTo>
                      <a:cubicBezTo>
                        <a:pt x="195607" y="598832"/>
                        <a:pt x="192879" y="598377"/>
                        <a:pt x="191060" y="598377"/>
                      </a:cubicBezTo>
                      <a:cubicBezTo>
                        <a:pt x="150138" y="670219"/>
                        <a:pt x="142408" y="753883"/>
                        <a:pt x="108760" y="828453"/>
                      </a:cubicBezTo>
                      <a:cubicBezTo>
                        <a:pt x="87390" y="876650"/>
                        <a:pt x="51015" y="915754"/>
                        <a:pt x="29644" y="963952"/>
                      </a:cubicBezTo>
                      <a:cubicBezTo>
                        <a:pt x="28280" y="967135"/>
                        <a:pt x="26916" y="972136"/>
                        <a:pt x="25551" y="975319"/>
                      </a:cubicBezTo>
                      <a:cubicBezTo>
                        <a:pt x="25097" y="976228"/>
                        <a:pt x="-1730" y="1124459"/>
                        <a:pt x="88" y="1139009"/>
                      </a:cubicBezTo>
                      <a:cubicBezTo>
                        <a:pt x="10547" y="1142646"/>
                        <a:pt x="10547" y="1142646"/>
                        <a:pt x="31917" y="1132188"/>
                      </a:cubicBezTo>
                      <a:cubicBezTo>
                        <a:pt x="39192" y="1136735"/>
                        <a:pt x="39192" y="1136735"/>
                        <a:pt x="40102" y="1149922"/>
                      </a:cubicBezTo>
                      <a:cubicBezTo>
                        <a:pt x="41921" y="1150376"/>
                        <a:pt x="44649" y="1151286"/>
                        <a:pt x="46468" y="1152195"/>
                      </a:cubicBezTo>
                      <a:cubicBezTo>
                        <a:pt x="62836" y="1133098"/>
                        <a:pt x="163324" y="878924"/>
                        <a:pt x="164233" y="876650"/>
                      </a:cubicBezTo>
                      <a:cubicBezTo>
                        <a:pt x="185149" y="815721"/>
                        <a:pt x="173782" y="747972"/>
                        <a:pt x="206974" y="689771"/>
                      </a:cubicBezTo>
                      <a:cubicBezTo>
                        <a:pt x="218342" y="670219"/>
                        <a:pt x="236984" y="637481"/>
                        <a:pt x="260174" y="531992"/>
                      </a:cubicBezTo>
                      <a:cubicBezTo>
                        <a:pt x="258810" y="578826"/>
                        <a:pt x="259719" y="581099"/>
                        <a:pt x="264266" y="592012"/>
                      </a:cubicBezTo>
                      <a:cubicBezTo>
                        <a:pt x="266085" y="591557"/>
                        <a:pt x="268358" y="590648"/>
                        <a:pt x="269722" y="589738"/>
                      </a:cubicBezTo>
                      <a:cubicBezTo>
                        <a:pt x="283818" y="526536"/>
                        <a:pt x="288365" y="505165"/>
                        <a:pt x="292912" y="47288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Graphic 5">
                  <a:extLst>
                    <a:ext uri="{FF2B5EF4-FFF2-40B4-BE49-F238E27FC236}">
                      <a16:creationId xmlns:a16="http://schemas.microsoft.com/office/drawing/2014/main" id="{FB6C6467-B901-4589-8E41-C7DBAFAD1049}"/>
                    </a:ext>
                  </a:extLst>
                </p:cNvPr>
                <p:cNvSpPr/>
                <p:nvPr/>
              </p:nvSpPr>
              <p:spPr>
                <a:xfrm>
                  <a:off x="11670851" y="4314348"/>
                  <a:ext cx="68204" cy="212796"/>
                </a:xfrm>
                <a:custGeom>
                  <a:avLst/>
                  <a:gdLst>
                    <a:gd name="connsiteX0" fmla="*/ 0 w 68204"/>
                    <a:gd name="connsiteY0" fmla="*/ 212797 h 212796"/>
                    <a:gd name="connsiteX1" fmla="*/ 37740 w 68204"/>
                    <a:gd name="connsiteY1" fmla="*/ 95031 h 212796"/>
                    <a:gd name="connsiteX2" fmla="*/ 62748 w 68204"/>
                    <a:gd name="connsiteY2" fmla="*/ 7730 h 212796"/>
                    <a:gd name="connsiteX3" fmla="*/ 61838 w 68204"/>
                    <a:gd name="connsiteY3" fmla="*/ 15914 h 212796"/>
                    <a:gd name="connsiteX4" fmla="*/ 68204 w 68204"/>
                    <a:gd name="connsiteY4" fmla="*/ 0 h 212796"/>
                    <a:gd name="connsiteX5" fmla="*/ 67295 w 68204"/>
                    <a:gd name="connsiteY5" fmla="*/ 4092 h 212796"/>
                    <a:gd name="connsiteX6" fmla="*/ 0 w 68204"/>
                    <a:gd name="connsiteY6" fmla="*/ 212797 h 212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04" h="212796">
                      <a:moveTo>
                        <a:pt x="0" y="212797"/>
                      </a:moveTo>
                      <a:cubicBezTo>
                        <a:pt x="14551" y="172784"/>
                        <a:pt x="35466" y="109581"/>
                        <a:pt x="37740" y="95031"/>
                      </a:cubicBezTo>
                      <a:cubicBezTo>
                        <a:pt x="39104" y="85028"/>
                        <a:pt x="55473" y="25008"/>
                        <a:pt x="62748" y="7730"/>
                      </a:cubicBezTo>
                      <a:cubicBezTo>
                        <a:pt x="62293" y="10458"/>
                        <a:pt x="61838" y="13186"/>
                        <a:pt x="61838" y="15914"/>
                      </a:cubicBezTo>
                      <a:cubicBezTo>
                        <a:pt x="63203" y="15005"/>
                        <a:pt x="63203" y="15005"/>
                        <a:pt x="68204" y="0"/>
                      </a:cubicBezTo>
                      <a:cubicBezTo>
                        <a:pt x="67750" y="1364"/>
                        <a:pt x="67295" y="2728"/>
                        <a:pt x="67295" y="4092"/>
                      </a:cubicBezTo>
                      <a:lnTo>
                        <a:pt x="0" y="212797"/>
                      </a:ln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Graphic 5">
                  <a:extLst>
                    <a:ext uri="{FF2B5EF4-FFF2-40B4-BE49-F238E27FC236}">
                      <a16:creationId xmlns:a16="http://schemas.microsoft.com/office/drawing/2014/main" id="{6D3FF92C-31FB-498E-9CAD-73ECED1D8038}"/>
                    </a:ext>
                  </a:extLst>
                </p:cNvPr>
                <p:cNvSpPr/>
                <p:nvPr/>
              </p:nvSpPr>
              <p:spPr>
                <a:xfrm>
                  <a:off x="9458460" y="5392394"/>
                  <a:ext cx="353090" cy="439968"/>
                </a:xfrm>
                <a:custGeom>
                  <a:avLst/>
                  <a:gdLst>
                    <a:gd name="connsiteX0" fmla="*/ 351783 w 353090"/>
                    <a:gd name="connsiteY0" fmla="*/ 110979 h 439968"/>
                    <a:gd name="connsiteX1" fmla="*/ 345872 w 353090"/>
                    <a:gd name="connsiteY1" fmla="*/ 122346 h 439968"/>
                    <a:gd name="connsiteX2" fmla="*/ 306314 w 353090"/>
                    <a:gd name="connsiteY2" fmla="*/ 163724 h 439968"/>
                    <a:gd name="connsiteX3" fmla="*/ 250386 w 353090"/>
                    <a:gd name="connsiteY3" fmla="*/ 253753 h 439968"/>
                    <a:gd name="connsiteX4" fmla="*/ 128983 w 353090"/>
                    <a:gd name="connsiteY4" fmla="*/ 409259 h 439968"/>
                    <a:gd name="connsiteX5" fmla="*/ 5761 w 353090"/>
                    <a:gd name="connsiteY5" fmla="*/ 416989 h 439968"/>
                    <a:gd name="connsiteX6" fmla="*/ 8944 w 353090"/>
                    <a:gd name="connsiteY6" fmla="*/ 346056 h 439968"/>
                    <a:gd name="connsiteX7" fmla="*/ 63962 w 353090"/>
                    <a:gd name="connsiteY7" fmla="*/ 262393 h 439968"/>
                    <a:gd name="connsiteX8" fmla="*/ 80785 w 353090"/>
                    <a:gd name="connsiteY8" fmla="*/ 183276 h 439968"/>
                    <a:gd name="connsiteX9" fmla="*/ 96245 w 353090"/>
                    <a:gd name="connsiteY9" fmla="*/ 168271 h 439968"/>
                    <a:gd name="connsiteX10" fmla="*/ 227197 w 353090"/>
                    <a:gd name="connsiteY10" fmla="*/ 87790 h 439968"/>
                    <a:gd name="connsiteX11" fmla="*/ 290400 w 353090"/>
                    <a:gd name="connsiteY11" fmla="*/ 12311 h 439968"/>
                    <a:gd name="connsiteX12" fmla="*/ 309951 w 353090"/>
                    <a:gd name="connsiteY12" fmla="*/ 34 h 439968"/>
                    <a:gd name="connsiteX13" fmla="*/ 351783 w 353090"/>
                    <a:gd name="connsiteY13" fmla="*/ 110979 h 43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3090" h="439968">
                      <a:moveTo>
                        <a:pt x="351783" y="110979"/>
                      </a:moveTo>
                      <a:cubicBezTo>
                        <a:pt x="351783" y="110979"/>
                        <a:pt x="349964" y="116436"/>
                        <a:pt x="345872" y="122346"/>
                      </a:cubicBezTo>
                      <a:cubicBezTo>
                        <a:pt x="334960" y="137806"/>
                        <a:pt x="316317" y="146900"/>
                        <a:pt x="306314" y="163724"/>
                      </a:cubicBezTo>
                      <a:cubicBezTo>
                        <a:pt x="258571" y="242840"/>
                        <a:pt x="258571" y="242840"/>
                        <a:pt x="250386" y="253753"/>
                      </a:cubicBezTo>
                      <a:lnTo>
                        <a:pt x="128983" y="409259"/>
                      </a:lnTo>
                      <a:cubicBezTo>
                        <a:pt x="102156" y="432903"/>
                        <a:pt x="27586" y="460639"/>
                        <a:pt x="5761" y="416989"/>
                      </a:cubicBezTo>
                      <a:cubicBezTo>
                        <a:pt x="-6061" y="393345"/>
                        <a:pt x="3033" y="364699"/>
                        <a:pt x="8944" y="346056"/>
                      </a:cubicBezTo>
                      <a:cubicBezTo>
                        <a:pt x="19402" y="313318"/>
                        <a:pt x="54868" y="296495"/>
                        <a:pt x="63962" y="262393"/>
                      </a:cubicBezTo>
                      <a:cubicBezTo>
                        <a:pt x="71237" y="236475"/>
                        <a:pt x="63052" y="206920"/>
                        <a:pt x="80785" y="183276"/>
                      </a:cubicBezTo>
                      <a:cubicBezTo>
                        <a:pt x="84423" y="177819"/>
                        <a:pt x="91243" y="172363"/>
                        <a:pt x="96245" y="168271"/>
                      </a:cubicBezTo>
                      <a:cubicBezTo>
                        <a:pt x="136713" y="135987"/>
                        <a:pt x="187638" y="120983"/>
                        <a:pt x="227197" y="87790"/>
                      </a:cubicBezTo>
                      <a:cubicBezTo>
                        <a:pt x="269938" y="51869"/>
                        <a:pt x="278577" y="40047"/>
                        <a:pt x="290400" y="12311"/>
                      </a:cubicBezTo>
                      <a:cubicBezTo>
                        <a:pt x="294037" y="3671"/>
                        <a:pt x="301767" y="1398"/>
                        <a:pt x="309951" y="34"/>
                      </a:cubicBezTo>
                      <a:cubicBezTo>
                        <a:pt x="363605" y="-2239"/>
                        <a:pt x="352238" y="109615"/>
                        <a:pt x="351783" y="110979"/>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Graphic 5">
                  <a:extLst>
                    <a:ext uri="{FF2B5EF4-FFF2-40B4-BE49-F238E27FC236}">
                      <a16:creationId xmlns:a16="http://schemas.microsoft.com/office/drawing/2014/main" id="{5B2F18A7-E1E6-48B3-B4AC-6DEF02054497}"/>
                    </a:ext>
                  </a:extLst>
                </p:cNvPr>
                <p:cNvSpPr/>
                <p:nvPr/>
              </p:nvSpPr>
              <p:spPr>
                <a:xfrm>
                  <a:off x="11557620" y="4218862"/>
                  <a:ext cx="195076" cy="497435"/>
                </a:xfrm>
                <a:custGeom>
                  <a:avLst/>
                  <a:gdLst>
                    <a:gd name="connsiteX0" fmla="*/ 113231 w 195076"/>
                    <a:gd name="connsiteY0" fmla="*/ 211887 h 497435"/>
                    <a:gd name="connsiteX1" fmla="*/ 96408 w 195076"/>
                    <a:gd name="connsiteY1" fmla="*/ 244171 h 497435"/>
                    <a:gd name="connsiteX2" fmla="*/ 95953 w 195076"/>
                    <a:gd name="connsiteY2" fmla="*/ 244625 h 497435"/>
                    <a:gd name="connsiteX3" fmla="*/ 100045 w 195076"/>
                    <a:gd name="connsiteY3" fmla="*/ 222800 h 497435"/>
                    <a:gd name="connsiteX4" fmla="*/ 110503 w 195076"/>
                    <a:gd name="connsiteY4" fmla="*/ 205976 h 497435"/>
                    <a:gd name="connsiteX5" fmla="*/ 117778 w 195076"/>
                    <a:gd name="connsiteY5" fmla="*/ 194154 h 497435"/>
                    <a:gd name="connsiteX6" fmla="*/ 113231 w 195076"/>
                    <a:gd name="connsiteY6" fmla="*/ 211887 h 497435"/>
                    <a:gd name="connsiteX7" fmla="*/ 130055 w 195076"/>
                    <a:gd name="connsiteY7" fmla="*/ 257357 h 497435"/>
                    <a:gd name="connsiteX8" fmla="*/ 145970 w 195076"/>
                    <a:gd name="connsiteY8" fmla="*/ 202339 h 497435"/>
                    <a:gd name="connsiteX9" fmla="*/ 133238 w 195076"/>
                    <a:gd name="connsiteY9" fmla="*/ 228257 h 497435"/>
                    <a:gd name="connsiteX10" fmla="*/ 195076 w 195076"/>
                    <a:gd name="connsiteY10" fmla="*/ 0 h 497435"/>
                    <a:gd name="connsiteX11" fmla="*/ 193257 w 195076"/>
                    <a:gd name="connsiteY11" fmla="*/ 1364 h 497435"/>
                    <a:gd name="connsiteX12" fmla="*/ 150061 w 195076"/>
                    <a:gd name="connsiteY12" fmla="*/ 160052 h 497435"/>
                    <a:gd name="connsiteX13" fmla="*/ 117324 w 195076"/>
                    <a:gd name="connsiteY13" fmla="*/ 230985 h 497435"/>
                    <a:gd name="connsiteX14" fmla="*/ 120506 w 195076"/>
                    <a:gd name="connsiteY14" fmla="*/ 203703 h 497435"/>
                    <a:gd name="connsiteX15" fmla="*/ 170523 w 195076"/>
                    <a:gd name="connsiteY15" fmla="*/ 47743 h 497435"/>
                    <a:gd name="connsiteX16" fmla="*/ 130055 w 195076"/>
                    <a:gd name="connsiteY16" fmla="*/ 138682 h 497435"/>
                    <a:gd name="connsiteX17" fmla="*/ 100955 w 195076"/>
                    <a:gd name="connsiteY17" fmla="*/ 188698 h 497435"/>
                    <a:gd name="connsiteX18" fmla="*/ 12 w 195076"/>
                    <a:gd name="connsiteY18" fmla="*/ 497435 h 497435"/>
                    <a:gd name="connsiteX19" fmla="*/ 30477 w 195076"/>
                    <a:gd name="connsiteY19" fmla="*/ 439234 h 497435"/>
                    <a:gd name="connsiteX20" fmla="*/ 28658 w 195076"/>
                    <a:gd name="connsiteY20" fmla="*/ 457422 h 497435"/>
                    <a:gd name="connsiteX21" fmla="*/ 31386 w 195076"/>
                    <a:gd name="connsiteY21" fmla="*/ 458332 h 497435"/>
                    <a:gd name="connsiteX22" fmla="*/ 65943 w 195076"/>
                    <a:gd name="connsiteY22" fmla="*/ 384217 h 497435"/>
                    <a:gd name="connsiteX23" fmla="*/ 93680 w 195076"/>
                    <a:gd name="connsiteY23" fmla="*/ 279182 h 497435"/>
                    <a:gd name="connsiteX24" fmla="*/ 100045 w 195076"/>
                    <a:gd name="connsiteY24" fmla="*/ 272362 h 497435"/>
                    <a:gd name="connsiteX25" fmla="*/ 100045 w 195076"/>
                    <a:gd name="connsiteY25" fmla="*/ 281456 h 497435"/>
                    <a:gd name="connsiteX26" fmla="*/ 102774 w 195076"/>
                    <a:gd name="connsiteY26" fmla="*/ 281910 h 497435"/>
                    <a:gd name="connsiteX27" fmla="*/ 129600 w 195076"/>
                    <a:gd name="connsiteY27" fmla="*/ 235986 h 497435"/>
                    <a:gd name="connsiteX28" fmla="*/ 94589 w 195076"/>
                    <a:gd name="connsiteY28" fmla="*/ 329198 h 497435"/>
                    <a:gd name="connsiteX29" fmla="*/ 120052 w 195076"/>
                    <a:gd name="connsiteY29" fmla="*/ 278727 h 497435"/>
                    <a:gd name="connsiteX30" fmla="*/ 120052 w 195076"/>
                    <a:gd name="connsiteY30" fmla="*/ 283729 h 497435"/>
                    <a:gd name="connsiteX31" fmla="*/ 130055 w 195076"/>
                    <a:gd name="connsiteY31" fmla="*/ 257357 h 4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5076" h="497435">
                      <a:moveTo>
                        <a:pt x="113231" y="211887"/>
                      </a:moveTo>
                      <a:cubicBezTo>
                        <a:pt x="98681" y="240988"/>
                        <a:pt x="96862" y="243716"/>
                        <a:pt x="96408" y="244171"/>
                      </a:cubicBezTo>
                      <a:cubicBezTo>
                        <a:pt x="96408" y="244171"/>
                        <a:pt x="95953" y="244171"/>
                        <a:pt x="95953" y="244625"/>
                      </a:cubicBezTo>
                      <a:cubicBezTo>
                        <a:pt x="93225" y="243261"/>
                        <a:pt x="97772" y="228711"/>
                        <a:pt x="100045" y="222800"/>
                      </a:cubicBezTo>
                      <a:cubicBezTo>
                        <a:pt x="100500" y="221891"/>
                        <a:pt x="100955" y="220981"/>
                        <a:pt x="110503" y="205976"/>
                      </a:cubicBezTo>
                      <a:cubicBezTo>
                        <a:pt x="112777" y="201884"/>
                        <a:pt x="115505" y="198247"/>
                        <a:pt x="117778" y="194154"/>
                      </a:cubicBezTo>
                      <a:cubicBezTo>
                        <a:pt x="114141" y="209614"/>
                        <a:pt x="114141" y="209614"/>
                        <a:pt x="113231" y="211887"/>
                      </a:cubicBezTo>
                      <a:moveTo>
                        <a:pt x="130055" y="257357"/>
                      </a:moveTo>
                      <a:cubicBezTo>
                        <a:pt x="139149" y="230075"/>
                        <a:pt x="141423" y="221436"/>
                        <a:pt x="145970" y="202339"/>
                      </a:cubicBezTo>
                      <a:cubicBezTo>
                        <a:pt x="141423" y="211887"/>
                        <a:pt x="138694" y="218253"/>
                        <a:pt x="133238" y="228257"/>
                      </a:cubicBezTo>
                      <a:cubicBezTo>
                        <a:pt x="190529" y="49107"/>
                        <a:pt x="194622" y="6820"/>
                        <a:pt x="195076" y="0"/>
                      </a:cubicBezTo>
                      <a:cubicBezTo>
                        <a:pt x="194622" y="455"/>
                        <a:pt x="193713" y="909"/>
                        <a:pt x="193257" y="1364"/>
                      </a:cubicBezTo>
                      <a:cubicBezTo>
                        <a:pt x="186892" y="16369"/>
                        <a:pt x="160974" y="100942"/>
                        <a:pt x="150061" y="160052"/>
                      </a:cubicBezTo>
                      <a:cubicBezTo>
                        <a:pt x="140968" y="208704"/>
                        <a:pt x="124144" y="228711"/>
                        <a:pt x="117324" y="230985"/>
                      </a:cubicBezTo>
                      <a:cubicBezTo>
                        <a:pt x="113686" y="218253"/>
                        <a:pt x="117324" y="210069"/>
                        <a:pt x="120506" y="203703"/>
                      </a:cubicBezTo>
                      <a:cubicBezTo>
                        <a:pt x="139604" y="163235"/>
                        <a:pt x="160974" y="117766"/>
                        <a:pt x="170523" y="47743"/>
                      </a:cubicBezTo>
                      <a:cubicBezTo>
                        <a:pt x="134147" y="138227"/>
                        <a:pt x="134147" y="138227"/>
                        <a:pt x="130055" y="138682"/>
                      </a:cubicBezTo>
                      <a:cubicBezTo>
                        <a:pt x="125508" y="138682"/>
                        <a:pt x="119597" y="139136"/>
                        <a:pt x="100955" y="188698"/>
                      </a:cubicBezTo>
                      <a:cubicBezTo>
                        <a:pt x="48665" y="326925"/>
                        <a:pt x="-897" y="496071"/>
                        <a:pt x="12" y="497435"/>
                      </a:cubicBezTo>
                      <a:cubicBezTo>
                        <a:pt x="5924" y="495162"/>
                        <a:pt x="5924" y="495162"/>
                        <a:pt x="30477" y="439234"/>
                      </a:cubicBezTo>
                      <a:cubicBezTo>
                        <a:pt x="28658" y="454239"/>
                        <a:pt x="28658" y="454239"/>
                        <a:pt x="28658" y="457422"/>
                      </a:cubicBezTo>
                      <a:cubicBezTo>
                        <a:pt x="29567" y="457877"/>
                        <a:pt x="30477" y="457877"/>
                        <a:pt x="31386" y="458332"/>
                      </a:cubicBezTo>
                      <a:cubicBezTo>
                        <a:pt x="46846" y="446964"/>
                        <a:pt x="63670" y="390582"/>
                        <a:pt x="65943" y="384217"/>
                      </a:cubicBezTo>
                      <a:cubicBezTo>
                        <a:pt x="75947" y="349660"/>
                        <a:pt x="80948" y="313284"/>
                        <a:pt x="93680" y="279182"/>
                      </a:cubicBezTo>
                      <a:cubicBezTo>
                        <a:pt x="95044" y="275545"/>
                        <a:pt x="95044" y="275545"/>
                        <a:pt x="100045" y="272362"/>
                      </a:cubicBezTo>
                      <a:cubicBezTo>
                        <a:pt x="100045" y="275090"/>
                        <a:pt x="100045" y="278727"/>
                        <a:pt x="100045" y="281456"/>
                      </a:cubicBezTo>
                      <a:cubicBezTo>
                        <a:pt x="100955" y="281456"/>
                        <a:pt x="101864" y="281456"/>
                        <a:pt x="102774" y="281910"/>
                      </a:cubicBezTo>
                      <a:cubicBezTo>
                        <a:pt x="107775" y="275545"/>
                        <a:pt x="127327" y="240078"/>
                        <a:pt x="129600" y="235986"/>
                      </a:cubicBezTo>
                      <a:cubicBezTo>
                        <a:pt x="120052" y="267815"/>
                        <a:pt x="101864" y="296461"/>
                        <a:pt x="94589" y="329198"/>
                      </a:cubicBezTo>
                      <a:cubicBezTo>
                        <a:pt x="110049" y="316012"/>
                        <a:pt x="110958" y="295551"/>
                        <a:pt x="120052" y="278727"/>
                      </a:cubicBezTo>
                      <a:cubicBezTo>
                        <a:pt x="120506" y="280091"/>
                        <a:pt x="120052" y="282365"/>
                        <a:pt x="120052" y="283729"/>
                      </a:cubicBezTo>
                      <a:cubicBezTo>
                        <a:pt x="123235" y="278727"/>
                        <a:pt x="124599" y="274635"/>
                        <a:pt x="130055" y="257357"/>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Graphic 5">
                  <a:extLst>
                    <a:ext uri="{FF2B5EF4-FFF2-40B4-BE49-F238E27FC236}">
                      <a16:creationId xmlns:a16="http://schemas.microsoft.com/office/drawing/2014/main" id="{A3F6887B-1ACE-4232-B101-C5D0AAF54519}"/>
                    </a:ext>
                  </a:extLst>
                </p:cNvPr>
                <p:cNvSpPr/>
                <p:nvPr/>
              </p:nvSpPr>
              <p:spPr>
                <a:xfrm>
                  <a:off x="8505374" y="1256075"/>
                  <a:ext cx="229877" cy="241554"/>
                </a:xfrm>
                <a:custGeom>
                  <a:avLst/>
                  <a:gdLst>
                    <a:gd name="connsiteX0" fmla="*/ 229517 w 229877"/>
                    <a:gd name="connsiteY0" fmla="*/ 65021 h 241554"/>
                    <a:gd name="connsiteX1" fmla="*/ 150854 w 229877"/>
                    <a:gd name="connsiteY1" fmla="*/ 115492 h 241554"/>
                    <a:gd name="connsiteX2" fmla="*/ 185866 w 229877"/>
                    <a:gd name="connsiteY2" fmla="*/ 182332 h 241554"/>
                    <a:gd name="connsiteX3" fmla="*/ 139487 w 229877"/>
                    <a:gd name="connsiteY3" fmla="*/ 208250 h 241554"/>
                    <a:gd name="connsiteX4" fmla="*/ 124937 w 229877"/>
                    <a:gd name="connsiteY4" fmla="*/ 155051 h 241554"/>
                    <a:gd name="connsiteX5" fmla="*/ 119026 w 229877"/>
                    <a:gd name="connsiteY5" fmla="*/ 154596 h 241554"/>
                    <a:gd name="connsiteX6" fmla="*/ 61280 w 229877"/>
                    <a:gd name="connsiteY6" fmla="*/ 241443 h 241554"/>
                    <a:gd name="connsiteX7" fmla="*/ 6716 w 229877"/>
                    <a:gd name="connsiteY7" fmla="*/ 178240 h 241554"/>
                    <a:gd name="connsiteX8" fmla="*/ 5807 w 229877"/>
                    <a:gd name="connsiteY8" fmla="*/ 150049 h 241554"/>
                    <a:gd name="connsiteX9" fmla="*/ 4898 w 229877"/>
                    <a:gd name="connsiteY9" fmla="*/ 105489 h 241554"/>
                    <a:gd name="connsiteX10" fmla="*/ 51276 w 229877"/>
                    <a:gd name="connsiteY10" fmla="*/ 72751 h 241554"/>
                    <a:gd name="connsiteX11" fmla="*/ 145853 w 229877"/>
                    <a:gd name="connsiteY11" fmla="*/ 0 h 241554"/>
                    <a:gd name="connsiteX12" fmla="*/ 173589 w 229877"/>
                    <a:gd name="connsiteY12" fmla="*/ 31829 h 241554"/>
                    <a:gd name="connsiteX13" fmla="*/ 206782 w 229877"/>
                    <a:gd name="connsiteY13" fmla="*/ 28646 h 241554"/>
                    <a:gd name="connsiteX14" fmla="*/ 229517 w 229877"/>
                    <a:gd name="connsiteY14" fmla="*/ 65021 h 24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9877" h="241554">
                      <a:moveTo>
                        <a:pt x="229517" y="65021"/>
                      </a:moveTo>
                      <a:cubicBezTo>
                        <a:pt x="222696" y="89575"/>
                        <a:pt x="222696" y="89575"/>
                        <a:pt x="150854" y="115492"/>
                      </a:cubicBezTo>
                      <a:cubicBezTo>
                        <a:pt x="187230" y="172784"/>
                        <a:pt x="187230" y="172784"/>
                        <a:pt x="185866" y="182332"/>
                      </a:cubicBezTo>
                      <a:cubicBezTo>
                        <a:pt x="184502" y="193700"/>
                        <a:pt x="152219" y="211887"/>
                        <a:pt x="139487" y="208250"/>
                      </a:cubicBezTo>
                      <a:cubicBezTo>
                        <a:pt x="129938" y="205522"/>
                        <a:pt x="129938" y="205522"/>
                        <a:pt x="124937" y="155051"/>
                      </a:cubicBezTo>
                      <a:cubicBezTo>
                        <a:pt x="123118" y="155051"/>
                        <a:pt x="120845" y="154596"/>
                        <a:pt x="119026" y="154596"/>
                      </a:cubicBezTo>
                      <a:cubicBezTo>
                        <a:pt x="68555" y="240078"/>
                        <a:pt x="68555" y="240078"/>
                        <a:pt x="61280" y="241443"/>
                      </a:cubicBezTo>
                      <a:cubicBezTo>
                        <a:pt x="45365" y="244625"/>
                        <a:pt x="6716" y="178695"/>
                        <a:pt x="6716" y="178240"/>
                      </a:cubicBezTo>
                      <a:cubicBezTo>
                        <a:pt x="3988" y="169146"/>
                        <a:pt x="8990" y="159598"/>
                        <a:pt x="5807" y="150049"/>
                      </a:cubicBezTo>
                      <a:cubicBezTo>
                        <a:pt x="-559" y="131407"/>
                        <a:pt x="-2832" y="123677"/>
                        <a:pt x="4898" y="105489"/>
                      </a:cubicBezTo>
                      <a:cubicBezTo>
                        <a:pt x="7171" y="100033"/>
                        <a:pt x="28087" y="65021"/>
                        <a:pt x="51276" y="72751"/>
                      </a:cubicBezTo>
                      <a:cubicBezTo>
                        <a:pt x="83105" y="82754"/>
                        <a:pt x="101293" y="58656"/>
                        <a:pt x="145853" y="0"/>
                      </a:cubicBezTo>
                      <a:cubicBezTo>
                        <a:pt x="150854" y="39558"/>
                        <a:pt x="153583" y="38649"/>
                        <a:pt x="173589" y="31829"/>
                      </a:cubicBezTo>
                      <a:cubicBezTo>
                        <a:pt x="188139" y="27282"/>
                        <a:pt x="198597" y="23644"/>
                        <a:pt x="206782" y="28646"/>
                      </a:cubicBezTo>
                      <a:cubicBezTo>
                        <a:pt x="208146" y="29555"/>
                        <a:pt x="233154" y="52744"/>
                        <a:pt x="229517" y="65021"/>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Graphic 5">
                  <a:extLst>
                    <a:ext uri="{FF2B5EF4-FFF2-40B4-BE49-F238E27FC236}">
                      <a16:creationId xmlns:a16="http://schemas.microsoft.com/office/drawing/2014/main" id="{9F234599-3B20-4ED7-B458-35FA102470DC}"/>
                    </a:ext>
                  </a:extLst>
                </p:cNvPr>
                <p:cNvSpPr/>
                <p:nvPr/>
              </p:nvSpPr>
              <p:spPr>
                <a:xfrm>
                  <a:off x="7653584" y="1945822"/>
                  <a:ext cx="233150" cy="210363"/>
                </a:xfrm>
                <a:custGeom>
                  <a:avLst/>
                  <a:gdLst>
                    <a:gd name="connsiteX0" fmla="*/ 221480 w 233150"/>
                    <a:gd name="connsiteY0" fmla="*/ 130976 h 210363"/>
                    <a:gd name="connsiteX1" fmla="*/ 177829 w 233150"/>
                    <a:gd name="connsiteY1" fmla="*/ 179173 h 210363"/>
                    <a:gd name="connsiteX2" fmla="*/ 69612 w 233150"/>
                    <a:gd name="connsiteY2" fmla="*/ 210093 h 210363"/>
                    <a:gd name="connsiteX3" fmla="*/ 50515 w 233150"/>
                    <a:gd name="connsiteY3" fmla="*/ 204636 h 210363"/>
                    <a:gd name="connsiteX4" fmla="*/ 21414 w 233150"/>
                    <a:gd name="connsiteY4" fmla="*/ 171444 h 210363"/>
                    <a:gd name="connsiteX5" fmla="*/ 5045 w 233150"/>
                    <a:gd name="connsiteY5" fmla="*/ 159167 h 210363"/>
                    <a:gd name="connsiteX6" fmla="*/ 44 w 233150"/>
                    <a:gd name="connsiteY6" fmla="*/ 64136 h 210363"/>
                    <a:gd name="connsiteX7" fmla="*/ 81434 w 233150"/>
                    <a:gd name="connsiteY7" fmla="*/ 24 h 210363"/>
                    <a:gd name="connsiteX8" fmla="*/ 89618 w 233150"/>
                    <a:gd name="connsiteY8" fmla="*/ 17757 h 210363"/>
                    <a:gd name="connsiteX9" fmla="*/ 94165 w 233150"/>
                    <a:gd name="connsiteY9" fmla="*/ 26396 h 210363"/>
                    <a:gd name="connsiteX10" fmla="*/ 192834 w 233150"/>
                    <a:gd name="connsiteY10" fmla="*/ 22304 h 210363"/>
                    <a:gd name="connsiteX11" fmla="*/ 219661 w 233150"/>
                    <a:gd name="connsiteY11" fmla="*/ 18212 h 210363"/>
                    <a:gd name="connsiteX12" fmla="*/ 221480 w 233150"/>
                    <a:gd name="connsiteY12" fmla="*/ 130976 h 21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150" h="210363">
                      <a:moveTo>
                        <a:pt x="221480" y="130976"/>
                      </a:moveTo>
                      <a:cubicBezTo>
                        <a:pt x="206930" y="162804"/>
                        <a:pt x="182376" y="176900"/>
                        <a:pt x="177829" y="179173"/>
                      </a:cubicBezTo>
                      <a:cubicBezTo>
                        <a:pt x="155095" y="190995"/>
                        <a:pt x="70067" y="210093"/>
                        <a:pt x="69612" y="210093"/>
                      </a:cubicBezTo>
                      <a:cubicBezTo>
                        <a:pt x="59154" y="211457"/>
                        <a:pt x="53698" y="207364"/>
                        <a:pt x="50515" y="204636"/>
                      </a:cubicBezTo>
                      <a:cubicBezTo>
                        <a:pt x="38693" y="195542"/>
                        <a:pt x="33236" y="180537"/>
                        <a:pt x="21414" y="171444"/>
                      </a:cubicBezTo>
                      <a:cubicBezTo>
                        <a:pt x="15958" y="166897"/>
                        <a:pt x="8228" y="165987"/>
                        <a:pt x="5045" y="159167"/>
                      </a:cubicBezTo>
                      <a:cubicBezTo>
                        <a:pt x="2772" y="154620"/>
                        <a:pt x="-411" y="64590"/>
                        <a:pt x="44" y="64136"/>
                      </a:cubicBezTo>
                      <a:cubicBezTo>
                        <a:pt x="32327" y="-3159"/>
                        <a:pt x="80979" y="24"/>
                        <a:pt x="81434" y="24"/>
                      </a:cubicBezTo>
                      <a:cubicBezTo>
                        <a:pt x="88254" y="2752"/>
                        <a:pt x="89164" y="11846"/>
                        <a:pt x="89618" y="17757"/>
                      </a:cubicBezTo>
                      <a:cubicBezTo>
                        <a:pt x="90073" y="22758"/>
                        <a:pt x="92347" y="25941"/>
                        <a:pt x="94165" y="26396"/>
                      </a:cubicBezTo>
                      <a:cubicBezTo>
                        <a:pt x="94620" y="26396"/>
                        <a:pt x="154185" y="30488"/>
                        <a:pt x="192834" y="22304"/>
                      </a:cubicBezTo>
                      <a:cubicBezTo>
                        <a:pt x="203747" y="20030"/>
                        <a:pt x="214659" y="17757"/>
                        <a:pt x="219661" y="18212"/>
                      </a:cubicBezTo>
                      <a:cubicBezTo>
                        <a:pt x="246033" y="23213"/>
                        <a:pt x="226481" y="120063"/>
                        <a:pt x="221480" y="130976"/>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Graphic 5">
                  <a:extLst>
                    <a:ext uri="{FF2B5EF4-FFF2-40B4-BE49-F238E27FC236}">
                      <a16:creationId xmlns:a16="http://schemas.microsoft.com/office/drawing/2014/main" id="{C97CB246-10FD-4783-B26A-910D07A5936F}"/>
                    </a:ext>
                  </a:extLst>
                </p:cNvPr>
                <p:cNvSpPr/>
                <p:nvPr/>
              </p:nvSpPr>
              <p:spPr>
                <a:xfrm>
                  <a:off x="5833462" y="3351922"/>
                  <a:ext cx="151562" cy="399968"/>
                </a:xfrm>
                <a:custGeom>
                  <a:avLst/>
                  <a:gdLst>
                    <a:gd name="connsiteX0" fmla="*/ 150529 w 151562"/>
                    <a:gd name="connsiteY0" fmla="*/ 396331 h 399968"/>
                    <a:gd name="connsiteX1" fmla="*/ 140071 w 151562"/>
                    <a:gd name="connsiteY1" fmla="*/ 399969 h 399968"/>
                    <a:gd name="connsiteX2" fmla="*/ 123247 w 151562"/>
                    <a:gd name="connsiteY2" fmla="*/ 380872 h 399968"/>
                    <a:gd name="connsiteX3" fmla="*/ 106878 w 151562"/>
                    <a:gd name="connsiteY3" fmla="*/ 395422 h 399968"/>
                    <a:gd name="connsiteX4" fmla="*/ 88690 w 151562"/>
                    <a:gd name="connsiteY4" fmla="*/ 372687 h 399968"/>
                    <a:gd name="connsiteX5" fmla="*/ 74140 w 151562"/>
                    <a:gd name="connsiteY5" fmla="*/ 349498 h 399968"/>
                    <a:gd name="connsiteX6" fmla="*/ 78232 w 151562"/>
                    <a:gd name="connsiteY6" fmla="*/ 302664 h 399968"/>
                    <a:gd name="connsiteX7" fmla="*/ 85962 w 151562"/>
                    <a:gd name="connsiteY7" fmla="*/ 267198 h 399968"/>
                    <a:gd name="connsiteX8" fmla="*/ 43676 w 151562"/>
                    <a:gd name="connsiteY8" fmla="*/ 198539 h 399968"/>
                    <a:gd name="connsiteX9" fmla="*/ 17303 w 151562"/>
                    <a:gd name="connsiteY9" fmla="*/ 78955 h 399968"/>
                    <a:gd name="connsiteX10" fmla="*/ 9574 w 151562"/>
                    <a:gd name="connsiteY10" fmla="*/ 90777 h 399968"/>
                    <a:gd name="connsiteX11" fmla="*/ 16849 w 151562"/>
                    <a:gd name="connsiteY11" fmla="*/ 293 h 399968"/>
                    <a:gd name="connsiteX12" fmla="*/ 26852 w 151562"/>
                    <a:gd name="connsiteY12" fmla="*/ 8477 h 399968"/>
                    <a:gd name="connsiteX13" fmla="*/ 55498 w 151562"/>
                    <a:gd name="connsiteY13" fmla="*/ 126698 h 399968"/>
                    <a:gd name="connsiteX14" fmla="*/ 82779 w 151562"/>
                    <a:gd name="connsiteY14" fmla="*/ 219455 h 399968"/>
                    <a:gd name="connsiteX15" fmla="*/ 107333 w 151562"/>
                    <a:gd name="connsiteY15" fmla="*/ 163528 h 399968"/>
                    <a:gd name="connsiteX16" fmla="*/ 109152 w 151562"/>
                    <a:gd name="connsiteY16" fmla="*/ 163528 h 399968"/>
                    <a:gd name="connsiteX17" fmla="*/ 108697 w 151562"/>
                    <a:gd name="connsiteY17" fmla="*/ 201267 h 399968"/>
                    <a:gd name="connsiteX18" fmla="*/ 99603 w 151562"/>
                    <a:gd name="connsiteY18" fmla="*/ 190810 h 399968"/>
                    <a:gd name="connsiteX19" fmla="*/ 114608 w 151562"/>
                    <a:gd name="connsiteY19" fmla="*/ 269472 h 399968"/>
                    <a:gd name="connsiteX20" fmla="*/ 126885 w 151562"/>
                    <a:gd name="connsiteY20" fmla="*/ 285841 h 399968"/>
                    <a:gd name="connsiteX21" fmla="*/ 151438 w 151562"/>
                    <a:gd name="connsiteY21" fmla="*/ 395877 h 399968"/>
                    <a:gd name="connsiteX22" fmla="*/ 150529 w 151562"/>
                    <a:gd name="connsiteY22" fmla="*/ 396331 h 39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1562" h="399968">
                      <a:moveTo>
                        <a:pt x="150529" y="396331"/>
                      </a:moveTo>
                      <a:cubicBezTo>
                        <a:pt x="146891" y="397241"/>
                        <a:pt x="144163" y="399969"/>
                        <a:pt x="140071" y="399969"/>
                      </a:cubicBezTo>
                      <a:cubicBezTo>
                        <a:pt x="127794" y="399514"/>
                        <a:pt x="131886" y="384509"/>
                        <a:pt x="123247" y="380872"/>
                      </a:cubicBezTo>
                      <a:cubicBezTo>
                        <a:pt x="113699" y="376780"/>
                        <a:pt x="116427" y="399514"/>
                        <a:pt x="106878" y="395422"/>
                      </a:cubicBezTo>
                      <a:cubicBezTo>
                        <a:pt x="101422" y="376325"/>
                        <a:pt x="98694" y="373142"/>
                        <a:pt x="88690" y="372687"/>
                      </a:cubicBezTo>
                      <a:cubicBezTo>
                        <a:pt x="84598" y="372687"/>
                        <a:pt x="77778" y="372233"/>
                        <a:pt x="74140" y="349498"/>
                      </a:cubicBezTo>
                      <a:cubicBezTo>
                        <a:pt x="66865" y="305847"/>
                        <a:pt x="74140" y="303574"/>
                        <a:pt x="78232" y="302664"/>
                      </a:cubicBezTo>
                      <a:cubicBezTo>
                        <a:pt x="86417" y="300391"/>
                        <a:pt x="86417" y="300391"/>
                        <a:pt x="85962" y="267198"/>
                      </a:cubicBezTo>
                      <a:cubicBezTo>
                        <a:pt x="50496" y="234915"/>
                        <a:pt x="50496" y="234915"/>
                        <a:pt x="43676" y="198539"/>
                      </a:cubicBezTo>
                      <a:cubicBezTo>
                        <a:pt x="22305" y="83502"/>
                        <a:pt x="22305" y="83502"/>
                        <a:pt x="17303" y="78955"/>
                      </a:cubicBezTo>
                      <a:cubicBezTo>
                        <a:pt x="12757" y="81683"/>
                        <a:pt x="14121" y="88049"/>
                        <a:pt x="9574" y="90777"/>
                      </a:cubicBezTo>
                      <a:cubicBezTo>
                        <a:pt x="4572" y="79864"/>
                        <a:pt x="-12706" y="-5618"/>
                        <a:pt x="16849" y="293"/>
                      </a:cubicBezTo>
                      <a:cubicBezTo>
                        <a:pt x="20941" y="1202"/>
                        <a:pt x="24124" y="5294"/>
                        <a:pt x="26852" y="8477"/>
                      </a:cubicBezTo>
                      <a:cubicBezTo>
                        <a:pt x="28671" y="11660"/>
                        <a:pt x="28671" y="11660"/>
                        <a:pt x="55498" y="126698"/>
                      </a:cubicBezTo>
                      <a:cubicBezTo>
                        <a:pt x="70503" y="190810"/>
                        <a:pt x="75050" y="202177"/>
                        <a:pt x="82779" y="219455"/>
                      </a:cubicBezTo>
                      <a:cubicBezTo>
                        <a:pt x="81870" y="204905"/>
                        <a:pt x="81415" y="200358"/>
                        <a:pt x="107333" y="163528"/>
                      </a:cubicBezTo>
                      <a:cubicBezTo>
                        <a:pt x="107788" y="163528"/>
                        <a:pt x="108697" y="163528"/>
                        <a:pt x="109152" y="163528"/>
                      </a:cubicBezTo>
                      <a:cubicBezTo>
                        <a:pt x="119610" y="176259"/>
                        <a:pt x="119155" y="203996"/>
                        <a:pt x="108697" y="201267"/>
                      </a:cubicBezTo>
                      <a:cubicBezTo>
                        <a:pt x="106424" y="200813"/>
                        <a:pt x="106424" y="200813"/>
                        <a:pt x="99603" y="190810"/>
                      </a:cubicBezTo>
                      <a:cubicBezTo>
                        <a:pt x="94147" y="252648"/>
                        <a:pt x="95966" y="264015"/>
                        <a:pt x="114608" y="269472"/>
                      </a:cubicBezTo>
                      <a:cubicBezTo>
                        <a:pt x="120974" y="271290"/>
                        <a:pt x="124157" y="275837"/>
                        <a:pt x="126885" y="285841"/>
                      </a:cubicBezTo>
                      <a:cubicBezTo>
                        <a:pt x="143708" y="349498"/>
                        <a:pt x="143708" y="349498"/>
                        <a:pt x="151438" y="395877"/>
                      </a:cubicBezTo>
                      <a:cubicBezTo>
                        <a:pt x="151893" y="395877"/>
                        <a:pt x="150984" y="396331"/>
                        <a:pt x="150529" y="396331"/>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Graphic 5">
                  <a:extLst>
                    <a:ext uri="{FF2B5EF4-FFF2-40B4-BE49-F238E27FC236}">
                      <a16:creationId xmlns:a16="http://schemas.microsoft.com/office/drawing/2014/main" id="{BAE29FE7-BBD0-4299-B71D-DE9C111F186D}"/>
                    </a:ext>
                  </a:extLst>
                </p:cNvPr>
                <p:cNvSpPr/>
                <p:nvPr/>
              </p:nvSpPr>
              <p:spPr>
                <a:xfrm>
                  <a:off x="9586533" y="808201"/>
                  <a:ext cx="165053" cy="128079"/>
                </a:xfrm>
                <a:custGeom>
                  <a:avLst/>
                  <a:gdLst>
                    <a:gd name="connsiteX0" fmla="*/ 42741 w 165053"/>
                    <a:gd name="connsiteY0" fmla="*/ 7275 h 128079"/>
                    <a:gd name="connsiteX1" fmla="*/ 95940 w 165053"/>
                    <a:gd name="connsiteY1" fmla="*/ 44560 h 128079"/>
                    <a:gd name="connsiteX2" fmla="*/ 63202 w 165053"/>
                    <a:gd name="connsiteY2" fmla="*/ 41377 h 128079"/>
                    <a:gd name="connsiteX3" fmla="*/ 100942 w 165053"/>
                    <a:gd name="connsiteY3" fmla="*/ 69114 h 128079"/>
                    <a:gd name="connsiteX4" fmla="*/ 133225 w 165053"/>
                    <a:gd name="connsiteY4" fmla="*/ 100033 h 128079"/>
                    <a:gd name="connsiteX5" fmla="*/ 162326 w 165053"/>
                    <a:gd name="connsiteY5" fmla="*/ 122767 h 128079"/>
                    <a:gd name="connsiteX6" fmla="*/ 165054 w 165053"/>
                    <a:gd name="connsiteY6" fmla="*/ 127769 h 128079"/>
                    <a:gd name="connsiteX7" fmla="*/ 80026 w 165053"/>
                    <a:gd name="connsiteY7" fmla="*/ 106398 h 128079"/>
                    <a:gd name="connsiteX8" fmla="*/ 24099 w 165053"/>
                    <a:gd name="connsiteY8" fmla="*/ 65476 h 128079"/>
                    <a:gd name="connsiteX9" fmla="*/ 4092 w 165053"/>
                    <a:gd name="connsiteY9" fmla="*/ 34102 h 128079"/>
                    <a:gd name="connsiteX10" fmla="*/ 7730 w 165053"/>
                    <a:gd name="connsiteY10" fmla="*/ 33193 h 128079"/>
                    <a:gd name="connsiteX11" fmla="*/ 8184 w 165053"/>
                    <a:gd name="connsiteY11" fmla="*/ 32283 h 128079"/>
                    <a:gd name="connsiteX12" fmla="*/ 0 w 165053"/>
                    <a:gd name="connsiteY12" fmla="*/ 22735 h 128079"/>
                    <a:gd name="connsiteX13" fmla="*/ 909 w 165053"/>
                    <a:gd name="connsiteY13" fmla="*/ 21371 h 128079"/>
                    <a:gd name="connsiteX14" fmla="*/ 28646 w 165053"/>
                    <a:gd name="connsiteY14" fmla="*/ 28191 h 128079"/>
                    <a:gd name="connsiteX15" fmla="*/ 31829 w 165053"/>
                    <a:gd name="connsiteY15" fmla="*/ 28191 h 128079"/>
                    <a:gd name="connsiteX16" fmla="*/ 22280 w 165053"/>
                    <a:gd name="connsiteY16" fmla="*/ 19552 h 128079"/>
                    <a:gd name="connsiteX17" fmla="*/ 16369 w 165053"/>
                    <a:gd name="connsiteY17" fmla="*/ 11822 h 128079"/>
                    <a:gd name="connsiteX18" fmla="*/ 20006 w 165053"/>
                    <a:gd name="connsiteY18" fmla="*/ 5911 h 128079"/>
                    <a:gd name="connsiteX19" fmla="*/ 18642 w 165053"/>
                    <a:gd name="connsiteY19" fmla="*/ 0 h 128079"/>
                    <a:gd name="connsiteX20" fmla="*/ 42741 w 165053"/>
                    <a:gd name="connsiteY20" fmla="*/ 7275 h 12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5053" h="128079">
                      <a:moveTo>
                        <a:pt x="42741" y="7275"/>
                      </a:moveTo>
                      <a:cubicBezTo>
                        <a:pt x="75479" y="25463"/>
                        <a:pt x="94576" y="37285"/>
                        <a:pt x="95940" y="44560"/>
                      </a:cubicBezTo>
                      <a:cubicBezTo>
                        <a:pt x="93212" y="47743"/>
                        <a:pt x="92757" y="47743"/>
                        <a:pt x="63202" y="41377"/>
                      </a:cubicBezTo>
                      <a:cubicBezTo>
                        <a:pt x="83209" y="55473"/>
                        <a:pt x="93212" y="62748"/>
                        <a:pt x="100942" y="69114"/>
                      </a:cubicBezTo>
                      <a:cubicBezTo>
                        <a:pt x="112310" y="78662"/>
                        <a:pt x="121858" y="90029"/>
                        <a:pt x="133225" y="100033"/>
                      </a:cubicBezTo>
                      <a:cubicBezTo>
                        <a:pt x="142319" y="108217"/>
                        <a:pt x="153232" y="114583"/>
                        <a:pt x="162326" y="122767"/>
                      </a:cubicBezTo>
                      <a:cubicBezTo>
                        <a:pt x="165054" y="125496"/>
                        <a:pt x="165054" y="126405"/>
                        <a:pt x="165054" y="127769"/>
                      </a:cubicBezTo>
                      <a:cubicBezTo>
                        <a:pt x="159598" y="130952"/>
                        <a:pt x="83664" y="108672"/>
                        <a:pt x="80026" y="106398"/>
                      </a:cubicBezTo>
                      <a:lnTo>
                        <a:pt x="24099" y="65476"/>
                      </a:lnTo>
                      <a:cubicBezTo>
                        <a:pt x="24099" y="65476"/>
                        <a:pt x="3637" y="35921"/>
                        <a:pt x="4092" y="34102"/>
                      </a:cubicBezTo>
                      <a:cubicBezTo>
                        <a:pt x="5456" y="33647"/>
                        <a:pt x="6820" y="33647"/>
                        <a:pt x="7730" y="33193"/>
                      </a:cubicBezTo>
                      <a:cubicBezTo>
                        <a:pt x="7730" y="32738"/>
                        <a:pt x="8184" y="32738"/>
                        <a:pt x="8184" y="32283"/>
                      </a:cubicBezTo>
                      <a:cubicBezTo>
                        <a:pt x="5456" y="29100"/>
                        <a:pt x="1364" y="27282"/>
                        <a:pt x="0" y="22735"/>
                      </a:cubicBezTo>
                      <a:cubicBezTo>
                        <a:pt x="0" y="22280"/>
                        <a:pt x="455" y="21825"/>
                        <a:pt x="909" y="21371"/>
                      </a:cubicBezTo>
                      <a:cubicBezTo>
                        <a:pt x="4547" y="20461"/>
                        <a:pt x="11367" y="21825"/>
                        <a:pt x="28646" y="28191"/>
                      </a:cubicBezTo>
                      <a:cubicBezTo>
                        <a:pt x="30465" y="28646"/>
                        <a:pt x="30465" y="28646"/>
                        <a:pt x="31829" y="28191"/>
                      </a:cubicBezTo>
                      <a:cubicBezTo>
                        <a:pt x="31829" y="26827"/>
                        <a:pt x="31829" y="26827"/>
                        <a:pt x="22280" y="19552"/>
                      </a:cubicBezTo>
                      <a:cubicBezTo>
                        <a:pt x="20006" y="17733"/>
                        <a:pt x="16824" y="14550"/>
                        <a:pt x="16369" y="11822"/>
                      </a:cubicBezTo>
                      <a:cubicBezTo>
                        <a:pt x="15914" y="8639"/>
                        <a:pt x="19552" y="8185"/>
                        <a:pt x="20006" y="5911"/>
                      </a:cubicBezTo>
                      <a:cubicBezTo>
                        <a:pt x="20461" y="3638"/>
                        <a:pt x="19097" y="1819"/>
                        <a:pt x="18642" y="0"/>
                      </a:cubicBezTo>
                      <a:cubicBezTo>
                        <a:pt x="18188" y="909"/>
                        <a:pt x="35012" y="3183"/>
                        <a:pt x="42741" y="727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Graphic 5">
                  <a:extLst>
                    <a:ext uri="{FF2B5EF4-FFF2-40B4-BE49-F238E27FC236}">
                      <a16:creationId xmlns:a16="http://schemas.microsoft.com/office/drawing/2014/main" id="{517012A8-4F72-44EE-8F2A-71CF988A382F}"/>
                    </a:ext>
                  </a:extLst>
                </p:cNvPr>
                <p:cNvSpPr/>
                <p:nvPr/>
              </p:nvSpPr>
              <p:spPr>
                <a:xfrm>
                  <a:off x="8957845" y="1115575"/>
                  <a:ext cx="195006" cy="160035"/>
                </a:xfrm>
                <a:custGeom>
                  <a:avLst/>
                  <a:gdLst>
                    <a:gd name="connsiteX0" fmla="*/ 194910 w 195006"/>
                    <a:gd name="connsiteY0" fmla="*/ 49107 h 160035"/>
                    <a:gd name="connsiteX1" fmla="*/ 166719 w 195006"/>
                    <a:gd name="connsiteY1" fmla="*/ 99578 h 160035"/>
                    <a:gd name="connsiteX2" fmla="*/ 152624 w 195006"/>
                    <a:gd name="connsiteY2" fmla="*/ 97759 h 160035"/>
                    <a:gd name="connsiteX3" fmla="*/ 123068 w 195006"/>
                    <a:gd name="connsiteY3" fmla="*/ 128678 h 160035"/>
                    <a:gd name="connsiteX4" fmla="*/ 101698 w 195006"/>
                    <a:gd name="connsiteY4" fmla="*/ 136408 h 160035"/>
                    <a:gd name="connsiteX5" fmla="*/ 68960 w 195006"/>
                    <a:gd name="connsiteY5" fmla="*/ 148685 h 160035"/>
                    <a:gd name="connsiteX6" fmla="*/ 9395 w 195006"/>
                    <a:gd name="connsiteY6" fmla="*/ 151413 h 160035"/>
                    <a:gd name="connsiteX7" fmla="*/ 12123 w 195006"/>
                    <a:gd name="connsiteY7" fmla="*/ 96850 h 160035"/>
                    <a:gd name="connsiteX8" fmla="*/ 34858 w 195006"/>
                    <a:gd name="connsiteY8" fmla="*/ 90484 h 160035"/>
                    <a:gd name="connsiteX9" fmla="*/ 42133 w 195006"/>
                    <a:gd name="connsiteY9" fmla="*/ 91848 h 160035"/>
                    <a:gd name="connsiteX10" fmla="*/ 55774 w 195006"/>
                    <a:gd name="connsiteY10" fmla="*/ 119130 h 160035"/>
                    <a:gd name="connsiteX11" fmla="*/ 65777 w 195006"/>
                    <a:gd name="connsiteY11" fmla="*/ 128224 h 160035"/>
                    <a:gd name="connsiteX12" fmla="*/ 79418 w 195006"/>
                    <a:gd name="connsiteY12" fmla="*/ 28646 h 160035"/>
                    <a:gd name="connsiteX13" fmla="*/ 100334 w 195006"/>
                    <a:gd name="connsiteY13" fmla="*/ 33647 h 160035"/>
                    <a:gd name="connsiteX14" fmla="*/ 108973 w 195006"/>
                    <a:gd name="connsiteY14" fmla="*/ 61838 h 160035"/>
                    <a:gd name="connsiteX15" fmla="*/ 120340 w 195006"/>
                    <a:gd name="connsiteY15" fmla="*/ 82754 h 160035"/>
                    <a:gd name="connsiteX16" fmla="*/ 127161 w 195006"/>
                    <a:gd name="connsiteY16" fmla="*/ 70023 h 160035"/>
                    <a:gd name="connsiteX17" fmla="*/ 126706 w 195006"/>
                    <a:gd name="connsiteY17" fmla="*/ 36376 h 160035"/>
                    <a:gd name="connsiteX18" fmla="*/ 153078 w 195006"/>
                    <a:gd name="connsiteY18" fmla="*/ 54109 h 160035"/>
                    <a:gd name="connsiteX19" fmla="*/ 159444 w 195006"/>
                    <a:gd name="connsiteY19" fmla="*/ 33647 h 160035"/>
                    <a:gd name="connsiteX20" fmla="*/ 129889 w 195006"/>
                    <a:gd name="connsiteY20" fmla="*/ 25463 h 160035"/>
                    <a:gd name="connsiteX21" fmla="*/ 133981 w 195006"/>
                    <a:gd name="connsiteY21" fmla="*/ 0 h 160035"/>
                    <a:gd name="connsiteX22" fmla="*/ 140347 w 195006"/>
                    <a:gd name="connsiteY22" fmla="*/ 2728 h 160035"/>
                    <a:gd name="connsiteX23" fmla="*/ 160353 w 195006"/>
                    <a:gd name="connsiteY23" fmla="*/ 19097 h 160035"/>
                    <a:gd name="connsiteX24" fmla="*/ 185816 w 195006"/>
                    <a:gd name="connsiteY24" fmla="*/ 32283 h 160035"/>
                    <a:gd name="connsiteX25" fmla="*/ 194910 w 195006"/>
                    <a:gd name="connsiteY25" fmla="*/ 49107 h 16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5006" h="160035">
                      <a:moveTo>
                        <a:pt x="194910" y="49107"/>
                      </a:moveTo>
                      <a:cubicBezTo>
                        <a:pt x="195365" y="55927"/>
                        <a:pt x="195365" y="79571"/>
                        <a:pt x="166719" y="99578"/>
                      </a:cubicBezTo>
                      <a:cubicBezTo>
                        <a:pt x="163081" y="98214"/>
                        <a:pt x="157171" y="95486"/>
                        <a:pt x="152624" y="97759"/>
                      </a:cubicBezTo>
                      <a:cubicBezTo>
                        <a:pt x="138983" y="104580"/>
                        <a:pt x="135800" y="120949"/>
                        <a:pt x="123068" y="128678"/>
                      </a:cubicBezTo>
                      <a:cubicBezTo>
                        <a:pt x="113520" y="134590"/>
                        <a:pt x="106245" y="135954"/>
                        <a:pt x="101698" y="136408"/>
                      </a:cubicBezTo>
                      <a:cubicBezTo>
                        <a:pt x="89421" y="138227"/>
                        <a:pt x="83965" y="140955"/>
                        <a:pt x="68960" y="148685"/>
                      </a:cubicBezTo>
                      <a:cubicBezTo>
                        <a:pt x="57138" y="155051"/>
                        <a:pt x="28947" y="169146"/>
                        <a:pt x="9395" y="151413"/>
                      </a:cubicBezTo>
                      <a:cubicBezTo>
                        <a:pt x="-1063" y="141865"/>
                        <a:pt x="-6065" y="104580"/>
                        <a:pt x="12123" y="96850"/>
                      </a:cubicBezTo>
                      <a:lnTo>
                        <a:pt x="34858" y="90484"/>
                      </a:lnTo>
                      <a:cubicBezTo>
                        <a:pt x="38041" y="90029"/>
                        <a:pt x="40769" y="91394"/>
                        <a:pt x="42133" y="91848"/>
                      </a:cubicBezTo>
                      <a:cubicBezTo>
                        <a:pt x="49863" y="95486"/>
                        <a:pt x="53955" y="110945"/>
                        <a:pt x="55774" y="119130"/>
                      </a:cubicBezTo>
                      <a:cubicBezTo>
                        <a:pt x="57138" y="124586"/>
                        <a:pt x="60775" y="125950"/>
                        <a:pt x="65777" y="128224"/>
                      </a:cubicBezTo>
                      <a:cubicBezTo>
                        <a:pt x="73507" y="95486"/>
                        <a:pt x="67596" y="60929"/>
                        <a:pt x="79418" y="28646"/>
                      </a:cubicBezTo>
                      <a:cubicBezTo>
                        <a:pt x="79872" y="26827"/>
                        <a:pt x="90785" y="19097"/>
                        <a:pt x="100334" y="33647"/>
                      </a:cubicBezTo>
                      <a:cubicBezTo>
                        <a:pt x="108518" y="45924"/>
                        <a:pt x="108518" y="45924"/>
                        <a:pt x="108973" y="61838"/>
                      </a:cubicBezTo>
                      <a:cubicBezTo>
                        <a:pt x="109428" y="66385"/>
                        <a:pt x="109428" y="66385"/>
                        <a:pt x="120340" y="82754"/>
                      </a:cubicBezTo>
                      <a:cubicBezTo>
                        <a:pt x="127161" y="72296"/>
                        <a:pt x="127161" y="72296"/>
                        <a:pt x="127161" y="70023"/>
                      </a:cubicBezTo>
                      <a:cubicBezTo>
                        <a:pt x="126251" y="36830"/>
                        <a:pt x="126251" y="36830"/>
                        <a:pt x="126706" y="36376"/>
                      </a:cubicBezTo>
                      <a:cubicBezTo>
                        <a:pt x="129434" y="34102"/>
                        <a:pt x="135345" y="39104"/>
                        <a:pt x="153078" y="54109"/>
                      </a:cubicBezTo>
                      <a:cubicBezTo>
                        <a:pt x="155352" y="47288"/>
                        <a:pt x="156716" y="42287"/>
                        <a:pt x="159444" y="33647"/>
                      </a:cubicBezTo>
                      <a:cubicBezTo>
                        <a:pt x="149441" y="30919"/>
                        <a:pt x="139892" y="28191"/>
                        <a:pt x="129889" y="25463"/>
                      </a:cubicBezTo>
                      <a:cubicBezTo>
                        <a:pt x="128525" y="6366"/>
                        <a:pt x="128979" y="1364"/>
                        <a:pt x="133981" y="0"/>
                      </a:cubicBezTo>
                      <a:cubicBezTo>
                        <a:pt x="135800" y="0"/>
                        <a:pt x="136709" y="0"/>
                        <a:pt x="140347" y="2728"/>
                      </a:cubicBezTo>
                      <a:cubicBezTo>
                        <a:pt x="147622" y="7275"/>
                        <a:pt x="153533" y="14096"/>
                        <a:pt x="160353" y="19097"/>
                      </a:cubicBezTo>
                      <a:cubicBezTo>
                        <a:pt x="168083" y="24554"/>
                        <a:pt x="178086" y="26372"/>
                        <a:pt x="185816" y="32283"/>
                      </a:cubicBezTo>
                      <a:cubicBezTo>
                        <a:pt x="194001" y="38194"/>
                        <a:pt x="194455" y="45469"/>
                        <a:pt x="194910" y="49107"/>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Graphic 5">
                  <a:extLst>
                    <a:ext uri="{FF2B5EF4-FFF2-40B4-BE49-F238E27FC236}">
                      <a16:creationId xmlns:a16="http://schemas.microsoft.com/office/drawing/2014/main" id="{3A643E94-08A4-4A9D-92D4-60DEF424CE02}"/>
                    </a:ext>
                  </a:extLst>
                </p:cNvPr>
                <p:cNvSpPr/>
                <p:nvPr/>
              </p:nvSpPr>
              <p:spPr>
                <a:xfrm>
                  <a:off x="5889869" y="3245222"/>
                  <a:ext cx="38779" cy="233397"/>
                </a:xfrm>
                <a:custGeom>
                  <a:avLst/>
                  <a:gdLst>
                    <a:gd name="connsiteX0" fmla="*/ 34103 w 38779"/>
                    <a:gd name="connsiteY0" fmla="*/ 229760 h 233397"/>
                    <a:gd name="connsiteX1" fmla="*/ 30920 w 38779"/>
                    <a:gd name="connsiteY1" fmla="*/ 233398 h 233397"/>
                    <a:gd name="connsiteX2" fmla="*/ 23190 w 38779"/>
                    <a:gd name="connsiteY2" fmla="*/ 176106 h 233397"/>
                    <a:gd name="connsiteX3" fmla="*/ 17279 w 38779"/>
                    <a:gd name="connsiteY3" fmla="*/ 148370 h 233397"/>
                    <a:gd name="connsiteX4" fmla="*/ 6366 w 38779"/>
                    <a:gd name="connsiteY4" fmla="*/ 164284 h 233397"/>
                    <a:gd name="connsiteX5" fmla="*/ 8185 w 38779"/>
                    <a:gd name="connsiteY5" fmla="*/ 73345 h 233397"/>
                    <a:gd name="connsiteX6" fmla="*/ 20462 w 38779"/>
                    <a:gd name="connsiteY6" fmla="*/ 119724 h 233397"/>
                    <a:gd name="connsiteX7" fmla="*/ 12277 w 38779"/>
                    <a:gd name="connsiteY7" fmla="*/ 35606 h 233397"/>
                    <a:gd name="connsiteX8" fmla="*/ 33193 w 38779"/>
                    <a:gd name="connsiteY8" fmla="*/ 1049 h 233397"/>
                    <a:gd name="connsiteX9" fmla="*/ 38650 w 38779"/>
                    <a:gd name="connsiteY9" fmla="*/ 20146 h 233397"/>
                    <a:gd name="connsiteX10" fmla="*/ 38195 w 38779"/>
                    <a:gd name="connsiteY10" fmla="*/ 116087 h 233397"/>
                    <a:gd name="connsiteX11" fmla="*/ 34103 w 38779"/>
                    <a:gd name="connsiteY11" fmla="*/ 229760 h 23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79" h="233397">
                      <a:moveTo>
                        <a:pt x="34103" y="229760"/>
                      </a:moveTo>
                      <a:cubicBezTo>
                        <a:pt x="33193" y="231124"/>
                        <a:pt x="31829" y="232034"/>
                        <a:pt x="30920" y="233398"/>
                      </a:cubicBezTo>
                      <a:cubicBezTo>
                        <a:pt x="26828" y="216574"/>
                        <a:pt x="23645" y="183381"/>
                        <a:pt x="23190" y="176106"/>
                      </a:cubicBezTo>
                      <a:cubicBezTo>
                        <a:pt x="21371" y="152462"/>
                        <a:pt x="20007" y="149279"/>
                        <a:pt x="17279" y="148370"/>
                      </a:cubicBezTo>
                      <a:cubicBezTo>
                        <a:pt x="11368" y="152007"/>
                        <a:pt x="11823" y="160192"/>
                        <a:pt x="6366" y="164284"/>
                      </a:cubicBezTo>
                      <a:cubicBezTo>
                        <a:pt x="-5001" y="159737"/>
                        <a:pt x="910" y="81075"/>
                        <a:pt x="8185" y="73345"/>
                      </a:cubicBezTo>
                      <a:cubicBezTo>
                        <a:pt x="11823" y="74709"/>
                        <a:pt x="11823" y="74709"/>
                        <a:pt x="20462" y="119724"/>
                      </a:cubicBezTo>
                      <a:cubicBezTo>
                        <a:pt x="32739" y="72891"/>
                        <a:pt x="31374" y="59705"/>
                        <a:pt x="12277" y="35606"/>
                      </a:cubicBezTo>
                      <a:cubicBezTo>
                        <a:pt x="19552" y="6505"/>
                        <a:pt x="25918" y="-3498"/>
                        <a:pt x="33193" y="1049"/>
                      </a:cubicBezTo>
                      <a:cubicBezTo>
                        <a:pt x="35467" y="4232"/>
                        <a:pt x="38650" y="10143"/>
                        <a:pt x="38650" y="20146"/>
                      </a:cubicBezTo>
                      <a:cubicBezTo>
                        <a:pt x="38650" y="51975"/>
                        <a:pt x="35467" y="84258"/>
                        <a:pt x="38195" y="116087"/>
                      </a:cubicBezTo>
                      <a:cubicBezTo>
                        <a:pt x="40468" y="144278"/>
                        <a:pt x="35467" y="228396"/>
                        <a:pt x="34103" y="22976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Graphic 5">
                  <a:extLst>
                    <a:ext uri="{FF2B5EF4-FFF2-40B4-BE49-F238E27FC236}">
                      <a16:creationId xmlns:a16="http://schemas.microsoft.com/office/drawing/2014/main" id="{AEE30512-5E3F-4711-AA5A-AC5FCF638536}"/>
                    </a:ext>
                  </a:extLst>
                </p:cNvPr>
                <p:cNvSpPr/>
                <p:nvPr/>
              </p:nvSpPr>
              <p:spPr>
                <a:xfrm>
                  <a:off x="11667700" y="3226829"/>
                  <a:ext cx="37687" cy="188588"/>
                </a:xfrm>
                <a:custGeom>
                  <a:avLst/>
                  <a:gdLst>
                    <a:gd name="connsiteX0" fmla="*/ 33161 w 37687"/>
                    <a:gd name="connsiteY0" fmla="*/ 90375 h 188588"/>
                    <a:gd name="connsiteX1" fmla="*/ 32252 w 37687"/>
                    <a:gd name="connsiteY1" fmla="*/ 188589 h 188588"/>
                    <a:gd name="connsiteX2" fmla="*/ 6334 w 37687"/>
                    <a:gd name="connsiteY2" fmla="*/ 127205 h 188588"/>
                    <a:gd name="connsiteX3" fmla="*/ 6789 w 37687"/>
                    <a:gd name="connsiteY3" fmla="*/ 800 h 188588"/>
                    <a:gd name="connsiteX4" fmla="*/ 30433 w 37687"/>
                    <a:gd name="connsiteY4" fmla="*/ 79917 h 188588"/>
                    <a:gd name="connsiteX5" fmla="*/ 31342 w 37687"/>
                    <a:gd name="connsiteY5" fmla="*/ 79462 h 188588"/>
                    <a:gd name="connsiteX6" fmla="*/ 33161 w 37687"/>
                    <a:gd name="connsiteY6" fmla="*/ 90375 h 18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87" h="188588">
                      <a:moveTo>
                        <a:pt x="33161" y="90375"/>
                      </a:moveTo>
                      <a:cubicBezTo>
                        <a:pt x="39981" y="171765"/>
                        <a:pt x="38617" y="186315"/>
                        <a:pt x="32252" y="188589"/>
                      </a:cubicBezTo>
                      <a:cubicBezTo>
                        <a:pt x="26796" y="185861"/>
                        <a:pt x="9062" y="145393"/>
                        <a:pt x="6334" y="127205"/>
                      </a:cubicBezTo>
                      <a:cubicBezTo>
                        <a:pt x="6334" y="126295"/>
                        <a:pt x="-8216" y="17169"/>
                        <a:pt x="6789" y="800"/>
                      </a:cubicBezTo>
                      <a:cubicBezTo>
                        <a:pt x="18156" y="-7839"/>
                        <a:pt x="27250" y="55818"/>
                        <a:pt x="30433" y="79917"/>
                      </a:cubicBezTo>
                      <a:cubicBezTo>
                        <a:pt x="30887" y="79917"/>
                        <a:pt x="31342" y="79917"/>
                        <a:pt x="31342" y="79462"/>
                      </a:cubicBezTo>
                      <a:cubicBezTo>
                        <a:pt x="32252" y="82645"/>
                        <a:pt x="32706" y="86737"/>
                        <a:pt x="33161" y="9037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Graphic 5">
                  <a:extLst>
                    <a:ext uri="{FF2B5EF4-FFF2-40B4-BE49-F238E27FC236}">
                      <a16:creationId xmlns:a16="http://schemas.microsoft.com/office/drawing/2014/main" id="{47F6CD3E-C289-4CC8-8EFB-47622EEF5975}"/>
                    </a:ext>
                  </a:extLst>
                </p:cNvPr>
                <p:cNvSpPr/>
                <p:nvPr/>
              </p:nvSpPr>
              <p:spPr>
                <a:xfrm>
                  <a:off x="9739678" y="909639"/>
                  <a:ext cx="86024" cy="48156"/>
                </a:xfrm>
                <a:custGeom>
                  <a:avLst/>
                  <a:gdLst>
                    <a:gd name="connsiteX0" fmla="*/ 68292 w 86024"/>
                    <a:gd name="connsiteY0" fmla="*/ 19511 h 48156"/>
                    <a:gd name="connsiteX1" fmla="*/ 86025 w 86024"/>
                    <a:gd name="connsiteY1" fmla="*/ 35425 h 48156"/>
                    <a:gd name="connsiteX2" fmla="*/ 76931 w 86024"/>
                    <a:gd name="connsiteY2" fmla="*/ 31333 h 48156"/>
                    <a:gd name="connsiteX3" fmla="*/ 75567 w 86024"/>
                    <a:gd name="connsiteY3" fmla="*/ 36335 h 48156"/>
                    <a:gd name="connsiteX4" fmla="*/ 78295 w 86024"/>
                    <a:gd name="connsiteY4" fmla="*/ 41336 h 48156"/>
                    <a:gd name="connsiteX5" fmla="*/ 81478 w 86024"/>
                    <a:gd name="connsiteY5" fmla="*/ 48157 h 48156"/>
                    <a:gd name="connsiteX6" fmla="*/ 13729 w 86024"/>
                    <a:gd name="connsiteY6" fmla="*/ 18602 h 48156"/>
                    <a:gd name="connsiteX7" fmla="*/ 88 w 86024"/>
                    <a:gd name="connsiteY7" fmla="*/ 3142 h 48156"/>
                    <a:gd name="connsiteX8" fmla="*/ 1906 w 86024"/>
                    <a:gd name="connsiteY8" fmla="*/ 2233 h 48156"/>
                    <a:gd name="connsiteX9" fmla="*/ 68292 w 86024"/>
                    <a:gd name="connsiteY9" fmla="*/ 19511 h 4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24" h="48156">
                      <a:moveTo>
                        <a:pt x="68292" y="19511"/>
                      </a:moveTo>
                      <a:cubicBezTo>
                        <a:pt x="70110" y="20875"/>
                        <a:pt x="70110" y="20875"/>
                        <a:pt x="86025" y="35425"/>
                      </a:cubicBezTo>
                      <a:cubicBezTo>
                        <a:pt x="82842" y="34061"/>
                        <a:pt x="80114" y="32697"/>
                        <a:pt x="76931" y="31333"/>
                      </a:cubicBezTo>
                      <a:cubicBezTo>
                        <a:pt x="75567" y="35425"/>
                        <a:pt x="75567" y="35425"/>
                        <a:pt x="75567" y="36335"/>
                      </a:cubicBezTo>
                      <a:cubicBezTo>
                        <a:pt x="76021" y="37244"/>
                        <a:pt x="76476" y="38153"/>
                        <a:pt x="78295" y="41336"/>
                      </a:cubicBezTo>
                      <a:cubicBezTo>
                        <a:pt x="81478" y="46338"/>
                        <a:pt x="81933" y="47247"/>
                        <a:pt x="81478" y="48157"/>
                      </a:cubicBezTo>
                      <a:cubicBezTo>
                        <a:pt x="78750" y="48157"/>
                        <a:pt x="14183" y="19056"/>
                        <a:pt x="13729" y="18602"/>
                      </a:cubicBezTo>
                      <a:cubicBezTo>
                        <a:pt x="13729" y="18602"/>
                        <a:pt x="-1277" y="4961"/>
                        <a:pt x="88" y="3142"/>
                      </a:cubicBezTo>
                      <a:cubicBezTo>
                        <a:pt x="88" y="3142"/>
                        <a:pt x="542" y="2687"/>
                        <a:pt x="1906" y="2233"/>
                      </a:cubicBezTo>
                      <a:cubicBezTo>
                        <a:pt x="24641" y="-7771"/>
                        <a:pt x="67837" y="19056"/>
                        <a:pt x="68292" y="19511"/>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Graphic 5">
                  <a:extLst>
                    <a:ext uri="{FF2B5EF4-FFF2-40B4-BE49-F238E27FC236}">
                      <a16:creationId xmlns:a16="http://schemas.microsoft.com/office/drawing/2014/main" id="{5A8E4C7E-9CBF-4164-B3C8-924D9DF97464}"/>
                    </a:ext>
                  </a:extLst>
                </p:cNvPr>
                <p:cNvSpPr/>
                <p:nvPr/>
              </p:nvSpPr>
              <p:spPr>
                <a:xfrm>
                  <a:off x="11685402" y="3886935"/>
                  <a:ext cx="47306" cy="200974"/>
                </a:xfrm>
                <a:custGeom>
                  <a:avLst/>
                  <a:gdLst>
                    <a:gd name="connsiteX0" fmla="*/ 45924 w 47306"/>
                    <a:gd name="connsiteY0" fmla="*/ 58655 h 200974"/>
                    <a:gd name="connsiteX1" fmla="*/ 17733 w 47306"/>
                    <a:gd name="connsiteY1" fmla="*/ 175057 h 200974"/>
                    <a:gd name="connsiteX2" fmla="*/ 0 w 47306"/>
                    <a:gd name="connsiteY2" fmla="*/ 200975 h 200974"/>
                    <a:gd name="connsiteX3" fmla="*/ 23189 w 47306"/>
                    <a:gd name="connsiteY3" fmla="*/ 103670 h 200974"/>
                    <a:gd name="connsiteX4" fmla="*/ 41832 w 47306"/>
                    <a:gd name="connsiteY4" fmla="*/ 0 h 200974"/>
                    <a:gd name="connsiteX5" fmla="*/ 45924 w 47306"/>
                    <a:gd name="connsiteY5" fmla="*/ 58655 h 20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06" h="200974">
                      <a:moveTo>
                        <a:pt x="45924" y="58655"/>
                      </a:moveTo>
                      <a:cubicBezTo>
                        <a:pt x="41832" y="96395"/>
                        <a:pt x="18188" y="174148"/>
                        <a:pt x="17733" y="175057"/>
                      </a:cubicBezTo>
                      <a:cubicBezTo>
                        <a:pt x="14095" y="186425"/>
                        <a:pt x="14095" y="186425"/>
                        <a:pt x="0" y="200975"/>
                      </a:cubicBezTo>
                      <a:cubicBezTo>
                        <a:pt x="2728" y="186879"/>
                        <a:pt x="2728" y="186879"/>
                        <a:pt x="23189" y="103670"/>
                      </a:cubicBezTo>
                      <a:cubicBezTo>
                        <a:pt x="31373" y="69568"/>
                        <a:pt x="35011" y="34557"/>
                        <a:pt x="41832" y="0"/>
                      </a:cubicBezTo>
                      <a:cubicBezTo>
                        <a:pt x="48197" y="36376"/>
                        <a:pt x="48197" y="36376"/>
                        <a:pt x="45924" y="5865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Graphic 5">
                  <a:extLst>
                    <a:ext uri="{FF2B5EF4-FFF2-40B4-BE49-F238E27FC236}">
                      <a16:creationId xmlns:a16="http://schemas.microsoft.com/office/drawing/2014/main" id="{2D394444-EFE1-4FBB-B544-C7E1F992F622}"/>
                    </a:ext>
                  </a:extLst>
                </p:cNvPr>
                <p:cNvSpPr/>
                <p:nvPr/>
              </p:nvSpPr>
              <p:spPr>
                <a:xfrm>
                  <a:off x="9643825" y="711778"/>
                  <a:ext cx="84573" cy="33675"/>
                </a:xfrm>
                <a:custGeom>
                  <a:avLst/>
                  <a:gdLst>
                    <a:gd name="connsiteX0" fmla="*/ 15914 w 84573"/>
                    <a:gd name="connsiteY0" fmla="*/ 2302 h 33675"/>
                    <a:gd name="connsiteX1" fmla="*/ 84573 w 84573"/>
                    <a:gd name="connsiteY1" fmla="*/ 33676 h 33675"/>
                    <a:gd name="connsiteX2" fmla="*/ 1364 w 84573"/>
                    <a:gd name="connsiteY2" fmla="*/ 7758 h 33675"/>
                    <a:gd name="connsiteX3" fmla="*/ 0 w 84573"/>
                    <a:gd name="connsiteY3" fmla="*/ 28 h 33675"/>
                    <a:gd name="connsiteX4" fmla="*/ 15914 w 84573"/>
                    <a:gd name="connsiteY4" fmla="*/ 2302 h 33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73" h="33675">
                      <a:moveTo>
                        <a:pt x="15914" y="2302"/>
                      </a:moveTo>
                      <a:cubicBezTo>
                        <a:pt x="38194" y="9577"/>
                        <a:pt x="42287" y="10941"/>
                        <a:pt x="84573" y="33676"/>
                      </a:cubicBezTo>
                      <a:cubicBezTo>
                        <a:pt x="50926" y="25491"/>
                        <a:pt x="4547" y="13669"/>
                        <a:pt x="1364" y="7758"/>
                      </a:cubicBezTo>
                      <a:cubicBezTo>
                        <a:pt x="3637" y="5030"/>
                        <a:pt x="0" y="2757"/>
                        <a:pt x="0" y="28"/>
                      </a:cubicBezTo>
                      <a:cubicBezTo>
                        <a:pt x="0" y="28"/>
                        <a:pt x="8184" y="-426"/>
                        <a:pt x="15914" y="230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Graphic 5">
                  <a:extLst>
                    <a:ext uri="{FF2B5EF4-FFF2-40B4-BE49-F238E27FC236}">
                      <a16:creationId xmlns:a16="http://schemas.microsoft.com/office/drawing/2014/main" id="{5C0C63FD-B9E5-4F32-9D0E-482890FEE317}"/>
                    </a:ext>
                  </a:extLst>
                </p:cNvPr>
                <p:cNvSpPr/>
                <p:nvPr/>
              </p:nvSpPr>
              <p:spPr>
                <a:xfrm>
                  <a:off x="7498577" y="731813"/>
                  <a:ext cx="86391" cy="40467"/>
                </a:xfrm>
                <a:custGeom>
                  <a:avLst/>
                  <a:gdLst>
                    <a:gd name="connsiteX0" fmla="*/ 0 w 86391"/>
                    <a:gd name="connsiteY0" fmla="*/ 40468 h 40467"/>
                    <a:gd name="connsiteX1" fmla="*/ 0 w 86391"/>
                    <a:gd name="connsiteY1" fmla="*/ 40468 h 40467"/>
                    <a:gd name="connsiteX2" fmla="*/ 81390 w 86391"/>
                    <a:gd name="connsiteY2" fmla="*/ 2273 h 40467"/>
                    <a:gd name="connsiteX3" fmla="*/ 86392 w 86391"/>
                    <a:gd name="connsiteY3" fmla="*/ 0 h 40467"/>
                    <a:gd name="connsiteX4" fmla="*/ 85482 w 86391"/>
                    <a:gd name="connsiteY4" fmla="*/ 455 h 40467"/>
                    <a:gd name="connsiteX5" fmla="*/ 0 w 86391"/>
                    <a:gd name="connsiteY5" fmla="*/ 40468 h 4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91" h="40467">
                      <a:moveTo>
                        <a:pt x="0" y="40468"/>
                      </a:moveTo>
                      <a:lnTo>
                        <a:pt x="0" y="40468"/>
                      </a:lnTo>
                      <a:lnTo>
                        <a:pt x="81390" y="2273"/>
                      </a:lnTo>
                      <a:cubicBezTo>
                        <a:pt x="83209" y="1364"/>
                        <a:pt x="84573" y="909"/>
                        <a:pt x="86392" y="0"/>
                      </a:cubicBezTo>
                      <a:cubicBezTo>
                        <a:pt x="85937" y="0"/>
                        <a:pt x="85937" y="455"/>
                        <a:pt x="85482" y="455"/>
                      </a:cubicBezTo>
                      <a:cubicBezTo>
                        <a:pt x="36830" y="22280"/>
                        <a:pt x="7730" y="36376"/>
                        <a:pt x="0" y="40468"/>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Graphic 5">
                  <a:extLst>
                    <a:ext uri="{FF2B5EF4-FFF2-40B4-BE49-F238E27FC236}">
                      <a16:creationId xmlns:a16="http://schemas.microsoft.com/office/drawing/2014/main" id="{F2C047C2-0C1D-4238-87B3-2FAEEA0ACC9D}"/>
                    </a:ext>
                  </a:extLst>
                </p:cNvPr>
                <p:cNvSpPr/>
                <p:nvPr/>
              </p:nvSpPr>
              <p:spPr>
                <a:xfrm>
                  <a:off x="7500396" y="6223154"/>
                  <a:ext cx="58200" cy="27281"/>
                </a:xfrm>
                <a:custGeom>
                  <a:avLst/>
                  <a:gdLst>
                    <a:gd name="connsiteX0" fmla="*/ 43651 w 58200"/>
                    <a:gd name="connsiteY0" fmla="*/ 19552 h 27281"/>
                    <a:gd name="connsiteX1" fmla="*/ 58201 w 58200"/>
                    <a:gd name="connsiteY1" fmla="*/ 27282 h 27281"/>
                    <a:gd name="connsiteX2" fmla="*/ 45015 w 58200"/>
                    <a:gd name="connsiteY2" fmla="*/ 21826 h 27281"/>
                    <a:gd name="connsiteX3" fmla="*/ 0 w 58200"/>
                    <a:gd name="connsiteY3" fmla="*/ 0 h 27281"/>
                    <a:gd name="connsiteX4" fmla="*/ 9094 w 58200"/>
                    <a:gd name="connsiteY4" fmla="*/ 3183 h 27281"/>
                    <a:gd name="connsiteX5" fmla="*/ 43651 w 58200"/>
                    <a:gd name="connsiteY5" fmla="*/ 19552 h 2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00" h="27281">
                      <a:moveTo>
                        <a:pt x="43651" y="19552"/>
                      </a:moveTo>
                      <a:cubicBezTo>
                        <a:pt x="48652" y="22280"/>
                        <a:pt x="53654" y="24554"/>
                        <a:pt x="58201" y="27282"/>
                      </a:cubicBezTo>
                      <a:cubicBezTo>
                        <a:pt x="57292" y="27282"/>
                        <a:pt x="49107" y="23644"/>
                        <a:pt x="45015" y="21826"/>
                      </a:cubicBezTo>
                      <a:cubicBezTo>
                        <a:pt x="31374" y="16369"/>
                        <a:pt x="3638" y="2273"/>
                        <a:pt x="0" y="0"/>
                      </a:cubicBezTo>
                      <a:cubicBezTo>
                        <a:pt x="455" y="0"/>
                        <a:pt x="909" y="0"/>
                        <a:pt x="9094" y="3183"/>
                      </a:cubicBezTo>
                      <a:cubicBezTo>
                        <a:pt x="12277" y="4547"/>
                        <a:pt x="38194" y="16823"/>
                        <a:pt x="43651" y="1955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Graphic 5">
                  <a:extLst>
                    <a:ext uri="{FF2B5EF4-FFF2-40B4-BE49-F238E27FC236}">
                      <a16:creationId xmlns:a16="http://schemas.microsoft.com/office/drawing/2014/main" id="{8A6C0142-CC44-4C6E-AC74-ACCEA84F018E}"/>
                    </a:ext>
                  </a:extLst>
                </p:cNvPr>
                <p:cNvSpPr/>
                <p:nvPr/>
              </p:nvSpPr>
              <p:spPr>
                <a:xfrm>
                  <a:off x="5862133" y="3607617"/>
                  <a:ext cx="27081" cy="93348"/>
                </a:xfrm>
                <a:custGeom>
                  <a:avLst/>
                  <a:gdLst>
                    <a:gd name="connsiteX0" fmla="*/ 26827 w 27081"/>
                    <a:gd name="connsiteY0" fmla="*/ 58337 h 93348"/>
                    <a:gd name="connsiteX1" fmla="*/ 16369 w 27081"/>
                    <a:gd name="connsiteY1" fmla="*/ 93348 h 93348"/>
                    <a:gd name="connsiteX2" fmla="*/ 0 w 27081"/>
                    <a:gd name="connsiteY2" fmla="*/ 10594 h 93348"/>
                    <a:gd name="connsiteX3" fmla="*/ 9094 w 27081"/>
                    <a:gd name="connsiteY3" fmla="*/ 591 h 93348"/>
                    <a:gd name="connsiteX4" fmla="*/ 13186 w 27081"/>
                    <a:gd name="connsiteY4" fmla="*/ 1045 h 93348"/>
                    <a:gd name="connsiteX5" fmla="*/ 26827 w 27081"/>
                    <a:gd name="connsiteY5" fmla="*/ 58337 h 9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1" h="93348">
                      <a:moveTo>
                        <a:pt x="26827" y="58337"/>
                      </a:moveTo>
                      <a:cubicBezTo>
                        <a:pt x="21371" y="74706"/>
                        <a:pt x="17733" y="87437"/>
                        <a:pt x="16369" y="93348"/>
                      </a:cubicBezTo>
                      <a:cubicBezTo>
                        <a:pt x="10003" y="63793"/>
                        <a:pt x="5002" y="40149"/>
                        <a:pt x="0" y="10594"/>
                      </a:cubicBezTo>
                      <a:cubicBezTo>
                        <a:pt x="3638" y="7411"/>
                        <a:pt x="5456" y="3319"/>
                        <a:pt x="9094" y="591"/>
                      </a:cubicBezTo>
                      <a:cubicBezTo>
                        <a:pt x="10913" y="-774"/>
                        <a:pt x="12277" y="591"/>
                        <a:pt x="13186" y="1045"/>
                      </a:cubicBezTo>
                      <a:cubicBezTo>
                        <a:pt x="15460" y="4228"/>
                        <a:pt x="29100" y="51062"/>
                        <a:pt x="26827" y="58337"/>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Graphic 5">
                  <a:extLst>
                    <a:ext uri="{FF2B5EF4-FFF2-40B4-BE49-F238E27FC236}">
                      <a16:creationId xmlns:a16="http://schemas.microsoft.com/office/drawing/2014/main" id="{29DF0A34-F424-48BE-A6DE-010376E42B9E}"/>
                    </a:ext>
                  </a:extLst>
                </p:cNvPr>
                <p:cNvSpPr/>
                <p:nvPr/>
              </p:nvSpPr>
              <p:spPr>
                <a:xfrm>
                  <a:off x="5996153" y="3739494"/>
                  <a:ext cx="53768" cy="93788"/>
                </a:xfrm>
                <a:custGeom>
                  <a:avLst/>
                  <a:gdLst>
                    <a:gd name="connsiteX0" fmla="*/ 50131 w 53768"/>
                    <a:gd name="connsiteY0" fmla="*/ 91969 h 93788"/>
                    <a:gd name="connsiteX1" fmla="*/ 5571 w 53768"/>
                    <a:gd name="connsiteY1" fmla="*/ 55139 h 93788"/>
                    <a:gd name="connsiteX2" fmla="*/ 11027 w 53768"/>
                    <a:gd name="connsiteY2" fmla="*/ 121 h 93788"/>
                    <a:gd name="connsiteX3" fmla="*/ 16029 w 53768"/>
                    <a:gd name="connsiteY3" fmla="*/ 1485 h 93788"/>
                    <a:gd name="connsiteX4" fmla="*/ 53769 w 53768"/>
                    <a:gd name="connsiteY4" fmla="*/ 93788 h 93788"/>
                    <a:gd name="connsiteX5" fmla="*/ 50131 w 53768"/>
                    <a:gd name="connsiteY5" fmla="*/ 91969 h 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68" h="93788">
                      <a:moveTo>
                        <a:pt x="50131" y="91969"/>
                      </a:moveTo>
                      <a:cubicBezTo>
                        <a:pt x="11937" y="68325"/>
                        <a:pt x="9663" y="65597"/>
                        <a:pt x="5571" y="55139"/>
                      </a:cubicBezTo>
                      <a:cubicBezTo>
                        <a:pt x="-9434" y="19673"/>
                        <a:pt x="10573" y="121"/>
                        <a:pt x="11027" y="121"/>
                      </a:cubicBezTo>
                      <a:cubicBezTo>
                        <a:pt x="12846" y="-334"/>
                        <a:pt x="14665" y="576"/>
                        <a:pt x="16029" y="1485"/>
                      </a:cubicBezTo>
                      <a:cubicBezTo>
                        <a:pt x="31034" y="14217"/>
                        <a:pt x="49676" y="61050"/>
                        <a:pt x="53769" y="93788"/>
                      </a:cubicBezTo>
                      <a:cubicBezTo>
                        <a:pt x="52405" y="93333"/>
                        <a:pt x="51041" y="92424"/>
                        <a:pt x="50131" y="91969"/>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Graphic 5">
                  <a:extLst>
                    <a:ext uri="{FF2B5EF4-FFF2-40B4-BE49-F238E27FC236}">
                      <a16:creationId xmlns:a16="http://schemas.microsoft.com/office/drawing/2014/main" id="{2BA6E328-C2D8-461B-9D66-5F97241A8578}"/>
                    </a:ext>
                  </a:extLst>
                </p:cNvPr>
                <p:cNvSpPr/>
                <p:nvPr/>
              </p:nvSpPr>
              <p:spPr>
                <a:xfrm>
                  <a:off x="11244908" y="4098747"/>
                  <a:ext cx="31149" cy="138757"/>
                </a:xfrm>
                <a:custGeom>
                  <a:avLst/>
                  <a:gdLst>
                    <a:gd name="connsiteX0" fmla="*/ 29905 w 31149"/>
                    <a:gd name="connsiteY0" fmla="*/ 60095 h 138757"/>
                    <a:gd name="connsiteX1" fmla="*/ 6715 w 31149"/>
                    <a:gd name="connsiteY1" fmla="*/ 138757 h 138757"/>
                    <a:gd name="connsiteX2" fmla="*/ 804 w 31149"/>
                    <a:gd name="connsiteY2" fmla="*/ 63733 h 138757"/>
                    <a:gd name="connsiteX3" fmla="*/ 14445 w 31149"/>
                    <a:gd name="connsiteY3" fmla="*/ 75 h 138757"/>
                    <a:gd name="connsiteX4" fmla="*/ 29905 w 31149"/>
                    <a:gd name="connsiteY4" fmla="*/ 60095 h 138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49" h="138757">
                      <a:moveTo>
                        <a:pt x="29905" y="60095"/>
                      </a:moveTo>
                      <a:cubicBezTo>
                        <a:pt x="26267" y="92378"/>
                        <a:pt x="13536" y="122843"/>
                        <a:pt x="6715" y="138757"/>
                      </a:cubicBezTo>
                      <a:cubicBezTo>
                        <a:pt x="1259" y="120115"/>
                        <a:pt x="-1469" y="103291"/>
                        <a:pt x="804" y="63733"/>
                      </a:cubicBezTo>
                      <a:cubicBezTo>
                        <a:pt x="3987" y="6896"/>
                        <a:pt x="3987" y="6896"/>
                        <a:pt x="14445" y="75"/>
                      </a:cubicBezTo>
                      <a:cubicBezTo>
                        <a:pt x="29450" y="-1743"/>
                        <a:pt x="33542" y="29631"/>
                        <a:pt x="29905" y="6009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Graphic 5">
                  <a:extLst>
                    <a:ext uri="{FF2B5EF4-FFF2-40B4-BE49-F238E27FC236}">
                      <a16:creationId xmlns:a16="http://schemas.microsoft.com/office/drawing/2014/main" id="{6C24A65F-28CB-4794-BCC4-F3DFCADEC3FD}"/>
                    </a:ext>
                  </a:extLst>
                </p:cNvPr>
                <p:cNvSpPr/>
                <p:nvPr/>
              </p:nvSpPr>
              <p:spPr>
                <a:xfrm>
                  <a:off x="7815954" y="6334213"/>
                  <a:ext cx="62747" cy="25349"/>
                </a:xfrm>
                <a:custGeom>
                  <a:avLst/>
                  <a:gdLst>
                    <a:gd name="connsiteX0" fmla="*/ 60020 w 62747"/>
                    <a:gd name="connsiteY0" fmla="*/ 22166 h 25349"/>
                    <a:gd name="connsiteX1" fmla="*/ 62748 w 62747"/>
                    <a:gd name="connsiteY1" fmla="*/ 23985 h 25349"/>
                    <a:gd name="connsiteX2" fmla="*/ 62748 w 62747"/>
                    <a:gd name="connsiteY2" fmla="*/ 24440 h 25349"/>
                    <a:gd name="connsiteX3" fmla="*/ 59565 w 62747"/>
                    <a:gd name="connsiteY3" fmla="*/ 25349 h 25349"/>
                    <a:gd name="connsiteX4" fmla="*/ 0 w 62747"/>
                    <a:gd name="connsiteY4" fmla="*/ 341 h 25349"/>
                    <a:gd name="connsiteX5" fmla="*/ 2273 w 62747"/>
                    <a:gd name="connsiteY5" fmla="*/ 341 h 25349"/>
                    <a:gd name="connsiteX6" fmla="*/ 60020 w 62747"/>
                    <a:gd name="connsiteY6" fmla="*/ 22166 h 2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47" h="25349">
                      <a:moveTo>
                        <a:pt x="60020" y="22166"/>
                      </a:moveTo>
                      <a:cubicBezTo>
                        <a:pt x="62293" y="23076"/>
                        <a:pt x="62293" y="23530"/>
                        <a:pt x="62748" y="23985"/>
                      </a:cubicBezTo>
                      <a:cubicBezTo>
                        <a:pt x="62748" y="23985"/>
                        <a:pt x="62748" y="24440"/>
                        <a:pt x="62748" y="24440"/>
                      </a:cubicBezTo>
                      <a:cubicBezTo>
                        <a:pt x="61838" y="24895"/>
                        <a:pt x="60474" y="24895"/>
                        <a:pt x="59565" y="25349"/>
                      </a:cubicBezTo>
                      <a:cubicBezTo>
                        <a:pt x="31829" y="15801"/>
                        <a:pt x="0" y="4433"/>
                        <a:pt x="0" y="341"/>
                      </a:cubicBezTo>
                      <a:cubicBezTo>
                        <a:pt x="455" y="-114"/>
                        <a:pt x="909" y="-114"/>
                        <a:pt x="2273" y="341"/>
                      </a:cubicBezTo>
                      <a:cubicBezTo>
                        <a:pt x="2728" y="796"/>
                        <a:pt x="39104" y="11254"/>
                        <a:pt x="60020" y="22166"/>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Graphic 5">
                  <a:extLst>
                    <a:ext uri="{FF2B5EF4-FFF2-40B4-BE49-F238E27FC236}">
                      <a16:creationId xmlns:a16="http://schemas.microsoft.com/office/drawing/2014/main" id="{3424D9D6-D6DC-4640-A427-9B5E4748E763}"/>
                    </a:ext>
                  </a:extLst>
                </p:cNvPr>
                <p:cNvSpPr/>
                <p:nvPr/>
              </p:nvSpPr>
              <p:spPr>
                <a:xfrm>
                  <a:off x="11730985" y="4136562"/>
                  <a:ext cx="29744" cy="108217"/>
                </a:xfrm>
                <a:custGeom>
                  <a:avLst/>
                  <a:gdLst>
                    <a:gd name="connsiteX0" fmla="*/ 26713 w 29744"/>
                    <a:gd name="connsiteY0" fmla="*/ 24099 h 108217"/>
                    <a:gd name="connsiteX1" fmla="*/ 1250 w 29744"/>
                    <a:gd name="connsiteY1" fmla="*/ 108217 h 108217"/>
                    <a:gd name="connsiteX2" fmla="*/ 2160 w 29744"/>
                    <a:gd name="connsiteY2" fmla="*/ 86847 h 108217"/>
                    <a:gd name="connsiteX3" fmla="*/ 29442 w 29744"/>
                    <a:gd name="connsiteY3" fmla="*/ 0 h 108217"/>
                    <a:gd name="connsiteX4" fmla="*/ 26713 w 29744"/>
                    <a:gd name="connsiteY4" fmla="*/ 24099 h 108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44" h="108217">
                      <a:moveTo>
                        <a:pt x="26713" y="24099"/>
                      </a:moveTo>
                      <a:cubicBezTo>
                        <a:pt x="20348" y="55473"/>
                        <a:pt x="14891" y="69568"/>
                        <a:pt x="1250" y="108217"/>
                      </a:cubicBezTo>
                      <a:cubicBezTo>
                        <a:pt x="-114" y="103216"/>
                        <a:pt x="-1023" y="98669"/>
                        <a:pt x="2160" y="86847"/>
                      </a:cubicBezTo>
                      <a:cubicBezTo>
                        <a:pt x="4888" y="77298"/>
                        <a:pt x="25349" y="7730"/>
                        <a:pt x="29442" y="0"/>
                      </a:cubicBezTo>
                      <a:cubicBezTo>
                        <a:pt x="29896" y="0"/>
                        <a:pt x="30351" y="6366"/>
                        <a:pt x="26713" y="24099"/>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Graphic 5">
                  <a:extLst>
                    <a:ext uri="{FF2B5EF4-FFF2-40B4-BE49-F238E27FC236}">
                      <a16:creationId xmlns:a16="http://schemas.microsoft.com/office/drawing/2014/main" id="{9C0CE9BD-40A8-4BC3-A844-2C22A2A34AC2}"/>
                    </a:ext>
                  </a:extLst>
                </p:cNvPr>
                <p:cNvSpPr/>
                <p:nvPr/>
              </p:nvSpPr>
              <p:spPr>
                <a:xfrm>
                  <a:off x="10648699" y="4637635"/>
                  <a:ext cx="36893" cy="152322"/>
                </a:xfrm>
                <a:custGeom>
                  <a:avLst/>
                  <a:gdLst>
                    <a:gd name="connsiteX0" fmla="*/ 35011 w 36893"/>
                    <a:gd name="connsiteY0" fmla="*/ 117311 h 152322"/>
                    <a:gd name="connsiteX1" fmla="*/ 24553 w 36893"/>
                    <a:gd name="connsiteY1" fmla="*/ 152323 h 152322"/>
                    <a:gd name="connsiteX2" fmla="*/ 0 w 36893"/>
                    <a:gd name="connsiteY2" fmla="*/ 88211 h 152322"/>
                    <a:gd name="connsiteX3" fmla="*/ 0 w 36893"/>
                    <a:gd name="connsiteY3" fmla="*/ 84573 h 152322"/>
                    <a:gd name="connsiteX4" fmla="*/ 12277 w 36893"/>
                    <a:gd name="connsiteY4" fmla="*/ 46379 h 152322"/>
                    <a:gd name="connsiteX5" fmla="*/ 6820 w 36893"/>
                    <a:gd name="connsiteY5" fmla="*/ 21825 h 152322"/>
                    <a:gd name="connsiteX6" fmla="*/ 6365 w 36893"/>
                    <a:gd name="connsiteY6" fmla="*/ 20461 h 152322"/>
                    <a:gd name="connsiteX7" fmla="*/ 15459 w 36893"/>
                    <a:gd name="connsiteY7" fmla="*/ 0 h 152322"/>
                    <a:gd name="connsiteX8" fmla="*/ 29555 w 36893"/>
                    <a:gd name="connsiteY8" fmla="*/ 6366 h 152322"/>
                    <a:gd name="connsiteX9" fmla="*/ 35011 w 36893"/>
                    <a:gd name="connsiteY9" fmla="*/ 117311 h 15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93" h="152322">
                      <a:moveTo>
                        <a:pt x="35011" y="117311"/>
                      </a:moveTo>
                      <a:cubicBezTo>
                        <a:pt x="32283" y="133680"/>
                        <a:pt x="27282" y="145048"/>
                        <a:pt x="24553" y="152323"/>
                      </a:cubicBezTo>
                      <a:cubicBezTo>
                        <a:pt x="455" y="98214"/>
                        <a:pt x="455" y="98214"/>
                        <a:pt x="0" y="88211"/>
                      </a:cubicBezTo>
                      <a:cubicBezTo>
                        <a:pt x="0" y="87301"/>
                        <a:pt x="0" y="85937"/>
                        <a:pt x="0" y="84573"/>
                      </a:cubicBezTo>
                      <a:cubicBezTo>
                        <a:pt x="1364" y="70932"/>
                        <a:pt x="10912" y="60020"/>
                        <a:pt x="12277" y="46379"/>
                      </a:cubicBezTo>
                      <a:cubicBezTo>
                        <a:pt x="13186" y="36830"/>
                        <a:pt x="9548" y="27737"/>
                        <a:pt x="6820" y="21825"/>
                      </a:cubicBezTo>
                      <a:cubicBezTo>
                        <a:pt x="6820" y="21371"/>
                        <a:pt x="6365" y="20916"/>
                        <a:pt x="6365" y="20461"/>
                      </a:cubicBezTo>
                      <a:cubicBezTo>
                        <a:pt x="6365" y="19552"/>
                        <a:pt x="6365" y="19552"/>
                        <a:pt x="15459" y="0"/>
                      </a:cubicBezTo>
                      <a:cubicBezTo>
                        <a:pt x="29100" y="4547"/>
                        <a:pt x="29100" y="4547"/>
                        <a:pt x="29555" y="6366"/>
                      </a:cubicBezTo>
                      <a:cubicBezTo>
                        <a:pt x="29555" y="6820"/>
                        <a:pt x="41377" y="81845"/>
                        <a:pt x="35011" y="117311"/>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Graphic 5">
                  <a:extLst>
                    <a:ext uri="{FF2B5EF4-FFF2-40B4-BE49-F238E27FC236}">
                      <a16:creationId xmlns:a16="http://schemas.microsoft.com/office/drawing/2014/main" id="{1FB0F641-064F-4040-8F1F-8006A8B87012}"/>
                    </a:ext>
                  </a:extLst>
                </p:cNvPr>
                <p:cNvSpPr/>
                <p:nvPr/>
              </p:nvSpPr>
              <p:spPr>
                <a:xfrm>
                  <a:off x="11681764" y="2930714"/>
                  <a:ext cx="31815" cy="96394"/>
                </a:xfrm>
                <a:custGeom>
                  <a:avLst/>
                  <a:gdLst>
                    <a:gd name="connsiteX0" fmla="*/ 30919 w 31815"/>
                    <a:gd name="connsiteY0" fmla="*/ 60474 h 96394"/>
                    <a:gd name="connsiteX1" fmla="*/ 29555 w 31815"/>
                    <a:gd name="connsiteY1" fmla="*/ 96395 h 96394"/>
                    <a:gd name="connsiteX2" fmla="*/ 0 w 31815"/>
                    <a:gd name="connsiteY2" fmla="*/ 0 h 96394"/>
                    <a:gd name="connsiteX3" fmla="*/ 30919 w 31815"/>
                    <a:gd name="connsiteY3" fmla="*/ 60474 h 96394"/>
                  </a:gdLst>
                  <a:ahLst/>
                  <a:cxnLst>
                    <a:cxn ang="0">
                      <a:pos x="connsiteX0" y="connsiteY0"/>
                    </a:cxn>
                    <a:cxn ang="0">
                      <a:pos x="connsiteX1" y="connsiteY1"/>
                    </a:cxn>
                    <a:cxn ang="0">
                      <a:pos x="connsiteX2" y="connsiteY2"/>
                    </a:cxn>
                    <a:cxn ang="0">
                      <a:pos x="connsiteX3" y="connsiteY3"/>
                    </a:cxn>
                  </a:cxnLst>
                  <a:rect l="l" t="t" r="r" b="b"/>
                  <a:pathLst>
                    <a:path w="31815" h="96394">
                      <a:moveTo>
                        <a:pt x="30919" y="60474"/>
                      </a:moveTo>
                      <a:cubicBezTo>
                        <a:pt x="32283" y="67295"/>
                        <a:pt x="32283" y="67295"/>
                        <a:pt x="29555" y="96395"/>
                      </a:cubicBezTo>
                      <a:cubicBezTo>
                        <a:pt x="6366" y="44105"/>
                        <a:pt x="6366" y="44105"/>
                        <a:pt x="0" y="0"/>
                      </a:cubicBezTo>
                      <a:cubicBezTo>
                        <a:pt x="21826" y="18188"/>
                        <a:pt x="30464" y="58655"/>
                        <a:pt x="30919" y="60474"/>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Graphic 5">
                  <a:extLst>
                    <a:ext uri="{FF2B5EF4-FFF2-40B4-BE49-F238E27FC236}">
                      <a16:creationId xmlns:a16="http://schemas.microsoft.com/office/drawing/2014/main" id="{19DCE8B3-46A8-464B-A9B7-942AF98A6360}"/>
                    </a:ext>
                  </a:extLst>
                </p:cNvPr>
                <p:cNvSpPr/>
                <p:nvPr/>
              </p:nvSpPr>
              <p:spPr>
                <a:xfrm>
                  <a:off x="7281688" y="3766740"/>
                  <a:ext cx="97759" cy="75180"/>
                </a:xfrm>
                <a:custGeom>
                  <a:avLst/>
                  <a:gdLst>
                    <a:gd name="connsiteX0" fmla="*/ 97759 w 97759"/>
                    <a:gd name="connsiteY0" fmla="*/ 55629 h 75180"/>
                    <a:gd name="connsiteX1" fmla="*/ 81390 w 97759"/>
                    <a:gd name="connsiteY1" fmla="*/ 75181 h 75180"/>
                    <a:gd name="connsiteX2" fmla="*/ 5911 w 97759"/>
                    <a:gd name="connsiteY2" fmla="*/ 22891 h 75180"/>
                    <a:gd name="connsiteX3" fmla="*/ 0 w 97759"/>
                    <a:gd name="connsiteY3" fmla="*/ 5158 h 75180"/>
                    <a:gd name="connsiteX4" fmla="*/ 40468 w 97759"/>
                    <a:gd name="connsiteY4" fmla="*/ 1066 h 75180"/>
                    <a:gd name="connsiteX5" fmla="*/ 97759 w 97759"/>
                    <a:gd name="connsiteY5" fmla="*/ 55629 h 75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59" h="75180">
                      <a:moveTo>
                        <a:pt x="97759" y="55629"/>
                      </a:moveTo>
                      <a:cubicBezTo>
                        <a:pt x="96850" y="59266"/>
                        <a:pt x="87756" y="72907"/>
                        <a:pt x="81390" y="75181"/>
                      </a:cubicBezTo>
                      <a:cubicBezTo>
                        <a:pt x="42287" y="51991"/>
                        <a:pt x="6366" y="22891"/>
                        <a:pt x="5911" y="22891"/>
                      </a:cubicBezTo>
                      <a:cubicBezTo>
                        <a:pt x="4547" y="21527"/>
                        <a:pt x="4547" y="21527"/>
                        <a:pt x="0" y="5158"/>
                      </a:cubicBezTo>
                      <a:cubicBezTo>
                        <a:pt x="15460" y="156"/>
                        <a:pt x="25463" y="-1208"/>
                        <a:pt x="40468" y="1066"/>
                      </a:cubicBezTo>
                      <a:cubicBezTo>
                        <a:pt x="91394" y="11069"/>
                        <a:pt x="97759" y="55174"/>
                        <a:pt x="97759" y="55629"/>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Graphic 5">
                  <a:extLst>
                    <a:ext uri="{FF2B5EF4-FFF2-40B4-BE49-F238E27FC236}">
                      <a16:creationId xmlns:a16="http://schemas.microsoft.com/office/drawing/2014/main" id="{83E34634-4E05-41DD-881D-7847C0932FC3}"/>
                    </a:ext>
                  </a:extLst>
                </p:cNvPr>
                <p:cNvSpPr/>
                <p:nvPr/>
              </p:nvSpPr>
              <p:spPr>
                <a:xfrm>
                  <a:off x="11600374" y="4641728"/>
                  <a:ext cx="26372" cy="62747"/>
                </a:xfrm>
                <a:custGeom>
                  <a:avLst/>
                  <a:gdLst>
                    <a:gd name="connsiteX0" fmla="*/ 3183 w 26372"/>
                    <a:gd name="connsiteY0" fmla="*/ 55473 h 62747"/>
                    <a:gd name="connsiteX1" fmla="*/ 0 w 26372"/>
                    <a:gd name="connsiteY1" fmla="*/ 62748 h 62747"/>
                    <a:gd name="connsiteX2" fmla="*/ 26372 w 26372"/>
                    <a:gd name="connsiteY2" fmla="*/ 455 h 62747"/>
                    <a:gd name="connsiteX3" fmla="*/ 26372 w 26372"/>
                    <a:gd name="connsiteY3" fmla="*/ 0 h 62747"/>
                    <a:gd name="connsiteX4" fmla="*/ 25008 w 26372"/>
                    <a:gd name="connsiteY4" fmla="*/ 3637 h 62747"/>
                    <a:gd name="connsiteX5" fmla="*/ 3183 w 26372"/>
                    <a:gd name="connsiteY5" fmla="*/ 55473 h 6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72" h="62747">
                      <a:moveTo>
                        <a:pt x="3183" y="55473"/>
                      </a:moveTo>
                      <a:cubicBezTo>
                        <a:pt x="2273" y="57746"/>
                        <a:pt x="1364" y="60020"/>
                        <a:pt x="0" y="62748"/>
                      </a:cubicBezTo>
                      <a:cubicBezTo>
                        <a:pt x="9094" y="41832"/>
                        <a:pt x="17279" y="20916"/>
                        <a:pt x="26372" y="455"/>
                      </a:cubicBezTo>
                      <a:cubicBezTo>
                        <a:pt x="26372" y="455"/>
                        <a:pt x="26372" y="0"/>
                        <a:pt x="26372" y="0"/>
                      </a:cubicBezTo>
                      <a:cubicBezTo>
                        <a:pt x="25918" y="1364"/>
                        <a:pt x="25463" y="2273"/>
                        <a:pt x="25008" y="3637"/>
                      </a:cubicBezTo>
                      <a:lnTo>
                        <a:pt x="3183" y="55473"/>
                      </a:ln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Graphic 5">
                  <a:extLst>
                    <a:ext uri="{FF2B5EF4-FFF2-40B4-BE49-F238E27FC236}">
                      <a16:creationId xmlns:a16="http://schemas.microsoft.com/office/drawing/2014/main" id="{89B74214-1A0E-4E97-9C8E-CFA21E3EEEF7}"/>
                    </a:ext>
                  </a:extLst>
                </p:cNvPr>
                <p:cNvSpPr/>
                <p:nvPr/>
              </p:nvSpPr>
              <p:spPr>
                <a:xfrm>
                  <a:off x="8722159" y="1336101"/>
                  <a:ext cx="40922" cy="54178"/>
                </a:xfrm>
                <a:custGeom>
                  <a:avLst/>
                  <a:gdLst>
                    <a:gd name="connsiteX0" fmla="*/ 39104 w 40922"/>
                    <a:gd name="connsiteY0" fmla="*/ 30010 h 54178"/>
                    <a:gd name="connsiteX1" fmla="*/ 13186 w 40922"/>
                    <a:gd name="connsiteY1" fmla="*/ 54109 h 54178"/>
                    <a:gd name="connsiteX2" fmla="*/ 8639 w 40922"/>
                    <a:gd name="connsiteY2" fmla="*/ 50471 h 54178"/>
                    <a:gd name="connsiteX3" fmla="*/ 0 w 40922"/>
                    <a:gd name="connsiteY3" fmla="*/ 38194 h 54178"/>
                    <a:gd name="connsiteX4" fmla="*/ 26827 w 40922"/>
                    <a:gd name="connsiteY4" fmla="*/ 0 h 54178"/>
                    <a:gd name="connsiteX5" fmla="*/ 40922 w 40922"/>
                    <a:gd name="connsiteY5" fmla="*/ 28191 h 54178"/>
                    <a:gd name="connsiteX6" fmla="*/ 39104 w 40922"/>
                    <a:gd name="connsiteY6" fmla="*/ 30010 h 5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22" h="54178">
                      <a:moveTo>
                        <a:pt x="39104" y="30010"/>
                      </a:moveTo>
                      <a:cubicBezTo>
                        <a:pt x="20916" y="49107"/>
                        <a:pt x="16369" y="53199"/>
                        <a:pt x="13186" y="54109"/>
                      </a:cubicBezTo>
                      <a:cubicBezTo>
                        <a:pt x="11822" y="54563"/>
                        <a:pt x="10458" y="52745"/>
                        <a:pt x="8639" y="50471"/>
                      </a:cubicBezTo>
                      <a:cubicBezTo>
                        <a:pt x="5456" y="46834"/>
                        <a:pt x="3183" y="42287"/>
                        <a:pt x="0" y="38194"/>
                      </a:cubicBezTo>
                      <a:cubicBezTo>
                        <a:pt x="10913" y="22735"/>
                        <a:pt x="18188" y="12731"/>
                        <a:pt x="26827" y="0"/>
                      </a:cubicBezTo>
                      <a:cubicBezTo>
                        <a:pt x="32283" y="10458"/>
                        <a:pt x="35466" y="17278"/>
                        <a:pt x="40922" y="28191"/>
                      </a:cubicBezTo>
                      <a:cubicBezTo>
                        <a:pt x="40013" y="28646"/>
                        <a:pt x="39558" y="29555"/>
                        <a:pt x="39104" y="3001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Graphic 5">
                  <a:extLst>
                    <a:ext uri="{FF2B5EF4-FFF2-40B4-BE49-F238E27FC236}">
                      <a16:creationId xmlns:a16="http://schemas.microsoft.com/office/drawing/2014/main" id="{197EFD1C-403C-46ED-95CE-04A6428188BA}"/>
                    </a:ext>
                  </a:extLst>
                </p:cNvPr>
                <p:cNvSpPr/>
                <p:nvPr/>
              </p:nvSpPr>
              <p:spPr>
                <a:xfrm>
                  <a:off x="7675453" y="888672"/>
                  <a:ext cx="68211" cy="38658"/>
                </a:xfrm>
                <a:custGeom>
                  <a:avLst/>
                  <a:gdLst>
                    <a:gd name="connsiteX0" fmla="*/ 35921 w 68211"/>
                    <a:gd name="connsiteY0" fmla="*/ 22290 h 38658"/>
                    <a:gd name="connsiteX1" fmla="*/ 0 w 68211"/>
                    <a:gd name="connsiteY1" fmla="*/ 38659 h 38658"/>
                    <a:gd name="connsiteX2" fmla="*/ 68204 w 68211"/>
                    <a:gd name="connsiteY2" fmla="*/ 10 h 38658"/>
                    <a:gd name="connsiteX3" fmla="*/ 35921 w 68211"/>
                    <a:gd name="connsiteY3" fmla="*/ 22290 h 38658"/>
                  </a:gdLst>
                  <a:ahLst/>
                  <a:cxnLst>
                    <a:cxn ang="0">
                      <a:pos x="connsiteX0" y="connsiteY0"/>
                    </a:cxn>
                    <a:cxn ang="0">
                      <a:pos x="connsiteX1" y="connsiteY1"/>
                    </a:cxn>
                    <a:cxn ang="0">
                      <a:pos x="connsiteX2" y="connsiteY2"/>
                    </a:cxn>
                    <a:cxn ang="0">
                      <a:pos x="connsiteX3" y="connsiteY3"/>
                    </a:cxn>
                  </a:cxnLst>
                  <a:rect l="l" t="t" r="r" b="b"/>
                  <a:pathLst>
                    <a:path w="68211" h="38658">
                      <a:moveTo>
                        <a:pt x="35921" y="22290"/>
                      </a:moveTo>
                      <a:cubicBezTo>
                        <a:pt x="22280" y="29110"/>
                        <a:pt x="7275" y="35476"/>
                        <a:pt x="0" y="38659"/>
                      </a:cubicBezTo>
                      <a:cubicBezTo>
                        <a:pt x="13641" y="15015"/>
                        <a:pt x="66385" y="-445"/>
                        <a:pt x="68204" y="10"/>
                      </a:cubicBezTo>
                      <a:cubicBezTo>
                        <a:pt x="68204" y="10"/>
                        <a:pt x="69568" y="5466"/>
                        <a:pt x="35921" y="2229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Graphic 5">
                  <a:extLst>
                    <a:ext uri="{FF2B5EF4-FFF2-40B4-BE49-F238E27FC236}">
                      <a16:creationId xmlns:a16="http://schemas.microsoft.com/office/drawing/2014/main" id="{C2CBE546-0B52-4F94-BCCF-41DBD0D686BC}"/>
                    </a:ext>
                  </a:extLst>
                </p:cNvPr>
                <p:cNvSpPr/>
                <p:nvPr/>
              </p:nvSpPr>
              <p:spPr>
                <a:xfrm>
                  <a:off x="8763537" y="1275172"/>
                  <a:ext cx="39558" cy="45924"/>
                </a:xfrm>
                <a:custGeom>
                  <a:avLst/>
                  <a:gdLst>
                    <a:gd name="connsiteX0" fmla="*/ 39558 w 39558"/>
                    <a:gd name="connsiteY0" fmla="*/ 15914 h 45924"/>
                    <a:gd name="connsiteX1" fmla="*/ 39104 w 39558"/>
                    <a:gd name="connsiteY1" fmla="*/ 24553 h 45924"/>
                    <a:gd name="connsiteX2" fmla="*/ 7275 w 39558"/>
                    <a:gd name="connsiteY2" fmla="*/ 45924 h 45924"/>
                    <a:gd name="connsiteX3" fmla="*/ 0 w 39558"/>
                    <a:gd name="connsiteY3" fmla="*/ 32738 h 45924"/>
                    <a:gd name="connsiteX4" fmla="*/ 25008 w 39558"/>
                    <a:gd name="connsiteY4" fmla="*/ 0 h 45924"/>
                    <a:gd name="connsiteX5" fmla="*/ 25008 w 39558"/>
                    <a:gd name="connsiteY5" fmla="*/ 0 h 45924"/>
                    <a:gd name="connsiteX6" fmla="*/ 29555 w 39558"/>
                    <a:gd name="connsiteY6" fmla="*/ 3638 h 45924"/>
                    <a:gd name="connsiteX7" fmla="*/ 39558 w 39558"/>
                    <a:gd name="connsiteY7" fmla="*/ 15914 h 4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8" h="45924">
                      <a:moveTo>
                        <a:pt x="39558" y="15914"/>
                      </a:moveTo>
                      <a:cubicBezTo>
                        <a:pt x="39558" y="18642"/>
                        <a:pt x="39558" y="21371"/>
                        <a:pt x="39104" y="24553"/>
                      </a:cubicBezTo>
                      <a:cubicBezTo>
                        <a:pt x="17733" y="39558"/>
                        <a:pt x="15914" y="40922"/>
                        <a:pt x="7275" y="45924"/>
                      </a:cubicBezTo>
                      <a:cubicBezTo>
                        <a:pt x="3637" y="44105"/>
                        <a:pt x="0" y="32738"/>
                        <a:pt x="0" y="32738"/>
                      </a:cubicBezTo>
                      <a:cubicBezTo>
                        <a:pt x="1819" y="28191"/>
                        <a:pt x="22280" y="455"/>
                        <a:pt x="25008" y="0"/>
                      </a:cubicBezTo>
                      <a:cubicBezTo>
                        <a:pt x="25008" y="0"/>
                        <a:pt x="25008" y="0"/>
                        <a:pt x="25008" y="0"/>
                      </a:cubicBezTo>
                      <a:cubicBezTo>
                        <a:pt x="25918" y="455"/>
                        <a:pt x="27282" y="909"/>
                        <a:pt x="29555" y="3638"/>
                      </a:cubicBezTo>
                      <a:cubicBezTo>
                        <a:pt x="39558" y="14095"/>
                        <a:pt x="39558" y="14095"/>
                        <a:pt x="39558" y="15914"/>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Graphic 5">
                  <a:extLst>
                    <a:ext uri="{FF2B5EF4-FFF2-40B4-BE49-F238E27FC236}">
                      <a16:creationId xmlns:a16="http://schemas.microsoft.com/office/drawing/2014/main" id="{04AC01D1-174B-4ED9-B13B-703F623E3DE8}"/>
                    </a:ext>
                  </a:extLst>
                </p:cNvPr>
                <p:cNvSpPr/>
                <p:nvPr/>
              </p:nvSpPr>
              <p:spPr>
                <a:xfrm>
                  <a:off x="11712980" y="3068486"/>
                  <a:ext cx="15390" cy="82299"/>
                </a:xfrm>
                <a:custGeom>
                  <a:avLst/>
                  <a:gdLst>
                    <a:gd name="connsiteX0" fmla="*/ 11526 w 15390"/>
                    <a:gd name="connsiteY0" fmla="*/ 4092 h 82299"/>
                    <a:gd name="connsiteX1" fmla="*/ 14254 w 15390"/>
                    <a:gd name="connsiteY1" fmla="*/ 82300 h 82299"/>
                    <a:gd name="connsiteX2" fmla="*/ 2432 w 15390"/>
                    <a:gd name="connsiteY2" fmla="*/ 45924 h 82299"/>
                    <a:gd name="connsiteX3" fmla="*/ 3341 w 15390"/>
                    <a:gd name="connsiteY3" fmla="*/ 7730 h 82299"/>
                    <a:gd name="connsiteX4" fmla="*/ 11071 w 15390"/>
                    <a:gd name="connsiteY4" fmla="*/ 0 h 82299"/>
                    <a:gd name="connsiteX5" fmla="*/ 11526 w 15390"/>
                    <a:gd name="connsiteY5" fmla="*/ 4092 h 8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90" h="82299">
                      <a:moveTo>
                        <a:pt x="11526" y="4092"/>
                      </a:moveTo>
                      <a:cubicBezTo>
                        <a:pt x="16073" y="50471"/>
                        <a:pt x="16073" y="50471"/>
                        <a:pt x="14254" y="82300"/>
                      </a:cubicBezTo>
                      <a:cubicBezTo>
                        <a:pt x="4705" y="61384"/>
                        <a:pt x="4705" y="61384"/>
                        <a:pt x="2432" y="45924"/>
                      </a:cubicBezTo>
                      <a:cubicBezTo>
                        <a:pt x="-2115" y="15459"/>
                        <a:pt x="613" y="11822"/>
                        <a:pt x="3341" y="7730"/>
                      </a:cubicBezTo>
                      <a:cubicBezTo>
                        <a:pt x="5615" y="5002"/>
                        <a:pt x="8798" y="2728"/>
                        <a:pt x="11071" y="0"/>
                      </a:cubicBezTo>
                      <a:cubicBezTo>
                        <a:pt x="11071" y="1364"/>
                        <a:pt x="11071" y="2728"/>
                        <a:pt x="11526" y="409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Graphic 5">
                  <a:extLst>
                    <a:ext uri="{FF2B5EF4-FFF2-40B4-BE49-F238E27FC236}">
                      <a16:creationId xmlns:a16="http://schemas.microsoft.com/office/drawing/2014/main" id="{17814F43-7919-4EB3-9B42-2798DB6D3D72}"/>
                    </a:ext>
                  </a:extLst>
                </p:cNvPr>
                <p:cNvSpPr/>
                <p:nvPr/>
              </p:nvSpPr>
              <p:spPr>
                <a:xfrm>
                  <a:off x="9966203" y="4459395"/>
                  <a:ext cx="88665" cy="61908"/>
                </a:xfrm>
                <a:custGeom>
                  <a:avLst/>
                  <a:gdLst>
                    <a:gd name="connsiteX0" fmla="*/ 84118 w 88665"/>
                    <a:gd name="connsiteY0" fmla="*/ 22735 h 61908"/>
                    <a:gd name="connsiteX1" fmla="*/ 29100 w 88665"/>
                    <a:gd name="connsiteY1" fmla="*/ 61839 h 61908"/>
                    <a:gd name="connsiteX2" fmla="*/ 20916 w 88665"/>
                    <a:gd name="connsiteY2" fmla="*/ 57746 h 61908"/>
                    <a:gd name="connsiteX3" fmla="*/ 0 w 88665"/>
                    <a:gd name="connsiteY3" fmla="*/ 35012 h 61908"/>
                    <a:gd name="connsiteX4" fmla="*/ 29100 w 88665"/>
                    <a:gd name="connsiteY4" fmla="*/ 8639 h 61908"/>
                    <a:gd name="connsiteX5" fmla="*/ 45469 w 88665"/>
                    <a:gd name="connsiteY5" fmla="*/ 0 h 61908"/>
                    <a:gd name="connsiteX6" fmla="*/ 55927 w 88665"/>
                    <a:gd name="connsiteY6" fmla="*/ 2273 h 61908"/>
                    <a:gd name="connsiteX7" fmla="*/ 88665 w 88665"/>
                    <a:gd name="connsiteY7" fmla="*/ 19097 h 61908"/>
                    <a:gd name="connsiteX8" fmla="*/ 84118 w 88665"/>
                    <a:gd name="connsiteY8" fmla="*/ 22735 h 6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65" h="61908">
                      <a:moveTo>
                        <a:pt x="84118" y="22735"/>
                      </a:moveTo>
                      <a:cubicBezTo>
                        <a:pt x="36376" y="60929"/>
                        <a:pt x="36376" y="60929"/>
                        <a:pt x="29100" y="61839"/>
                      </a:cubicBezTo>
                      <a:cubicBezTo>
                        <a:pt x="26827" y="62293"/>
                        <a:pt x="23644" y="60475"/>
                        <a:pt x="20916" y="57746"/>
                      </a:cubicBezTo>
                      <a:cubicBezTo>
                        <a:pt x="13186" y="50926"/>
                        <a:pt x="7275" y="42287"/>
                        <a:pt x="0" y="35012"/>
                      </a:cubicBezTo>
                      <a:cubicBezTo>
                        <a:pt x="10003" y="26372"/>
                        <a:pt x="18642" y="16824"/>
                        <a:pt x="29100" y="8639"/>
                      </a:cubicBezTo>
                      <a:cubicBezTo>
                        <a:pt x="39104" y="909"/>
                        <a:pt x="45015" y="0"/>
                        <a:pt x="45469" y="0"/>
                      </a:cubicBezTo>
                      <a:cubicBezTo>
                        <a:pt x="47288" y="0"/>
                        <a:pt x="50471" y="0"/>
                        <a:pt x="55927" y="2273"/>
                      </a:cubicBezTo>
                      <a:cubicBezTo>
                        <a:pt x="67295" y="7275"/>
                        <a:pt x="77753" y="14096"/>
                        <a:pt x="88665" y="19097"/>
                      </a:cubicBezTo>
                      <a:cubicBezTo>
                        <a:pt x="87301" y="20007"/>
                        <a:pt x="85482" y="21371"/>
                        <a:pt x="84118" y="2273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Graphic 5">
                  <a:extLst>
                    <a:ext uri="{FF2B5EF4-FFF2-40B4-BE49-F238E27FC236}">
                      <a16:creationId xmlns:a16="http://schemas.microsoft.com/office/drawing/2014/main" id="{66E662E5-7ABE-4B84-AC85-DD4F18ADF913}"/>
                    </a:ext>
                  </a:extLst>
                </p:cNvPr>
                <p:cNvSpPr/>
                <p:nvPr/>
              </p:nvSpPr>
              <p:spPr>
                <a:xfrm>
                  <a:off x="6081295" y="4007429"/>
                  <a:ext cx="28645" cy="89497"/>
                </a:xfrm>
                <a:custGeom>
                  <a:avLst/>
                  <a:gdLst>
                    <a:gd name="connsiteX0" fmla="*/ 28646 w 28645"/>
                    <a:gd name="connsiteY0" fmla="*/ 51835 h 89497"/>
                    <a:gd name="connsiteX1" fmla="*/ 3183 w 28645"/>
                    <a:gd name="connsiteY1" fmla="*/ 84118 h 89497"/>
                    <a:gd name="connsiteX2" fmla="*/ 0 w 28645"/>
                    <a:gd name="connsiteY2" fmla="*/ 80481 h 89497"/>
                    <a:gd name="connsiteX3" fmla="*/ 20007 w 28645"/>
                    <a:gd name="connsiteY3" fmla="*/ 0 h 89497"/>
                    <a:gd name="connsiteX4" fmla="*/ 28646 w 28645"/>
                    <a:gd name="connsiteY4" fmla="*/ 51835 h 89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45" h="89497">
                      <a:moveTo>
                        <a:pt x="28646" y="51835"/>
                      </a:moveTo>
                      <a:cubicBezTo>
                        <a:pt x="28646" y="52290"/>
                        <a:pt x="26827" y="106398"/>
                        <a:pt x="3183" y="84118"/>
                      </a:cubicBezTo>
                      <a:cubicBezTo>
                        <a:pt x="1819" y="82754"/>
                        <a:pt x="909" y="81390"/>
                        <a:pt x="0" y="80481"/>
                      </a:cubicBezTo>
                      <a:cubicBezTo>
                        <a:pt x="6366" y="52290"/>
                        <a:pt x="12731" y="27736"/>
                        <a:pt x="20007" y="0"/>
                      </a:cubicBezTo>
                      <a:cubicBezTo>
                        <a:pt x="22735" y="17278"/>
                        <a:pt x="28191" y="34102"/>
                        <a:pt x="28646" y="5183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Graphic 5">
                  <a:extLst>
                    <a:ext uri="{FF2B5EF4-FFF2-40B4-BE49-F238E27FC236}">
                      <a16:creationId xmlns:a16="http://schemas.microsoft.com/office/drawing/2014/main" id="{BC245CA2-A1FB-4C1F-A4A8-C96711C7F2F6}"/>
                    </a:ext>
                  </a:extLst>
                </p:cNvPr>
                <p:cNvSpPr/>
                <p:nvPr/>
              </p:nvSpPr>
              <p:spPr>
                <a:xfrm>
                  <a:off x="8158146" y="4958650"/>
                  <a:ext cx="57484" cy="81937"/>
                </a:xfrm>
                <a:custGeom>
                  <a:avLst/>
                  <a:gdLst>
                    <a:gd name="connsiteX0" fmla="*/ 57484 w 57484"/>
                    <a:gd name="connsiteY0" fmla="*/ 30919 h 81937"/>
                    <a:gd name="connsiteX1" fmla="*/ 24292 w 57484"/>
                    <a:gd name="connsiteY1" fmla="*/ 81845 h 81937"/>
                    <a:gd name="connsiteX2" fmla="*/ 2921 w 57484"/>
                    <a:gd name="connsiteY2" fmla="*/ 70932 h 81937"/>
                    <a:gd name="connsiteX3" fmla="*/ 2921 w 57484"/>
                    <a:gd name="connsiteY3" fmla="*/ 50016 h 81937"/>
                    <a:gd name="connsiteX4" fmla="*/ 52937 w 57484"/>
                    <a:gd name="connsiteY4" fmla="*/ 0 h 81937"/>
                    <a:gd name="connsiteX5" fmla="*/ 57484 w 57484"/>
                    <a:gd name="connsiteY5" fmla="*/ 22735 h 81937"/>
                    <a:gd name="connsiteX6" fmla="*/ 57484 w 57484"/>
                    <a:gd name="connsiteY6" fmla="*/ 30919 h 8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84" h="81937">
                      <a:moveTo>
                        <a:pt x="57484" y="30919"/>
                      </a:moveTo>
                      <a:cubicBezTo>
                        <a:pt x="55211" y="44560"/>
                        <a:pt x="26565" y="80026"/>
                        <a:pt x="24292" y="81845"/>
                      </a:cubicBezTo>
                      <a:cubicBezTo>
                        <a:pt x="22927" y="82754"/>
                        <a:pt x="7013" y="76843"/>
                        <a:pt x="2921" y="70932"/>
                      </a:cubicBezTo>
                      <a:cubicBezTo>
                        <a:pt x="-262" y="66840"/>
                        <a:pt x="-1626" y="55927"/>
                        <a:pt x="2921" y="50016"/>
                      </a:cubicBezTo>
                      <a:cubicBezTo>
                        <a:pt x="5194" y="46833"/>
                        <a:pt x="5194" y="46833"/>
                        <a:pt x="52937" y="0"/>
                      </a:cubicBezTo>
                      <a:cubicBezTo>
                        <a:pt x="54301" y="7730"/>
                        <a:pt x="56575" y="15459"/>
                        <a:pt x="57484" y="22735"/>
                      </a:cubicBezTo>
                      <a:cubicBezTo>
                        <a:pt x="57484" y="25463"/>
                        <a:pt x="57484" y="28646"/>
                        <a:pt x="57484" y="30919"/>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Graphic 5">
                  <a:extLst>
                    <a:ext uri="{FF2B5EF4-FFF2-40B4-BE49-F238E27FC236}">
                      <a16:creationId xmlns:a16="http://schemas.microsoft.com/office/drawing/2014/main" id="{90DBD03F-AB98-4278-80AC-9983D14049CC}"/>
                    </a:ext>
                  </a:extLst>
                </p:cNvPr>
                <p:cNvSpPr/>
                <p:nvPr/>
              </p:nvSpPr>
              <p:spPr>
                <a:xfrm>
                  <a:off x="9837525" y="5668427"/>
                  <a:ext cx="60474" cy="40922"/>
                </a:xfrm>
                <a:custGeom>
                  <a:avLst/>
                  <a:gdLst>
                    <a:gd name="connsiteX0" fmla="*/ 56837 w 60474"/>
                    <a:gd name="connsiteY0" fmla="*/ 21826 h 40922"/>
                    <a:gd name="connsiteX1" fmla="*/ 30464 w 60474"/>
                    <a:gd name="connsiteY1" fmla="*/ 37740 h 40922"/>
                    <a:gd name="connsiteX2" fmla="*/ 21370 w 60474"/>
                    <a:gd name="connsiteY2" fmla="*/ 40922 h 40922"/>
                    <a:gd name="connsiteX3" fmla="*/ 13186 w 60474"/>
                    <a:gd name="connsiteY3" fmla="*/ 37740 h 40922"/>
                    <a:gd name="connsiteX4" fmla="*/ 0 w 60474"/>
                    <a:gd name="connsiteY4" fmla="*/ 24099 h 40922"/>
                    <a:gd name="connsiteX5" fmla="*/ 24099 w 60474"/>
                    <a:gd name="connsiteY5" fmla="*/ 5002 h 40922"/>
                    <a:gd name="connsiteX6" fmla="*/ 35466 w 60474"/>
                    <a:gd name="connsiteY6" fmla="*/ 0 h 40922"/>
                    <a:gd name="connsiteX7" fmla="*/ 42287 w 60474"/>
                    <a:gd name="connsiteY7" fmla="*/ 2273 h 40922"/>
                    <a:gd name="connsiteX8" fmla="*/ 60474 w 60474"/>
                    <a:gd name="connsiteY8" fmla="*/ 20007 h 40922"/>
                    <a:gd name="connsiteX9" fmla="*/ 56837 w 60474"/>
                    <a:gd name="connsiteY9" fmla="*/ 21826 h 4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74" h="40922">
                      <a:moveTo>
                        <a:pt x="56837" y="21826"/>
                      </a:moveTo>
                      <a:cubicBezTo>
                        <a:pt x="47743" y="26827"/>
                        <a:pt x="39558" y="33193"/>
                        <a:pt x="30464" y="37740"/>
                      </a:cubicBezTo>
                      <a:cubicBezTo>
                        <a:pt x="25463" y="40468"/>
                        <a:pt x="22735" y="40922"/>
                        <a:pt x="21370" y="40922"/>
                      </a:cubicBezTo>
                      <a:cubicBezTo>
                        <a:pt x="19552" y="40922"/>
                        <a:pt x="15914" y="40013"/>
                        <a:pt x="13186" y="37740"/>
                      </a:cubicBezTo>
                      <a:cubicBezTo>
                        <a:pt x="8184" y="33647"/>
                        <a:pt x="5002" y="28646"/>
                        <a:pt x="0" y="24099"/>
                      </a:cubicBezTo>
                      <a:cubicBezTo>
                        <a:pt x="8184" y="17733"/>
                        <a:pt x="15459" y="10458"/>
                        <a:pt x="24099" y="5002"/>
                      </a:cubicBezTo>
                      <a:cubicBezTo>
                        <a:pt x="28191" y="2273"/>
                        <a:pt x="32283" y="0"/>
                        <a:pt x="35466" y="0"/>
                      </a:cubicBezTo>
                      <a:cubicBezTo>
                        <a:pt x="36830" y="0"/>
                        <a:pt x="39558" y="0"/>
                        <a:pt x="42287" y="2273"/>
                      </a:cubicBezTo>
                      <a:cubicBezTo>
                        <a:pt x="49107" y="7730"/>
                        <a:pt x="54108" y="14550"/>
                        <a:pt x="60474" y="20007"/>
                      </a:cubicBezTo>
                      <a:cubicBezTo>
                        <a:pt x="59110" y="20461"/>
                        <a:pt x="57746" y="21370"/>
                        <a:pt x="56837" y="21826"/>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Graphic 5">
                  <a:extLst>
                    <a:ext uri="{FF2B5EF4-FFF2-40B4-BE49-F238E27FC236}">
                      <a16:creationId xmlns:a16="http://schemas.microsoft.com/office/drawing/2014/main" id="{DA0BCA30-E0F8-45A9-B6F2-7A55FB9D61D4}"/>
                    </a:ext>
                  </a:extLst>
                </p:cNvPr>
                <p:cNvSpPr/>
                <p:nvPr/>
              </p:nvSpPr>
              <p:spPr>
                <a:xfrm>
                  <a:off x="11513414" y="4380733"/>
                  <a:ext cx="25121" cy="70023"/>
                </a:xfrm>
                <a:custGeom>
                  <a:avLst/>
                  <a:gdLst>
                    <a:gd name="connsiteX0" fmla="*/ 23303 w 25121"/>
                    <a:gd name="connsiteY0" fmla="*/ 30010 h 70023"/>
                    <a:gd name="connsiteX1" fmla="*/ 2842 w 25121"/>
                    <a:gd name="connsiteY1" fmla="*/ 70023 h 70023"/>
                    <a:gd name="connsiteX2" fmla="*/ 114 w 25121"/>
                    <a:gd name="connsiteY2" fmla="*/ 50926 h 70023"/>
                    <a:gd name="connsiteX3" fmla="*/ 568 w 25121"/>
                    <a:gd name="connsiteY3" fmla="*/ 40922 h 70023"/>
                    <a:gd name="connsiteX4" fmla="*/ 16028 w 25121"/>
                    <a:gd name="connsiteY4" fmla="*/ 0 h 70023"/>
                    <a:gd name="connsiteX5" fmla="*/ 25122 w 25121"/>
                    <a:gd name="connsiteY5" fmla="*/ 26372 h 70023"/>
                    <a:gd name="connsiteX6" fmla="*/ 23303 w 25121"/>
                    <a:gd name="connsiteY6" fmla="*/ 30010 h 7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21" h="70023">
                      <a:moveTo>
                        <a:pt x="23303" y="30010"/>
                      </a:moveTo>
                      <a:cubicBezTo>
                        <a:pt x="15119" y="45924"/>
                        <a:pt x="7843" y="60020"/>
                        <a:pt x="2842" y="70023"/>
                      </a:cubicBezTo>
                      <a:cubicBezTo>
                        <a:pt x="1933" y="63657"/>
                        <a:pt x="568" y="57292"/>
                        <a:pt x="114" y="50926"/>
                      </a:cubicBezTo>
                      <a:cubicBezTo>
                        <a:pt x="114" y="50016"/>
                        <a:pt x="-341" y="45924"/>
                        <a:pt x="568" y="40922"/>
                      </a:cubicBezTo>
                      <a:cubicBezTo>
                        <a:pt x="1023" y="38194"/>
                        <a:pt x="1023" y="38194"/>
                        <a:pt x="16028" y="0"/>
                      </a:cubicBezTo>
                      <a:cubicBezTo>
                        <a:pt x="20120" y="10913"/>
                        <a:pt x="22394" y="18188"/>
                        <a:pt x="25122" y="26372"/>
                      </a:cubicBezTo>
                      <a:cubicBezTo>
                        <a:pt x="24667" y="27282"/>
                        <a:pt x="24213" y="29101"/>
                        <a:pt x="23303" y="3001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Graphic 5">
                  <a:extLst>
                    <a:ext uri="{FF2B5EF4-FFF2-40B4-BE49-F238E27FC236}">
                      <a16:creationId xmlns:a16="http://schemas.microsoft.com/office/drawing/2014/main" id="{3B846325-DC87-49F1-9EDE-FDBAE12A2979}"/>
                    </a:ext>
                  </a:extLst>
                </p:cNvPr>
                <p:cNvSpPr/>
                <p:nvPr/>
              </p:nvSpPr>
              <p:spPr>
                <a:xfrm>
                  <a:off x="9746586" y="947493"/>
                  <a:ext cx="51834" cy="27018"/>
                </a:xfrm>
                <a:custGeom>
                  <a:avLst/>
                  <a:gdLst>
                    <a:gd name="connsiteX0" fmla="*/ 39104 w 51834"/>
                    <a:gd name="connsiteY0" fmla="*/ 14395 h 27018"/>
                    <a:gd name="connsiteX1" fmla="*/ 51835 w 51834"/>
                    <a:gd name="connsiteY1" fmla="*/ 26217 h 27018"/>
                    <a:gd name="connsiteX2" fmla="*/ 0 w 51834"/>
                    <a:gd name="connsiteY2" fmla="*/ 5301 h 27018"/>
                    <a:gd name="connsiteX3" fmla="*/ 2728 w 51834"/>
                    <a:gd name="connsiteY3" fmla="*/ 299 h 27018"/>
                    <a:gd name="connsiteX4" fmla="*/ 39104 w 51834"/>
                    <a:gd name="connsiteY4" fmla="*/ 14395 h 27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34" h="27018">
                      <a:moveTo>
                        <a:pt x="39104" y="14395"/>
                      </a:moveTo>
                      <a:cubicBezTo>
                        <a:pt x="41377" y="16214"/>
                        <a:pt x="51380" y="23489"/>
                        <a:pt x="51835" y="26217"/>
                      </a:cubicBezTo>
                      <a:cubicBezTo>
                        <a:pt x="45015" y="30309"/>
                        <a:pt x="21825" y="18032"/>
                        <a:pt x="0" y="5301"/>
                      </a:cubicBezTo>
                      <a:cubicBezTo>
                        <a:pt x="455" y="2573"/>
                        <a:pt x="909" y="1209"/>
                        <a:pt x="2728" y="299"/>
                      </a:cubicBezTo>
                      <a:cubicBezTo>
                        <a:pt x="11367" y="-2429"/>
                        <a:pt x="39104" y="14395"/>
                        <a:pt x="39104" y="1439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Graphic 5">
                  <a:extLst>
                    <a:ext uri="{FF2B5EF4-FFF2-40B4-BE49-F238E27FC236}">
                      <a16:creationId xmlns:a16="http://schemas.microsoft.com/office/drawing/2014/main" id="{D6D0C346-F020-4C43-B999-5E85305FF76F}"/>
                    </a:ext>
                  </a:extLst>
                </p:cNvPr>
                <p:cNvSpPr/>
                <p:nvPr/>
              </p:nvSpPr>
              <p:spPr>
                <a:xfrm>
                  <a:off x="7825048" y="862765"/>
                  <a:ext cx="55927" cy="27308"/>
                </a:xfrm>
                <a:custGeom>
                  <a:avLst/>
                  <a:gdLst>
                    <a:gd name="connsiteX0" fmla="*/ 26827 w 55927"/>
                    <a:gd name="connsiteY0" fmla="*/ 18642 h 27308"/>
                    <a:gd name="connsiteX1" fmla="*/ 0 w 55927"/>
                    <a:gd name="connsiteY1" fmla="*/ 27282 h 27308"/>
                    <a:gd name="connsiteX2" fmla="*/ 19097 w 55927"/>
                    <a:gd name="connsiteY2" fmla="*/ 11367 h 27308"/>
                    <a:gd name="connsiteX3" fmla="*/ 33193 w 55927"/>
                    <a:gd name="connsiteY3" fmla="*/ 6820 h 27308"/>
                    <a:gd name="connsiteX4" fmla="*/ 55927 w 55927"/>
                    <a:gd name="connsiteY4" fmla="*/ 0 h 27308"/>
                    <a:gd name="connsiteX5" fmla="*/ 26827 w 55927"/>
                    <a:gd name="connsiteY5" fmla="*/ 18642 h 27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27" h="27308">
                      <a:moveTo>
                        <a:pt x="26827" y="18642"/>
                      </a:moveTo>
                      <a:cubicBezTo>
                        <a:pt x="19552" y="22280"/>
                        <a:pt x="2728" y="27736"/>
                        <a:pt x="0" y="27282"/>
                      </a:cubicBezTo>
                      <a:cubicBezTo>
                        <a:pt x="0" y="25008"/>
                        <a:pt x="19097" y="11367"/>
                        <a:pt x="19097" y="11367"/>
                      </a:cubicBezTo>
                      <a:cubicBezTo>
                        <a:pt x="23644" y="9094"/>
                        <a:pt x="28646" y="8639"/>
                        <a:pt x="33193" y="6820"/>
                      </a:cubicBezTo>
                      <a:cubicBezTo>
                        <a:pt x="40922" y="4547"/>
                        <a:pt x="48198" y="2273"/>
                        <a:pt x="55927" y="0"/>
                      </a:cubicBezTo>
                      <a:cubicBezTo>
                        <a:pt x="29555" y="17278"/>
                        <a:pt x="29555" y="17278"/>
                        <a:pt x="26827" y="1864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Graphic 5">
                  <a:extLst>
                    <a:ext uri="{FF2B5EF4-FFF2-40B4-BE49-F238E27FC236}">
                      <a16:creationId xmlns:a16="http://schemas.microsoft.com/office/drawing/2014/main" id="{A6BE615D-36FC-432C-9302-AA8A5D411757}"/>
                    </a:ext>
                  </a:extLst>
                </p:cNvPr>
                <p:cNvSpPr/>
                <p:nvPr/>
              </p:nvSpPr>
              <p:spPr>
                <a:xfrm>
                  <a:off x="10019402" y="5110719"/>
                  <a:ext cx="71386" cy="42538"/>
                </a:xfrm>
                <a:custGeom>
                  <a:avLst/>
                  <a:gdLst>
                    <a:gd name="connsiteX0" fmla="*/ 68204 w 71386"/>
                    <a:gd name="connsiteY0" fmla="*/ 13894 h 42538"/>
                    <a:gd name="connsiteX1" fmla="*/ 31829 w 71386"/>
                    <a:gd name="connsiteY1" fmla="*/ 42539 h 42538"/>
                    <a:gd name="connsiteX2" fmla="*/ 0 w 71386"/>
                    <a:gd name="connsiteY2" fmla="*/ 17531 h 42538"/>
                    <a:gd name="connsiteX3" fmla="*/ 29555 w 71386"/>
                    <a:gd name="connsiteY3" fmla="*/ 253 h 42538"/>
                    <a:gd name="connsiteX4" fmla="*/ 29555 w 71386"/>
                    <a:gd name="connsiteY4" fmla="*/ 253 h 42538"/>
                    <a:gd name="connsiteX5" fmla="*/ 29555 w 71386"/>
                    <a:gd name="connsiteY5" fmla="*/ 253 h 42538"/>
                    <a:gd name="connsiteX6" fmla="*/ 29555 w 71386"/>
                    <a:gd name="connsiteY6" fmla="*/ 253 h 42538"/>
                    <a:gd name="connsiteX7" fmla="*/ 29555 w 71386"/>
                    <a:gd name="connsiteY7" fmla="*/ 253 h 42538"/>
                    <a:gd name="connsiteX8" fmla="*/ 29555 w 71386"/>
                    <a:gd name="connsiteY8" fmla="*/ 253 h 42538"/>
                    <a:gd name="connsiteX9" fmla="*/ 29555 w 71386"/>
                    <a:gd name="connsiteY9" fmla="*/ 253 h 42538"/>
                    <a:gd name="connsiteX10" fmla="*/ 29555 w 71386"/>
                    <a:gd name="connsiteY10" fmla="*/ 253 h 42538"/>
                    <a:gd name="connsiteX11" fmla="*/ 29555 w 71386"/>
                    <a:gd name="connsiteY11" fmla="*/ 253 h 42538"/>
                    <a:gd name="connsiteX12" fmla="*/ 42741 w 71386"/>
                    <a:gd name="connsiteY12" fmla="*/ 1617 h 42538"/>
                    <a:gd name="connsiteX13" fmla="*/ 71387 w 71386"/>
                    <a:gd name="connsiteY13" fmla="*/ 10711 h 42538"/>
                    <a:gd name="connsiteX14" fmla="*/ 68204 w 71386"/>
                    <a:gd name="connsiteY14" fmla="*/ 13894 h 4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386" h="42538">
                      <a:moveTo>
                        <a:pt x="68204" y="13894"/>
                      </a:moveTo>
                      <a:cubicBezTo>
                        <a:pt x="33193" y="42539"/>
                        <a:pt x="33193" y="42539"/>
                        <a:pt x="31829" y="42539"/>
                      </a:cubicBezTo>
                      <a:cubicBezTo>
                        <a:pt x="27736" y="42539"/>
                        <a:pt x="27736" y="42539"/>
                        <a:pt x="0" y="17531"/>
                      </a:cubicBezTo>
                      <a:cubicBezTo>
                        <a:pt x="25463" y="1162"/>
                        <a:pt x="25463" y="1162"/>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29555" y="253"/>
                        <a:pt x="29555" y="253"/>
                        <a:pt x="29555" y="253"/>
                      </a:cubicBezTo>
                      <a:cubicBezTo>
                        <a:pt x="33193" y="-202"/>
                        <a:pt x="35921" y="-202"/>
                        <a:pt x="42741" y="1617"/>
                      </a:cubicBezTo>
                      <a:cubicBezTo>
                        <a:pt x="52290" y="3890"/>
                        <a:pt x="61838" y="7982"/>
                        <a:pt x="71387" y="10711"/>
                      </a:cubicBezTo>
                      <a:cubicBezTo>
                        <a:pt x="70478" y="12075"/>
                        <a:pt x="69113" y="12984"/>
                        <a:pt x="68204" y="13894"/>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Graphic 5">
                  <a:extLst>
                    <a:ext uri="{FF2B5EF4-FFF2-40B4-BE49-F238E27FC236}">
                      <a16:creationId xmlns:a16="http://schemas.microsoft.com/office/drawing/2014/main" id="{E85E12EC-BBE8-45AF-A411-84DFE896EBEF}"/>
                    </a:ext>
                  </a:extLst>
                </p:cNvPr>
                <p:cNvSpPr/>
                <p:nvPr/>
              </p:nvSpPr>
              <p:spPr>
                <a:xfrm>
                  <a:off x="9924781" y="5636144"/>
                  <a:ext cx="55972" cy="38649"/>
                </a:xfrm>
                <a:custGeom>
                  <a:avLst/>
                  <a:gdLst>
                    <a:gd name="connsiteX0" fmla="*/ 52334 w 55972"/>
                    <a:gd name="connsiteY0" fmla="*/ 17733 h 38649"/>
                    <a:gd name="connsiteX1" fmla="*/ 13685 w 55972"/>
                    <a:gd name="connsiteY1" fmla="*/ 38649 h 38649"/>
                    <a:gd name="connsiteX2" fmla="*/ 13685 w 55972"/>
                    <a:gd name="connsiteY2" fmla="*/ 38649 h 38649"/>
                    <a:gd name="connsiteX3" fmla="*/ 13685 w 55972"/>
                    <a:gd name="connsiteY3" fmla="*/ 38649 h 38649"/>
                    <a:gd name="connsiteX4" fmla="*/ 13685 w 55972"/>
                    <a:gd name="connsiteY4" fmla="*/ 38649 h 38649"/>
                    <a:gd name="connsiteX5" fmla="*/ 13685 w 55972"/>
                    <a:gd name="connsiteY5" fmla="*/ 38649 h 38649"/>
                    <a:gd name="connsiteX6" fmla="*/ 13685 w 55972"/>
                    <a:gd name="connsiteY6" fmla="*/ 38649 h 38649"/>
                    <a:gd name="connsiteX7" fmla="*/ 13685 w 55972"/>
                    <a:gd name="connsiteY7" fmla="*/ 38649 h 38649"/>
                    <a:gd name="connsiteX8" fmla="*/ 13685 w 55972"/>
                    <a:gd name="connsiteY8" fmla="*/ 38649 h 38649"/>
                    <a:gd name="connsiteX9" fmla="*/ 13685 w 55972"/>
                    <a:gd name="connsiteY9" fmla="*/ 38649 h 38649"/>
                    <a:gd name="connsiteX10" fmla="*/ 499 w 55972"/>
                    <a:gd name="connsiteY10" fmla="*/ 27282 h 38649"/>
                    <a:gd name="connsiteX11" fmla="*/ 6410 w 55972"/>
                    <a:gd name="connsiteY11" fmla="*/ 15914 h 38649"/>
                    <a:gd name="connsiteX12" fmla="*/ 32328 w 55972"/>
                    <a:gd name="connsiteY12" fmla="*/ 0 h 38649"/>
                    <a:gd name="connsiteX13" fmla="*/ 38694 w 55972"/>
                    <a:gd name="connsiteY13" fmla="*/ 1819 h 38649"/>
                    <a:gd name="connsiteX14" fmla="*/ 55972 w 55972"/>
                    <a:gd name="connsiteY14" fmla="*/ 15914 h 38649"/>
                    <a:gd name="connsiteX15" fmla="*/ 52334 w 55972"/>
                    <a:gd name="connsiteY15" fmla="*/ 17733 h 3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972" h="38649">
                      <a:moveTo>
                        <a:pt x="52334" y="17733"/>
                      </a:moveTo>
                      <a:cubicBezTo>
                        <a:pt x="19142" y="37285"/>
                        <a:pt x="19142" y="37285"/>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13685" y="38649"/>
                        <a:pt x="13685" y="38649"/>
                        <a:pt x="13685" y="38649"/>
                      </a:cubicBezTo>
                      <a:cubicBezTo>
                        <a:pt x="6410" y="38649"/>
                        <a:pt x="1409" y="30010"/>
                        <a:pt x="499" y="27282"/>
                      </a:cubicBezTo>
                      <a:cubicBezTo>
                        <a:pt x="-410" y="24554"/>
                        <a:pt x="-865" y="23189"/>
                        <a:pt x="6410" y="15914"/>
                      </a:cubicBezTo>
                      <a:cubicBezTo>
                        <a:pt x="15959" y="6366"/>
                        <a:pt x="27326" y="455"/>
                        <a:pt x="32328" y="0"/>
                      </a:cubicBezTo>
                      <a:cubicBezTo>
                        <a:pt x="33237" y="0"/>
                        <a:pt x="35965" y="0"/>
                        <a:pt x="38694" y="1819"/>
                      </a:cubicBezTo>
                      <a:cubicBezTo>
                        <a:pt x="45059" y="5911"/>
                        <a:pt x="50061" y="11367"/>
                        <a:pt x="55972" y="15914"/>
                      </a:cubicBezTo>
                      <a:cubicBezTo>
                        <a:pt x="55063" y="16369"/>
                        <a:pt x="53699" y="17278"/>
                        <a:pt x="52334" y="17733"/>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Graphic 5">
                  <a:extLst>
                    <a:ext uri="{FF2B5EF4-FFF2-40B4-BE49-F238E27FC236}">
                      <a16:creationId xmlns:a16="http://schemas.microsoft.com/office/drawing/2014/main" id="{5F79085A-9222-4029-BE28-8293EA3581DA}"/>
                    </a:ext>
                  </a:extLst>
                </p:cNvPr>
                <p:cNvSpPr/>
                <p:nvPr/>
              </p:nvSpPr>
              <p:spPr>
                <a:xfrm>
                  <a:off x="11596143" y="2792032"/>
                  <a:ext cx="17164" cy="48090"/>
                </a:xfrm>
                <a:custGeom>
                  <a:avLst/>
                  <a:gdLst>
                    <a:gd name="connsiteX0" fmla="*/ 16963 w 17164"/>
                    <a:gd name="connsiteY0" fmla="*/ 14550 h 48090"/>
                    <a:gd name="connsiteX1" fmla="*/ 9688 w 17164"/>
                    <a:gd name="connsiteY1" fmla="*/ 45470 h 48090"/>
                    <a:gd name="connsiteX2" fmla="*/ 594 w 17164"/>
                    <a:gd name="connsiteY2" fmla="*/ 34102 h 48090"/>
                    <a:gd name="connsiteX3" fmla="*/ 1503 w 17164"/>
                    <a:gd name="connsiteY3" fmla="*/ 455 h 48090"/>
                    <a:gd name="connsiteX4" fmla="*/ 4231 w 17164"/>
                    <a:gd name="connsiteY4" fmla="*/ 909 h 48090"/>
                    <a:gd name="connsiteX5" fmla="*/ 16963 w 17164"/>
                    <a:gd name="connsiteY5" fmla="*/ 10913 h 48090"/>
                    <a:gd name="connsiteX6" fmla="*/ 16963 w 17164"/>
                    <a:gd name="connsiteY6" fmla="*/ 14550 h 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64" h="48090">
                      <a:moveTo>
                        <a:pt x="16963" y="14550"/>
                      </a:moveTo>
                      <a:cubicBezTo>
                        <a:pt x="14689" y="50926"/>
                        <a:pt x="14689" y="50926"/>
                        <a:pt x="9688" y="45470"/>
                      </a:cubicBezTo>
                      <a:cubicBezTo>
                        <a:pt x="8778" y="44560"/>
                        <a:pt x="594" y="34102"/>
                        <a:pt x="594" y="34102"/>
                      </a:cubicBezTo>
                      <a:cubicBezTo>
                        <a:pt x="594" y="33647"/>
                        <a:pt x="-1225" y="4092"/>
                        <a:pt x="1503" y="455"/>
                      </a:cubicBezTo>
                      <a:cubicBezTo>
                        <a:pt x="1958" y="0"/>
                        <a:pt x="2412" y="-455"/>
                        <a:pt x="4231" y="909"/>
                      </a:cubicBezTo>
                      <a:cubicBezTo>
                        <a:pt x="8778" y="4092"/>
                        <a:pt x="12416" y="7730"/>
                        <a:pt x="16963" y="10913"/>
                      </a:cubicBezTo>
                      <a:cubicBezTo>
                        <a:pt x="17417" y="12277"/>
                        <a:pt x="16963" y="13641"/>
                        <a:pt x="16963" y="1455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Graphic 5">
                  <a:extLst>
                    <a:ext uri="{FF2B5EF4-FFF2-40B4-BE49-F238E27FC236}">
                      <a16:creationId xmlns:a16="http://schemas.microsoft.com/office/drawing/2014/main" id="{98C578BE-CB1C-42B3-8AC7-4E8FFF6FC62C}"/>
                    </a:ext>
                  </a:extLst>
                </p:cNvPr>
                <p:cNvSpPr/>
                <p:nvPr/>
              </p:nvSpPr>
              <p:spPr>
                <a:xfrm>
                  <a:off x="10681891" y="4410743"/>
                  <a:ext cx="31218" cy="68658"/>
                </a:xfrm>
                <a:custGeom>
                  <a:avLst/>
                  <a:gdLst>
                    <a:gd name="connsiteX0" fmla="*/ 30919 w 31218"/>
                    <a:gd name="connsiteY0" fmla="*/ 27736 h 68658"/>
                    <a:gd name="connsiteX1" fmla="*/ 10458 w 31218"/>
                    <a:gd name="connsiteY1" fmla="*/ 68204 h 68658"/>
                    <a:gd name="connsiteX2" fmla="*/ 0 w 31218"/>
                    <a:gd name="connsiteY2" fmla="*/ 68659 h 68658"/>
                    <a:gd name="connsiteX3" fmla="*/ 1364 w 31218"/>
                    <a:gd name="connsiteY3" fmla="*/ 39104 h 68658"/>
                    <a:gd name="connsiteX4" fmla="*/ 4547 w 31218"/>
                    <a:gd name="connsiteY4" fmla="*/ 24099 h 68658"/>
                    <a:gd name="connsiteX5" fmla="*/ 10004 w 31218"/>
                    <a:gd name="connsiteY5" fmla="*/ 15914 h 68658"/>
                    <a:gd name="connsiteX6" fmla="*/ 25008 w 31218"/>
                    <a:gd name="connsiteY6" fmla="*/ 0 h 68658"/>
                    <a:gd name="connsiteX7" fmla="*/ 30465 w 31218"/>
                    <a:gd name="connsiteY7" fmla="*/ 18642 h 68658"/>
                    <a:gd name="connsiteX8" fmla="*/ 30919 w 31218"/>
                    <a:gd name="connsiteY8" fmla="*/ 27736 h 6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8" h="68658">
                      <a:moveTo>
                        <a:pt x="30919" y="27736"/>
                      </a:moveTo>
                      <a:cubicBezTo>
                        <a:pt x="30010" y="33647"/>
                        <a:pt x="30010" y="33647"/>
                        <a:pt x="10458" y="68204"/>
                      </a:cubicBezTo>
                      <a:cubicBezTo>
                        <a:pt x="6820" y="68204"/>
                        <a:pt x="3638" y="68204"/>
                        <a:pt x="0" y="68659"/>
                      </a:cubicBezTo>
                      <a:cubicBezTo>
                        <a:pt x="455" y="58655"/>
                        <a:pt x="455" y="48652"/>
                        <a:pt x="1364" y="39104"/>
                      </a:cubicBezTo>
                      <a:cubicBezTo>
                        <a:pt x="1819" y="33647"/>
                        <a:pt x="3183" y="28646"/>
                        <a:pt x="4547" y="24099"/>
                      </a:cubicBezTo>
                      <a:cubicBezTo>
                        <a:pt x="4547" y="24099"/>
                        <a:pt x="5911" y="20461"/>
                        <a:pt x="10004" y="15914"/>
                      </a:cubicBezTo>
                      <a:cubicBezTo>
                        <a:pt x="14551" y="10458"/>
                        <a:pt x="20461" y="5456"/>
                        <a:pt x="25008" y="0"/>
                      </a:cubicBezTo>
                      <a:cubicBezTo>
                        <a:pt x="26372" y="6366"/>
                        <a:pt x="29101" y="12277"/>
                        <a:pt x="30465" y="18642"/>
                      </a:cubicBezTo>
                      <a:cubicBezTo>
                        <a:pt x="31374" y="22735"/>
                        <a:pt x="31374" y="25463"/>
                        <a:pt x="30919" y="27736"/>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Graphic 5">
                  <a:extLst>
                    <a:ext uri="{FF2B5EF4-FFF2-40B4-BE49-F238E27FC236}">
                      <a16:creationId xmlns:a16="http://schemas.microsoft.com/office/drawing/2014/main" id="{90A0803D-A808-4659-8B55-6C69AABE1A8E}"/>
                    </a:ext>
                  </a:extLst>
                </p:cNvPr>
                <p:cNvSpPr/>
                <p:nvPr/>
              </p:nvSpPr>
              <p:spPr>
                <a:xfrm>
                  <a:off x="11300174" y="4669919"/>
                  <a:ext cx="20395" cy="52554"/>
                </a:xfrm>
                <a:custGeom>
                  <a:avLst/>
                  <a:gdLst>
                    <a:gd name="connsiteX0" fmla="*/ 19654 w 20395"/>
                    <a:gd name="connsiteY0" fmla="*/ 39104 h 52554"/>
                    <a:gd name="connsiteX1" fmla="*/ 17835 w 20395"/>
                    <a:gd name="connsiteY1" fmla="*/ 41832 h 52554"/>
                    <a:gd name="connsiteX2" fmla="*/ 13742 w 20395"/>
                    <a:gd name="connsiteY2" fmla="*/ 48652 h 52554"/>
                    <a:gd name="connsiteX3" fmla="*/ 102 w 20395"/>
                    <a:gd name="connsiteY3" fmla="*/ 51835 h 52554"/>
                    <a:gd name="connsiteX4" fmla="*/ 6013 w 20395"/>
                    <a:gd name="connsiteY4" fmla="*/ 9094 h 52554"/>
                    <a:gd name="connsiteX5" fmla="*/ 10560 w 20395"/>
                    <a:gd name="connsiteY5" fmla="*/ 4547 h 52554"/>
                    <a:gd name="connsiteX6" fmla="*/ 15107 w 20395"/>
                    <a:gd name="connsiteY6" fmla="*/ 0 h 52554"/>
                    <a:gd name="connsiteX7" fmla="*/ 19654 w 20395"/>
                    <a:gd name="connsiteY7" fmla="*/ 39104 h 5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95" h="52554">
                      <a:moveTo>
                        <a:pt x="19654" y="39104"/>
                      </a:moveTo>
                      <a:cubicBezTo>
                        <a:pt x="19199" y="40013"/>
                        <a:pt x="18744" y="40922"/>
                        <a:pt x="17835" y="41832"/>
                      </a:cubicBezTo>
                      <a:cubicBezTo>
                        <a:pt x="16470" y="44105"/>
                        <a:pt x="16470" y="47288"/>
                        <a:pt x="13742" y="48652"/>
                      </a:cubicBezTo>
                      <a:cubicBezTo>
                        <a:pt x="13742" y="48652"/>
                        <a:pt x="1011" y="54563"/>
                        <a:pt x="102" y="51835"/>
                      </a:cubicBezTo>
                      <a:cubicBezTo>
                        <a:pt x="-808" y="49107"/>
                        <a:pt x="4649" y="13641"/>
                        <a:pt x="6013" y="9094"/>
                      </a:cubicBezTo>
                      <a:cubicBezTo>
                        <a:pt x="6922" y="6820"/>
                        <a:pt x="9195" y="5911"/>
                        <a:pt x="10560" y="4547"/>
                      </a:cubicBezTo>
                      <a:cubicBezTo>
                        <a:pt x="11014" y="4092"/>
                        <a:pt x="14197" y="909"/>
                        <a:pt x="15107" y="0"/>
                      </a:cubicBezTo>
                      <a:cubicBezTo>
                        <a:pt x="21017" y="37285"/>
                        <a:pt x="21017" y="37285"/>
                        <a:pt x="19654" y="39104"/>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3" name="Graphic 5">
                  <a:extLst>
                    <a:ext uri="{FF2B5EF4-FFF2-40B4-BE49-F238E27FC236}">
                      <a16:creationId xmlns:a16="http://schemas.microsoft.com/office/drawing/2014/main" id="{851BC390-CF18-40BA-8947-15AB67E77779}"/>
                    </a:ext>
                  </a:extLst>
                </p:cNvPr>
                <p:cNvSpPr/>
                <p:nvPr/>
              </p:nvSpPr>
              <p:spPr>
                <a:xfrm>
                  <a:off x="6083453" y="3923766"/>
                  <a:ext cx="15120" cy="75024"/>
                </a:xfrm>
                <a:custGeom>
                  <a:avLst/>
                  <a:gdLst>
                    <a:gd name="connsiteX0" fmla="*/ 15121 w 15120"/>
                    <a:gd name="connsiteY0" fmla="*/ 2273 h 75024"/>
                    <a:gd name="connsiteX1" fmla="*/ 15121 w 15120"/>
                    <a:gd name="connsiteY1" fmla="*/ 4547 h 75024"/>
                    <a:gd name="connsiteX2" fmla="*/ 15121 w 15120"/>
                    <a:gd name="connsiteY2" fmla="*/ 6820 h 75024"/>
                    <a:gd name="connsiteX3" fmla="*/ 15121 w 15120"/>
                    <a:gd name="connsiteY3" fmla="*/ 9094 h 75024"/>
                    <a:gd name="connsiteX4" fmla="*/ 15121 w 15120"/>
                    <a:gd name="connsiteY4" fmla="*/ 11367 h 75024"/>
                    <a:gd name="connsiteX5" fmla="*/ 15121 w 15120"/>
                    <a:gd name="connsiteY5" fmla="*/ 13641 h 75024"/>
                    <a:gd name="connsiteX6" fmla="*/ 15121 w 15120"/>
                    <a:gd name="connsiteY6" fmla="*/ 15914 h 75024"/>
                    <a:gd name="connsiteX7" fmla="*/ 15121 w 15120"/>
                    <a:gd name="connsiteY7" fmla="*/ 18188 h 75024"/>
                    <a:gd name="connsiteX8" fmla="*/ 15121 w 15120"/>
                    <a:gd name="connsiteY8" fmla="*/ 20461 h 75024"/>
                    <a:gd name="connsiteX9" fmla="*/ 15121 w 15120"/>
                    <a:gd name="connsiteY9" fmla="*/ 22735 h 75024"/>
                    <a:gd name="connsiteX10" fmla="*/ 15121 w 15120"/>
                    <a:gd name="connsiteY10" fmla="*/ 25008 h 75024"/>
                    <a:gd name="connsiteX11" fmla="*/ 15121 w 15120"/>
                    <a:gd name="connsiteY11" fmla="*/ 27282 h 75024"/>
                    <a:gd name="connsiteX12" fmla="*/ 15121 w 15120"/>
                    <a:gd name="connsiteY12" fmla="*/ 29555 h 75024"/>
                    <a:gd name="connsiteX13" fmla="*/ 15121 w 15120"/>
                    <a:gd name="connsiteY13" fmla="*/ 31829 h 75024"/>
                    <a:gd name="connsiteX14" fmla="*/ 15121 w 15120"/>
                    <a:gd name="connsiteY14" fmla="*/ 34102 h 75024"/>
                    <a:gd name="connsiteX15" fmla="*/ 15121 w 15120"/>
                    <a:gd name="connsiteY15" fmla="*/ 36376 h 75024"/>
                    <a:gd name="connsiteX16" fmla="*/ 15121 w 15120"/>
                    <a:gd name="connsiteY16" fmla="*/ 38649 h 75024"/>
                    <a:gd name="connsiteX17" fmla="*/ 15121 w 15120"/>
                    <a:gd name="connsiteY17" fmla="*/ 40922 h 75024"/>
                    <a:gd name="connsiteX18" fmla="*/ 15121 w 15120"/>
                    <a:gd name="connsiteY18" fmla="*/ 43196 h 75024"/>
                    <a:gd name="connsiteX19" fmla="*/ 15121 w 15120"/>
                    <a:gd name="connsiteY19" fmla="*/ 45469 h 75024"/>
                    <a:gd name="connsiteX20" fmla="*/ 15121 w 15120"/>
                    <a:gd name="connsiteY20" fmla="*/ 47743 h 75024"/>
                    <a:gd name="connsiteX21" fmla="*/ 15121 w 15120"/>
                    <a:gd name="connsiteY21" fmla="*/ 50016 h 75024"/>
                    <a:gd name="connsiteX22" fmla="*/ 15121 w 15120"/>
                    <a:gd name="connsiteY22" fmla="*/ 52290 h 75024"/>
                    <a:gd name="connsiteX23" fmla="*/ 15121 w 15120"/>
                    <a:gd name="connsiteY23" fmla="*/ 54563 h 75024"/>
                    <a:gd name="connsiteX24" fmla="*/ 15121 w 15120"/>
                    <a:gd name="connsiteY24" fmla="*/ 56837 h 75024"/>
                    <a:gd name="connsiteX25" fmla="*/ 15121 w 15120"/>
                    <a:gd name="connsiteY25" fmla="*/ 59110 h 75024"/>
                    <a:gd name="connsiteX26" fmla="*/ 15121 w 15120"/>
                    <a:gd name="connsiteY26" fmla="*/ 61384 h 75024"/>
                    <a:gd name="connsiteX27" fmla="*/ 15121 w 15120"/>
                    <a:gd name="connsiteY27" fmla="*/ 64112 h 75024"/>
                    <a:gd name="connsiteX28" fmla="*/ 15121 w 15120"/>
                    <a:gd name="connsiteY28" fmla="*/ 66840 h 75024"/>
                    <a:gd name="connsiteX29" fmla="*/ 15121 w 15120"/>
                    <a:gd name="connsiteY29" fmla="*/ 69568 h 75024"/>
                    <a:gd name="connsiteX30" fmla="*/ 15121 w 15120"/>
                    <a:gd name="connsiteY30" fmla="*/ 72296 h 75024"/>
                    <a:gd name="connsiteX31" fmla="*/ 15121 w 15120"/>
                    <a:gd name="connsiteY31" fmla="*/ 75025 h 75024"/>
                    <a:gd name="connsiteX32" fmla="*/ 12847 w 15120"/>
                    <a:gd name="connsiteY32" fmla="*/ 0 h 75024"/>
                    <a:gd name="connsiteX33" fmla="*/ 15121 w 15120"/>
                    <a:gd name="connsiteY33" fmla="*/ 2273 h 7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120" h="75024">
                      <a:moveTo>
                        <a:pt x="15121" y="2273"/>
                      </a:moveTo>
                      <a:cubicBezTo>
                        <a:pt x="15121" y="3183"/>
                        <a:pt x="15121" y="3637"/>
                        <a:pt x="15121" y="4547"/>
                      </a:cubicBezTo>
                      <a:cubicBezTo>
                        <a:pt x="15121" y="5456"/>
                        <a:pt x="15121" y="5911"/>
                        <a:pt x="15121" y="6820"/>
                      </a:cubicBezTo>
                      <a:cubicBezTo>
                        <a:pt x="15121" y="7730"/>
                        <a:pt x="15121" y="8184"/>
                        <a:pt x="15121" y="9094"/>
                      </a:cubicBezTo>
                      <a:cubicBezTo>
                        <a:pt x="15121" y="10003"/>
                        <a:pt x="15121" y="10458"/>
                        <a:pt x="15121" y="11367"/>
                      </a:cubicBezTo>
                      <a:cubicBezTo>
                        <a:pt x="15121" y="12277"/>
                        <a:pt x="15121" y="12731"/>
                        <a:pt x="15121" y="13641"/>
                      </a:cubicBezTo>
                      <a:cubicBezTo>
                        <a:pt x="15121" y="14550"/>
                        <a:pt x="15121" y="15005"/>
                        <a:pt x="15121" y="15914"/>
                      </a:cubicBezTo>
                      <a:cubicBezTo>
                        <a:pt x="15121" y="16824"/>
                        <a:pt x="15121" y="17278"/>
                        <a:pt x="15121" y="18188"/>
                      </a:cubicBezTo>
                      <a:cubicBezTo>
                        <a:pt x="15121" y="19097"/>
                        <a:pt x="15121" y="19552"/>
                        <a:pt x="15121" y="20461"/>
                      </a:cubicBezTo>
                      <a:cubicBezTo>
                        <a:pt x="15121" y="21371"/>
                        <a:pt x="15121" y="21825"/>
                        <a:pt x="15121" y="22735"/>
                      </a:cubicBezTo>
                      <a:cubicBezTo>
                        <a:pt x="15121" y="23644"/>
                        <a:pt x="15121" y="24099"/>
                        <a:pt x="15121" y="25008"/>
                      </a:cubicBezTo>
                      <a:cubicBezTo>
                        <a:pt x="15121" y="25918"/>
                        <a:pt x="15121" y="26372"/>
                        <a:pt x="15121" y="27282"/>
                      </a:cubicBezTo>
                      <a:cubicBezTo>
                        <a:pt x="15121" y="28191"/>
                        <a:pt x="15121" y="28646"/>
                        <a:pt x="15121" y="29555"/>
                      </a:cubicBezTo>
                      <a:cubicBezTo>
                        <a:pt x="15121" y="30465"/>
                        <a:pt x="15121" y="30919"/>
                        <a:pt x="15121" y="31829"/>
                      </a:cubicBezTo>
                      <a:cubicBezTo>
                        <a:pt x="15121" y="32738"/>
                        <a:pt x="15121" y="33193"/>
                        <a:pt x="15121" y="34102"/>
                      </a:cubicBezTo>
                      <a:cubicBezTo>
                        <a:pt x="15121" y="35012"/>
                        <a:pt x="15121" y="35466"/>
                        <a:pt x="15121" y="36376"/>
                      </a:cubicBezTo>
                      <a:cubicBezTo>
                        <a:pt x="15121" y="37285"/>
                        <a:pt x="15121" y="37740"/>
                        <a:pt x="15121" y="38649"/>
                      </a:cubicBezTo>
                      <a:cubicBezTo>
                        <a:pt x="15121" y="39558"/>
                        <a:pt x="15121" y="40013"/>
                        <a:pt x="15121" y="40922"/>
                      </a:cubicBezTo>
                      <a:cubicBezTo>
                        <a:pt x="15121" y="41832"/>
                        <a:pt x="15121" y="42287"/>
                        <a:pt x="15121" y="43196"/>
                      </a:cubicBezTo>
                      <a:cubicBezTo>
                        <a:pt x="15121" y="44105"/>
                        <a:pt x="15121" y="44560"/>
                        <a:pt x="15121" y="45469"/>
                      </a:cubicBezTo>
                      <a:cubicBezTo>
                        <a:pt x="15121" y="46379"/>
                        <a:pt x="15121" y="46833"/>
                        <a:pt x="15121" y="47743"/>
                      </a:cubicBezTo>
                      <a:cubicBezTo>
                        <a:pt x="15121" y="48652"/>
                        <a:pt x="15121" y="49107"/>
                        <a:pt x="15121" y="50016"/>
                      </a:cubicBezTo>
                      <a:cubicBezTo>
                        <a:pt x="15121" y="50926"/>
                        <a:pt x="15121" y="51380"/>
                        <a:pt x="15121" y="52290"/>
                      </a:cubicBezTo>
                      <a:cubicBezTo>
                        <a:pt x="15121" y="53199"/>
                        <a:pt x="15121" y="53654"/>
                        <a:pt x="15121" y="54563"/>
                      </a:cubicBezTo>
                      <a:cubicBezTo>
                        <a:pt x="15121" y="55473"/>
                        <a:pt x="15121" y="56382"/>
                        <a:pt x="15121" y="56837"/>
                      </a:cubicBezTo>
                      <a:cubicBezTo>
                        <a:pt x="15121" y="57746"/>
                        <a:pt x="15121" y="58656"/>
                        <a:pt x="15121" y="59110"/>
                      </a:cubicBezTo>
                      <a:cubicBezTo>
                        <a:pt x="15121" y="60020"/>
                        <a:pt x="15121" y="60929"/>
                        <a:pt x="15121" y="61384"/>
                      </a:cubicBezTo>
                      <a:cubicBezTo>
                        <a:pt x="15121" y="62293"/>
                        <a:pt x="15121" y="63203"/>
                        <a:pt x="15121" y="64112"/>
                      </a:cubicBezTo>
                      <a:cubicBezTo>
                        <a:pt x="15121" y="65021"/>
                        <a:pt x="15121" y="65931"/>
                        <a:pt x="15121" y="66840"/>
                      </a:cubicBezTo>
                      <a:cubicBezTo>
                        <a:pt x="15121" y="67750"/>
                        <a:pt x="15121" y="68659"/>
                        <a:pt x="15121" y="69568"/>
                      </a:cubicBezTo>
                      <a:cubicBezTo>
                        <a:pt x="15121" y="70478"/>
                        <a:pt x="15121" y="71387"/>
                        <a:pt x="15121" y="72296"/>
                      </a:cubicBezTo>
                      <a:cubicBezTo>
                        <a:pt x="15121" y="73206"/>
                        <a:pt x="15121" y="74115"/>
                        <a:pt x="15121" y="75025"/>
                      </a:cubicBezTo>
                      <a:cubicBezTo>
                        <a:pt x="-5341" y="28191"/>
                        <a:pt x="-3976" y="21825"/>
                        <a:pt x="12847" y="0"/>
                      </a:cubicBezTo>
                      <a:cubicBezTo>
                        <a:pt x="15121" y="455"/>
                        <a:pt x="15121" y="1364"/>
                        <a:pt x="15121" y="2273"/>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4" name="Graphic 5">
                  <a:extLst>
                    <a:ext uri="{FF2B5EF4-FFF2-40B4-BE49-F238E27FC236}">
                      <a16:creationId xmlns:a16="http://schemas.microsoft.com/office/drawing/2014/main" id="{6885A387-55F8-4F3E-9DB6-FC8E0D9F1D7C}"/>
                    </a:ext>
                  </a:extLst>
                </p:cNvPr>
                <p:cNvSpPr/>
                <p:nvPr/>
              </p:nvSpPr>
              <p:spPr>
                <a:xfrm>
                  <a:off x="8209544" y="3223537"/>
                  <a:ext cx="79059" cy="203652"/>
                </a:xfrm>
                <a:custGeom>
                  <a:avLst/>
                  <a:gdLst>
                    <a:gd name="connsiteX0" fmla="*/ 78382 w 79059"/>
                    <a:gd name="connsiteY0" fmla="*/ 171420 h 203652"/>
                    <a:gd name="connsiteX1" fmla="*/ 1994 w 79059"/>
                    <a:gd name="connsiteY1" fmla="*/ 190972 h 203652"/>
                    <a:gd name="connsiteX2" fmla="*/ 1084 w 79059"/>
                    <a:gd name="connsiteY2" fmla="*/ 170056 h 203652"/>
                    <a:gd name="connsiteX3" fmla="*/ 27912 w 79059"/>
                    <a:gd name="connsiteY3" fmla="*/ 70478 h 203652"/>
                    <a:gd name="connsiteX4" fmla="*/ 32004 w 79059"/>
                    <a:gd name="connsiteY4" fmla="*/ 12277 h 203652"/>
                    <a:gd name="connsiteX5" fmla="*/ 53829 w 79059"/>
                    <a:gd name="connsiteY5" fmla="*/ 0 h 203652"/>
                    <a:gd name="connsiteX6" fmla="*/ 74290 w 79059"/>
                    <a:gd name="connsiteY6" fmla="*/ 34102 h 203652"/>
                    <a:gd name="connsiteX7" fmla="*/ 78382 w 79059"/>
                    <a:gd name="connsiteY7" fmla="*/ 171420 h 20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59" h="203652">
                      <a:moveTo>
                        <a:pt x="78382" y="171420"/>
                      </a:moveTo>
                      <a:cubicBezTo>
                        <a:pt x="71562" y="216435"/>
                        <a:pt x="9724" y="205522"/>
                        <a:pt x="1994" y="190972"/>
                      </a:cubicBezTo>
                      <a:cubicBezTo>
                        <a:pt x="-1189" y="184606"/>
                        <a:pt x="175" y="175057"/>
                        <a:pt x="1084" y="170056"/>
                      </a:cubicBezTo>
                      <a:cubicBezTo>
                        <a:pt x="6996" y="135954"/>
                        <a:pt x="27002" y="105944"/>
                        <a:pt x="27912" y="70478"/>
                      </a:cubicBezTo>
                      <a:cubicBezTo>
                        <a:pt x="28366" y="42741"/>
                        <a:pt x="28821" y="25008"/>
                        <a:pt x="32004" y="12277"/>
                      </a:cubicBezTo>
                      <a:cubicBezTo>
                        <a:pt x="33368" y="7275"/>
                        <a:pt x="35187" y="455"/>
                        <a:pt x="53829" y="0"/>
                      </a:cubicBezTo>
                      <a:cubicBezTo>
                        <a:pt x="63378" y="909"/>
                        <a:pt x="74290" y="34102"/>
                        <a:pt x="74290" y="34102"/>
                      </a:cubicBezTo>
                      <a:cubicBezTo>
                        <a:pt x="74745" y="35012"/>
                        <a:pt x="81111" y="152777"/>
                        <a:pt x="78382" y="171420"/>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5" name="Graphic 5">
                  <a:extLst>
                    <a:ext uri="{FF2B5EF4-FFF2-40B4-BE49-F238E27FC236}">
                      <a16:creationId xmlns:a16="http://schemas.microsoft.com/office/drawing/2014/main" id="{24636CFD-A650-455A-8F82-BF1C1C6C6B8B}"/>
                    </a:ext>
                  </a:extLst>
                </p:cNvPr>
                <p:cNvSpPr/>
                <p:nvPr/>
              </p:nvSpPr>
              <p:spPr>
                <a:xfrm>
                  <a:off x="8020057" y="3338455"/>
                  <a:ext cx="70531" cy="69232"/>
                </a:xfrm>
                <a:custGeom>
                  <a:avLst/>
                  <a:gdLst>
                    <a:gd name="connsiteX0" fmla="*/ 68713 w 70531"/>
                    <a:gd name="connsiteY0" fmla="*/ 32402 h 69232"/>
                    <a:gd name="connsiteX1" fmla="*/ 32338 w 70531"/>
                    <a:gd name="connsiteY1" fmla="*/ 69232 h 69232"/>
                    <a:gd name="connsiteX2" fmla="*/ 5965 w 70531"/>
                    <a:gd name="connsiteY2" fmla="*/ 38313 h 69232"/>
                    <a:gd name="connsiteX3" fmla="*/ 54 w 70531"/>
                    <a:gd name="connsiteY3" fmla="*/ 26036 h 69232"/>
                    <a:gd name="connsiteX4" fmla="*/ 28245 w 70531"/>
                    <a:gd name="connsiteY4" fmla="*/ 119 h 69232"/>
                    <a:gd name="connsiteX5" fmla="*/ 50525 w 70531"/>
                    <a:gd name="connsiteY5" fmla="*/ 5575 h 69232"/>
                    <a:gd name="connsiteX6" fmla="*/ 70532 w 70531"/>
                    <a:gd name="connsiteY6" fmla="*/ 30129 h 69232"/>
                    <a:gd name="connsiteX7" fmla="*/ 68713 w 70531"/>
                    <a:gd name="connsiteY7" fmla="*/ 32402 h 6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531" h="69232">
                      <a:moveTo>
                        <a:pt x="68713" y="32402"/>
                      </a:moveTo>
                      <a:cubicBezTo>
                        <a:pt x="55527" y="46043"/>
                        <a:pt x="38249" y="63776"/>
                        <a:pt x="32338" y="69232"/>
                      </a:cubicBezTo>
                      <a:cubicBezTo>
                        <a:pt x="24153" y="58320"/>
                        <a:pt x="14150" y="49226"/>
                        <a:pt x="5965" y="38313"/>
                      </a:cubicBezTo>
                      <a:cubicBezTo>
                        <a:pt x="509" y="31038"/>
                        <a:pt x="54" y="26946"/>
                        <a:pt x="54" y="26036"/>
                      </a:cubicBezTo>
                      <a:cubicBezTo>
                        <a:pt x="-400" y="17852"/>
                        <a:pt x="1418" y="-1700"/>
                        <a:pt x="28245" y="119"/>
                      </a:cubicBezTo>
                      <a:cubicBezTo>
                        <a:pt x="34611" y="574"/>
                        <a:pt x="45978" y="2392"/>
                        <a:pt x="50525" y="5575"/>
                      </a:cubicBezTo>
                      <a:cubicBezTo>
                        <a:pt x="59619" y="11941"/>
                        <a:pt x="63712" y="21944"/>
                        <a:pt x="70532" y="30129"/>
                      </a:cubicBezTo>
                      <a:cubicBezTo>
                        <a:pt x="70077" y="31038"/>
                        <a:pt x="69168" y="31947"/>
                        <a:pt x="68713" y="32402"/>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6" name="Graphic 5">
                  <a:extLst>
                    <a:ext uri="{FF2B5EF4-FFF2-40B4-BE49-F238E27FC236}">
                      <a16:creationId xmlns:a16="http://schemas.microsoft.com/office/drawing/2014/main" id="{422CE619-463E-4E71-9CA9-D77161787828}"/>
                    </a:ext>
                  </a:extLst>
                </p:cNvPr>
                <p:cNvSpPr/>
                <p:nvPr/>
              </p:nvSpPr>
              <p:spPr>
                <a:xfrm>
                  <a:off x="6554898" y="1935364"/>
                  <a:ext cx="50190" cy="62884"/>
                </a:xfrm>
                <a:custGeom>
                  <a:avLst/>
                  <a:gdLst>
                    <a:gd name="connsiteX0" fmla="*/ 40202 w 50190"/>
                    <a:gd name="connsiteY0" fmla="*/ 43675 h 62884"/>
                    <a:gd name="connsiteX1" fmla="*/ 189 w 50190"/>
                    <a:gd name="connsiteY1" fmla="*/ 62772 h 62884"/>
                    <a:gd name="connsiteX2" fmla="*/ 7919 w 50190"/>
                    <a:gd name="connsiteY2" fmla="*/ 31853 h 62884"/>
                    <a:gd name="connsiteX3" fmla="*/ 49751 w 50190"/>
                    <a:gd name="connsiteY3" fmla="*/ 24 h 62884"/>
                    <a:gd name="connsiteX4" fmla="*/ 47932 w 50190"/>
                    <a:gd name="connsiteY4" fmla="*/ 17302 h 62884"/>
                    <a:gd name="connsiteX5" fmla="*/ 43840 w 50190"/>
                    <a:gd name="connsiteY5" fmla="*/ 41401 h 62884"/>
                    <a:gd name="connsiteX6" fmla="*/ 40202 w 50190"/>
                    <a:gd name="connsiteY6" fmla="*/ 43675 h 6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90" h="62884">
                      <a:moveTo>
                        <a:pt x="40202" y="43675"/>
                      </a:moveTo>
                      <a:cubicBezTo>
                        <a:pt x="2463" y="63227"/>
                        <a:pt x="2463" y="63227"/>
                        <a:pt x="189" y="62772"/>
                      </a:cubicBezTo>
                      <a:cubicBezTo>
                        <a:pt x="-1175" y="56861"/>
                        <a:pt x="5191" y="35490"/>
                        <a:pt x="7919" y="31853"/>
                      </a:cubicBezTo>
                      <a:cubicBezTo>
                        <a:pt x="14285" y="24123"/>
                        <a:pt x="46113" y="-885"/>
                        <a:pt x="49751" y="24"/>
                      </a:cubicBezTo>
                      <a:cubicBezTo>
                        <a:pt x="50660" y="1388"/>
                        <a:pt x="50206" y="4571"/>
                        <a:pt x="47932" y="17302"/>
                      </a:cubicBezTo>
                      <a:cubicBezTo>
                        <a:pt x="45659" y="30489"/>
                        <a:pt x="44749" y="34126"/>
                        <a:pt x="43840" y="41401"/>
                      </a:cubicBezTo>
                      <a:cubicBezTo>
                        <a:pt x="42930" y="42311"/>
                        <a:pt x="41112" y="42765"/>
                        <a:pt x="40202" y="4367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7" name="Graphic 5">
                  <a:extLst>
                    <a:ext uri="{FF2B5EF4-FFF2-40B4-BE49-F238E27FC236}">
                      <a16:creationId xmlns:a16="http://schemas.microsoft.com/office/drawing/2014/main" id="{18897CF4-B0A5-4834-9B25-429B8F8CBA0B}"/>
                    </a:ext>
                  </a:extLst>
                </p:cNvPr>
                <p:cNvSpPr/>
                <p:nvPr/>
              </p:nvSpPr>
              <p:spPr>
                <a:xfrm>
                  <a:off x="6786981" y="1692581"/>
                  <a:ext cx="59110" cy="63657"/>
                </a:xfrm>
                <a:custGeom>
                  <a:avLst/>
                  <a:gdLst>
                    <a:gd name="connsiteX0" fmla="*/ 43651 w 59110"/>
                    <a:gd name="connsiteY0" fmla="*/ 37285 h 63657"/>
                    <a:gd name="connsiteX1" fmla="*/ 0 w 59110"/>
                    <a:gd name="connsiteY1" fmla="*/ 63657 h 63657"/>
                    <a:gd name="connsiteX2" fmla="*/ 13641 w 59110"/>
                    <a:gd name="connsiteY2" fmla="*/ 30464 h 63657"/>
                    <a:gd name="connsiteX3" fmla="*/ 59110 w 59110"/>
                    <a:gd name="connsiteY3" fmla="*/ 0 h 63657"/>
                    <a:gd name="connsiteX4" fmla="*/ 47743 w 59110"/>
                    <a:gd name="connsiteY4" fmla="*/ 35011 h 63657"/>
                    <a:gd name="connsiteX5" fmla="*/ 43651 w 59110"/>
                    <a:gd name="connsiteY5" fmla="*/ 37285 h 6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10" h="63657">
                      <a:moveTo>
                        <a:pt x="43651" y="37285"/>
                      </a:moveTo>
                      <a:cubicBezTo>
                        <a:pt x="25918" y="48198"/>
                        <a:pt x="9094" y="58201"/>
                        <a:pt x="0" y="63657"/>
                      </a:cubicBezTo>
                      <a:cubicBezTo>
                        <a:pt x="12277" y="31829"/>
                        <a:pt x="12277" y="31829"/>
                        <a:pt x="13641" y="30464"/>
                      </a:cubicBezTo>
                      <a:cubicBezTo>
                        <a:pt x="18188" y="25463"/>
                        <a:pt x="18188" y="25463"/>
                        <a:pt x="59110" y="0"/>
                      </a:cubicBezTo>
                      <a:cubicBezTo>
                        <a:pt x="55018" y="11822"/>
                        <a:pt x="52290" y="23644"/>
                        <a:pt x="47743" y="35011"/>
                      </a:cubicBezTo>
                      <a:cubicBezTo>
                        <a:pt x="46834" y="36376"/>
                        <a:pt x="44560" y="36376"/>
                        <a:pt x="43651" y="37285"/>
                      </a:cubicBezTo>
                    </a:path>
                  </a:pathLst>
                </a:custGeom>
                <a:grpFill/>
                <a:ln w="45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104" name="Group 103">
              <a:extLst>
                <a:ext uri="{FF2B5EF4-FFF2-40B4-BE49-F238E27FC236}">
                  <a16:creationId xmlns:a16="http://schemas.microsoft.com/office/drawing/2014/main" id="{9B315A1C-7AE2-4078-AC77-AEB8BF37A2D5}"/>
                </a:ext>
                <a:ext uri="{C183D7F6-B498-43B3-948B-1728B52AA6E4}">
                  <adec:decorative xmlns:adec="http://schemas.microsoft.com/office/drawing/2017/decorative" val="1"/>
                </a:ext>
              </a:extLst>
            </p:cNvPr>
            <p:cNvGrpSpPr/>
            <p:nvPr userDrawn="1"/>
          </p:nvGrpSpPr>
          <p:grpSpPr>
            <a:xfrm>
              <a:off x="7303377" y="1229119"/>
              <a:ext cx="5100849" cy="4662730"/>
              <a:chOff x="7303377" y="1229119"/>
              <a:chExt cx="5100849" cy="4662730"/>
            </a:xfrm>
          </p:grpSpPr>
          <p:sp>
            <p:nvSpPr>
              <p:cNvPr id="81" name="Graphic 69">
                <a:extLst>
                  <a:ext uri="{FF2B5EF4-FFF2-40B4-BE49-F238E27FC236}">
                    <a16:creationId xmlns:a16="http://schemas.microsoft.com/office/drawing/2014/main" id="{B5427AB9-C6F4-43FB-912F-0E4DCAE653D0}"/>
                  </a:ext>
                </a:extLst>
              </p:cNvPr>
              <p:cNvSpPr/>
              <p:nvPr userDrawn="1"/>
            </p:nvSpPr>
            <p:spPr>
              <a:xfrm>
                <a:off x="7555904" y="1754598"/>
                <a:ext cx="3489278" cy="822271"/>
              </a:xfrm>
              <a:custGeom>
                <a:avLst/>
                <a:gdLst>
                  <a:gd name="connsiteX0" fmla="*/ 0 w 3350302"/>
                  <a:gd name="connsiteY0" fmla="*/ 796640 h 796639"/>
                  <a:gd name="connsiteX1" fmla="*/ 3350302 w 3350302"/>
                  <a:gd name="connsiteY1" fmla="*/ 240317 h 796639"/>
                </a:gdLst>
                <a:ahLst/>
                <a:cxnLst>
                  <a:cxn ang="0">
                    <a:pos x="connsiteX0" y="connsiteY0"/>
                  </a:cxn>
                  <a:cxn ang="0">
                    <a:pos x="connsiteX1" y="connsiteY1"/>
                  </a:cxn>
                </a:cxnLst>
                <a:rect l="l" t="t" r="r" b="b"/>
                <a:pathLst>
                  <a:path w="3350302" h="796639">
                    <a:moveTo>
                      <a:pt x="0" y="796640"/>
                    </a:moveTo>
                    <a:cubicBezTo>
                      <a:pt x="0" y="796640"/>
                      <a:pt x="1410631" y="-529584"/>
                      <a:pt x="3350302" y="24031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Graphic 69">
                <a:extLst>
                  <a:ext uri="{FF2B5EF4-FFF2-40B4-BE49-F238E27FC236}">
                    <a16:creationId xmlns:a16="http://schemas.microsoft.com/office/drawing/2014/main" id="{B5427AB9-C6F4-43FB-912F-0E4DCAE653D0}"/>
                  </a:ext>
                </a:extLst>
              </p:cNvPr>
              <p:cNvSpPr/>
              <p:nvPr userDrawn="1"/>
            </p:nvSpPr>
            <p:spPr>
              <a:xfrm>
                <a:off x="7497943" y="1445186"/>
                <a:ext cx="1097126" cy="1101412"/>
              </a:xfrm>
              <a:custGeom>
                <a:avLst/>
                <a:gdLst>
                  <a:gd name="connsiteX0" fmla="*/ 0 w 1017154"/>
                  <a:gd name="connsiteY0" fmla="*/ 948521 h 948520"/>
                  <a:gd name="connsiteX1" fmla="*/ 1017155 w 1017154"/>
                  <a:gd name="connsiteY1" fmla="*/ 0 h 948520"/>
                </a:gdLst>
                <a:ahLst/>
                <a:cxnLst>
                  <a:cxn ang="0">
                    <a:pos x="connsiteX0" y="connsiteY0"/>
                  </a:cxn>
                  <a:cxn ang="0">
                    <a:pos x="connsiteX1" y="connsiteY1"/>
                  </a:cxn>
                </a:cxnLst>
                <a:rect l="l" t="t" r="r" b="b"/>
                <a:pathLst>
                  <a:path w="1017154" h="948520">
                    <a:moveTo>
                      <a:pt x="0" y="948521"/>
                    </a:moveTo>
                    <a:cubicBezTo>
                      <a:pt x="0" y="948521"/>
                      <a:pt x="257912" y="178620"/>
                      <a:pt x="1017155"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Graphic 69">
                <a:extLst>
                  <a:ext uri="{FF2B5EF4-FFF2-40B4-BE49-F238E27FC236}">
                    <a16:creationId xmlns:a16="http://schemas.microsoft.com/office/drawing/2014/main" id="{B5427AB9-C6F4-43FB-912F-0E4DCAE653D0}"/>
                  </a:ext>
                </a:extLst>
              </p:cNvPr>
              <p:cNvSpPr/>
              <p:nvPr userDrawn="1"/>
            </p:nvSpPr>
            <p:spPr>
              <a:xfrm>
                <a:off x="7303377" y="3478277"/>
                <a:ext cx="2737706" cy="414236"/>
              </a:xfrm>
              <a:custGeom>
                <a:avLst/>
                <a:gdLst>
                  <a:gd name="connsiteX0" fmla="*/ 0 w 2710423"/>
                  <a:gd name="connsiteY0" fmla="*/ 323077 h 487629"/>
                  <a:gd name="connsiteX1" fmla="*/ 2710424 w 2710423"/>
                  <a:gd name="connsiteY1" fmla="*/ 487630 h 487629"/>
                </a:gdLst>
                <a:ahLst/>
                <a:cxnLst>
                  <a:cxn ang="0">
                    <a:pos x="connsiteX0" y="connsiteY0"/>
                  </a:cxn>
                  <a:cxn ang="0">
                    <a:pos x="connsiteX1" y="connsiteY1"/>
                  </a:cxn>
                </a:cxnLst>
                <a:rect l="l" t="t" r="r" b="b"/>
                <a:pathLst>
                  <a:path w="2710423" h="487629">
                    <a:moveTo>
                      <a:pt x="0" y="323077"/>
                    </a:moveTo>
                    <a:cubicBezTo>
                      <a:pt x="0" y="323077"/>
                      <a:pt x="1195349" y="-503521"/>
                      <a:pt x="2710424" y="48763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Graphic 69">
                <a:extLst>
                  <a:ext uri="{FF2B5EF4-FFF2-40B4-BE49-F238E27FC236}">
                    <a16:creationId xmlns:a16="http://schemas.microsoft.com/office/drawing/2014/main" id="{B5427AB9-C6F4-43FB-912F-0E4DCAE653D0}"/>
                  </a:ext>
                </a:extLst>
              </p:cNvPr>
              <p:cNvSpPr/>
              <p:nvPr userDrawn="1"/>
            </p:nvSpPr>
            <p:spPr>
              <a:xfrm>
                <a:off x="7667625" y="2756062"/>
                <a:ext cx="1392539" cy="2277901"/>
              </a:xfrm>
              <a:custGeom>
                <a:avLst/>
                <a:gdLst>
                  <a:gd name="connsiteX0" fmla="*/ 34014 w 977845"/>
                  <a:gd name="connsiteY0" fmla="*/ 2138754 h 2138754"/>
                  <a:gd name="connsiteX1" fmla="*/ 977845 w 977845"/>
                  <a:gd name="connsiteY1" fmla="*/ 0 h 2138754"/>
                </a:gdLst>
                <a:ahLst/>
                <a:cxnLst>
                  <a:cxn ang="0">
                    <a:pos x="connsiteX0" y="connsiteY0"/>
                  </a:cxn>
                  <a:cxn ang="0">
                    <a:pos x="connsiteX1" y="connsiteY1"/>
                  </a:cxn>
                </a:cxnLst>
                <a:rect l="l" t="t" r="r" b="b"/>
                <a:pathLst>
                  <a:path w="977845" h="2138754">
                    <a:moveTo>
                      <a:pt x="34014" y="2138754"/>
                    </a:moveTo>
                    <a:cubicBezTo>
                      <a:pt x="34014" y="2138754"/>
                      <a:pt x="-276333" y="561439"/>
                      <a:pt x="977845"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Graphic 69">
                <a:extLst>
                  <a:ext uri="{FF2B5EF4-FFF2-40B4-BE49-F238E27FC236}">
                    <a16:creationId xmlns:a16="http://schemas.microsoft.com/office/drawing/2014/main" id="{B5427AB9-C6F4-43FB-912F-0E4DCAE653D0}"/>
                  </a:ext>
                </a:extLst>
              </p:cNvPr>
              <p:cNvSpPr/>
              <p:nvPr userDrawn="1"/>
            </p:nvSpPr>
            <p:spPr>
              <a:xfrm>
                <a:off x="7458124" y="2658866"/>
                <a:ext cx="2412439" cy="3016508"/>
              </a:xfrm>
              <a:custGeom>
                <a:avLst/>
                <a:gdLst>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2170726" y="613448"/>
                      <a:pt x="2412439" y="301650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Graphic 69">
                <a:extLst>
                  <a:ext uri="{FF2B5EF4-FFF2-40B4-BE49-F238E27FC236}">
                    <a16:creationId xmlns:a16="http://schemas.microsoft.com/office/drawing/2014/main" id="{B5427AB9-C6F4-43FB-912F-0E4DCAE653D0}"/>
                  </a:ext>
                </a:extLst>
              </p:cNvPr>
              <p:cNvSpPr/>
              <p:nvPr userDrawn="1"/>
            </p:nvSpPr>
            <p:spPr>
              <a:xfrm>
                <a:off x="7796378" y="3971829"/>
                <a:ext cx="2237886" cy="1129241"/>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Graphic 69">
                <a:extLst>
                  <a:ext uri="{FF2B5EF4-FFF2-40B4-BE49-F238E27FC236}">
                    <a16:creationId xmlns:a16="http://schemas.microsoft.com/office/drawing/2014/main" id="{B5427AB9-C6F4-43FB-912F-0E4DCAE653D0}"/>
                  </a:ext>
                </a:extLst>
              </p:cNvPr>
              <p:cNvSpPr/>
              <p:nvPr userDrawn="1"/>
            </p:nvSpPr>
            <p:spPr>
              <a:xfrm rot="2304853" flipV="1">
                <a:off x="7842504" y="4995718"/>
                <a:ext cx="1977903" cy="896131"/>
              </a:xfrm>
              <a:custGeom>
                <a:avLst/>
                <a:gdLst>
                  <a:gd name="connsiteX0" fmla="*/ 0 w 1691563"/>
                  <a:gd name="connsiteY0" fmla="*/ 25106 h 818878"/>
                  <a:gd name="connsiteX1" fmla="*/ 1691564 w 1691563"/>
                  <a:gd name="connsiteY1" fmla="*/ 818879 h 818878"/>
                </a:gdLst>
                <a:ahLst/>
                <a:cxnLst>
                  <a:cxn ang="0">
                    <a:pos x="connsiteX0" y="connsiteY0"/>
                  </a:cxn>
                  <a:cxn ang="0">
                    <a:pos x="connsiteX1" y="connsiteY1"/>
                  </a:cxn>
                </a:cxnLst>
                <a:rect l="l" t="t" r="r" b="b"/>
                <a:pathLst>
                  <a:path w="1691563" h="818878">
                    <a:moveTo>
                      <a:pt x="0" y="25106"/>
                    </a:moveTo>
                    <a:cubicBezTo>
                      <a:pt x="0" y="25106"/>
                      <a:pt x="793347" y="-219591"/>
                      <a:pt x="1691564" y="81887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Graphic 69">
                <a:extLst>
                  <a:ext uri="{FF2B5EF4-FFF2-40B4-BE49-F238E27FC236}">
                    <a16:creationId xmlns:a16="http://schemas.microsoft.com/office/drawing/2014/main" id="{B5427AB9-C6F4-43FB-912F-0E4DCAE653D0}"/>
                  </a:ext>
                </a:extLst>
              </p:cNvPr>
              <p:cNvSpPr/>
              <p:nvPr userDrawn="1"/>
            </p:nvSpPr>
            <p:spPr>
              <a:xfrm>
                <a:off x="7796377" y="4422578"/>
                <a:ext cx="3476717" cy="736166"/>
              </a:xfrm>
              <a:custGeom>
                <a:avLst/>
                <a:gdLst>
                  <a:gd name="connsiteX0" fmla="*/ 0 w 3003718"/>
                  <a:gd name="connsiteY0" fmla="*/ 510606 h 510605"/>
                  <a:gd name="connsiteX1" fmla="*/ 3003719 w 3003718"/>
                  <a:gd name="connsiteY1" fmla="*/ 215179 h 510605"/>
                </a:gdLst>
                <a:ahLst/>
                <a:cxnLst>
                  <a:cxn ang="0">
                    <a:pos x="connsiteX0" y="connsiteY0"/>
                  </a:cxn>
                  <a:cxn ang="0">
                    <a:pos x="connsiteX1" y="connsiteY1"/>
                  </a:cxn>
                </a:cxnLst>
                <a:rect l="l" t="t" r="r" b="b"/>
                <a:pathLst>
                  <a:path w="3003718" h="510605">
                    <a:moveTo>
                      <a:pt x="0" y="510606"/>
                    </a:moveTo>
                    <a:cubicBezTo>
                      <a:pt x="0" y="510606"/>
                      <a:pt x="1148030" y="-404237"/>
                      <a:pt x="3003719" y="215179"/>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 name="Graphic 69">
                <a:extLst>
                  <a:ext uri="{FF2B5EF4-FFF2-40B4-BE49-F238E27FC236}">
                    <a16:creationId xmlns:a16="http://schemas.microsoft.com/office/drawing/2014/main" id="{B5427AB9-C6F4-43FB-912F-0E4DCAE653D0}"/>
                  </a:ext>
                </a:extLst>
              </p:cNvPr>
              <p:cNvSpPr/>
              <p:nvPr userDrawn="1"/>
            </p:nvSpPr>
            <p:spPr>
              <a:xfrm>
                <a:off x="9053513" y="2652712"/>
                <a:ext cx="2793383" cy="884759"/>
              </a:xfrm>
              <a:custGeom>
                <a:avLst/>
                <a:gdLst>
                  <a:gd name="connsiteX0" fmla="*/ 2797816 w 2797815"/>
                  <a:gd name="connsiteY0" fmla="*/ 935437 h 935436"/>
                  <a:gd name="connsiteX1" fmla="*/ 0 w 2797815"/>
                  <a:gd name="connsiteY1" fmla="*/ 56830 h 935436"/>
                </a:gdLst>
                <a:ahLst/>
                <a:cxnLst>
                  <a:cxn ang="0">
                    <a:pos x="connsiteX0" y="connsiteY0"/>
                  </a:cxn>
                  <a:cxn ang="0">
                    <a:pos x="connsiteX1" y="connsiteY1"/>
                  </a:cxn>
                </a:cxnLst>
                <a:rect l="l" t="t" r="r" b="b"/>
                <a:pathLst>
                  <a:path w="2797815" h="935436">
                    <a:moveTo>
                      <a:pt x="2797816" y="935437"/>
                    </a:moveTo>
                    <a:cubicBezTo>
                      <a:pt x="2797816" y="935437"/>
                      <a:pt x="1813912" y="-272275"/>
                      <a:pt x="0" y="5683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Graphic 69">
                <a:extLst>
                  <a:ext uri="{FF2B5EF4-FFF2-40B4-BE49-F238E27FC236}">
                    <a16:creationId xmlns:a16="http://schemas.microsoft.com/office/drawing/2014/main" id="{B5427AB9-C6F4-43FB-912F-0E4DCAE653D0}"/>
                  </a:ext>
                </a:extLst>
              </p:cNvPr>
              <p:cNvSpPr/>
              <p:nvPr userDrawn="1"/>
            </p:nvSpPr>
            <p:spPr>
              <a:xfrm>
                <a:off x="10096929" y="2078716"/>
                <a:ext cx="1023281" cy="1835490"/>
              </a:xfrm>
              <a:custGeom>
                <a:avLst/>
                <a:gdLst>
                  <a:gd name="connsiteX0" fmla="*/ 1123163 w 1123162"/>
                  <a:gd name="connsiteY0" fmla="*/ 0 h 1955018"/>
                  <a:gd name="connsiteX1" fmla="*/ 6680 w 1123162"/>
                  <a:gd name="connsiteY1" fmla="*/ 1955018 h 1955018"/>
                </a:gdLst>
                <a:ahLst/>
                <a:cxnLst>
                  <a:cxn ang="0">
                    <a:pos x="connsiteX0" y="connsiteY0"/>
                  </a:cxn>
                  <a:cxn ang="0">
                    <a:pos x="connsiteX1" y="connsiteY1"/>
                  </a:cxn>
                </a:cxnLst>
                <a:rect l="l" t="t" r="r" b="b"/>
                <a:pathLst>
                  <a:path w="1123162" h="1955018">
                    <a:moveTo>
                      <a:pt x="1123163" y="0"/>
                    </a:moveTo>
                    <a:cubicBezTo>
                      <a:pt x="1123163" y="0"/>
                      <a:pt x="-100748" y="477458"/>
                      <a:pt x="6680" y="195501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Graphic 69">
                <a:extLst>
                  <a:ext uri="{FF2B5EF4-FFF2-40B4-BE49-F238E27FC236}">
                    <a16:creationId xmlns:a16="http://schemas.microsoft.com/office/drawing/2014/main" id="{B5427AB9-C6F4-43FB-912F-0E4DCAE653D0}"/>
                  </a:ext>
                </a:extLst>
              </p:cNvPr>
              <p:cNvSpPr/>
              <p:nvPr userDrawn="1"/>
            </p:nvSpPr>
            <p:spPr>
              <a:xfrm>
                <a:off x="10991611" y="1985310"/>
                <a:ext cx="309192" cy="2575713"/>
              </a:xfrm>
              <a:custGeom>
                <a:avLst/>
                <a:gdLst>
                  <a:gd name="connsiteX0" fmla="*/ 309193 w 309192"/>
                  <a:gd name="connsiteY0" fmla="*/ 2575713 h 2575713"/>
                  <a:gd name="connsiteX1" fmla="*/ 179598 w 309192"/>
                  <a:gd name="connsiteY1" fmla="*/ 0 h 2575713"/>
                </a:gdLst>
                <a:ahLst/>
                <a:cxnLst>
                  <a:cxn ang="0">
                    <a:pos x="connsiteX0" y="connsiteY0"/>
                  </a:cxn>
                  <a:cxn ang="0">
                    <a:pos x="connsiteX1" y="connsiteY1"/>
                  </a:cxn>
                </a:cxnLst>
                <a:rect l="l" t="t" r="r" b="b"/>
                <a:pathLst>
                  <a:path w="309192" h="2575713">
                    <a:moveTo>
                      <a:pt x="309193" y="2575713"/>
                    </a:moveTo>
                    <a:cubicBezTo>
                      <a:pt x="309193" y="2575713"/>
                      <a:pt x="-289760" y="1227748"/>
                      <a:pt x="179598"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Graphic 69">
                <a:extLst>
                  <a:ext uri="{FF2B5EF4-FFF2-40B4-BE49-F238E27FC236}">
                    <a16:creationId xmlns:a16="http://schemas.microsoft.com/office/drawing/2014/main" id="{B5427AB9-C6F4-43FB-912F-0E4DCAE653D0}"/>
                  </a:ext>
                </a:extLst>
              </p:cNvPr>
              <p:cNvSpPr/>
              <p:nvPr userDrawn="1"/>
            </p:nvSpPr>
            <p:spPr>
              <a:xfrm>
                <a:off x="8650916" y="1377830"/>
                <a:ext cx="462327" cy="1417452"/>
              </a:xfrm>
              <a:custGeom>
                <a:avLst/>
                <a:gdLst>
                  <a:gd name="connsiteX0" fmla="*/ 0 w 462327"/>
                  <a:gd name="connsiteY0" fmla="*/ 0 h 1417452"/>
                  <a:gd name="connsiteX1" fmla="*/ 428433 w 462327"/>
                  <a:gd name="connsiteY1" fmla="*/ 1417452 h 1417452"/>
                </a:gdLst>
                <a:ahLst/>
                <a:cxnLst>
                  <a:cxn ang="0">
                    <a:pos x="connsiteX0" y="connsiteY0"/>
                  </a:cxn>
                  <a:cxn ang="0">
                    <a:pos x="connsiteX1" y="connsiteY1"/>
                  </a:cxn>
                </a:cxnLst>
                <a:rect l="l" t="t" r="r" b="b"/>
                <a:pathLst>
                  <a:path w="462327" h="1417452">
                    <a:moveTo>
                      <a:pt x="0" y="0"/>
                    </a:moveTo>
                    <a:cubicBezTo>
                      <a:pt x="0" y="0"/>
                      <a:pt x="610463" y="542255"/>
                      <a:pt x="428433" y="1417452"/>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Graphic 69">
                <a:extLst>
                  <a:ext uri="{FF2B5EF4-FFF2-40B4-BE49-F238E27FC236}">
                    <a16:creationId xmlns:a16="http://schemas.microsoft.com/office/drawing/2014/main" id="{B5427AB9-C6F4-43FB-912F-0E4DCAE653D0}"/>
                  </a:ext>
                </a:extLst>
              </p:cNvPr>
              <p:cNvSpPr/>
              <p:nvPr userDrawn="1"/>
            </p:nvSpPr>
            <p:spPr>
              <a:xfrm>
                <a:off x="8727650" y="1229119"/>
                <a:ext cx="2392560" cy="740271"/>
              </a:xfrm>
              <a:custGeom>
                <a:avLst/>
                <a:gdLst>
                  <a:gd name="connsiteX0" fmla="*/ 2518588 w 2518588"/>
                  <a:gd name="connsiteY0" fmla="*/ 674767 h 674766"/>
                  <a:gd name="connsiteX1" fmla="*/ 0 w 2518588"/>
                  <a:gd name="connsiteY1" fmla="*/ 86897 h 674766"/>
                </a:gdLst>
                <a:ahLst/>
                <a:cxnLst>
                  <a:cxn ang="0">
                    <a:pos x="connsiteX0" y="connsiteY0"/>
                  </a:cxn>
                  <a:cxn ang="0">
                    <a:pos x="connsiteX1" y="connsiteY1"/>
                  </a:cxn>
                </a:cxnLst>
                <a:rect l="l" t="t" r="r" b="b"/>
                <a:pathLst>
                  <a:path w="2518588" h="674766">
                    <a:moveTo>
                      <a:pt x="2518588" y="674767"/>
                    </a:moveTo>
                    <a:cubicBezTo>
                      <a:pt x="2518588" y="674767"/>
                      <a:pt x="1645523" y="-288674"/>
                      <a:pt x="0" y="8689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Graphic 69">
                <a:extLst>
                  <a:ext uri="{FF2B5EF4-FFF2-40B4-BE49-F238E27FC236}">
                    <a16:creationId xmlns:a16="http://schemas.microsoft.com/office/drawing/2014/main" id="{B5427AB9-C6F4-43FB-912F-0E4DCAE653D0}"/>
                  </a:ext>
                </a:extLst>
              </p:cNvPr>
              <p:cNvSpPr/>
              <p:nvPr userDrawn="1"/>
            </p:nvSpPr>
            <p:spPr>
              <a:xfrm>
                <a:off x="9977688" y="4693422"/>
                <a:ext cx="1313860" cy="924808"/>
              </a:xfrm>
              <a:custGeom>
                <a:avLst/>
                <a:gdLst>
                  <a:gd name="connsiteX0" fmla="*/ 1313861 w 1313860"/>
                  <a:gd name="connsiteY0" fmla="*/ 1013 h 924808"/>
                  <a:gd name="connsiteX1" fmla="*/ 0 w 1313860"/>
                  <a:gd name="connsiteY1" fmla="*/ 924808 h 924808"/>
                </a:gdLst>
                <a:ahLst/>
                <a:cxnLst>
                  <a:cxn ang="0">
                    <a:pos x="connsiteX0" y="connsiteY0"/>
                  </a:cxn>
                  <a:cxn ang="0">
                    <a:pos x="connsiteX1" y="connsiteY1"/>
                  </a:cxn>
                </a:cxnLst>
                <a:rect l="l" t="t" r="r" b="b"/>
                <a:pathLst>
                  <a:path w="1313860" h="924808">
                    <a:moveTo>
                      <a:pt x="1313861" y="1013"/>
                    </a:moveTo>
                    <a:cubicBezTo>
                      <a:pt x="1313861" y="1013"/>
                      <a:pt x="416923" y="-67621"/>
                      <a:pt x="0" y="92480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Graphic 69">
                <a:extLst>
                  <a:ext uri="{FF2B5EF4-FFF2-40B4-BE49-F238E27FC236}">
                    <a16:creationId xmlns:a16="http://schemas.microsoft.com/office/drawing/2014/main" id="{B5427AB9-C6F4-43FB-912F-0E4DCAE653D0}"/>
                  </a:ext>
                </a:extLst>
              </p:cNvPr>
              <p:cNvSpPr/>
              <p:nvPr userDrawn="1"/>
            </p:nvSpPr>
            <p:spPr>
              <a:xfrm>
                <a:off x="10111849" y="3409950"/>
                <a:ext cx="1718201" cy="504256"/>
              </a:xfrm>
              <a:custGeom>
                <a:avLst/>
                <a:gdLst>
                  <a:gd name="connsiteX0" fmla="*/ 1842901 w 1842900"/>
                  <a:gd name="connsiteY0" fmla="*/ 77169 h 510717"/>
                  <a:gd name="connsiteX1" fmla="*/ 0 w 1842900"/>
                  <a:gd name="connsiteY1" fmla="*/ 510717 h 510717"/>
                </a:gdLst>
                <a:ahLst/>
                <a:cxnLst>
                  <a:cxn ang="0">
                    <a:pos x="connsiteX0" y="connsiteY0"/>
                  </a:cxn>
                  <a:cxn ang="0">
                    <a:pos x="connsiteX1" y="connsiteY1"/>
                  </a:cxn>
                </a:cxnLst>
                <a:rect l="l" t="t" r="r" b="b"/>
                <a:pathLst>
                  <a:path w="1842900" h="510717">
                    <a:moveTo>
                      <a:pt x="1842901" y="77169"/>
                    </a:moveTo>
                    <a:cubicBezTo>
                      <a:pt x="1842901" y="77169"/>
                      <a:pt x="784394" y="-270693"/>
                      <a:pt x="0" y="510717"/>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Graphic 69">
                <a:extLst>
                  <a:ext uri="{FF2B5EF4-FFF2-40B4-BE49-F238E27FC236}">
                    <a16:creationId xmlns:a16="http://schemas.microsoft.com/office/drawing/2014/main" id="{B5427AB9-C6F4-43FB-912F-0E4DCAE653D0}"/>
                  </a:ext>
                </a:extLst>
              </p:cNvPr>
              <p:cNvSpPr/>
              <p:nvPr userDrawn="1"/>
            </p:nvSpPr>
            <p:spPr>
              <a:xfrm>
                <a:off x="9082088" y="2059407"/>
                <a:ext cx="2009402" cy="650455"/>
              </a:xfrm>
              <a:custGeom>
                <a:avLst/>
                <a:gdLst>
                  <a:gd name="connsiteX0" fmla="*/ 2094418 w 2094418"/>
                  <a:gd name="connsiteY0" fmla="*/ 23154 h 762360"/>
                  <a:gd name="connsiteX1" fmla="*/ 0 w 2094418"/>
                  <a:gd name="connsiteY1" fmla="*/ 762360 h 762360"/>
                </a:gdLst>
                <a:ahLst/>
                <a:cxnLst>
                  <a:cxn ang="0">
                    <a:pos x="connsiteX0" y="connsiteY0"/>
                  </a:cxn>
                  <a:cxn ang="0">
                    <a:pos x="connsiteX1" y="connsiteY1"/>
                  </a:cxn>
                </a:cxnLst>
                <a:rect l="l" t="t" r="r" b="b"/>
                <a:pathLst>
                  <a:path w="2094418" h="762360">
                    <a:moveTo>
                      <a:pt x="2094418" y="23154"/>
                    </a:moveTo>
                    <a:cubicBezTo>
                      <a:pt x="2094418" y="23154"/>
                      <a:pt x="752848" y="-203639"/>
                      <a:pt x="0" y="76236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Graphic 69">
                <a:extLst>
                  <a:ext uri="{FF2B5EF4-FFF2-40B4-BE49-F238E27FC236}">
                    <a16:creationId xmlns:a16="http://schemas.microsoft.com/office/drawing/2014/main" id="{B5427AB9-C6F4-43FB-912F-0E4DCAE653D0}"/>
                  </a:ext>
                </a:extLst>
              </p:cNvPr>
              <p:cNvSpPr/>
              <p:nvPr userDrawn="1"/>
            </p:nvSpPr>
            <p:spPr>
              <a:xfrm>
                <a:off x="7494491" y="2696942"/>
                <a:ext cx="301886" cy="2364606"/>
              </a:xfrm>
              <a:custGeom>
                <a:avLst/>
                <a:gdLst>
                  <a:gd name="connsiteX0" fmla="*/ 0 w 610833"/>
                  <a:gd name="connsiteY0" fmla="*/ 0 h 2113176"/>
                  <a:gd name="connsiteX1" fmla="*/ 576786 w 610833"/>
                  <a:gd name="connsiteY1" fmla="*/ 2113176 h 2113176"/>
                </a:gdLst>
                <a:ahLst/>
                <a:cxnLst>
                  <a:cxn ang="0">
                    <a:pos x="connsiteX0" y="connsiteY0"/>
                  </a:cxn>
                  <a:cxn ang="0">
                    <a:pos x="connsiteX1" y="connsiteY1"/>
                  </a:cxn>
                </a:cxnLst>
                <a:rect l="l" t="t" r="r" b="b"/>
                <a:pathLst>
                  <a:path w="610833" h="2113176">
                    <a:moveTo>
                      <a:pt x="0" y="0"/>
                    </a:moveTo>
                    <a:cubicBezTo>
                      <a:pt x="0" y="0"/>
                      <a:pt x="780984" y="809546"/>
                      <a:pt x="576786" y="2113176"/>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Graphic 69">
                <a:extLst>
                  <a:ext uri="{FF2B5EF4-FFF2-40B4-BE49-F238E27FC236}">
                    <a16:creationId xmlns:a16="http://schemas.microsoft.com/office/drawing/2014/main" id="{B5427AB9-C6F4-43FB-912F-0E4DCAE653D0}"/>
                  </a:ext>
                </a:extLst>
              </p:cNvPr>
              <p:cNvSpPr/>
              <p:nvPr userDrawn="1"/>
            </p:nvSpPr>
            <p:spPr>
              <a:xfrm rot="21141784">
                <a:off x="7540304" y="2460402"/>
                <a:ext cx="1453566" cy="351292"/>
              </a:xfrm>
              <a:custGeom>
                <a:avLst/>
                <a:gdLst>
                  <a:gd name="connsiteX0" fmla="*/ 0 w 1803680"/>
                  <a:gd name="connsiteY0" fmla="*/ 126168 h 422020"/>
                  <a:gd name="connsiteX1" fmla="*/ 1803681 w 1803680"/>
                  <a:gd name="connsiteY1" fmla="*/ 422021 h 422020"/>
                </a:gdLst>
                <a:ahLst/>
                <a:cxnLst>
                  <a:cxn ang="0">
                    <a:pos x="connsiteX0" y="connsiteY0"/>
                  </a:cxn>
                  <a:cxn ang="0">
                    <a:pos x="connsiteX1" y="connsiteY1"/>
                  </a:cxn>
                </a:cxnLst>
                <a:rect l="l" t="t" r="r" b="b"/>
                <a:pathLst>
                  <a:path w="1803680" h="422020">
                    <a:moveTo>
                      <a:pt x="0" y="126168"/>
                    </a:moveTo>
                    <a:cubicBezTo>
                      <a:pt x="0" y="126168"/>
                      <a:pt x="907596" y="-303118"/>
                      <a:pt x="1803681" y="422021"/>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Graphic 69">
                <a:extLst>
                  <a:ext uri="{FF2B5EF4-FFF2-40B4-BE49-F238E27FC236}">
                    <a16:creationId xmlns:a16="http://schemas.microsoft.com/office/drawing/2014/main" id="{B5427AB9-C6F4-43FB-912F-0E4DCAE653D0}"/>
                  </a:ext>
                </a:extLst>
              </p:cNvPr>
              <p:cNvSpPr/>
              <p:nvPr userDrawn="1"/>
            </p:nvSpPr>
            <p:spPr>
              <a:xfrm>
                <a:off x="9146278" y="2795283"/>
                <a:ext cx="950651" cy="1258015"/>
              </a:xfrm>
              <a:custGeom>
                <a:avLst/>
                <a:gdLst>
                  <a:gd name="connsiteX0" fmla="*/ 950652 w 950651"/>
                  <a:gd name="connsiteY0" fmla="*/ 1258015 h 1258015"/>
                  <a:gd name="connsiteX1" fmla="*/ 0 w 950651"/>
                  <a:gd name="connsiteY1" fmla="*/ 0 h 1258015"/>
                </a:gdLst>
                <a:ahLst/>
                <a:cxnLst>
                  <a:cxn ang="0">
                    <a:pos x="connsiteX0" y="connsiteY0"/>
                  </a:cxn>
                  <a:cxn ang="0">
                    <a:pos x="connsiteX1" y="connsiteY1"/>
                  </a:cxn>
                </a:cxnLst>
                <a:rect l="l" t="t" r="r" b="b"/>
                <a:pathLst>
                  <a:path w="950651" h="1258015">
                    <a:moveTo>
                      <a:pt x="950652" y="1258015"/>
                    </a:moveTo>
                    <a:cubicBezTo>
                      <a:pt x="950652" y="1258015"/>
                      <a:pt x="888838" y="365767"/>
                      <a:pt x="0" y="0"/>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1" name="Graphic 69">
                <a:extLst>
                  <a:ext uri="{FF2B5EF4-FFF2-40B4-BE49-F238E27FC236}">
                    <a16:creationId xmlns:a16="http://schemas.microsoft.com/office/drawing/2014/main" id="{E856DD25-21CF-41AE-A045-1CED26CEF7D8}"/>
                  </a:ext>
                </a:extLst>
              </p:cNvPr>
              <p:cNvSpPr/>
              <p:nvPr userDrawn="1"/>
            </p:nvSpPr>
            <p:spPr>
              <a:xfrm rot="4945521">
                <a:off x="10828105" y="2528331"/>
                <a:ext cx="1417166" cy="458632"/>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Graphic 69">
                <a:extLst>
                  <a:ext uri="{FF2B5EF4-FFF2-40B4-BE49-F238E27FC236}">
                    <a16:creationId xmlns:a16="http://schemas.microsoft.com/office/drawing/2014/main" id="{6ED57FE3-C523-47A0-9DB6-06111059C1E5}"/>
                  </a:ext>
                </a:extLst>
              </p:cNvPr>
              <p:cNvSpPr/>
              <p:nvPr userDrawn="1"/>
            </p:nvSpPr>
            <p:spPr>
              <a:xfrm rot="7773019">
                <a:off x="11050985" y="4001531"/>
                <a:ext cx="1024602" cy="196409"/>
              </a:xfrm>
              <a:custGeom>
                <a:avLst/>
                <a:gdLst>
                  <a:gd name="connsiteX0" fmla="*/ 0 w 1826274"/>
                  <a:gd name="connsiteY0" fmla="*/ 884620 h 884619"/>
                  <a:gd name="connsiteX1" fmla="*/ 1826275 w 1826274"/>
                  <a:gd name="connsiteY1" fmla="*/ 20933 h 884619"/>
                </a:gdLst>
                <a:ahLst/>
                <a:cxnLst>
                  <a:cxn ang="0">
                    <a:pos x="connsiteX0" y="connsiteY0"/>
                  </a:cxn>
                  <a:cxn ang="0">
                    <a:pos x="connsiteX1" y="connsiteY1"/>
                  </a:cxn>
                </a:cxnLst>
                <a:rect l="l" t="t" r="r" b="b"/>
                <a:pathLst>
                  <a:path w="1826274" h="884619">
                    <a:moveTo>
                      <a:pt x="0" y="884620"/>
                    </a:moveTo>
                    <a:cubicBezTo>
                      <a:pt x="0" y="884620"/>
                      <a:pt x="579770" y="-159393"/>
                      <a:pt x="1826275" y="2093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Graphic 69">
                <a:extLst>
                  <a:ext uri="{FF2B5EF4-FFF2-40B4-BE49-F238E27FC236}">
                    <a16:creationId xmlns:a16="http://schemas.microsoft.com/office/drawing/2014/main" id="{3B1559E0-D84E-47F1-94D5-C906EF714C1B}"/>
                  </a:ext>
                </a:extLst>
              </p:cNvPr>
              <p:cNvSpPr/>
              <p:nvPr userDrawn="1"/>
            </p:nvSpPr>
            <p:spPr>
              <a:xfrm rot="15353771" flipV="1">
                <a:off x="9211936" y="4589023"/>
                <a:ext cx="1534145" cy="550626"/>
              </a:xfrm>
              <a:custGeom>
                <a:avLst/>
                <a:gdLst>
                  <a:gd name="connsiteX0" fmla="*/ 1313861 w 1313860"/>
                  <a:gd name="connsiteY0" fmla="*/ 1013 h 924808"/>
                  <a:gd name="connsiteX1" fmla="*/ 0 w 1313860"/>
                  <a:gd name="connsiteY1" fmla="*/ 924808 h 924808"/>
                </a:gdLst>
                <a:ahLst/>
                <a:cxnLst>
                  <a:cxn ang="0">
                    <a:pos x="connsiteX0" y="connsiteY0"/>
                  </a:cxn>
                  <a:cxn ang="0">
                    <a:pos x="connsiteX1" y="connsiteY1"/>
                  </a:cxn>
                </a:cxnLst>
                <a:rect l="l" t="t" r="r" b="b"/>
                <a:pathLst>
                  <a:path w="1313860" h="924808">
                    <a:moveTo>
                      <a:pt x="1313861" y="1013"/>
                    </a:moveTo>
                    <a:cubicBezTo>
                      <a:pt x="1313861" y="1013"/>
                      <a:pt x="416923" y="-67621"/>
                      <a:pt x="0" y="924808"/>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Graphic 69">
                <a:extLst>
                  <a:ext uri="{FF2B5EF4-FFF2-40B4-BE49-F238E27FC236}">
                    <a16:creationId xmlns:a16="http://schemas.microsoft.com/office/drawing/2014/main" id="{7B375B16-8137-4F43-AD8F-E8959FA0697D}"/>
                  </a:ext>
                </a:extLst>
              </p:cNvPr>
              <p:cNvSpPr/>
              <p:nvPr userDrawn="1"/>
            </p:nvSpPr>
            <p:spPr>
              <a:xfrm rot="19192609" flipH="1">
                <a:off x="8812819" y="2905818"/>
                <a:ext cx="1217722" cy="2675481"/>
              </a:xfrm>
              <a:custGeom>
                <a:avLst/>
                <a:gdLst>
                  <a:gd name="connsiteX0" fmla="*/ 0 w 2412439"/>
                  <a:gd name="connsiteY0" fmla="*/ 0 h 3016508"/>
                  <a:gd name="connsiteX1" fmla="*/ 2412439 w 2412439"/>
                  <a:gd name="connsiteY1" fmla="*/ 3016509 h 3016508"/>
                  <a:gd name="connsiteX0" fmla="*/ 0 w 1649598"/>
                  <a:gd name="connsiteY0" fmla="*/ 0 h 2885634"/>
                  <a:gd name="connsiteX1" fmla="*/ 1649598 w 1649598"/>
                  <a:gd name="connsiteY1" fmla="*/ 2885634 h 2885634"/>
                  <a:gd name="connsiteX0" fmla="*/ 0 w 1686818"/>
                  <a:gd name="connsiteY0" fmla="*/ 0 h 2885634"/>
                  <a:gd name="connsiteX1" fmla="*/ 1649598 w 1686818"/>
                  <a:gd name="connsiteY1" fmla="*/ 2885634 h 2885634"/>
                </a:gdLst>
                <a:ahLst/>
                <a:cxnLst>
                  <a:cxn ang="0">
                    <a:pos x="connsiteX0" y="connsiteY0"/>
                  </a:cxn>
                  <a:cxn ang="0">
                    <a:pos x="connsiteX1" y="connsiteY1"/>
                  </a:cxn>
                </a:cxnLst>
                <a:rect l="l" t="t" r="r" b="b"/>
                <a:pathLst>
                  <a:path w="1686818" h="2885634">
                    <a:moveTo>
                      <a:pt x="0" y="0"/>
                    </a:moveTo>
                    <a:cubicBezTo>
                      <a:pt x="0" y="0"/>
                      <a:pt x="1980174" y="899705"/>
                      <a:pt x="1649598" y="2885634"/>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Graphic 69">
                <a:extLst>
                  <a:ext uri="{FF2B5EF4-FFF2-40B4-BE49-F238E27FC236}">
                    <a16:creationId xmlns:a16="http://schemas.microsoft.com/office/drawing/2014/main" id="{7E3DDF96-A4CD-430E-81F6-CBEFAC1C80CD}"/>
                  </a:ext>
                </a:extLst>
              </p:cNvPr>
              <p:cNvSpPr/>
              <p:nvPr userDrawn="1"/>
            </p:nvSpPr>
            <p:spPr>
              <a:xfrm rot="19202501" flipV="1">
                <a:off x="9660408" y="4450794"/>
                <a:ext cx="2743818" cy="738069"/>
              </a:xfrm>
              <a:custGeom>
                <a:avLst/>
                <a:gdLst>
                  <a:gd name="connsiteX0" fmla="*/ 1313861 w 1313860"/>
                  <a:gd name="connsiteY0" fmla="*/ 1013 h 924808"/>
                  <a:gd name="connsiteX1" fmla="*/ 0 w 1313860"/>
                  <a:gd name="connsiteY1" fmla="*/ 924808 h 924808"/>
                  <a:gd name="connsiteX0" fmla="*/ 1611255 w 1611255"/>
                  <a:gd name="connsiteY0" fmla="*/ 1188995 h 1188994"/>
                  <a:gd name="connsiteX1" fmla="*/ 0 w 1611255"/>
                  <a:gd name="connsiteY1" fmla="*/ 287690 h 1188994"/>
                  <a:gd name="connsiteX0" fmla="*/ 1611255 w 1611255"/>
                  <a:gd name="connsiteY0" fmla="*/ 1600967 h 1600966"/>
                  <a:gd name="connsiteX1" fmla="*/ 0 w 1611255"/>
                  <a:gd name="connsiteY1" fmla="*/ 699662 h 1600966"/>
                  <a:gd name="connsiteX0" fmla="*/ 1611255 w 1611255"/>
                  <a:gd name="connsiteY0" fmla="*/ 1600967 h 1600966"/>
                  <a:gd name="connsiteX1" fmla="*/ 0 w 1611255"/>
                  <a:gd name="connsiteY1" fmla="*/ 699662 h 1600966"/>
                  <a:gd name="connsiteX0" fmla="*/ 1611255 w 1611255"/>
                  <a:gd name="connsiteY0" fmla="*/ 1837508 h 1837507"/>
                  <a:gd name="connsiteX1" fmla="*/ 0 w 1611255"/>
                  <a:gd name="connsiteY1" fmla="*/ 936203 h 1837507"/>
                </a:gdLst>
                <a:ahLst/>
                <a:cxnLst>
                  <a:cxn ang="0">
                    <a:pos x="connsiteX0" y="connsiteY0"/>
                  </a:cxn>
                  <a:cxn ang="0">
                    <a:pos x="connsiteX1" y="connsiteY1"/>
                  </a:cxn>
                </a:cxnLst>
                <a:rect l="l" t="t" r="r" b="b"/>
                <a:pathLst>
                  <a:path w="1611255" h="1837507">
                    <a:moveTo>
                      <a:pt x="1611255" y="1837508"/>
                    </a:moveTo>
                    <a:cubicBezTo>
                      <a:pt x="1611255" y="1837508"/>
                      <a:pt x="972495" y="-1607153"/>
                      <a:pt x="0" y="93620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94"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rot="873320">
              <a:off x="7110637" y="3940592"/>
              <a:ext cx="697355" cy="1028010"/>
            </a:xfrm>
            <a:custGeom>
              <a:avLst/>
              <a:gdLst>
                <a:gd name="connsiteX0" fmla="*/ 0 w 915695"/>
                <a:gd name="connsiteY0" fmla="*/ 0 h 1147603"/>
                <a:gd name="connsiteX1" fmla="*/ 915695 w 915695"/>
                <a:gd name="connsiteY1" fmla="*/ 1147603 h 1147603"/>
              </a:gdLst>
              <a:ahLst/>
              <a:cxnLst>
                <a:cxn ang="0">
                  <a:pos x="connsiteX0" y="connsiteY0"/>
                </a:cxn>
                <a:cxn ang="0">
                  <a:pos x="connsiteX1" y="connsiteY1"/>
                </a:cxn>
              </a:cxnLst>
              <a:rect l="l" t="t" r="r" b="b"/>
              <a:pathLst>
                <a:path w="915695" h="1147603">
                  <a:moveTo>
                    <a:pt x="0" y="0"/>
                  </a:moveTo>
                  <a:cubicBezTo>
                    <a:pt x="0" y="0"/>
                    <a:pt x="166258" y="909301"/>
                    <a:pt x="915695" y="1147603"/>
                  </a:cubicBezTo>
                </a:path>
              </a:pathLst>
            </a:custGeom>
            <a:noFill/>
            <a:ln w="12784" cap="flat">
              <a:gradFill>
                <a:gsLst>
                  <a:gs pos="0">
                    <a:schemeClr val="accent1">
                      <a:lumMod val="5000"/>
                      <a:lumOff val="95000"/>
                    </a:schemeClr>
                  </a:gs>
                  <a:gs pos="60000">
                    <a:schemeClr val="accent1">
                      <a:lumMod val="45000"/>
                      <a:lumOff val="55000"/>
                    </a:schemeClr>
                  </a:gs>
                  <a:gs pos="100000">
                    <a:schemeClr val="accent1">
                      <a:lumMod val="30000"/>
                      <a:lumOff val="7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7098838" y="2264196"/>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8705141" y="2351588"/>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8295892" y="1022807"/>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7354492" y="4761887"/>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6878014" y="3446756"/>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0816185" y="1663111"/>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0891214" y="4280175"/>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11491873" y="3182449"/>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9697144" y="3605340"/>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Graphic 69">
              <a:extLst>
                <a:ext uri="{FF2B5EF4-FFF2-40B4-BE49-F238E27FC236}">
                  <a16:creationId xmlns:a16="http://schemas.microsoft.com/office/drawing/2014/main" id="{B5427AB9-C6F4-43FB-912F-0E4DCAE653D0}"/>
                </a:ext>
                <a:ext uri="{C183D7F6-B498-43B3-948B-1728B52AA6E4}">
                  <adec:decorative xmlns:adec="http://schemas.microsoft.com/office/drawing/2017/decorative" val="1"/>
                </a:ext>
              </a:extLst>
            </p:cNvPr>
            <p:cNvSpPr/>
            <p:nvPr/>
          </p:nvSpPr>
          <p:spPr>
            <a:xfrm>
              <a:off x="9544528" y="5354029"/>
              <a:ext cx="710048" cy="710048"/>
            </a:xfrm>
            <a:custGeom>
              <a:avLst/>
              <a:gdLst>
                <a:gd name="connsiteX0" fmla="*/ 856866 w 856865"/>
                <a:gd name="connsiteY0" fmla="*/ 428433 h 856865"/>
                <a:gd name="connsiteX1" fmla="*/ 428433 w 856865"/>
                <a:gd name="connsiteY1" fmla="*/ 856866 h 856865"/>
                <a:gd name="connsiteX2" fmla="*/ 0 w 856865"/>
                <a:gd name="connsiteY2" fmla="*/ 428433 h 856865"/>
                <a:gd name="connsiteX3" fmla="*/ 428433 w 856865"/>
                <a:gd name="connsiteY3" fmla="*/ 0 h 856865"/>
                <a:gd name="connsiteX4" fmla="*/ 856866 w 856865"/>
                <a:gd name="connsiteY4" fmla="*/ 428433 h 8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865" h="856865">
                  <a:moveTo>
                    <a:pt x="856866" y="428433"/>
                  </a:moveTo>
                  <a:cubicBezTo>
                    <a:pt x="856866" y="665050"/>
                    <a:pt x="665050" y="856866"/>
                    <a:pt x="428433" y="856866"/>
                  </a:cubicBezTo>
                  <a:cubicBezTo>
                    <a:pt x="191816" y="856866"/>
                    <a:pt x="0" y="665050"/>
                    <a:pt x="0" y="428433"/>
                  </a:cubicBezTo>
                  <a:cubicBezTo>
                    <a:pt x="0" y="191816"/>
                    <a:pt x="191816" y="0"/>
                    <a:pt x="428433" y="0"/>
                  </a:cubicBezTo>
                  <a:cubicBezTo>
                    <a:pt x="665050" y="0"/>
                    <a:pt x="856866" y="191816"/>
                    <a:pt x="856866" y="428433"/>
                  </a:cubicBezTo>
                  <a:close/>
                </a:path>
              </a:pathLst>
            </a:custGeom>
            <a:solidFill>
              <a:srgbClr val="134874"/>
            </a:solidFill>
            <a:ln w="15875" cap="flat">
              <a:noFill/>
              <a:prstDash val="solid"/>
              <a:miter/>
            </a:ln>
            <a:effectLst>
              <a:softEdge rad="88900"/>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Oval 117">
              <a:extLst>
                <a:ext uri="{FF2B5EF4-FFF2-40B4-BE49-F238E27FC236}">
                  <a16:creationId xmlns:a16="http://schemas.microsoft.com/office/drawing/2014/main" id="{EAB08600-10C9-4A62-85BF-4B560D4D0156}"/>
                </a:ext>
                <a:ext uri="{C183D7F6-B498-43B3-948B-1728B52AA6E4}">
                  <adec:decorative xmlns:adec="http://schemas.microsoft.com/office/drawing/2017/decorative" val="1"/>
                </a:ext>
              </a:extLst>
            </p:cNvPr>
            <p:cNvSpPr/>
            <p:nvPr userDrawn="1"/>
          </p:nvSpPr>
          <p:spPr bwMode="auto">
            <a:xfrm>
              <a:off x="8154283" y="4810787"/>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19" name="Oval 118">
              <a:extLst>
                <a:ext uri="{FF2B5EF4-FFF2-40B4-BE49-F238E27FC236}">
                  <a16:creationId xmlns:a16="http://schemas.microsoft.com/office/drawing/2014/main" id="{9782719C-3E30-4BAC-BA09-E5E1A4565DD6}"/>
                </a:ext>
                <a:ext uri="{C183D7F6-B498-43B3-948B-1728B52AA6E4}">
                  <adec:decorative xmlns:adec="http://schemas.microsoft.com/office/drawing/2017/decorative" val="1"/>
                </a:ext>
              </a:extLst>
            </p:cNvPr>
            <p:cNvSpPr/>
            <p:nvPr userDrawn="1"/>
          </p:nvSpPr>
          <p:spPr bwMode="auto">
            <a:xfrm>
              <a:off x="9240133" y="396782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0" name="Oval 119">
              <a:extLst>
                <a:ext uri="{FF2B5EF4-FFF2-40B4-BE49-F238E27FC236}">
                  <a16:creationId xmlns:a16="http://schemas.microsoft.com/office/drawing/2014/main" id="{92569A0C-333A-438E-88E8-468FAAF17A42}"/>
                </a:ext>
                <a:ext uri="{C183D7F6-B498-43B3-948B-1728B52AA6E4}">
                  <adec:decorative xmlns:adec="http://schemas.microsoft.com/office/drawing/2017/decorative" val="1"/>
                </a:ext>
              </a:extLst>
            </p:cNvPr>
            <p:cNvSpPr/>
            <p:nvPr userDrawn="1"/>
          </p:nvSpPr>
          <p:spPr bwMode="auto">
            <a:xfrm>
              <a:off x="7930445" y="34915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1" name="Oval 120">
              <a:extLst>
                <a:ext uri="{FF2B5EF4-FFF2-40B4-BE49-F238E27FC236}">
                  <a16:creationId xmlns:a16="http://schemas.microsoft.com/office/drawing/2014/main" id="{6B209840-4F08-4228-80A1-5444E97F1648}"/>
                </a:ext>
                <a:ext uri="{C183D7F6-B498-43B3-948B-1728B52AA6E4}">
                  <adec:decorative xmlns:adec="http://schemas.microsoft.com/office/drawing/2017/decorative" val="1"/>
                </a:ext>
              </a:extLst>
            </p:cNvPr>
            <p:cNvSpPr/>
            <p:nvPr userDrawn="1"/>
          </p:nvSpPr>
          <p:spPr bwMode="auto">
            <a:xfrm>
              <a:off x="10330745" y="2686712"/>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2" name="Oval 121">
              <a:extLst>
                <a:ext uri="{FF2B5EF4-FFF2-40B4-BE49-F238E27FC236}">
                  <a16:creationId xmlns:a16="http://schemas.microsoft.com/office/drawing/2014/main" id="{06713A23-5EED-4F03-ACE8-E1D51BF65B43}"/>
                </a:ext>
                <a:ext uri="{C183D7F6-B498-43B3-948B-1728B52AA6E4}">
                  <adec:decorative xmlns:adec="http://schemas.microsoft.com/office/drawing/2017/decorative" val="1"/>
                </a:ext>
              </a:extLst>
            </p:cNvPr>
            <p:cNvSpPr/>
            <p:nvPr userDrawn="1"/>
          </p:nvSpPr>
          <p:spPr bwMode="auto">
            <a:xfrm>
              <a:off x="8924679" y="180565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3" name="Oval 122">
              <a:extLst>
                <a:ext uri="{FF2B5EF4-FFF2-40B4-BE49-F238E27FC236}">
                  <a16:creationId xmlns:a16="http://schemas.microsoft.com/office/drawing/2014/main" id="{D9554277-4CF9-4B22-ABD5-2ECCA8010989}"/>
                </a:ext>
                <a:ext uri="{C183D7F6-B498-43B3-948B-1728B52AA6E4}">
                  <adec:decorative xmlns:adec="http://schemas.microsoft.com/office/drawing/2017/decorative" val="1"/>
                </a:ext>
              </a:extLst>
            </p:cNvPr>
            <p:cNvSpPr/>
            <p:nvPr userDrawn="1"/>
          </p:nvSpPr>
          <p:spPr bwMode="auto">
            <a:xfrm>
              <a:off x="10966362" y="33829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4" name="Oval 123">
              <a:extLst>
                <a:ext uri="{FF2B5EF4-FFF2-40B4-BE49-F238E27FC236}">
                  <a16:creationId xmlns:a16="http://schemas.microsoft.com/office/drawing/2014/main" id="{89A0A48C-7573-45D6-8D3E-4BA56EC4C4E8}"/>
                </a:ext>
                <a:ext uri="{C183D7F6-B498-43B3-948B-1728B52AA6E4}">
                  <adec:decorative xmlns:adec="http://schemas.microsoft.com/office/drawing/2017/decorative" val="1"/>
                </a:ext>
              </a:extLst>
            </p:cNvPr>
            <p:cNvSpPr/>
            <p:nvPr userDrawn="1"/>
          </p:nvSpPr>
          <p:spPr bwMode="auto">
            <a:xfrm>
              <a:off x="11768844" y="31162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5" name="Oval 124">
              <a:extLst>
                <a:ext uri="{FF2B5EF4-FFF2-40B4-BE49-F238E27FC236}">
                  <a16:creationId xmlns:a16="http://schemas.microsoft.com/office/drawing/2014/main" id="{E2637F92-35A9-468F-A6E5-9DBA37418E31}"/>
                </a:ext>
                <a:ext uri="{C183D7F6-B498-43B3-948B-1728B52AA6E4}">
                  <adec:decorative xmlns:adec="http://schemas.microsoft.com/office/drawing/2017/decorative" val="1"/>
                </a:ext>
              </a:extLst>
            </p:cNvPr>
            <p:cNvSpPr/>
            <p:nvPr userDrawn="1"/>
          </p:nvSpPr>
          <p:spPr bwMode="auto">
            <a:xfrm>
              <a:off x="7811383" y="18659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6" name="Oval 125">
              <a:extLst>
                <a:ext uri="{FF2B5EF4-FFF2-40B4-BE49-F238E27FC236}">
                  <a16:creationId xmlns:a16="http://schemas.microsoft.com/office/drawing/2014/main" id="{E68EBD0C-E2DE-4EE1-8D6C-B4CCA77F252B}"/>
                </a:ext>
                <a:ext uri="{C183D7F6-B498-43B3-948B-1728B52AA6E4}">
                  <adec:decorative xmlns:adec="http://schemas.microsoft.com/office/drawing/2017/decorative" val="1"/>
                </a:ext>
              </a:extLst>
            </p:cNvPr>
            <p:cNvSpPr/>
            <p:nvPr userDrawn="1"/>
          </p:nvSpPr>
          <p:spPr bwMode="auto">
            <a:xfrm>
              <a:off x="7200195" y="417737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7" name="Oval 126">
              <a:extLst>
                <a:ext uri="{FF2B5EF4-FFF2-40B4-BE49-F238E27FC236}">
                  <a16:creationId xmlns:a16="http://schemas.microsoft.com/office/drawing/2014/main" id="{F124B98D-35A2-43E2-A008-9B1FE68210D1}"/>
                </a:ext>
                <a:ext uri="{C183D7F6-B498-43B3-948B-1728B52AA6E4}">
                  <adec:decorative xmlns:adec="http://schemas.microsoft.com/office/drawing/2017/decorative" val="1"/>
                </a:ext>
              </a:extLst>
            </p:cNvPr>
            <p:cNvSpPr/>
            <p:nvPr userDrawn="1"/>
          </p:nvSpPr>
          <p:spPr bwMode="auto">
            <a:xfrm>
              <a:off x="10622845" y="1542125"/>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8" name="Oval 127">
              <a:extLst>
                <a:ext uri="{FF2B5EF4-FFF2-40B4-BE49-F238E27FC236}">
                  <a16:creationId xmlns:a16="http://schemas.microsoft.com/office/drawing/2014/main" id="{23F94DB4-F638-4B8E-A983-632965C2E84F}"/>
                </a:ext>
                <a:ext uri="{C183D7F6-B498-43B3-948B-1728B52AA6E4}">
                  <adec:decorative xmlns:adec="http://schemas.microsoft.com/office/drawing/2017/decorative" val="1"/>
                </a:ext>
              </a:extLst>
            </p:cNvPr>
            <p:cNvSpPr/>
            <p:nvPr userDrawn="1"/>
          </p:nvSpPr>
          <p:spPr bwMode="auto">
            <a:xfrm>
              <a:off x="10083712" y="438629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29" name="Oval 128">
              <a:extLst>
                <a:ext uri="{FF2B5EF4-FFF2-40B4-BE49-F238E27FC236}">
                  <a16:creationId xmlns:a16="http://schemas.microsoft.com/office/drawing/2014/main" id="{CF824780-6C42-4928-83B2-44FC5E1CF544}"/>
                </a:ext>
                <a:ext uri="{C183D7F6-B498-43B3-948B-1728B52AA6E4}">
                  <adec:decorative xmlns:adec="http://schemas.microsoft.com/office/drawing/2017/decorative" val="1"/>
                </a:ext>
              </a:extLst>
            </p:cNvPr>
            <p:cNvSpPr/>
            <p:nvPr userDrawn="1"/>
          </p:nvSpPr>
          <p:spPr bwMode="auto">
            <a:xfrm>
              <a:off x="9309012" y="570074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0" name="Oval 129">
              <a:extLst>
                <a:ext uri="{FF2B5EF4-FFF2-40B4-BE49-F238E27FC236}">
                  <a16:creationId xmlns:a16="http://schemas.microsoft.com/office/drawing/2014/main" id="{952927CF-1DA5-4879-A669-F86356142C24}"/>
                </a:ext>
                <a:ext uri="{C183D7F6-B498-43B3-948B-1728B52AA6E4}">
                  <adec:decorative xmlns:adec="http://schemas.microsoft.com/office/drawing/2017/decorative" val="1"/>
                </a:ext>
              </a:extLst>
            </p:cNvPr>
            <p:cNvSpPr/>
            <p:nvPr userDrawn="1"/>
          </p:nvSpPr>
          <p:spPr bwMode="auto">
            <a:xfrm>
              <a:off x="11214012" y="5053040"/>
              <a:ext cx="93925" cy="93925"/>
            </a:xfrm>
            <a:prstGeom prst="ellipse">
              <a:avLst/>
            </a:prstGeom>
            <a:solidFill>
              <a:schemeClr val="bg1"/>
            </a:solidFill>
            <a:ln>
              <a:no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grpSp>
          <p:nvGrpSpPr>
            <p:cNvPr id="131" name="Graphic 120">
              <a:extLst>
                <a:ext uri="{FF2B5EF4-FFF2-40B4-BE49-F238E27FC236}">
                  <a16:creationId xmlns:a16="http://schemas.microsoft.com/office/drawing/2014/main" id="{4C6FC48B-24CF-45B8-985C-CF3E18E227A6}"/>
                </a:ext>
                <a:ext uri="{C183D7F6-B498-43B3-948B-1728B52AA6E4}">
                  <adec:decorative xmlns:adec="http://schemas.microsoft.com/office/drawing/2017/decorative" val="1"/>
                </a:ext>
              </a:extLst>
            </p:cNvPr>
            <p:cNvGrpSpPr/>
            <p:nvPr userDrawn="1"/>
          </p:nvGrpSpPr>
          <p:grpSpPr>
            <a:xfrm>
              <a:off x="11675933" y="3374447"/>
              <a:ext cx="340715" cy="329817"/>
              <a:chOff x="6058654" y="3344980"/>
              <a:chExt cx="318325" cy="308140"/>
            </a:xfrm>
          </p:grpSpPr>
          <p:sp>
            <p:nvSpPr>
              <p:cNvPr id="132" name="Freeform: Shape 131">
                <a:extLst>
                  <a:ext uri="{FF2B5EF4-FFF2-40B4-BE49-F238E27FC236}">
                    <a16:creationId xmlns:a16="http://schemas.microsoft.com/office/drawing/2014/main" id="{8136EED6-A7AD-4DFB-8505-EFD1DA73A3C3}"/>
                  </a:ext>
                </a:extLst>
              </p:cNvPr>
              <p:cNvSpPr/>
              <p:nvPr/>
            </p:nvSpPr>
            <p:spPr>
              <a:xfrm>
                <a:off x="6267914" y="3540536"/>
                <a:ext cx="72392" cy="72390"/>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4" name="Freeform: Shape 133">
                <a:extLst>
                  <a:ext uri="{FF2B5EF4-FFF2-40B4-BE49-F238E27FC236}">
                    <a16:creationId xmlns:a16="http://schemas.microsoft.com/office/drawing/2014/main" id="{7491852A-AE20-457C-A091-C9DC2758FC38}"/>
                  </a:ext>
                </a:extLst>
              </p:cNvPr>
              <p:cNvSpPr/>
              <p:nvPr/>
            </p:nvSpPr>
            <p:spPr>
              <a:xfrm>
                <a:off x="6231244" y="3500338"/>
                <a:ext cx="145735" cy="152782"/>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5" name="Freeform: Shape 134">
                <a:extLst>
                  <a:ext uri="{FF2B5EF4-FFF2-40B4-BE49-F238E27FC236}">
                    <a16:creationId xmlns:a16="http://schemas.microsoft.com/office/drawing/2014/main" id="{9E627A7C-4096-41D3-AC56-4E6333C2E703}"/>
                  </a:ext>
                </a:extLst>
              </p:cNvPr>
              <p:cNvSpPr/>
              <p:nvPr/>
            </p:nvSpPr>
            <p:spPr>
              <a:xfrm>
                <a:off x="6058654" y="3348794"/>
                <a:ext cx="306808" cy="188977"/>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6" name="Freeform: Shape 135">
                <a:extLst>
                  <a:ext uri="{FF2B5EF4-FFF2-40B4-BE49-F238E27FC236}">
                    <a16:creationId xmlns:a16="http://schemas.microsoft.com/office/drawing/2014/main" id="{64D04EE6-376B-42D0-A15D-4CA771155EAA}"/>
                  </a:ext>
                </a:extLst>
              </p:cNvPr>
              <p:cNvSpPr/>
              <p:nvPr/>
            </p:nvSpPr>
            <p:spPr>
              <a:xfrm>
                <a:off x="6304117" y="3344980"/>
                <a:ext cx="66295" cy="66865"/>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7" name="Freeform: Shape 136">
                <a:extLst>
                  <a:ext uri="{FF2B5EF4-FFF2-40B4-BE49-F238E27FC236}">
                    <a16:creationId xmlns:a16="http://schemas.microsoft.com/office/drawing/2014/main" id="{3E998438-77C4-4F44-8F82-01ABE30255F3}"/>
                  </a:ext>
                </a:extLst>
              </p:cNvPr>
              <p:cNvSpPr/>
              <p:nvPr/>
            </p:nvSpPr>
            <p:spPr>
              <a:xfrm>
                <a:off x="6064549" y="3584250"/>
                <a:ext cx="9525" cy="41911"/>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8" name="Freeform: Shape 137">
                <a:extLst>
                  <a:ext uri="{FF2B5EF4-FFF2-40B4-BE49-F238E27FC236}">
                    <a16:creationId xmlns:a16="http://schemas.microsoft.com/office/drawing/2014/main" id="{EE08429B-29FC-4932-984F-890C0CDFC061}"/>
                  </a:ext>
                </a:extLst>
              </p:cNvPr>
              <p:cNvSpPr/>
              <p:nvPr/>
            </p:nvSpPr>
            <p:spPr>
              <a:xfrm>
                <a:off x="6104562" y="3542245"/>
                <a:ext cx="9525" cy="83916"/>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9" name="Freeform: Shape 138">
                <a:extLst>
                  <a:ext uri="{FF2B5EF4-FFF2-40B4-BE49-F238E27FC236}">
                    <a16:creationId xmlns:a16="http://schemas.microsoft.com/office/drawing/2014/main" id="{FFEDDB9F-F769-44E4-B074-8E84766354C4}"/>
                  </a:ext>
                </a:extLst>
              </p:cNvPr>
              <p:cNvSpPr/>
              <p:nvPr/>
            </p:nvSpPr>
            <p:spPr>
              <a:xfrm>
                <a:off x="6149343" y="3500620"/>
                <a:ext cx="9525" cy="125540"/>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0" name="Freeform: Shape 139">
                <a:extLst>
                  <a:ext uri="{FF2B5EF4-FFF2-40B4-BE49-F238E27FC236}">
                    <a16:creationId xmlns:a16="http://schemas.microsoft.com/office/drawing/2014/main" id="{3B30A2F5-CAE7-421A-BB4F-D6BE89E92806}"/>
                  </a:ext>
                </a:extLst>
              </p:cNvPr>
              <p:cNvSpPr/>
              <p:nvPr/>
            </p:nvSpPr>
            <p:spPr>
              <a:xfrm>
                <a:off x="6186858" y="3462907"/>
                <a:ext cx="9525" cy="163259"/>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1" name="Freeform: Shape 140">
                <a:extLst>
                  <a:ext uri="{FF2B5EF4-FFF2-40B4-BE49-F238E27FC236}">
                    <a16:creationId xmlns:a16="http://schemas.microsoft.com/office/drawing/2014/main" id="{2D6CA579-FB96-4F68-BFA7-7EAA6FDE3106}"/>
                  </a:ext>
                </a:extLst>
              </p:cNvPr>
              <p:cNvSpPr/>
              <p:nvPr/>
            </p:nvSpPr>
            <p:spPr>
              <a:xfrm>
                <a:off x="6224952" y="3457558"/>
                <a:ext cx="9525" cy="37052"/>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2" name="Freeform: Shape 141">
                <a:extLst>
                  <a:ext uri="{FF2B5EF4-FFF2-40B4-BE49-F238E27FC236}">
                    <a16:creationId xmlns:a16="http://schemas.microsoft.com/office/drawing/2014/main" id="{393C619E-948A-4C10-8C70-2DC8426FE129}"/>
                  </a:ext>
                </a:extLst>
              </p:cNvPr>
              <p:cNvSpPr/>
              <p:nvPr/>
            </p:nvSpPr>
            <p:spPr>
              <a:xfrm>
                <a:off x="6267933" y="3470971"/>
                <a:ext cx="9525" cy="2362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3" name="Freeform: Shape 142">
                <a:extLst>
                  <a:ext uri="{FF2B5EF4-FFF2-40B4-BE49-F238E27FC236}">
                    <a16:creationId xmlns:a16="http://schemas.microsoft.com/office/drawing/2014/main" id="{14C1452F-C8D3-42F5-9E7C-4221313CC5A1}"/>
                  </a:ext>
                </a:extLst>
              </p:cNvPr>
              <p:cNvSpPr/>
              <p:nvPr/>
            </p:nvSpPr>
            <p:spPr>
              <a:xfrm>
                <a:off x="6311037" y="3457541"/>
                <a:ext cx="9525" cy="18954"/>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4" name="Freeform: Shape 143">
                <a:extLst>
                  <a:ext uri="{FF2B5EF4-FFF2-40B4-BE49-F238E27FC236}">
                    <a16:creationId xmlns:a16="http://schemas.microsoft.com/office/drawing/2014/main" id="{9C2F269B-4089-4873-AC5E-9F11CC2F6A2E}"/>
                  </a:ext>
                </a:extLst>
              </p:cNvPr>
              <p:cNvSpPr/>
              <p:nvPr/>
            </p:nvSpPr>
            <p:spPr>
              <a:xfrm>
                <a:off x="6349014" y="3437920"/>
                <a:ext cx="9525" cy="45624"/>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45" name="Graphic 42">
              <a:extLst>
                <a:ext uri="{FF2B5EF4-FFF2-40B4-BE49-F238E27FC236}">
                  <a16:creationId xmlns:a16="http://schemas.microsoft.com/office/drawing/2014/main" id="{A7E4B1A7-D273-4B20-94DC-5E9C7B9370A3}"/>
                </a:ext>
                <a:ext uri="{C183D7F6-B498-43B3-948B-1728B52AA6E4}">
                  <adec:decorative xmlns:adec="http://schemas.microsoft.com/office/drawing/2017/decorative" val="1"/>
                </a:ext>
              </a:extLst>
            </p:cNvPr>
            <p:cNvGrpSpPr/>
            <p:nvPr userDrawn="1"/>
          </p:nvGrpSpPr>
          <p:grpSpPr>
            <a:xfrm>
              <a:off x="8530634" y="1238250"/>
              <a:ext cx="240565" cy="279162"/>
              <a:chOff x="5565959" y="2740119"/>
              <a:chExt cx="1303815" cy="1512998"/>
            </a:xfrm>
            <a:noFill/>
          </p:grpSpPr>
          <p:sp>
            <p:nvSpPr>
              <p:cNvPr id="146" name="Freeform: Shape 145">
                <a:extLst>
                  <a:ext uri="{FF2B5EF4-FFF2-40B4-BE49-F238E27FC236}">
                    <a16:creationId xmlns:a16="http://schemas.microsoft.com/office/drawing/2014/main" id="{8157ACFB-2481-4523-A7A1-8622ED672B63}"/>
                  </a:ext>
                </a:extLst>
              </p:cNvPr>
              <p:cNvSpPr/>
              <p:nvPr/>
            </p:nvSpPr>
            <p:spPr>
              <a:xfrm>
                <a:off x="5950234" y="3351395"/>
                <a:ext cx="919540" cy="901722"/>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7" name="Freeform: Shape 146">
                <a:extLst>
                  <a:ext uri="{FF2B5EF4-FFF2-40B4-BE49-F238E27FC236}">
                    <a16:creationId xmlns:a16="http://schemas.microsoft.com/office/drawing/2014/main" id="{39B5D865-DDA2-4FDD-90B6-879967602EB2}"/>
                  </a:ext>
                </a:extLst>
              </p:cNvPr>
              <p:cNvSpPr/>
              <p:nvPr/>
            </p:nvSpPr>
            <p:spPr>
              <a:xfrm>
                <a:off x="5565959" y="2740119"/>
                <a:ext cx="991168" cy="1393985"/>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8" name="Freeform: Shape 147">
                <a:extLst>
                  <a:ext uri="{FF2B5EF4-FFF2-40B4-BE49-F238E27FC236}">
                    <a16:creationId xmlns:a16="http://schemas.microsoft.com/office/drawing/2014/main" id="{8C509A40-B683-447A-97B0-5CA5BCB8AF9C}"/>
                  </a:ext>
                </a:extLst>
              </p:cNvPr>
              <p:cNvSpPr/>
              <p:nvPr/>
            </p:nvSpPr>
            <p:spPr>
              <a:xfrm>
                <a:off x="6143748" y="3674712"/>
                <a:ext cx="518729" cy="323659"/>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9" name="Freeform: Shape 148">
                <a:extLst>
                  <a:ext uri="{FF2B5EF4-FFF2-40B4-BE49-F238E27FC236}">
                    <a16:creationId xmlns:a16="http://schemas.microsoft.com/office/drawing/2014/main" id="{FD9EC5EA-DBE3-49BF-8C9C-BA226BA26B15}"/>
                  </a:ext>
                </a:extLst>
              </p:cNvPr>
              <p:cNvSpPr/>
              <p:nvPr/>
            </p:nvSpPr>
            <p:spPr>
              <a:xfrm>
                <a:off x="5641690" y="2844515"/>
                <a:ext cx="811339" cy="1101186"/>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50" name="Graphic 81">
              <a:extLst>
                <a:ext uri="{FF2B5EF4-FFF2-40B4-BE49-F238E27FC236}">
                  <a16:creationId xmlns:a16="http://schemas.microsoft.com/office/drawing/2014/main" id="{D44DDFC0-D26E-491C-BA2D-DE20E3118700}"/>
                </a:ext>
                <a:ext uri="{C183D7F6-B498-43B3-948B-1728B52AA6E4}">
                  <adec:decorative xmlns:adec="http://schemas.microsoft.com/office/drawing/2017/decorative" val="1"/>
                </a:ext>
              </a:extLst>
            </p:cNvPr>
            <p:cNvGrpSpPr/>
            <p:nvPr userDrawn="1"/>
          </p:nvGrpSpPr>
          <p:grpSpPr>
            <a:xfrm>
              <a:off x="7284425" y="2439931"/>
              <a:ext cx="338866" cy="358582"/>
              <a:chOff x="5889651" y="3149733"/>
              <a:chExt cx="661104" cy="699567"/>
            </a:xfrm>
          </p:grpSpPr>
          <p:sp>
            <p:nvSpPr>
              <p:cNvPr id="151" name="Freeform: Shape 150">
                <a:extLst>
                  <a:ext uri="{FF2B5EF4-FFF2-40B4-BE49-F238E27FC236}">
                    <a16:creationId xmlns:a16="http://schemas.microsoft.com/office/drawing/2014/main" id="{8280FA72-07F6-406E-9A3F-C6FCFF48A230}"/>
                  </a:ext>
                </a:extLst>
              </p:cNvPr>
              <p:cNvSpPr/>
              <p:nvPr/>
            </p:nvSpPr>
            <p:spPr>
              <a:xfrm>
                <a:off x="6079373" y="3227317"/>
                <a:ext cx="283464" cy="49339"/>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2" name="Freeform: Shape 151">
                <a:extLst>
                  <a:ext uri="{FF2B5EF4-FFF2-40B4-BE49-F238E27FC236}">
                    <a16:creationId xmlns:a16="http://schemas.microsoft.com/office/drawing/2014/main" id="{B543CD48-BD26-46BA-8E19-EA914468DC8D}"/>
                  </a:ext>
                </a:extLst>
              </p:cNvPr>
              <p:cNvSpPr/>
              <p:nvPr/>
            </p:nvSpPr>
            <p:spPr>
              <a:xfrm>
                <a:off x="5889731" y="3345048"/>
                <a:ext cx="614268" cy="504252"/>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3" name="Freeform: Shape 152">
                <a:extLst>
                  <a:ext uri="{FF2B5EF4-FFF2-40B4-BE49-F238E27FC236}">
                    <a16:creationId xmlns:a16="http://schemas.microsoft.com/office/drawing/2014/main" id="{76598F76-1134-42BF-8DC3-596350797841}"/>
                  </a:ext>
                </a:extLst>
              </p:cNvPr>
              <p:cNvSpPr/>
              <p:nvPr/>
            </p:nvSpPr>
            <p:spPr>
              <a:xfrm>
                <a:off x="5948977" y="3354383"/>
                <a:ext cx="60102" cy="9524"/>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4" name="Freeform: Shape 153">
                <a:extLst>
                  <a:ext uri="{FF2B5EF4-FFF2-40B4-BE49-F238E27FC236}">
                    <a16:creationId xmlns:a16="http://schemas.microsoft.com/office/drawing/2014/main" id="{F0D8F9A8-F91D-45CB-8B9C-D197B43DF5AD}"/>
                  </a:ext>
                </a:extLst>
              </p:cNvPr>
              <p:cNvSpPr/>
              <p:nvPr/>
            </p:nvSpPr>
            <p:spPr>
              <a:xfrm>
                <a:off x="5928687" y="3315041"/>
                <a:ext cx="229266" cy="498729"/>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5" name="Freeform: Shape 154">
                <a:extLst>
                  <a:ext uri="{FF2B5EF4-FFF2-40B4-BE49-F238E27FC236}">
                    <a16:creationId xmlns:a16="http://schemas.microsoft.com/office/drawing/2014/main" id="{6B0D5C9D-BC74-4848-BACA-0C73ADFDAFFA}"/>
                  </a:ext>
                </a:extLst>
              </p:cNvPr>
              <p:cNvSpPr/>
              <p:nvPr/>
            </p:nvSpPr>
            <p:spPr>
              <a:xfrm>
                <a:off x="6187578" y="3272179"/>
                <a:ext cx="316421" cy="495012"/>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6" name="Freeform: Shape 155">
                <a:extLst>
                  <a:ext uri="{FF2B5EF4-FFF2-40B4-BE49-F238E27FC236}">
                    <a16:creationId xmlns:a16="http://schemas.microsoft.com/office/drawing/2014/main" id="{84612C3E-1080-4513-9BC6-483C1DB8804B}"/>
                  </a:ext>
                </a:extLst>
              </p:cNvPr>
              <p:cNvSpPr/>
              <p:nvPr/>
            </p:nvSpPr>
            <p:spPr>
              <a:xfrm>
                <a:off x="6378712" y="3177389"/>
                <a:ext cx="172043" cy="262429"/>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7" name="Freeform: Shape 156">
                <a:extLst>
                  <a:ext uri="{FF2B5EF4-FFF2-40B4-BE49-F238E27FC236}">
                    <a16:creationId xmlns:a16="http://schemas.microsoft.com/office/drawing/2014/main" id="{FCC637CC-7B72-4DFD-A74E-DD2F1C9232EE}"/>
                  </a:ext>
                </a:extLst>
              </p:cNvPr>
              <p:cNvSpPr/>
              <p:nvPr/>
            </p:nvSpPr>
            <p:spPr>
              <a:xfrm>
                <a:off x="5889651" y="3149733"/>
                <a:ext cx="193421" cy="244849"/>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58" name="Group 157">
              <a:extLst>
                <a:ext uri="{FF2B5EF4-FFF2-40B4-BE49-F238E27FC236}">
                  <a16:creationId xmlns:a16="http://schemas.microsoft.com/office/drawing/2014/main" id="{2B4DDB4C-2651-4415-BA1D-48FBC44FCA74}"/>
                </a:ext>
                <a:ext uri="{C183D7F6-B498-43B3-948B-1728B52AA6E4}">
                  <adec:decorative xmlns:adec="http://schemas.microsoft.com/office/drawing/2017/decorative" val="1"/>
                </a:ext>
              </a:extLst>
            </p:cNvPr>
            <p:cNvGrpSpPr/>
            <p:nvPr userDrawn="1"/>
          </p:nvGrpSpPr>
          <p:grpSpPr>
            <a:xfrm>
              <a:off x="7538225" y="4957066"/>
              <a:ext cx="342601" cy="319712"/>
              <a:chOff x="4367801" y="4961565"/>
              <a:chExt cx="341939" cy="319097"/>
            </a:xfrm>
          </p:grpSpPr>
          <p:sp>
            <p:nvSpPr>
              <p:cNvPr id="159" name="Freeform: Shape 158">
                <a:extLst>
                  <a:ext uri="{FF2B5EF4-FFF2-40B4-BE49-F238E27FC236}">
                    <a16:creationId xmlns:a16="http://schemas.microsoft.com/office/drawing/2014/main" id="{FB797EC1-5F7A-48A9-832C-5FEE9CD6D0A6}"/>
                  </a:ext>
                </a:extLst>
              </p:cNvPr>
              <p:cNvSpPr/>
              <p:nvPr/>
            </p:nvSpPr>
            <p:spPr>
              <a:xfrm>
                <a:off x="4490666" y="4961565"/>
                <a:ext cx="219074" cy="228600"/>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160" name="Freeform: Shape 159">
                <a:extLst>
                  <a:ext uri="{FF2B5EF4-FFF2-40B4-BE49-F238E27FC236}">
                    <a16:creationId xmlns:a16="http://schemas.microsoft.com/office/drawing/2014/main" id="{A7A33425-2A3C-4347-AEBA-F0EFC2167D0A}"/>
                  </a:ext>
                </a:extLst>
              </p:cNvPr>
              <p:cNvSpPr/>
              <p:nvPr/>
            </p:nvSpPr>
            <p:spPr>
              <a:xfrm>
                <a:off x="4367801" y="5061587"/>
                <a:ext cx="200025" cy="219075"/>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grpSp>
        <p:grpSp>
          <p:nvGrpSpPr>
            <p:cNvPr id="161" name="Group 160">
              <a:extLst>
                <a:ext uri="{FF2B5EF4-FFF2-40B4-BE49-F238E27FC236}">
                  <a16:creationId xmlns:a16="http://schemas.microsoft.com/office/drawing/2014/main" id="{22A12464-EDEE-48B0-BC05-BF9642C7CE55}"/>
                </a:ext>
                <a:ext uri="{C183D7F6-B498-43B3-948B-1728B52AA6E4}">
                  <adec:decorative xmlns:adec="http://schemas.microsoft.com/office/drawing/2017/decorative" val="1"/>
                </a:ext>
              </a:extLst>
            </p:cNvPr>
            <p:cNvGrpSpPr/>
            <p:nvPr userDrawn="1"/>
          </p:nvGrpSpPr>
          <p:grpSpPr>
            <a:xfrm>
              <a:off x="9713171" y="5583545"/>
              <a:ext cx="372767" cy="251017"/>
              <a:chOff x="8303412" y="3006302"/>
              <a:chExt cx="686165" cy="462057"/>
            </a:xfrm>
          </p:grpSpPr>
          <p:grpSp>
            <p:nvGrpSpPr>
              <p:cNvPr id="162" name="Graphic 460">
                <a:extLst>
                  <a:ext uri="{FF2B5EF4-FFF2-40B4-BE49-F238E27FC236}">
                    <a16:creationId xmlns:a16="http://schemas.microsoft.com/office/drawing/2014/main" id="{029D9668-4720-4FA3-8285-564F31DD5A8F}"/>
                  </a:ext>
                </a:extLst>
              </p:cNvPr>
              <p:cNvGrpSpPr/>
              <p:nvPr/>
            </p:nvGrpSpPr>
            <p:grpSpPr>
              <a:xfrm>
                <a:off x="8303412" y="3006302"/>
                <a:ext cx="686165" cy="462057"/>
                <a:chOff x="5876630" y="3267709"/>
                <a:chExt cx="686166" cy="462057"/>
              </a:xfrm>
            </p:grpSpPr>
            <p:sp>
              <p:nvSpPr>
                <p:cNvPr id="176" name="Freeform: Shape 175">
                  <a:extLst>
                    <a:ext uri="{FF2B5EF4-FFF2-40B4-BE49-F238E27FC236}">
                      <a16:creationId xmlns:a16="http://schemas.microsoft.com/office/drawing/2014/main" id="{9D776177-07BD-4137-B5B6-96169DE71CFD}"/>
                    </a:ext>
                  </a:extLst>
                </p:cNvPr>
                <p:cNvSpPr/>
                <p:nvPr/>
              </p:nvSpPr>
              <p:spPr>
                <a:xfrm>
                  <a:off x="5876630" y="3267709"/>
                  <a:ext cx="686166" cy="462057"/>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7" name="Freeform: Shape 176">
                  <a:extLst>
                    <a:ext uri="{FF2B5EF4-FFF2-40B4-BE49-F238E27FC236}">
                      <a16:creationId xmlns:a16="http://schemas.microsoft.com/office/drawing/2014/main" id="{A487CA75-BD6D-4897-8CF0-7C54C23E0F15}"/>
                    </a:ext>
                  </a:extLst>
                </p:cNvPr>
                <p:cNvSpPr/>
                <p:nvPr/>
              </p:nvSpPr>
              <p:spPr>
                <a:xfrm>
                  <a:off x="5876630" y="3352196"/>
                  <a:ext cx="686166"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8" name="Freeform: Shape 177">
                  <a:extLst>
                    <a:ext uri="{FF2B5EF4-FFF2-40B4-BE49-F238E27FC236}">
                      <a16:creationId xmlns:a16="http://schemas.microsoft.com/office/drawing/2014/main" id="{07930C7A-DD48-4C1F-B491-8CD9FC5243FF}"/>
                    </a:ext>
                  </a:extLst>
                </p:cNvPr>
                <p:cNvSpPr/>
                <p:nvPr/>
              </p:nvSpPr>
              <p:spPr>
                <a:xfrm>
                  <a:off x="6381314" y="3295046"/>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9" name="Freeform: Shape 178">
                  <a:extLst>
                    <a:ext uri="{FF2B5EF4-FFF2-40B4-BE49-F238E27FC236}">
                      <a16:creationId xmlns:a16="http://schemas.microsoft.com/office/drawing/2014/main" id="{0C1CEB49-D23F-45C9-B496-1D47D18B1B0E}"/>
                    </a:ext>
                  </a:extLst>
                </p:cNvPr>
                <p:cNvSpPr/>
                <p:nvPr/>
              </p:nvSpPr>
              <p:spPr>
                <a:xfrm>
                  <a:off x="642989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0" name="Freeform: Shape 179">
                  <a:extLst>
                    <a:ext uri="{FF2B5EF4-FFF2-40B4-BE49-F238E27FC236}">
                      <a16:creationId xmlns:a16="http://schemas.microsoft.com/office/drawing/2014/main" id="{312A21C8-1463-478E-830B-449F76303C19}"/>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63" name="Graphic 584">
                <a:extLst>
                  <a:ext uri="{FF2B5EF4-FFF2-40B4-BE49-F238E27FC236}">
                    <a16:creationId xmlns:a16="http://schemas.microsoft.com/office/drawing/2014/main" id="{4B883D9B-79EA-401C-B729-5554D5AA9E9C}"/>
                  </a:ext>
                </a:extLst>
              </p:cNvPr>
              <p:cNvGrpSpPr/>
              <p:nvPr/>
            </p:nvGrpSpPr>
            <p:grpSpPr>
              <a:xfrm>
                <a:off x="8404338" y="3140788"/>
                <a:ext cx="472756" cy="280074"/>
                <a:chOff x="6089078" y="3382390"/>
                <a:chExt cx="254031" cy="150495"/>
              </a:xfrm>
            </p:grpSpPr>
            <p:sp>
              <p:nvSpPr>
                <p:cNvPr id="164" name="Freeform: Shape 163">
                  <a:extLst>
                    <a:ext uri="{FF2B5EF4-FFF2-40B4-BE49-F238E27FC236}">
                      <a16:creationId xmlns:a16="http://schemas.microsoft.com/office/drawing/2014/main" id="{63EA1AFA-E1A1-463B-91ED-DFF4F95DC49F}"/>
                    </a:ext>
                  </a:extLst>
                </p:cNvPr>
                <p:cNvSpPr/>
                <p:nvPr/>
              </p:nvSpPr>
              <p:spPr>
                <a:xfrm>
                  <a:off x="6089078" y="3522121"/>
                  <a:ext cx="125634"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5" name="Freeform: Shape 164">
                  <a:extLst>
                    <a:ext uri="{FF2B5EF4-FFF2-40B4-BE49-F238E27FC236}">
                      <a16:creationId xmlns:a16="http://schemas.microsoft.com/office/drawing/2014/main" id="{BF90386F-567E-445E-A345-7CB02E4FAF31}"/>
                    </a:ext>
                  </a:extLst>
                </p:cNvPr>
                <p:cNvSpPr/>
                <p:nvPr/>
              </p:nvSpPr>
              <p:spPr>
                <a:xfrm>
                  <a:off x="6103937" y="3459637"/>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6" name="Freeform: Shape 165">
                  <a:extLst>
                    <a:ext uri="{FF2B5EF4-FFF2-40B4-BE49-F238E27FC236}">
                      <a16:creationId xmlns:a16="http://schemas.microsoft.com/office/drawing/2014/main" id="{F9C661A1-7323-4E5E-A74D-F42BE302431C}"/>
                    </a:ext>
                  </a:extLst>
                </p:cNvPr>
                <p:cNvSpPr/>
                <p:nvPr/>
              </p:nvSpPr>
              <p:spPr>
                <a:xfrm>
                  <a:off x="6133750" y="3480402"/>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7" name="Freeform: Shape 166">
                  <a:extLst>
                    <a:ext uri="{FF2B5EF4-FFF2-40B4-BE49-F238E27FC236}">
                      <a16:creationId xmlns:a16="http://schemas.microsoft.com/office/drawing/2014/main" id="{23EE9EAA-515A-459A-A9EB-AEEE83E639DC}"/>
                    </a:ext>
                  </a:extLst>
                </p:cNvPr>
                <p:cNvSpPr/>
                <p:nvPr/>
              </p:nvSpPr>
              <p:spPr>
                <a:xfrm>
                  <a:off x="6163468" y="3475163"/>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8" name="Freeform: Shape 167">
                  <a:extLst>
                    <a:ext uri="{FF2B5EF4-FFF2-40B4-BE49-F238E27FC236}">
                      <a16:creationId xmlns:a16="http://schemas.microsoft.com/office/drawing/2014/main" id="{2408A385-20E9-43B2-ADAC-14789981F8E5}"/>
                    </a:ext>
                  </a:extLst>
                </p:cNvPr>
                <p:cNvSpPr/>
                <p:nvPr/>
              </p:nvSpPr>
              <p:spPr>
                <a:xfrm>
                  <a:off x="6193281" y="3500119"/>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9" name="Freeform: Shape 168">
                  <a:extLst>
                    <a:ext uri="{FF2B5EF4-FFF2-40B4-BE49-F238E27FC236}">
                      <a16:creationId xmlns:a16="http://schemas.microsoft.com/office/drawing/2014/main" id="{4A7F658C-1DB2-4C80-9026-322CD12098C7}"/>
                    </a:ext>
                  </a:extLst>
                </p:cNvPr>
                <p:cNvSpPr/>
                <p:nvPr/>
              </p:nvSpPr>
              <p:spPr>
                <a:xfrm>
                  <a:off x="6100412" y="3390581"/>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0" name="Freeform: Shape 169">
                  <a:extLst>
                    <a:ext uri="{FF2B5EF4-FFF2-40B4-BE49-F238E27FC236}">
                      <a16:creationId xmlns:a16="http://schemas.microsoft.com/office/drawing/2014/main" id="{E94AD005-8ABA-4FCE-8C32-E232E0755949}"/>
                    </a:ext>
                  </a:extLst>
                </p:cNvPr>
                <p:cNvSpPr/>
                <p:nvPr/>
              </p:nvSpPr>
              <p:spPr>
                <a:xfrm>
                  <a:off x="6100412" y="3415060"/>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1" name="Freeform: Shape 170">
                  <a:extLst>
                    <a:ext uri="{FF2B5EF4-FFF2-40B4-BE49-F238E27FC236}">
                      <a16:creationId xmlns:a16="http://schemas.microsoft.com/office/drawing/2014/main" id="{09ADBCD9-42CD-42D3-A8B9-D2445749A66F}"/>
                    </a:ext>
                  </a:extLst>
                </p:cNvPr>
                <p:cNvSpPr/>
                <p:nvPr/>
              </p:nvSpPr>
              <p:spPr>
                <a:xfrm>
                  <a:off x="6260528" y="349888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2" name="Freeform: Shape 171">
                  <a:extLst>
                    <a:ext uri="{FF2B5EF4-FFF2-40B4-BE49-F238E27FC236}">
                      <a16:creationId xmlns:a16="http://schemas.microsoft.com/office/drawing/2014/main" id="{0C8B62CD-8F37-4B00-A72D-ED3BC8BC265F}"/>
                    </a:ext>
                  </a:extLst>
                </p:cNvPr>
                <p:cNvSpPr/>
                <p:nvPr/>
              </p:nvSpPr>
              <p:spPr>
                <a:xfrm>
                  <a:off x="6260528" y="352336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3" name="Freeform: Shape 172">
                  <a:extLst>
                    <a:ext uri="{FF2B5EF4-FFF2-40B4-BE49-F238E27FC236}">
                      <a16:creationId xmlns:a16="http://schemas.microsoft.com/office/drawing/2014/main" id="{3593EE3F-089C-49C3-802C-2773A364976C}"/>
                    </a:ext>
                  </a:extLst>
                </p:cNvPr>
                <p:cNvSpPr/>
                <p:nvPr/>
              </p:nvSpPr>
              <p:spPr>
                <a:xfrm>
                  <a:off x="6264814" y="3382390"/>
                  <a:ext cx="70294"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4" name="Freeform: Shape 173">
                  <a:extLst>
                    <a:ext uri="{FF2B5EF4-FFF2-40B4-BE49-F238E27FC236}">
                      <a16:creationId xmlns:a16="http://schemas.microsoft.com/office/drawing/2014/main" id="{19FAEED4-E808-47DE-9DF1-D9C685BFA91C}"/>
                    </a:ext>
                  </a:extLst>
                </p:cNvPr>
                <p:cNvSpPr/>
                <p:nvPr/>
              </p:nvSpPr>
              <p:spPr>
                <a:xfrm>
                  <a:off x="6303009" y="3390581"/>
                  <a:ext cx="17049" cy="25717"/>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5" name="Freeform: Shape 174">
                  <a:extLst>
                    <a:ext uri="{FF2B5EF4-FFF2-40B4-BE49-F238E27FC236}">
                      <a16:creationId xmlns:a16="http://schemas.microsoft.com/office/drawing/2014/main" id="{DC5D1976-61E6-41B0-8FB8-DE278C697C3C}"/>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181" name="Graphic 103">
              <a:extLst>
                <a:ext uri="{FF2B5EF4-FFF2-40B4-BE49-F238E27FC236}">
                  <a16:creationId xmlns:a16="http://schemas.microsoft.com/office/drawing/2014/main" id="{DFBADF01-D6D4-45D6-B54B-83D23D644A91}"/>
                </a:ext>
                <a:ext uri="{C183D7F6-B498-43B3-948B-1728B52AA6E4}">
                  <adec:decorative xmlns:adec="http://schemas.microsoft.com/office/drawing/2017/decorative" val="1"/>
                </a:ext>
              </a:extLst>
            </p:cNvPr>
            <p:cNvGrpSpPr/>
            <p:nvPr userDrawn="1"/>
          </p:nvGrpSpPr>
          <p:grpSpPr>
            <a:xfrm>
              <a:off x="11007072" y="1876278"/>
              <a:ext cx="331204" cy="284526"/>
              <a:chOff x="5470631" y="5738145"/>
              <a:chExt cx="456734" cy="392365"/>
            </a:xfrm>
          </p:grpSpPr>
          <p:sp>
            <p:nvSpPr>
              <p:cNvPr id="182" name="Freeform: Shape 181">
                <a:extLst>
                  <a:ext uri="{FF2B5EF4-FFF2-40B4-BE49-F238E27FC236}">
                    <a16:creationId xmlns:a16="http://schemas.microsoft.com/office/drawing/2014/main" id="{7DA42495-6F21-4099-876C-A9C46F4FD607}"/>
                  </a:ext>
                </a:extLst>
              </p:cNvPr>
              <p:cNvSpPr/>
              <p:nvPr/>
            </p:nvSpPr>
            <p:spPr>
              <a:xfrm>
                <a:off x="5628424" y="5738145"/>
                <a:ext cx="298941" cy="298940"/>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3" name="Freeform: Shape 182">
                <a:extLst>
                  <a:ext uri="{FF2B5EF4-FFF2-40B4-BE49-F238E27FC236}">
                    <a16:creationId xmlns:a16="http://schemas.microsoft.com/office/drawing/2014/main" id="{80C762CE-BF2C-471B-8FE0-862F1042365F}"/>
                  </a:ext>
                </a:extLst>
              </p:cNvPr>
              <p:cNvSpPr/>
              <p:nvPr/>
            </p:nvSpPr>
            <p:spPr>
              <a:xfrm>
                <a:off x="5771897" y="580033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4" name="Freeform: Shape 183">
                <a:extLst>
                  <a:ext uri="{FF2B5EF4-FFF2-40B4-BE49-F238E27FC236}">
                    <a16:creationId xmlns:a16="http://schemas.microsoft.com/office/drawing/2014/main" id="{600DFF85-F663-42F0-9809-53FBB1655AB1}"/>
                  </a:ext>
                </a:extLst>
              </p:cNvPr>
              <p:cNvSpPr/>
              <p:nvPr/>
            </p:nvSpPr>
            <p:spPr>
              <a:xfrm>
                <a:off x="5680085" y="5886392"/>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5" name="Freeform: Shape 184">
                <a:extLst>
                  <a:ext uri="{FF2B5EF4-FFF2-40B4-BE49-F238E27FC236}">
                    <a16:creationId xmlns:a16="http://schemas.microsoft.com/office/drawing/2014/main" id="{59758EDC-4C73-4EFA-BC90-9438B3E57931}"/>
                  </a:ext>
                </a:extLst>
              </p:cNvPr>
              <p:cNvSpPr/>
              <p:nvPr/>
            </p:nvSpPr>
            <p:spPr>
              <a:xfrm>
                <a:off x="5550200" y="5818580"/>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6" name="Freeform: Shape 185">
                <a:extLst>
                  <a:ext uri="{FF2B5EF4-FFF2-40B4-BE49-F238E27FC236}">
                    <a16:creationId xmlns:a16="http://schemas.microsoft.com/office/drawing/2014/main" id="{3638198F-3D19-4F8E-BD13-700221166515}"/>
                  </a:ext>
                </a:extLst>
              </p:cNvPr>
              <p:cNvSpPr/>
              <p:nvPr/>
            </p:nvSpPr>
            <p:spPr>
              <a:xfrm>
                <a:off x="5470631" y="5923368"/>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7" name="Freeform: Shape 186">
                <a:extLst>
                  <a:ext uri="{FF2B5EF4-FFF2-40B4-BE49-F238E27FC236}">
                    <a16:creationId xmlns:a16="http://schemas.microsoft.com/office/drawing/2014/main" id="{81EB7C2E-3997-4EE5-8577-CD9F3EB1B280}"/>
                  </a:ext>
                </a:extLst>
              </p:cNvPr>
              <p:cNvSpPr/>
              <p:nvPr/>
            </p:nvSpPr>
            <p:spPr>
              <a:xfrm>
                <a:off x="5867255" y="5923368"/>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8" name="Freeform: Shape 187">
                <a:extLst>
                  <a:ext uri="{FF2B5EF4-FFF2-40B4-BE49-F238E27FC236}">
                    <a16:creationId xmlns:a16="http://schemas.microsoft.com/office/drawing/2014/main" id="{1DC636C2-AD83-45AC-8B56-67A4104CA611}"/>
                  </a:ext>
                </a:extLst>
              </p:cNvPr>
              <p:cNvSpPr/>
              <p:nvPr/>
            </p:nvSpPr>
            <p:spPr>
              <a:xfrm>
                <a:off x="5565254" y="6001115"/>
                <a:ext cx="115437" cy="129395"/>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9" name="Freeform: Shape 188">
                <a:extLst>
                  <a:ext uri="{FF2B5EF4-FFF2-40B4-BE49-F238E27FC236}">
                    <a16:creationId xmlns:a16="http://schemas.microsoft.com/office/drawing/2014/main" id="{BB9477B1-E6A3-4424-92EC-4E488F48162B}"/>
                  </a:ext>
                </a:extLst>
              </p:cNvPr>
              <p:cNvSpPr/>
              <p:nvPr/>
            </p:nvSpPr>
            <p:spPr>
              <a:xfrm>
                <a:off x="5498418" y="5851403"/>
                <a:ext cx="59616" cy="7663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0" name="Freeform: Shape 189">
                <a:extLst>
                  <a:ext uri="{FF2B5EF4-FFF2-40B4-BE49-F238E27FC236}">
                    <a16:creationId xmlns:a16="http://schemas.microsoft.com/office/drawing/2014/main" id="{A38C2DAA-6D6F-4611-9107-F3C4EC03AC06}"/>
                  </a:ext>
                </a:extLst>
              </p:cNvPr>
              <p:cNvSpPr/>
              <p:nvPr/>
            </p:nvSpPr>
            <p:spPr>
              <a:xfrm>
                <a:off x="5583016" y="5845282"/>
                <a:ext cx="97076" cy="53863"/>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1" name="Freeform: Shape 190">
                <a:extLst>
                  <a:ext uri="{FF2B5EF4-FFF2-40B4-BE49-F238E27FC236}">
                    <a16:creationId xmlns:a16="http://schemas.microsoft.com/office/drawing/2014/main" id="{5214BB00-2426-4E25-8A1D-0D86F832B201}"/>
                  </a:ext>
                </a:extLst>
              </p:cNvPr>
              <p:cNvSpPr/>
              <p:nvPr/>
            </p:nvSpPr>
            <p:spPr>
              <a:xfrm>
                <a:off x="5709096" y="5825221"/>
                <a:ext cx="62799" cy="67207"/>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2" name="Freeform: Shape 191">
                <a:extLst>
                  <a:ext uri="{FF2B5EF4-FFF2-40B4-BE49-F238E27FC236}">
                    <a16:creationId xmlns:a16="http://schemas.microsoft.com/office/drawing/2014/main" id="{E4067F56-A9BD-4407-A768-9B7CF9649A13}"/>
                  </a:ext>
                </a:extLst>
              </p:cNvPr>
              <p:cNvSpPr/>
              <p:nvPr/>
            </p:nvSpPr>
            <p:spPr>
              <a:xfrm>
                <a:off x="5798965" y="5829122"/>
                <a:ext cx="75163" cy="94383"/>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93" name="Group 192">
              <a:extLst>
                <a:ext uri="{FF2B5EF4-FFF2-40B4-BE49-F238E27FC236}">
                  <a16:creationId xmlns:a16="http://schemas.microsoft.com/office/drawing/2014/main" id="{FD888BA4-2FA8-4B50-AE0C-6777F2459522}"/>
                </a:ext>
                <a:ext uri="{C183D7F6-B498-43B3-948B-1728B52AA6E4}">
                  <adec:decorative xmlns:adec="http://schemas.microsoft.com/office/drawing/2017/decorative" val="1"/>
                </a:ext>
              </a:extLst>
            </p:cNvPr>
            <p:cNvGrpSpPr/>
            <p:nvPr userDrawn="1"/>
          </p:nvGrpSpPr>
          <p:grpSpPr>
            <a:xfrm>
              <a:off x="7094604" y="3661746"/>
              <a:ext cx="276872" cy="280067"/>
              <a:chOff x="2551095" y="4928951"/>
              <a:chExt cx="493504" cy="499200"/>
            </a:xfrm>
          </p:grpSpPr>
          <p:sp>
            <p:nvSpPr>
              <p:cNvPr id="194" name="Freeform: Shape 193">
                <a:extLst>
                  <a:ext uri="{FF2B5EF4-FFF2-40B4-BE49-F238E27FC236}">
                    <a16:creationId xmlns:a16="http://schemas.microsoft.com/office/drawing/2014/main" id="{D3AE47C5-1C1A-44B0-88DB-87A6880961B7}"/>
                  </a:ext>
                </a:extLst>
              </p:cNvPr>
              <p:cNvSpPr/>
              <p:nvPr/>
            </p:nvSpPr>
            <p:spPr>
              <a:xfrm>
                <a:off x="2551095" y="4985565"/>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5" name="Freeform: Shape 194">
                <a:extLst>
                  <a:ext uri="{FF2B5EF4-FFF2-40B4-BE49-F238E27FC236}">
                    <a16:creationId xmlns:a16="http://schemas.microsoft.com/office/drawing/2014/main" id="{241D1535-8C83-4200-BE62-10502B3AE6F0}"/>
                  </a:ext>
                </a:extLst>
              </p:cNvPr>
              <p:cNvSpPr/>
              <p:nvPr/>
            </p:nvSpPr>
            <p:spPr>
              <a:xfrm>
                <a:off x="2731430" y="4928951"/>
                <a:ext cx="313169" cy="316991"/>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196" name="Freeform: Shape 195">
              <a:extLst>
                <a:ext uri="{FF2B5EF4-FFF2-40B4-BE49-F238E27FC236}">
                  <a16:creationId xmlns:a16="http://schemas.microsoft.com/office/drawing/2014/main" id="{7BC0B53E-8681-47A1-8B01-FC0A374D5CDB}"/>
                </a:ext>
                <a:ext uri="{C183D7F6-B498-43B3-948B-1728B52AA6E4}">
                  <adec:decorative xmlns:adec="http://schemas.microsoft.com/office/drawing/2017/decorative" val="1"/>
                </a:ext>
              </a:extLst>
            </p:cNvPr>
            <p:cNvSpPr/>
            <p:nvPr userDrawn="1"/>
          </p:nvSpPr>
          <p:spPr>
            <a:xfrm>
              <a:off x="9891091" y="3796609"/>
              <a:ext cx="322154" cy="327510"/>
            </a:xfrm>
            <a:custGeom>
              <a:avLst/>
              <a:gdLst>
                <a:gd name="connsiteX0" fmla="*/ 443865 w 458152"/>
                <a:gd name="connsiteY0" fmla="*/ 194310 h 465772"/>
                <a:gd name="connsiteX1" fmla="*/ 458153 w 458152"/>
                <a:gd name="connsiteY1" fmla="*/ 210502 h 465772"/>
                <a:gd name="connsiteX2" fmla="*/ 458153 w 458152"/>
                <a:gd name="connsiteY2" fmla="*/ 232410 h 465772"/>
                <a:gd name="connsiteX3" fmla="*/ 458153 w 458152"/>
                <a:gd name="connsiteY3" fmla="*/ 254318 h 465772"/>
                <a:gd name="connsiteX4" fmla="*/ 443865 w 458152"/>
                <a:gd name="connsiteY4" fmla="*/ 270510 h 465772"/>
                <a:gd name="connsiteX5" fmla="*/ 401003 w 458152"/>
                <a:gd name="connsiteY5" fmla="*/ 278130 h 465772"/>
                <a:gd name="connsiteX6" fmla="*/ 381953 w 458152"/>
                <a:gd name="connsiteY6" fmla="*/ 324803 h 465772"/>
                <a:gd name="connsiteX7" fmla="*/ 407670 w 458152"/>
                <a:gd name="connsiteY7" fmla="*/ 360998 h 465772"/>
                <a:gd name="connsiteX8" fmla="*/ 405765 w 458152"/>
                <a:gd name="connsiteY8" fmla="*/ 382905 h 465772"/>
                <a:gd name="connsiteX9" fmla="*/ 391478 w 458152"/>
                <a:gd name="connsiteY9" fmla="*/ 398145 h 465772"/>
                <a:gd name="connsiteX10" fmla="*/ 377190 w 458152"/>
                <a:gd name="connsiteY10" fmla="*/ 413385 h 465772"/>
                <a:gd name="connsiteX11" fmla="*/ 356235 w 458152"/>
                <a:gd name="connsiteY11" fmla="*/ 415290 h 465772"/>
                <a:gd name="connsiteX12" fmla="*/ 320993 w 458152"/>
                <a:gd name="connsiteY12" fmla="*/ 389573 h 465772"/>
                <a:gd name="connsiteX13" fmla="*/ 276225 w 458152"/>
                <a:gd name="connsiteY13" fmla="*/ 408623 h 465772"/>
                <a:gd name="connsiteX14" fmla="*/ 268605 w 458152"/>
                <a:gd name="connsiteY14" fmla="*/ 451485 h 465772"/>
                <a:gd name="connsiteX15" fmla="*/ 252413 w 458152"/>
                <a:gd name="connsiteY15" fmla="*/ 465773 h 465772"/>
                <a:gd name="connsiteX16" fmla="*/ 230505 w 458152"/>
                <a:gd name="connsiteY16" fmla="*/ 465773 h 465772"/>
                <a:gd name="connsiteX17" fmla="*/ 209550 w 458152"/>
                <a:gd name="connsiteY17" fmla="*/ 465773 h 465772"/>
                <a:gd name="connsiteX18" fmla="*/ 193357 w 458152"/>
                <a:gd name="connsiteY18" fmla="*/ 451485 h 465772"/>
                <a:gd name="connsiteX19" fmla="*/ 185738 w 458152"/>
                <a:gd name="connsiteY19" fmla="*/ 408623 h 465772"/>
                <a:gd name="connsiteX20" fmla="*/ 140018 w 458152"/>
                <a:gd name="connsiteY20" fmla="*/ 389573 h 465772"/>
                <a:gd name="connsiteX21" fmla="*/ 104775 w 458152"/>
                <a:gd name="connsiteY21" fmla="*/ 415290 h 465772"/>
                <a:gd name="connsiteX22" fmla="*/ 83820 w 458152"/>
                <a:gd name="connsiteY22" fmla="*/ 413385 h 465772"/>
                <a:gd name="connsiteX23" fmla="*/ 69532 w 458152"/>
                <a:gd name="connsiteY23" fmla="*/ 398145 h 465772"/>
                <a:gd name="connsiteX24" fmla="*/ 55245 w 458152"/>
                <a:gd name="connsiteY24" fmla="*/ 382905 h 465772"/>
                <a:gd name="connsiteX25" fmla="*/ 52388 w 458152"/>
                <a:gd name="connsiteY25" fmla="*/ 362903 h 465772"/>
                <a:gd name="connsiteX26" fmla="*/ 77153 w 458152"/>
                <a:gd name="connsiteY26" fmla="*/ 326708 h 465772"/>
                <a:gd name="connsiteX27" fmla="*/ 57150 w 458152"/>
                <a:gd name="connsiteY27" fmla="*/ 280035 h 465772"/>
                <a:gd name="connsiteX28" fmla="*/ 14288 w 458152"/>
                <a:gd name="connsiteY28" fmla="*/ 272415 h 465772"/>
                <a:gd name="connsiteX29" fmla="*/ 0 w 458152"/>
                <a:gd name="connsiteY29" fmla="*/ 256223 h 465772"/>
                <a:gd name="connsiteX30" fmla="*/ 0 w 458152"/>
                <a:gd name="connsiteY30" fmla="*/ 234315 h 465772"/>
                <a:gd name="connsiteX31" fmla="*/ 0 w 458152"/>
                <a:gd name="connsiteY31" fmla="*/ 212408 h 465772"/>
                <a:gd name="connsiteX32" fmla="*/ 14288 w 458152"/>
                <a:gd name="connsiteY32" fmla="*/ 196215 h 465772"/>
                <a:gd name="connsiteX33" fmla="*/ 57150 w 458152"/>
                <a:gd name="connsiteY33" fmla="*/ 189548 h 465772"/>
                <a:gd name="connsiteX34" fmla="*/ 76200 w 458152"/>
                <a:gd name="connsiteY34" fmla="*/ 142875 h 465772"/>
                <a:gd name="connsiteX35" fmla="*/ 51435 w 458152"/>
                <a:gd name="connsiteY35" fmla="*/ 106680 h 465772"/>
                <a:gd name="connsiteX36" fmla="*/ 53340 w 458152"/>
                <a:gd name="connsiteY36" fmla="*/ 84773 h 465772"/>
                <a:gd name="connsiteX37" fmla="*/ 67628 w 458152"/>
                <a:gd name="connsiteY37" fmla="*/ 69532 h 465772"/>
                <a:gd name="connsiteX38" fmla="*/ 81915 w 458152"/>
                <a:gd name="connsiteY38" fmla="*/ 54293 h 465772"/>
                <a:gd name="connsiteX39" fmla="*/ 102870 w 458152"/>
                <a:gd name="connsiteY39" fmla="*/ 52388 h 465772"/>
                <a:gd name="connsiteX40" fmla="*/ 138113 w 458152"/>
                <a:gd name="connsiteY40" fmla="*/ 77152 h 465772"/>
                <a:gd name="connsiteX41" fmla="*/ 184785 w 458152"/>
                <a:gd name="connsiteY41" fmla="*/ 57150 h 465772"/>
                <a:gd name="connsiteX42" fmla="*/ 192405 w 458152"/>
                <a:gd name="connsiteY42" fmla="*/ 14288 h 465772"/>
                <a:gd name="connsiteX43" fmla="*/ 208598 w 458152"/>
                <a:gd name="connsiteY43" fmla="*/ 0 h 465772"/>
                <a:gd name="connsiteX44" fmla="*/ 229553 w 458152"/>
                <a:gd name="connsiteY44" fmla="*/ 0 h 465772"/>
                <a:gd name="connsiteX45" fmla="*/ 250507 w 458152"/>
                <a:gd name="connsiteY45" fmla="*/ 0 h 465772"/>
                <a:gd name="connsiteX46" fmla="*/ 266700 w 458152"/>
                <a:gd name="connsiteY46" fmla="*/ 14288 h 465772"/>
                <a:gd name="connsiteX47" fmla="*/ 274320 w 458152"/>
                <a:gd name="connsiteY47" fmla="*/ 58103 h 465772"/>
                <a:gd name="connsiteX48" fmla="*/ 320040 w 458152"/>
                <a:gd name="connsiteY48" fmla="*/ 77152 h 465772"/>
                <a:gd name="connsiteX49" fmla="*/ 355282 w 458152"/>
                <a:gd name="connsiteY49" fmla="*/ 51435 h 465772"/>
                <a:gd name="connsiteX50" fmla="*/ 376238 w 458152"/>
                <a:gd name="connsiteY50" fmla="*/ 53340 h 465772"/>
                <a:gd name="connsiteX51" fmla="*/ 390525 w 458152"/>
                <a:gd name="connsiteY51" fmla="*/ 68580 h 465772"/>
                <a:gd name="connsiteX52" fmla="*/ 406718 w 458152"/>
                <a:gd name="connsiteY52" fmla="*/ 83820 h 465772"/>
                <a:gd name="connsiteX53" fmla="*/ 408623 w 458152"/>
                <a:gd name="connsiteY53" fmla="*/ 105727 h 465772"/>
                <a:gd name="connsiteX54" fmla="*/ 382905 w 458152"/>
                <a:gd name="connsiteY54" fmla="*/ 141923 h 465772"/>
                <a:gd name="connsiteX55" fmla="*/ 401955 w 458152"/>
                <a:gd name="connsiteY55" fmla="*/ 188595 h 465772"/>
                <a:gd name="connsiteX56" fmla="*/ 443865 w 458152"/>
                <a:gd name="connsiteY56" fmla="*/ 194310 h 465772"/>
                <a:gd name="connsiteX57" fmla="*/ 443865 w 458152"/>
                <a:gd name="connsiteY57" fmla="*/ 194310 h 465772"/>
                <a:gd name="connsiteX58" fmla="*/ 112395 w 458152"/>
                <a:gd name="connsiteY58" fmla="*/ 272415 h 465772"/>
                <a:gd name="connsiteX59" fmla="*/ 232410 w 458152"/>
                <a:gd name="connsiteY59" fmla="*/ 360045 h 465772"/>
                <a:gd name="connsiteX60" fmla="*/ 355282 w 458152"/>
                <a:gd name="connsiteY60" fmla="*/ 263843 h 465772"/>
                <a:gd name="connsiteX61" fmla="*/ 112395 w 458152"/>
                <a:gd name="connsiteY61" fmla="*/ 196215 h 465772"/>
                <a:gd name="connsiteX62" fmla="*/ 233363 w 458152"/>
                <a:gd name="connsiteY62" fmla="*/ 106680 h 465772"/>
                <a:gd name="connsiteX63" fmla="*/ 351473 w 458152"/>
                <a:gd name="connsiteY63" fmla="*/ 188595 h 465772"/>
                <a:gd name="connsiteX64" fmla="*/ 346710 w 458152"/>
                <a:gd name="connsiteY64" fmla="*/ 188595 h 465772"/>
                <a:gd name="connsiteX65" fmla="*/ 292418 w 458152"/>
                <a:gd name="connsiteY65" fmla="*/ 188595 h 465772"/>
                <a:gd name="connsiteX66" fmla="*/ 350520 w 458152"/>
                <a:gd name="connsiteY66" fmla="*/ 129540 h 465772"/>
                <a:gd name="connsiteX67" fmla="*/ 350520 w 458152"/>
                <a:gd name="connsiteY67" fmla="*/ 188595 h 465772"/>
                <a:gd name="connsiteX68" fmla="*/ 343853 w 458152"/>
                <a:gd name="connsiteY68" fmla="*/ 188595 h 465772"/>
                <a:gd name="connsiteX69" fmla="*/ 119063 w 458152"/>
                <a:gd name="connsiteY69" fmla="*/ 272415 h 465772"/>
                <a:gd name="connsiteX70" fmla="*/ 170498 w 458152"/>
                <a:gd name="connsiteY70" fmla="*/ 272415 h 465772"/>
                <a:gd name="connsiteX71" fmla="*/ 112395 w 458152"/>
                <a:gd name="connsiteY71" fmla="*/ 331470 h 465772"/>
                <a:gd name="connsiteX72" fmla="*/ 112395 w 458152"/>
                <a:gd name="connsiteY72" fmla="*/ 272415 h 465772"/>
                <a:gd name="connsiteX73" fmla="*/ 119063 w 458152"/>
                <a:gd name="connsiteY73" fmla="*/ 272415 h 46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8152" h="465772">
                  <a:moveTo>
                    <a:pt x="443865" y="194310"/>
                  </a:moveTo>
                  <a:cubicBezTo>
                    <a:pt x="452438" y="196215"/>
                    <a:pt x="458153" y="202883"/>
                    <a:pt x="458153" y="210502"/>
                  </a:cubicBezTo>
                  <a:lnTo>
                    <a:pt x="458153" y="232410"/>
                  </a:lnTo>
                  <a:lnTo>
                    <a:pt x="458153" y="254318"/>
                  </a:lnTo>
                  <a:cubicBezTo>
                    <a:pt x="458153" y="262890"/>
                    <a:pt x="452438" y="269558"/>
                    <a:pt x="443865" y="270510"/>
                  </a:cubicBezTo>
                  <a:lnTo>
                    <a:pt x="401003" y="278130"/>
                  </a:lnTo>
                  <a:cubicBezTo>
                    <a:pt x="397193" y="294323"/>
                    <a:pt x="390525" y="309563"/>
                    <a:pt x="381953" y="324803"/>
                  </a:cubicBezTo>
                  <a:lnTo>
                    <a:pt x="407670" y="360998"/>
                  </a:lnTo>
                  <a:cubicBezTo>
                    <a:pt x="412432" y="367665"/>
                    <a:pt x="411480" y="377190"/>
                    <a:pt x="405765" y="382905"/>
                  </a:cubicBezTo>
                  <a:lnTo>
                    <a:pt x="391478" y="398145"/>
                  </a:lnTo>
                  <a:lnTo>
                    <a:pt x="377190" y="413385"/>
                  </a:lnTo>
                  <a:cubicBezTo>
                    <a:pt x="371475" y="419100"/>
                    <a:pt x="362903" y="420053"/>
                    <a:pt x="356235" y="415290"/>
                  </a:cubicBezTo>
                  <a:lnTo>
                    <a:pt x="320993" y="389573"/>
                  </a:lnTo>
                  <a:cubicBezTo>
                    <a:pt x="306705" y="398145"/>
                    <a:pt x="291465" y="404813"/>
                    <a:pt x="276225" y="408623"/>
                  </a:cubicBezTo>
                  <a:lnTo>
                    <a:pt x="268605" y="451485"/>
                  </a:lnTo>
                  <a:cubicBezTo>
                    <a:pt x="266700" y="460058"/>
                    <a:pt x="260032" y="465773"/>
                    <a:pt x="252413" y="465773"/>
                  </a:cubicBezTo>
                  <a:lnTo>
                    <a:pt x="230505" y="465773"/>
                  </a:lnTo>
                  <a:lnTo>
                    <a:pt x="209550" y="465773"/>
                  </a:lnTo>
                  <a:cubicBezTo>
                    <a:pt x="200978" y="465773"/>
                    <a:pt x="195263" y="460058"/>
                    <a:pt x="193357" y="451485"/>
                  </a:cubicBezTo>
                  <a:lnTo>
                    <a:pt x="185738" y="408623"/>
                  </a:lnTo>
                  <a:cubicBezTo>
                    <a:pt x="170498" y="404813"/>
                    <a:pt x="154305" y="398145"/>
                    <a:pt x="140018" y="389573"/>
                  </a:cubicBezTo>
                  <a:lnTo>
                    <a:pt x="104775" y="415290"/>
                  </a:lnTo>
                  <a:cubicBezTo>
                    <a:pt x="98107" y="420053"/>
                    <a:pt x="89535" y="419100"/>
                    <a:pt x="83820" y="413385"/>
                  </a:cubicBezTo>
                  <a:lnTo>
                    <a:pt x="69532" y="398145"/>
                  </a:lnTo>
                  <a:lnTo>
                    <a:pt x="55245" y="382905"/>
                  </a:lnTo>
                  <a:cubicBezTo>
                    <a:pt x="49530" y="377190"/>
                    <a:pt x="48578" y="367665"/>
                    <a:pt x="52388" y="362903"/>
                  </a:cubicBezTo>
                  <a:lnTo>
                    <a:pt x="77153" y="326708"/>
                  </a:lnTo>
                  <a:cubicBezTo>
                    <a:pt x="68580" y="311468"/>
                    <a:pt x="61913" y="296228"/>
                    <a:pt x="57150" y="280035"/>
                  </a:cubicBezTo>
                  <a:lnTo>
                    <a:pt x="14288" y="272415"/>
                  </a:lnTo>
                  <a:cubicBezTo>
                    <a:pt x="5715" y="270510"/>
                    <a:pt x="0" y="263843"/>
                    <a:pt x="0" y="256223"/>
                  </a:cubicBezTo>
                  <a:lnTo>
                    <a:pt x="0" y="234315"/>
                  </a:lnTo>
                  <a:lnTo>
                    <a:pt x="0" y="212408"/>
                  </a:lnTo>
                  <a:cubicBezTo>
                    <a:pt x="0" y="203835"/>
                    <a:pt x="5715" y="197168"/>
                    <a:pt x="14288" y="196215"/>
                  </a:cubicBezTo>
                  <a:lnTo>
                    <a:pt x="57150" y="189548"/>
                  </a:lnTo>
                  <a:cubicBezTo>
                    <a:pt x="60960" y="173355"/>
                    <a:pt x="67628" y="158115"/>
                    <a:pt x="76200" y="142875"/>
                  </a:cubicBezTo>
                  <a:lnTo>
                    <a:pt x="51435" y="106680"/>
                  </a:lnTo>
                  <a:cubicBezTo>
                    <a:pt x="46673" y="100013"/>
                    <a:pt x="47625" y="90488"/>
                    <a:pt x="53340" y="84773"/>
                  </a:cubicBezTo>
                  <a:lnTo>
                    <a:pt x="67628" y="69532"/>
                  </a:lnTo>
                  <a:lnTo>
                    <a:pt x="81915" y="54293"/>
                  </a:lnTo>
                  <a:cubicBezTo>
                    <a:pt x="87630" y="48578"/>
                    <a:pt x="96203" y="47625"/>
                    <a:pt x="102870" y="52388"/>
                  </a:cubicBezTo>
                  <a:lnTo>
                    <a:pt x="138113" y="77152"/>
                  </a:lnTo>
                  <a:cubicBezTo>
                    <a:pt x="152400" y="67628"/>
                    <a:pt x="168593" y="60960"/>
                    <a:pt x="184785" y="57150"/>
                  </a:cubicBezTo>
                  <a:lnTo>
                    <a:pt x="192405" y="14288"/>
                  </a:lnTo>
                  <a:cubicBezTo>
                    <a:pt x="194310" y="5715"/>
                    <a:pt x="200978" y="0"/>
                    <a:pt x="208598" y="0"/>
                  </a:cubicBezTo>
                  <a:lnTo>
                    <a:pt x="229553" y="0"/>
                  </a:lnTo>
                  <a:lnTo>
                    <a:pt x="250507" y="0"/>
                  </a:lnTo>
                  <a:cubicBezTo>
                    <a:pt x="259080" y="0"/>
                    <a:pt x="264795" y="5715"/>
                    <a:pt x="266700" y="14288"/>
                  </a:cubicBezTo>
                  <a:lnTo>
                    <a:pt x="274320" y="58103"/>
                  </a:lnTo>
                  <a:cubicBezTo>
                    <a:pt x="289560" y="61913"/>
                    <a:pt x="305753" y="68580"/>
                    <a:pt x="320040" y="77152"/>
                  </a:cubicBezTo>
                  <a:lnTo>
                    <a:pt x="355282" y="51435"/>
                  </a:lnTo>
                  <a:cubicBezTo>
                    <a:pt x="361950" y="47625"/>
                    <a:pt x="370523" y="47625"/>
                    <a:pt x="376238" y="53340"/>
                  </a:cubicBezTo>
                  <a:lnTo>
                    <a:pt x="390525" y="68580"/>
                  </a:lnTo>
                  <a:lnTo>
                    <a:pt x="406718" y="83820"/>
                  </a:lnTo>
                  <a:cubicBezTo>
                    <a:pt x="412432" y="89535"/>
                    <a:pt x="413385" y="99060"/>
                    <a:pt x="408623" y="105727"/>
                  </a:cubicBezTo>
                  <a:lnTo>
                    <a:pt x="382905" y="141923"/>
                  </a:lnTo>
                  <a:cubicBezTo>
                    <a:pt x="391478" y="157163"/>
                    <a:pt x="397193" y="171450"/>
                    <a:pt x="401955" y="188595"/>
                  </a:cubicBezTo>
                  <a:lnTo>
                    <a:pt x="443865" y="194310"/>
                  </a:lnTo>
                  <a:lnTo>
                    <a:pt x="443865" y="194310"/>
                  </a:lnTo>
                  <a:close/>
                  <a:moveTo>
                    <a:pt x="112395" y="272415"/>
                  </a:moveTo>
                  <a:cubicBezTo>
                    <a:pt x="128588" y="322898"/>
                    <a:pt x="177165" y="360045"/>
                    <a:pt x="232410" y="360045"/>
                  </a:cubicBezTo>
                  <a:cubicBezTo>
                    <a:pt x="291465" y="360045"/>
                    <a:pt x="341948" y="319088"/>
                    <a:pt x="355282" y="263843"/>
                  </a:cubicBezTo>
                  <a:moveTo>
                    <a:pt x="112395" y="196215"/>
                  </a:moveTo>
                  <a:cubicBezTo>
                    <a:pt x="127635" y="144780"/>
                    <a:pt x="177165" y="106680"/>
                    <a:pt x="233363" y="106680"/>
                  </a:cubicBezTo>
                  <a:cubicBezTo>
                    <a:pt x="287655" y="106680"/>
                    <a:pt x="333375" y="140018"/>
                    <a:pt x="351473" y="188595"/>
                  </a:cubicBezTo>
                  <a:moveTo>
                    <a:pt x="346710" y="188595"/>
                  </a:moveTo>
                  <a:cubicBezTo>
                    <a:pt x="292418" y="188595"/>
                    <a:pt x="292418" y="188595"/>
                    <a:pt x="292418" y="188595"/>
                  </a:cubicBezTo>
                  <a:moveTo>
                    <a:pt x="350520" y="129540"/>
                  </a:moveTo>
                  <a:cubicBezTo>
                    <a:pt x="350520" y="129540"/>
                    <a:pt x="350520" y="129540"/>
                    <a:pt x="350520" y="188595"/>
                  </a:cubicBezTo>
                  <a:cubicBezTo>
                    <a:pt x="350520" y="188595"/>
                    <a:pt x="350520" y="188595"/>
                    <a:pt x="343853" y="188595"/>
                  </a:cubicBezTo>
                  <a:moveTo>
                    <a:pt x="119063" y="272415"/>
                  </a:moveTo>
                  <a:cubicBezTo>
                    <a:pt x="170498" y="272415"/>
                    <a:pt x="170498" y="272415"/>
                    <a:pt x="170498" y="272415"/>
                  </a:cubicBezTo>
                  <a:moveTo>
                    <a:pt x="112395" y="331470"/>
                  </a:moveTo>
                  <a:cubicBezTo>
                    <a:pt x="112395" y="331470"/>
                    <a:pt x="112395" y="331470"/>
                    <a:pt x="112395" y="272415"/>
                  </a:cubicBezTo>
                  <a:cubicBezTo>
                    <a:pt x="112395" y="272415"/>
                    <a:pt x="112395" y="272415"/>
                    <a:pt x="119063" y="272415"/>
                  </a:cubicBez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7" name="Graphic 1">
              <a:extLst>
                <a:ext uri="{FF2B5EF4-FFF2-40B4-BE49-F238E27FC236}">
                  <a16:creationId xmlns:a16="http://schemas.microsoft.com/office/drawing/2014/main" id="{01669FB0-37FF-4F1E-B2BA-6DD3400FCD23}"/>
                </a:ext>
                <a:ext uri="{C183D7F6-B498-43B3-948B-1728B52AA6E4}">
                  <adec:decorative xmlns:adec="http://schemas.microsoft.com/office/drawing/2017/decorative" val="1"/>
                </a:ext>
              </a:extLst>
            </p:cNvPr>
            <p:cNvSpPr/>
            <p:nvPr userDrawn="1"/>
          </p:nvSpPr>
          <p:spPr>
            <a:xfrm>
              <a:off x="8905894" y="2543142"/>
              <a:ext cx="308543" cy="326940"/>
            </a:xfrm>
            <a:custGeom>
              <a:avLst/>
              <a:gdLst>
                <a:gd name="connsiteX0" fmla="*/ 414877 w 498415"/>
                <a:gd name="connsiteY0" fmla="*/ 471497 h 528133"/>
                <a:gd name="connsiteX1" fmla="*/ 395055 w 498415"/>
                <a:gd name="connsiteY1" fmla="*/ 479993 h 528133"/>
                <a:gd name="connsiteX2" fmla="*/ 386559 w 498415"/>
                <a:gd name="connsiteY2" fmla="*/ 499816 h 528133"/>
                <a:gd name="connsiteX3" fmla="*/ 395055 w 498415"/>
                <a:gd name="connsiteY3" fmla="*/ 519638 h 528133"/>
                <a:gd name="connsiteX4" fmla="*/ 414877 w 498415"/>
                <a:gd name="connsiteY4" fmla="*/ 528134 h 528133"/>
                <a:gd name="connsiteX5" fmla="*/ 246384 w 498415"/>
                <a:gd name="connsiteY5" fmla="*/ 526718 h 528133"/>
                <a:gd name="connsiteX6" fmla="*/ 226561 w 498415"/>
                <a:gd name="connsiteY6" fmla="*/ 518222 h 528133"/>
                <a:gd name="connsiteX7" fmla="*/ 218066 w 498415"/>
                <a:gd name="connsiteY7" fmla="*/ 498400 h 528133"/>
                <a:gd name="connsiteX8" fmla="*/ 226561 w 498415"/>
                <a:gd name="connsiteY8" fmla="*/ 478577 h 528133"/>
                <a:gd name="connsiteX9" fmla="*/ 246384 w 498415"/>
                <a:gd name="connsiteY9" fmla="*/ 470081 h 528133"/>
                <a:gd name="connsiteX10" fmla="*/ 414877 w 498415"/>
                <a:gd name="connsiteY10" fmla="*/ 470081 h 528133"/>
                <a:gd name="connsiteX11" fmla="*/ 470098 w 498415"/>
                <a:gd name="connsiteY11" fmla="*/ 249200 h 528133"/>
                <a:gd name="connsiteX12" fmla="*/ 283198 w 498415"/>
                <a:gd name="connsiteY12" fmla="*/ 249200 h 528133"/>
                <a:gd name="connsiteX13" fmla="*/ 254880 w 498415"/>
                <a:gd name="connsiteY13" fmla="*/ 277518 h 528133"/>
                <a:gd name="connsiteX14" fmla="*/ 254880 w 498415"/>
                <a:gd name="connsiteY14" fmla="*/ 471497 h 528133"/>
                <a:gd name="connsiteX15" fmla="*/ 441780 w 498415"/>
                <a:gd name="connsiteY15" fmla="*/ 304420 h 528133"/>
                <a:gd name="connsiteX16" fmla="*/ 470098 w 498415"/>
                <a:gd name="connsiteY16" fmla="*/ 304420 h 528133"/>
                <a:gd name="connsiteX17" fmla="*/ 498416 w 498415"/>
                <a:gd name="connsiteY17" fmla="*/ 276102 h 528133"/>
                <a:gd name="connsiteX18" fmla="*/ 470098 w 498415"/>
                <a:gd name="connsiteY18" fmla="*/ 247784 h 528133"/>
                <a:gd name="connsiteX19" fmla="*/ 441780 w 498415"/>
                <a:gd name="connsiteY19" fmla="*/ 276102 h 528133"/>
                <a:gd name="connsiteX20" fmla="*/ 441780 w 498415"/>
                <a:gd name="connsiteY20" fmla="*/ 423356 h 528133"/>
                <a:gd name="connsiteX21" fmla="*/ 441780 w 498415"/>
                <a:gd name="connsiteY21" fmla="*/ 424772 h 528133"/>
                <a:gd name="connsiteX22" fmla="*/ 441780 w 498415"/>
                <a:gd name="connsiteY22" fmla="*/ 498400 h 528133"/>
                <a:gd name="connsiteX23" fmla="*/ 246384 w 498415"/>
                <a:gd name="connsiteY23" fmla="*/ 526718 h 528133"/>
                <a:gd name="connsiteX24" fmla="*/ 414877 w 498415"/>
                <a:gd name="connsiteY24" fmla="*/ 526718 h 528133"/>
                <a:gd name="connsiteX25" fmla="*/ 443195 w 498415"/>
                <a:gd name="connsiteY25" fmla="*/ 498400 h 528133"/>
                <a:gd name="connsiteX26" fmla="*/ 283198 w 498415"/>
                <a:gd name="connsiteY26" fmla="*/ 304420 h 528133"/>
                <a:gd name="connsiteX27" fmla="*/ 413461 w 498415"/>
                <a:gd name="connsiteY27" fmla="*/ 304420 h 528133"/>
                <a:gd name="connsiteX28" fmla="*/ 283198 w 498415"/>
                <a:gd name="connsiteY28" fmla="*/ 341234 h 528133"/>
                <a:gd name="connsiteX29" fmla="*/ 413461 w 498415"/>
                <a:gd name="connsiteY29" fmla="*/ 341234 h 528133"/>
                <a:gd name="connsiteX30" fmla="*/ 283198 w 498415"/>
                <a:gd name="connsiteY30" fmla="*/ 378047 h 528133"/>
                <a:gd name="connsiteX31" fmla="*/ 413461 w 498415"/>
                <a:gd name="connsiteY31" fmla="*/ 378047 h 528133"/>
                <a:gd name="connsiteX32" fmla="*/ 283198 w 498415"/>
                <a:gd name="connsiteY32" fmla="*/ 416277 h 528133"/>
                <a:gd name="connsiteX33" fmla="*/ 413461 w 498415"/>
                <a:gd name="connsiteY33" fmla="*/ 416277 h 528133"/>
                <a:gd name="connsiteX34" fmla="*/ 205323 w 498415"/>
                <a:gd name="connsiteY34" fmla="*/ 416277 h 528133"/>
                <a:gd name="connsiteX35" fmla="*/ 16 w 498415"/>
                <a:gd name="connsiteY35" fmla="*/ 209554 h 528133"/>
                <a:gd name="connsiteX36" fmla="*/ 16 w 498415"/>
                <a:gd name="connsiteY36" fmla="*/ 209554 h 528133"/>
                <a:gd name="connsiteX37" fmla="*/ 16 w 498415"/>
                <a:gd name="connsiteY37" fmla="*/ 209554 h 528133"/>
                <a:gd name="connsiteX38" fmla="*/ 16 w 498415"/>
                <a:gd name="connsiteY38" fmla="*/ 209554 h 528133"/>
                <a:gd name="connsiteX39" fmla="*/ 205323 w 498415"/>
                <a:gd name="connsiteY39" fmla="*/ 0 h 528133"/>
                <a:gd name="connsiteX40" fmla="*/ 409214 w 498415"/>
                <a:gd name="connsiteY40" fmla="*/ 208138 h 528133"/>
                <a:gd name="connsiteX41" fmla="*/ 310100 w 498415"/>
                <a:gd name="connsiteY41" fmla="*/ 208138 h 528133"/>
                <a:gd name="connsiteX42" fmla="*/ 205323 w 498415"/>
                <a:gd name="connsiteY42" fmla="*/ 0 h 528133"/>
                <a:gd name="connsiteX43" fmla="*/ 100546 w 498415"/>
                <a:gd name="connsiteY43" fmla="*/ 208138 h 528133"/>
                <a:gd name="connsiteX44" fmla="*/ 205323 w 498415"/>
                <a:gd name="connsiteY44" fmla="*/ 414861 h 528133"/>
                <a:gd name="connsiteX45" fmla="*/ 205323 w 498415"/>
                <a:gd name="connsiteY45" fmla="*/ 414861 h 528133"/>
                <a:gd name="connsiteX46" fmla="*/ 205323 w 498415"/>
                <a:gd name="connsiteY46" fmla="*/ 414861 h 528133"/>
                <a:gd name="connsiteX47" fmla="*/ 205323 w 498415"/>
                <a:gd name="connsiteY47" fmla="*/ 414861 h 528133"/>
                <a:gd name="connsiteX48" fmla="*/ 8512 w 498415"/>
                <a:gd name="connsiteY48" fmla="*/ 144423 h 528133"/>
                <a:gd name="connsiteX49" fmla="*/ 399302 w 498415"/>
                <a:gd name="connsiteY49" fmla="*/ 144423 h 528133"/>
                <a:gd name="connsiteX50" fmla="*/ 8512 w 498415"/>
                <a:gd name="connsiteY50" fmla="*/ 281766 h 528133"/>
                <a:gd name="connsiteX51" fmla="*/ 205323 w 498415"/>
                <a:gd name="connsiteY51" fmla="*/ 281766 h 52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8415" h="528133">
                  <a:moveTo>
                    <a:pt x="414877" y="471497"/>
                  </a:moveTo>
                  <a:cubicBezTo>
                    <a:pt x="407798" y="471497"/>
                    <a:pt x="400718" y="474329"/>
                    <a:pt x="395055" y="479993"/>
                  </a:cubicBezTo>
                  <a:cubicBezTo>
                    <a:pt x="389391" y="485656"/>
                    <a:pt x="386559" y="491320"/>
                    <a:pt x="386559" y="499816"/>
                  </a:cubicBezTo>
                  <a:cubicBezTo>
                    <a:pt x="386559" y="506895"/>
                    <a:pt x="389391" y="513975"/>
                    <a:pt x="395055" y="519638"/>
                  </a:cubicBezTo>
                  <a:cubicBezTo>
                    <a:pt x="400718" y="525302"/>
                    <a:pt x="407798" y="528134"/>
                    <a:pt x="414877" y="528134"/>
                  </a:cubicBezTo>
                  <a:moveTo>
                    <a:pt x="246384" y="526718"/>
                  </a:moveTo>
                  <a:cubicBezTo>
                    <a:pt x="237889" y="526718"/>
                    <a:pt x="232225" y="523886"/>
                    <a:pt x="226561" y="518222"/>
                  </a:cubicBezTo>
                  <a:cubicBezTo>
                    <a:pt x="220898" y="512559"/>
                    <a:pt x="218066" y="506895"/>
                    <a:pt x="218066" y="498400"/>
                  </a:cubicBezTo>
                  <a:cubicBezTo>
                    <a:pt x="218066" y="491320"/>
                    <a:pt x="220898" y="484240"/>
                    <a:pt x="226561" y="478577"/>
                  </a:cubicBezTo>
                  <a:cubicBezTo>
                    <a:pt x="232225" y="472913"/>
                    <a:pt x="239305" y="470081"/>
                    <a:pt x="246384" y="470081"/>
                  </a:cubicBezTo>
                  <a:cubicBezTo>
                    <a:pt x="414877" y="470081"/>
                    <a:pt x="414877" y="470081"/>
                    <a:pt x="414877" y="470081"/>
                  </a:cubicBezTo>
                  <a:moveTo>
                    <a:pt x="470098" y="249200"/>
                  </a:moveTo>
                  <a:cubicBezTo>
                    <a:pt x="283198" y="249200"/>
                    <a:pt x="283198" y="249200"/>
                    <a:pt x="283198" y="249200"/>
                  </a:cubicBezTo>
                  <a:cubicBezTo>
                    <a:pt x="267623" y="249200"/>
                    <a:pt x="254880" y="261943"/>
                    <a:pt x="254880" y="277518"/>
                  </a:cubicBezTo>
                  <a:cubicBezTo>
                    <a:pt x="254880" y="471497"/>
                    <a:pt x="254880" y="471497"/>
                    <a:pt x="254880" y="471497"/>
                  </a:cubicBezTo>
                  <a:moveTo>
                    <a:pt x="441780" y="304420"/>
                  </a:moveTo>
                  <a:cubicBezTo>
                    <a:pt x="470098" y="304420"/>
                    <a:pt x="470098" y="304420"/>
                    <a:pt x="470098" y="304420"/>
                  </a:cubicBezTo>
                  <a:cubicBezTo>
                    <a:pt x="485673" y="304420"/>
                    <a:pt x="498416" y="291677"/>
                    <a:pt x="498416" y="276102"/>
                  </a:cubicBezTo>
                  <a:cubicBezTo>
                    <a:pt x="498416" y="260527"/>
                    <a:pt x="485673" y="247784"/>
                    <a:pt x="470098" y="247784"/>
                  </a:cubicBezTo>
                  <a:cubicBezTo>
                    <a:pt x="454523" y="247784"/>
                    <a:pt x="441780" y="260527"/>
                    <a:pt x="441780" y="276102"/>
                  </a:cubicBezTo>
                  <a:cubicBezTo>
                    <a:pt x="441780" y="423356"/>
                    <a:pt x="441780" y="423356"/>
                    <a:pt x="441780" y="423356"/>
                  </a:cubicBezTo>
                  <a:moveTo>
                    <a:pt x="441780" y="424772"/>
                  </a:moveTo>
                  <a:cubicBezTo>
                    <a:pt x="441780" y="498400"/>
                    <a:pt x="441780" y="498400"/>
                    <a:pt x="441780" y="498400"/>
                  </a:cubicBezTo>
                  <a:moveTo>
                    <a:pt x="246384" y="526718"/>
                  </a:moveTo>
                  <a:cubicBezTo>
                    <a:pt x="414877" y="526718"/>
                    <a:pt x="414877" y="526718"/>
                    <a:pt x="414877" y="526718"/>
                  </a:cubicBezTo>
                  <a:cubicBezTo>
                    <a:pt x="430452" y="526718"/>
                    <a:pt x="443195" y="513975"/>
                    <a:pt x="443195" y="498400"/>
                  </a:cubicBezTo>
                  <a:moveTo>
                    <a:pt x="283198" y="304420"/>
                  </a:moveTo>
                  <a:cubicBezTo>
                    <a:pt x="413461" y="304420"/>
                    <a:pt x="413461" y="304420"/>
                    <a:pt x="413461" y="304420"/>
                  </a:cubicBezTo>
                  <a:moveTo>
                    <a:pt x="283198" y="341234"/>
                  </a:moveTo>
                  <a:cubicBezTo>
                    <a:pt x="413461" y="341234"/>
                    <a:pt x="413461" y="341234"/>
                    <a:pt x="413461" y="341234"/>
                  </a:cubicBezTo>
                  <a:moveTo>
                    <a:pt x="283198" y="378047"/>
                  </a:moveTo>
                  <a:cubicBezTo>
                    <a:pt x="413461" y="378047"/>
                    <a:pt x="413461" y="378047"/>
                    <a:pt x="413461" y="378047"/>
                  </a:cubicBezTo>
                  <a:moveTo>
                    <a:pt x="283198" y="416277"/>
                  </a:moveTo>
                  <a:cubicBezTo>
                    <a:pt x="413461" y="416277"/>
                    <a:pt x="413461" y="416277"/>
                    <a:pt x="413461" y="416277"/>
                  </a:cubicBezTo>
                  <a:moveTo>
                    <a:pt x="205323" y="416277"/>
                  </a:moveTo>
                  <a:cubicBezTo>
                    <a:pt x="92050" y="416277"/>
                    <a:pt x="16" y="322827"/>
                    <a:pt x="16" y="209554"/>
                  </a:cubicBezTo>
                  <a:lnTo>
                    <a:pt x="16" y="209554"/>
                  </a:lnTo>
                  <a:lnTo>
                    <a:pt x="16" y="209554"/>
                  </a:lnTo>
                  <a:lnTo>
                    <a:pt x="16" y="209554"/>
                  </a:lnTo>
                  <a:cubicBezTo>
                    <a:pt x="-1400" y="93450"/>
                    <a:pt x="90634" y="0"/>
                    <a:pt x="205323" y="0"/>
                  </a:cubicBezTo>
                  <a:cubicBezTo>
                    <a:pt x="318596" y="0"/>
                    <a:pt x="409214" y="93450"/>
                    <a:pt x="409214" y="208138"/>
                  </a:cubicBezTo>
                  <a:moveTo>
                    <a:pt x="310100" y="208138"/>
                  </a:moveTo>
                  <a:cubicBezTo>
                    <a:pt x="310100" y="93450"/>
                    <a:pt x="263375" y="0"/>
                    <a:pt x="205323" y="0"/>
                  </a:cubicBezTo>
                  <a:cubicBezTo>
                    <a:pt x="147271" y="0"/>
                    <a:pt x="100546" y="93450"/>
                    <a:pt x="100546" y="208138"/>
                  </a:cubicBezTo>
                  <a:cubicBezTo>
                    <a:pt x="100546" y="321411"/>
                    <a:pt x="147271" y="414861"/>
                    <a:pt x="205323" y="414861"/>
                  </a:cubicBezTo>
                  <a:lnTo>
                    <a:pt x="205323" y="414861"/>
                  </a:lnTo>
                  <a:lnTo>
                    <a:pt x="205323" y="414861"/>
                  </a:lnTo>
                  <a:lnTo>
                    <a:pt x="205323" y="414861"/>
                  </a:lnTo>
                  <a:moveTo>
                    <a:pt x="8512" y="144423"/>
                  </a:moveTo>
                  <a:cubicBezTo>
                    <a:pt x="399302" y="144423"/>
                    <a:pt x="399302" y="144423"/>
                    <a:pt x="399302" y="144423"/>
                  </a:cubicBezTo>
                  <a:moveTo>
                    <a:pt x="8512" y="281766"/>
                  </a:moveTo>
                  <a:lnTo>
                    <a:pt x="205323" y="28176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8" name="Freeform: Shape 197">
              <a:extLst>
                <a:ext uri="{FF2B5EF4-FFF2-40B4-BE49-F238E27FC236}">
                  <a16:creationId xmlns:a16="http://schemas.microsoft.com/office/drawing/2014/main" id="{162BD651-5CD8-426D-8769-650ADDE66809}"/>
                </a:ext>
                <a:ext uri="{C183D7F6-B498-43B3-948B-1728B52AA6E4}">
                  <adec:decorative xmlns:adec="http://schemas.microsoft.com/office/drawing/2017/decorative" val="1"/>
                </a:ext>
              </a:extLst>
            </p:cNvPr>
            <p:cNvSpPr/>
            <p:nvPr userDrawn="1"/>
          </p:nvSpPr>
          <p:spPr>
            <a:xfrm>
              <a:off x="11082968" y="4444688"/>
              <a:ext cx="326540" cy="381023"/>
            </a:xfrm>
            <a:custGeom>
              <a:avLst/>
              <a:gdLst>
                <a:gd name="connsiteX0" fmla="*/ 410247 w 431562"/>
                <a:gd name="connsiteY0" fmla="*/ 342796 h 503568"/>
                <a:gd name="connsiteX1" fmla="*/ 410247 w 431562"/>
                <a:gd name="connsiteY1" fmla="*/ 160772 h 503568"/>
                <a:gd name="connsiteX2" fmla="*/ 237463 w 431562"/>
                <a:gd name="connsiteY2" fmla="*/ 466610 h 503568"/>
                <a:gd name="connsiteX3" fmla="*/ 396387 w 431562"/>
                <a:gd name="connsiteY3" fmla="*/ 378832 h 503568"/>
                <a:gd name="connsiteX4" fmla="*/ 43427 w 431562"/>
                <a:gd name="connsiteY4" fmla="*/ 378832 h 503568"/>
                <a:gd name="connsiteX5" fmla="*/ 202351 w 431562"/>
                <a:gd name="connsiteY5" fmla="*/ 466610 h 503568"/>
                <a:gd name="connsiteX6" fmla="*/ 21251 w 431562"/>
                <a:gd name="connsiteY6" fmla="*/ 160772 h 503568"/>
                <a:gd name="connsiteX7" fmla="*/ 21251 w 431562"/>
                <a:gd name="connsiteY7" fmla="*/ 342796 h 503568"/>
                <a:gd name="connsiteX8" fmla="*/ 201427 w 431562"/>
                <a:gd name="connsiteY8" fmla="*/ 36035 h 503568"/>
                <a:gd name="connsiteX9" fmla="*/ 42503 w 431562"/>
                <a:gd name="connsiteY9" fmla="*/ 123813 h 503568"/>
                <a:gd name="connsiteX10" fmla="*/ 216211 w 431562"/>
                <a:gd name="connsiteY10" fmla="*/ 0 h 503568"/>
                <a:gd name="connsiteX11" fmla="*/ 194959 w 431562"/>
                <a:gd name="connsiteY11" fmla="*/ 22175 h 503568"/>
                <a:gd name="connsiteX12" fmla="*/ 196808 w 431562"/>
                <a:gd name="connsiteY12" fmla="*/ 31415 h 503568"/>
                <a:gd name="connsiteX13" fmla="*/ 216211 w 431562"/>
                <a:gd name="connsiteY13" fmla="*/ 43427 h 503568"/>
                <a:gd name="connsiteX14" fmla="*/ 235615 w 431562"/>
                <a:gd name="connsiteY14" fmla="*/ 31415 h 503568"/>
                <a:gd name="connsiteX15" fmla="*/ 238387 w 431562"/>
                <a:gd name="connsiteY15" fmla="*/ 21251 h 503568"/>
                <a:gd name="connsiteX16" fmla="*/ 216211 w 431562"/>
                <a:gd name="connsiteY16" fmla="*/ 0 h 503568"/>
                <a:gd name="connsiteX17" fmla="*/ 216211 w 431562"/>
                <a:gd name="connsiteY17" fmla="*/ 0 h 503568"/>
                <a:gd name="connsiteX18" fmla="*/ 216211 w 431562"/>
                <a:gd name="connsiteY18" fmla="*/ 459218 h 503568"/>
                <a:gd name="connsiteX19" fmla="*/ 197731 w 431562"/>
                <a:gd name="connsiteY19" fmla="*/ 470306 h 503568"/>
                <a:gd name="connsiteX20" fmla="*/ 194959 w 431562"/>
                <a:gd name="connsiteY20" fmla="*/ 481393 h 503568"/>
                <a:gd name="connsiteX21" fmla="*/ 216211 w 431562"/>
                <a:gd name="connsiteY21" fmla="*/ 503569 h 503568"/>
                <a:gd name="connsiteX22" fmla="*/ 237463 w 431562"/>
                <a:gd name="connsiteY22" fmla="*/ 481393 h 503568"/>
                <a:gd name="connsiteX23" fmla="*/ 234690 w 431562"/>
                <a:gd name="connsiteY23" fmla="*/ 470306 h 503568"/>
                <a:gd name="connsiteX24" fmla="*/ 216211 w 431562"/>
                <a:gd name="connsiteY24" fmla="*/ 459218 h 503568"/>
                <a:gd name="connsiteX25" fmla="*/ 216211 w 431562"/>
                <a:gd name="connsiteY25" fmla="*/ 459218 h 503568"/>
                <a:gd name="connsiteX26" fmla="*/ 22175 w 431562"/>
                <a:gd name="connsiteY26" fmla="*/ 342796 h 503568"/>
                <a:gd name="connsiteX27" fmla="*/ 22175 w 431562"/>
                <a:gd name="connsiteY27" fmla="*/ 342796 h 503568"/>
                <a:gd name="connsiteX28" fmla="*/ 0 w 431562"/>
                <a:gd name="connsiteY28" fmla="*/ 364972 h 503568"/>
                <a:gd name="connsiteX29" fmla="*/ 21251 w 431562"/>
                <a:gd name="connsiteY29" fmla="*/ 387147 h 503568"/>
                <a:gd name="connsiteX30" fmla="*/ 39731 w 431562"/>
                <a:gd name="connsiteY30" fmla="*/ 376060 h 503568"/>
                <a:gd name="connsiteX31" fmla="*/ 42503 w 431562"/>
                <a:gd name="connsiteY31" fmla="*/ 364972 h 503568"/>
                <a:gd name="connsiteX32" fmla="*/ 22175 w 431562"/>
                <a:gd name="connsiteY32" fmla="*/ 342796 h 503568"/>
                <a:gd name="connsiteX33" fmla="*/ 22175 w 431562"/>
                <a:gd name="connsiteY33" fmla="*/ 342796 h 503568"/>
                <a:gd name="connsiteX34" fmla="*/ 21251 w 431562"/>
                <a:gd name="connsiteY34" fmla="*/ 116421 h 503568"/>
                <a:gd name="connsiteX35" fmla="*/ 0 w 431562"/>
                <a:gd name="connsiteY35" fmla="*/ 138597 h 503568"/>
                <a:gd name="connsiteX36" fmla="*/ 21251 w 431562"/>
                <a:gd name="connsiteY36" fmla="*/ 160772 h 503568"/>
                <a:gd name="connsiteX37" fmla="*/ 21251 w 431562"/>
                <a:gd name="connsiteY37" fmla="*/ 160772 h 503568"/>
                <a:gd name="connsiteX38" fmla="*/ 42503 w 431562"/>
                <a:gd name="connsiteY38" fmla="*/ 138597 h 503568"/>
                <a:gd name="connsiteX39" fmla="*/ 39731 w 431562"/>
                <a:gd name="connsiteY39" fmla="*/ 128433 h 503568"/>
                <a:gd name="connsiteX40" fmla="*/ 21251 w 431562"/>
                <a:gd name="connsiteY40" fmla="*/ 116421 h 503568"/>
                <a:gd name="connsiteX41" fmla="*/ 21251 w 431562"/>
                <a:gd name="connsiteY41" fmla="*/ 116421 h 503568"/>
                <a:gd name="connsiteX42" fmla="*/ 411171 w 431562"/>
                <a:gd name="connsiteY42" fmla="*/ 342796 h 503568"/>
                <a:gd name="connsiteX43" fmla="*/ 411171 w 431562"/>
                <a:gd name="connsiteY43" fmla="*/ 342796 h 503568"/>
                <a:gd name="connsiteX44" fmla="*/ 388995 w 431562"/>
                <a:gd name="connsiteY44" fmla="*/ 364972 h 503568"/>
                <a:gd name="connsiteX45" fmla="*/ 391767 w 431562"/>
                <a:gd name="connsiteY45" fmla="*/ 376060 h 503568"/>
                <a:gd name="connsiteX46" fmla="*/ 410247 w 431562"/>
                <a:gd name="connsiteY46" fmla="*/ 387147 h 503568"/>
                <a:gd name="connsiteX47" fmla="*/ 431499 w 431562"/>
                <a:gd name="connsiteY47" fmla="*/ 364972 h 503568"/>
                <a:gd name="connsiteX48" fmla="*/ 411171 w 431562"/>
                <a:gd name="connsiteY48" fmla="*/ 342796 h 503568"/>
                <a:gd name="connsiteX49" fmla="*/ 411171 w 431562"/>
                <a:gd name="connsiteY49" fmla="*/ 342796 h 503568"/>
                <a:gd name="connsiteX50" fmla="*/ 410247 w 431562"/>
                <a:gd name="connsiteY50" fmla="*/ 160772 h 503568"/>
                <a:gd name="connsiteX51" fmla="*/ 410247 w 431562"/>
                <a:gd name="connsiteY51" fmla="*/ 160772 h 503568"/>
                <a:gd name="connsiteX52" fmla="*/ 431499 w 431562"/>
                <a:gd name="connsiteY52" fmla="*/ 138597 h 503568"/>
                <a:gd name="connsiteX53" fmla="*/ 410247 w 431562"/>
                <a:gd name="connsiteY53" fmla="*/ 116421 h 503568"/>
                <a:gd name="connsiteX54" fmla="*/ 391767 w 431562"/>
                <a:gd name="connsiteY54" fmla="*/ 127509 h 503568"/>
                <a:gd name="connsiteX55" fmla="*/ 388995 w 431562"/>
                <a:gd name="connsiteY55" fmla="*/ 138597 h 503568"/>
                <a:gd name="connsiteX56" fmla="*/ 410247 w 431562"/>
                <a:gd name="connsiteY56" fmla="*/ 160772 h 503568"/>
                <a:gd name="connsiteX57" fmla="*/ 410247 w 431562"/>
                <a:gd name="connsiteY57" fmla="*/ 160772 h 503568"/>
                <a:gd name="connsiteX58" fmla="*/ 104410 w 431562"/>
                <a:gd name="connsiteY58" fmla="*/ 180176 h 503568"/>
                <a:gd name="connsiteX59" fmla="*/ 104410 w 431562"/>
                <a:gd name="connsiteY59" fmla="*/ 352036 h 503568"/>
                <a:gd name="connsiteX60" fmla="*/ 326165 w 431562"/>
                <a:gd name="connsiteY60" fmla="*/ 352036 h 503568"/>
                <a:gd name="connsiteX61" fmla="*/ 129357 w 431562"/>
                <a:gd name="connsiteY61" fmla="*/ 352036 h 503568"/>
                <a:gd name="connsiteX62" fmla="*/ 162620 w 431562"/>
                <a:gd name="connsiteY62" fmla="*/ 276270 h 503568"/>
                <a:gd name="connsiteX63" fmla="*/ 223603 w 431562"/>
                <a:gd name="connsiteY63" fmla="*/ 300293 h 503568"/>
                <a:gd name="connsiteX64" fmla="*/ 312305 w 431562"/>
                <a:gd name="connsiteY64" fmla="*/ 170936 h 50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1562" h="503568">
                  <a:moveTo>
                    <a:pt x="410247" y="342796"/>
                  </a:moveTo>
                  <a:lnTo>
                    <a:pt x="410247" y="160772"/>
                  </a:lnTo>
                  <a:moveTo>
                    <a:pt x="237463" y="466610"/>
                  </a:moveTo>
                  <a:lnTo>
                    <a:pt x="396387" y="378832"/>
                  </a:lnTo>
                  <a:moveTo>
                    <a:pt x="43427" y="378832"/>
                  </a:moveTo>
                  <a:lnTo>
                    <a:pt x="202351" y="466610"/>
                  </a:lnTo>
                  <a:moveTo>
                    <a:pt x="21251" y="160772"/>
                  </a:moveTo>
                  <a:lnTo>
                    <a:pt x="21251" y="342796"/>
                  </a:lnTo>
                  <a:moveTo>
                    <a:pt x="201427" y="36035"/>
                  </a:moveTo>
                  <a:lnTo>
                    <a:pt x="42503" y="123813"/>
                  </a:lnTo>
                  <a:moveTo>
                    <a:pt x="216211" y="0"/>
                  </a:moveTo>
                  <a:cubicBezTo>
                    <a:pt x="204199" y="0"/>
                    <a:pt x="194959" y="10164"/>
                    <a:pt x="194959" y="22175"/>
                  </a:cubicBezTo>
                  <a:cubicBezTo>
                    <a:pt x="194959" y="25871"/>
                    <a:pt x="195884" y="28643"/>
                    <a:pt x="196808" y="31415"/>
                  </a:cubicBezTo>
                  <a:cubicBezTo>
                    <a:pt x="200504" y="38807"/>
                    <a:pt x="207895" y="43427"/>
                    <a:pt x="216211" y="43427"/>
                  </a:cubicBezTo>
                  <a:cubicBezTo>
                    <a:pt x="224527" y="43427"/>
                    <a:pt x="231919" y="38807"/>
                    <a:pt x="235615" y="31415"/>
                  </a:cubicBezTo>
                  <a:cubicBezTo>
                    <a:pt x="237463" y="28643"/>
                    <a:pt x="238387" y="24947"/>
                    <a:pt x="238387" y="21251"/>
                  </a:cubicBezTo>
                  <a:cubicBezTo>
                    <a:pt x="237463" y="10164"/>
                    <a:pt x="228223" y="0"/>
                    <a:pt x="216211" y="0"/>
                  </a:cubicBezTo>
                  <a:lnTo>
                    <a:pt x="216211" y="0"/>
                  </a:lnTo>
                  <a:close/>
                  <a:moveTo>
                    <a:pt x="216211" y="459218"/>
                  </a:moveTo>
                  <a:cubicBezTo>
                    <a:pt x="207895" y="459218"/>
                    <a:pt x="201427" y="463838"/>
                    <a:pt x="197731" y="470306"/>
                  </a:cubicBezTo>
                  <a:cubicBezTo>
                    <a:pt x="195884" y="473077"/>
                    <a:pt x="194959" y="476774"/>
                    <a:pt x="194959" y="481393"/>
                  </a:cubicBezTo>
                  <a:cubicBezTo>
                    <a:pt x="194959" y="493405"/>
                    <a:pt x="204199" y="503569"/>
                    <a:pt x="216211" y="503569"/>
                  </a:cubicBezTo>
                  <a:cubicBezTo>
                    <a:pt x="228223" y="503569"/>
                    <a:pt x="237463" y="493405"/>
                    <a:pt x="237463" y="481393"/>
                  </a:cubicBezTo>
                  <a:cubicBezTo>
                    <a:pt x="237463" y="477697"/>
                    <a:pt x="236539" y="474001"/>
                    <a:pt x="234690" y="470306"/>
                  </a:cubicBezTo>
                  <a:cubicBezTo>
                    <a:pt x="230995" y="463838"/>
                    <a:pt x="224527" y="459218"/>
                    <a:pt x="216211" y="459218"/>
                  </a:cubicBezTo>
                  <a:lnTo>
                    <a:pt x="216211" y="459218"/>
                  </a:lnTo>
                  <a:close/>
                  <a:moveTo>
                    <a:pt x="22175" y="342796"/>
                  </a:moveTo>
                  <a:cubicBezTo>
                    <a:pt x="22175" y="342796"/>
                    <a:pt x="22175" y="342796"/>
                    <a:pt x="22175" y="342796"/>
                  </a:cubicBezTo>
                  <a:cubicBezTo>
                    <a:pt x="10164" y="342796"/>
                    <a:pt x="0" y="352960"/>
                    <a:pt x="0" y="364972"/>
                  </a:cubicBezTo>
                  <a:cubicBezTo>
                    <a:pt x="0" y="376984"/>
                    <a:pt x="9240" y="387147"/>
                    <a:pt x="21251" y="387147"/>
                  </a:cubicBezTo>
                  <a:cubicBezTo>
                    <a:pt x="29567" y="387147"/>
                    <a:pt x="36035" y="382527"/>
                    <a:pt x="39731" y="376060"/>
                  </a:cubicBezTo>
                  <a:cubicBezTo>
                    <a:pt x="41579" y="373288"/>
                    <a:pt x="42503" y="369592"/>
                    <a:pt x="42503" y="364972"/>
                  </a:cubicBezTo>
                  <a:cubicBezTo>
                    <a:pt x="43427" y="352960"/>
                    <a:pt x="33263" y="342796"/>
                    <a:pt x="22175" y="342796"/>
                  </a:cubicBezTo>
                  <a:lnTo>
                    <a:pt x="22175" y="342796"/>
                  </a:lnTo>
                  <a:close/>
                  <a:moveTo>
                    <a:pt x="21251" y="116421"/>
                  </a:moveTo>
                  <a:cubicBezTo>
                    <a:pt x="9240" y="116421"/>
                    <a:pt x="0" y="126585"/>
                    <a:pt x="0" y="138597"/>
                  </a:cubicBezTo>
                  <a:cubicBezTo>
                    <a:pt x="0" y="150609"/>
                    <a:pt x="10164" y="160772"/>
                    <a:pt x="21251" y="160772"/>
                  </a:cubicBezTo>
                  <a:cubicBezTo>
                    <a:pt x="21251" y="160772"/>
                    <a:pt x="21251" y="160772"/>
                    <a:pt x="21251" y="160772"/>
                  </a:cubicBezTo>
                  <a:cubicBezTo>
                    <a:pt x="33263" y="160772"/>
                    <a:pt x="42503" y="150609"/>
                    <a:pt x="42503" y="138597"/>
                  </a:cubicBezTo>
                  <a:cubicBezTo>
                    <a:pt x="42503" y="134901"/>
                    <a:pt x="41579" y="131205"/>
                    <a:pt x="39731" y="128433"/>
                  </a:cubicBezTo>
                  <a:cubicBezTo>
                    <a:pt x="36959" y="121041"/>
                    <a:pt x="29567" y="116421"/>
                    <a:pt x="21251" y="116421"/>
                  </a:cubicBezTo>
                  <a:lnTo>
                    <a:pt x="21251" y="116421"/>
                  </a:lnTo>
                  <a:close/>
                  <a:moveTo>
                    <a:pt x="411171" y="342796"/>
                  </a:moveTo>
                  <a:cubicBezTo>
                    <a:pt x="411171" y="342796"/>
                    <a:pt x="411171" y="342796"/>
                    <a:pt x="411171" y="342796"/>
                  </a:cubicBezTo>
                  <a:cubicBezTo>
                    <a:pt x="399159" y="342796"/>
                    <a:pt x="388995" y="352960"/>
                    <a:pt x="388995" y="364972"/>
                  </a:cubicBezTo>
                  <a:cubicBezTo>
                    <a:pt x="388995" y="368668"/>
                    <a:pt x="389919" y="372364"/>
                    <a:pt x="391767" y="376060"/>
                  </a:cubicBezTo>
                  <a:cubicBezTo>
                    <a:pt x="395463" y="382527"/>
                    <a:pt x="401931" y="387147"/>
                    <a:pt x="410247" y="387147"/>
                  </a:cubicBezTo>
                  <a:cubicBezTo>
                    <a:pt x="422259" y="387147"/>
                    <a:pt x="431499" y="376984"/>
                    <a:pt x="431499" y="364972"/>
                  </a:cubicBezTo>
                  <a:cubicBezTo>
                    <a:pt x="432422" y="352960"/>
                    <a:pt x="423183" y="342796"/>
                    <a:pt x="411171" y="342796"/>
                  </a:cubicBezTo>
                  <a:lnTo>
                    <a:pt x="411171" y="342796"/>
                  </a:lnTo>
                  <a:close/>
                  <a:moveTo>
                    <a:pt x="410247" y="160772"/>
                  </a:moveTo>
                  <a:cubicBezTo>
                    <a:pt x="411171" y="160772"/>
                    <a:pt x="411171" y="160772"/>
                    <a:pt x="410247" y="160772"/>
                  </a:cubicBezTo>
                  <a:cubicBezTo>
                    <a:pt x="422259" y="160772"/>
                    <a:pt x="431499" y="150609"/>
                    <a:pt x="431499" y="138597"/>
                  </a:cubicBezTo>
                  <a:cubicBezTo>
                    <a:pt x="431499" y="126585"/>
                    <a:pt x="421334" y="116421"/>
                    <a:pt x="410247" y="116421"/>
                  </a:cubicBezTo>
                  <a:cubicBezTo>
                    <a:pt x="401931" y="116421"/>
                    <a:pt x="395463" y="121041"/>
                    <a:pt x="391767" y="127509"/>
                  </a:cubicBezTo>
                  <a:cubicBezTo>
                    <a:pt x="389919" y="130281"/>
                    <a:pt x="388995" y="133977"/>
                    <a:pt x="388995" y="138597"/>
                  </a:cubicBezTo>
                  <a:cubicBezTo>
                    <a:pt x="388995" y="150609"/>
                    <a:pt x="399159" y="160772"/>
                    <a:pt x="410247" y="160772"/>
                  </a:cubicBezTo>
                  <a:lnTo>
                    <a:pt x="410247" y="160772"/>
                  </a:lnTo>
                  <a:close/>
                  <a:moveTo>
                    <a:pt x="104410" y="180176"/>
                  </a:moveTo>
                  <a:lnTo>
                    <a:pt x="104410" y="352036"/>
                  </a:lnTo>
                  <a:lnTo>
                    <a:pt x="326165" y="352036"/>
                  </a:lnTo>
                  <a:moveTo>
                    <a:pt x="129357" y="352036"/>
                  </a:moveTo>
                  <a:lnTo>
                    <a:pt x="162620" y="276270"/>
                  </a:lnTo>
                  <a:lnTo>
                    <a:pt x="223603" y="300293"/>
                  </a:lnTo>
                  <a:lnTo>
                    <a:pt x="312305" y="17093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Tree>
    <p:extLst>
      <p:ext uri="{BB962C8B-B14F-4D97-AF65-F5344CB8AC3E}">
        <p14:creationId xmlns:p14="http://schemas.microsoft.com/office/powerpoint/2010/main" val="3670699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92769"/>
            <a:ext cx="3810180" cy="724246"/>
          </a:xfrm>
          <a:noFill/>
        </p:spPr>
        <p:txBody>
          <a:bodyPr lIns="0" tIns="91440" rIns="0" bIns="91440" anchor="b" anchorCtr="0"/>
          <a:lstStyle>
            <a:lvl1pPr>
              <a:defRPr sz="3529" b="1" spc="-98"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89"/>
            <a:ext cx="3827949"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p:nvPicPr>
        <p:blipFill>
          <a:blip r:embed="rId2"/>
          <a:stretch>
            <a:fillRect/>
          </a:stretch>
        </p:blipFill>
        <p:spPr bwMode="black">
          <a:xfrm>
            <a:off x="572717" y="574354"/>
            <a:ext cx="1339387" cy="286897"/>
          </a:xfrm>
          <a:prstGeom prst="rect">
            <a:avLst/>
          </a:prstGeom>
        </p:spPr>
      </p:pic>
      <p:sp>
        <p:nvSpPr>
          <p:cNvPr id="191" name="Rectangle 190">
            <a:extLst>
              <a:ext uri="{FF2B5EF4-FFF2-40B4-BE49-F238E27FC236}">
                <a16:creationId xmlns:a16="http://schemas.microsoft.com/office/drawing/2014/main" id="{52B8253C-872E-4B16-97C2-163C70491B21}"/>
              </a:ext>
            </a:extLst>
          </p:cNvPr>
          <p:cNvSpPr/>
          <p:nvPr/>
        </p:nvSpPr>
        <p:spPr>
          <a:xfrm>
            <a:off x="588263" y="6598452"/>
            <a:ext cx="1232049" cy="135796"/>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Sans Text"/>
                <a:ea typeface="+mn-ea"/>
                <a:cs typeface="+mn-cs"/>
              </a:rPr>
              <a:t>Microsoft Confidential</a:t>
            </a:r>
          </a:p>
        </p:txBody>
      </p:sp>
      <p:grpSp>
        <p:nvGrpSpPr>
          <p:cNvPr id="2" name="Group 1">
            <a:extLst>
              <a:ext uri="{FF2B5EF4-FFF2-40B4-BE49-F238E27FC236}">
                <a16:creationId xmlns:a16="http://schemas.microsoft.com/office/drawing/2014/main" id="{94A06704-FB3E-4A89-9B7A-969E6682768A}"/>
              </a:ext>
              <a:ext uri="{C183D7F6-B498-43B3-948B-1728B52AA6E4}">
                <adec:decorative xmlns:adec="http://schemas.microsoft.com/office/drawing/2017/decorative" val="1"/>
              </a:ext>
            </a:extLst>
          </p:cNvPr>
          <p:cNvGrpSpPr/>
          <p:nvPr userDrawn="1"/>
        </p:nvGrpSpPr>
        <p:grpSpPr>
          <a:xfrm>
            <a:off x="4070307" y="1"/>
            <a:ext cx="8121694" cy="6858000"/>
            <a:chOff x="4151925" y="1"/>
            <a:chExt cx="8284551" cy="6994525"/>
          </a:xfrm>
        </p:grpSpPr>
        <p:sp>
          <p:nvSpPr>
            <p:cNvPr id="1164" name="Freeform: Shape 1163">
              <a:extLst>
                <a:ext uri="{FF2B5EF4-FFF2-40B4-BE49-F238E27FC236}">
                  <a16:creationId xmlns:a16="http://schemas.microsoft.com/office/drawing/2014/main" id="{5EA46812-E7FF-4DEB-AEF6-A898128F39AD}"/>
                </a:ext>
                <a:ext uri="{C183D7F6-B498-43B3-948B-1728B52AA6E4}">
                  <adec:decorative xmlns:adec="http://schemas.microsoft.com/office/drawing/2017/decorative" val="1"/>
                </a:ext>
              </a:extLst>
            </p:cNvPr>
            <p:cNvSpPr/>
            <p:nvPr userDrawn="1"/>
          </p:nvSpPr>
          <p:spPr>
            <a:xfrm flipH="1" flipV="1">
              <a:off x="4151925" y="1"/>
              <a:ext cx="2626806" cy="3905171"/>
            </a:xfrm>
            <a:custGeom>
              <a:avLst/>
              <a:gdLst>
                <a:gd name="connsiteX0" fmla="*/ 1200667 w 2626806"/>
                <a:gd name="connsiteY0" fmla="*/ 3105 h 3905171"/>
                <a:gd name="connsiteX1" fmla="*/ 1199844 w 2626806"/>
                <a:gd name="connsiteY1" fmla="*/ 361 h 3905171"/>
                <a:gd name="connsiteX2" fmla="*/ 1200667 w 2626806"/>
                <a:gd name="connsiteY2" fmla="*/ 909 h 3905171"/>
                <a:gd name="connsiteX3" fmla="*/ 1200667 w 2626806"/>
                <a:gd name="connsiteY3" fmla="*/ 3105 h 3905171"/>
                <a:gd name="connsiteX4" fmla="*/ 1126038 w 2626806"/>
                <a:gd name="connsiteY4" fmla="*/ 115049 h 3905171"/>
                <a:gd name="connsiteX5" fmla="*/ 1121648 w 2626806"/>
                <a:gd name="connsiteY5" fmla="*/ 110659 h 3905171"/>
                <a:gd name="connsiteX6" fmla="*/ 1126038 w 2626806"/>
                <a:gd name="connsiteY6" fmla="*/ 106269 h 3905171"/>
                <a:gd name="connsiteX7" fmla="*/ 1130428 w 2626806"/>
                <a:gd name="connsiteY7" fmla="*/ 110659 h 3905171"/>
                <a:gd name="connsiteX8" fmla="*/ 1126038 w 2626806"/>
                <a:gd name="connsiteY8" fmla="*/ 115049 h 3905171"/>
                <a:gd name="connsiteX9" fmla="*/ 924097 w 2626806"/>
                <a:gd name="connsiteY9" fmla="*/ 167725 h 3905171"/>
                <a:gd name="connsiteX10" fmla="*/ 917512 w 2626806"/>
                <a:gd name="connsiteY10" fmla="*/ 161140 h 3905171"/>
                <a:gd name="connsiteX11" fmla="*/ 924097 w 2626806"/>
                <a:gd name="connsiteY11" fmla="*/ 154555 h 3905171"/>
                <a:gd name="connsiteX12" fmla="*/ 930682 w 2626806"/>
                <a:gd name="connsiteY12" fmla="*/ 161140 h 3905171"/>
                <a:gd name="connsiteX13" fmla="*/ 924097 w 2626806"/>
                <a:gd name="connsiteY13" fmla="*/ 167725 h 3905171"/>
                <a:gd name="connsiteX14" fmla="*/ 1259933 w 2626806"/>
                <a:gd name="connsiteY14" fmla="*/ 178707 h 3905171"/>
                <a:gd name="connsiteX15" fmla="*/ 1257738 w 2626806"/>
                <a:gd name="connsiteY15" fmla="*/ 176512 h 3905171"/>
                <a:gd name="connsiteX16" fmla="*/ 1259933 w 2626806"/>
                <a:gd name="connsiteY16" fmla="*/ 174318 h 3905171"/>
                <a:gd name="connsiteX17" fmla="*/ 1262128 w 2626806"/>
                <a:gd name="connsiteY17" fmla="*/ 176512 h 3905171"/>
                <a:gd name="connsiteX18" fmla="*/ 1259933 w 2626806"/>
                <a:gd name="connsiteY18" fmla="*/ 178707 h 3905171"/>
                <a:gd name="connsiteX19" fmla="*/ 1057992 w 2626806"/>
                <a:gd name="connsiteY19" fmla="*/ 229189 h 3905171"/>
                <a:gd name="connsiteX20" fmla="*/ 1053602 w 2626806"/>
                <a:gd name="connsiteY20" fmla="*/ 224799 h 3905171"/>
                <a:gd name="connsiteX21" fmla="*/ 1057992 w 2626806"/>
                <a:gd name="connsiteY21" fmla="*/ 220409 h 3905171"/>
                <a:gd name="connsiteX22" fmla="*/ 1062382 w 2626806"/>
                <a:gd name="connsiteY22" fmla="*/ 224799 h 3905171"/>
                <a:gd name="connsiteX23" fmla="*/ 1057992 w 2626806"/>
                <a:gd name="connsiteY23" fmla="*/ 229189 h 3905171"/>
                <a:gd name="connsiteX24" fmla="*/ 862637 w 2626806"/>
                <a:gd name="connsiteY24" fmla="*/ 284060 h 3905171"/>
                <a:gd name="connsiteX25" fmla="*/ 856052 w 2626806"/>
                <a:gd name="connsiteY25" fmla="*/ 277476 h 3905171"/>
                <a:gd name="connsiteX26" fmla="*/ 862637 w 2626806"/>
                <a:gd name="connsiteY26" fmla="*/ 270890 h 3905171"/>
                <a:gd name="connsiteX27" fmla="*/ 869222 w 2626806"/>
                <a:gd name="connsiteY27" fmla="*/ 277476 h 3905171"/>
                <a:gd name="connsiteX28" fmla="*/ 862637 w 2626806"/>
                <a:gd name="connsiteY28" fmla="*/ 284060 h 3905171"/>
                <a:gd name="connsiteX29" fmla="*/ 676061 w 2626806"/>
                <a:gd name="connsiteY29" fmla="*/ 338932 h 3905171"/>
                <a:gd name="connsiteX30" fmla="*/ 671671 w 2626806"/>
                <a:gd name="connsiteY30" fmla="*/ 334542 h 3905171"/>
                <a:gd name="connsiteX31" fmla="*/ 676061 w 2626806"/>
                <a:gd name="connsiteY31" fmla="*/ 330153 h 3905171"/>
                <a:gd name="connsiteX32" fmla="*/ 680451 w 2626806"/>
                <a:gd name="connsiteY32" fmla="*/ 334542 h 3905171"/>
                <a:gd name="connsiteX33" fmla="*/ 676061 w 2626806"/>
                <a:gd name="connsiteY33" fmla="*/ 338932 h 3905171"/>
                <a:gd name="connsiteX34" fmla="*/ 996532 w 2626806"/>
                <a:gd name="connsiteY34" fmla="*/ 352109 h 3905171"/>
                <a:gd name="connsiteX35" fmla="*/ 987752 w 2626806"/>
                <a:gd name="connsiteY35" fmla="*/ 343329 h 3905171"/>
                <a:gd name="connsiteX36" fmla="*/ 996532 w 2626806"/>
                <a:gd name="connsiteY36" fmla="*/ 334548 h 3905171"/>
                <a:gd name="connsiteX37" fmla="*/ 1005312 w 2626806"/>
                <a:gd name="connsiteY37" fmla="*/ 343329 h 3905171"/>
                <a:gd name="connsiteX38" fmla="*/ 996532 w 2626806"/>
                <a:gd name="connsiteY38" fmla="*/ 352109 h 3905171"/>
                <a:gd name="connsiteX39" fmla="*/ 807762 w 2626806"/>
                <a:gd name="connsiteY39" fmla="*/ 404785 h 3905171"/>
                <a:gd name="connsiteX40" fmla="*/ 803372 w 2626806"/>
                <a:gd name="connsiteY40" fmla="*/ 400395 h 3905171"/>
                <a:gd name="connsiteX41" fmla="*/ 807762 w 2626806"/>
                <a:gd name="connsiteY41" fmla="*/ 396005 h 3905171"/>
                <a:gd name="connsiteX42" fmla="*/ 812152 w 2626806"/>
                <a:gd name="connsiteY42" fmla="*/ 400395 h 3905171"/>
                <a:gd name="connsiteX43" fmla="*/ 807762 w 2626806"/>
                <a:gd name="connsiteY43" fmla="*/ 404785 h 3905171"/>
                <a:gd name="connsiteX44" fmla="*/ 1130428 w 2626806"/>
                <a:gd name="connsiteY44" fmla="*/ 409182 h 3905171"/>
                <a:gd name="connsiteX45" fmla="*/ 1128232 w 2626806"/>
                <a:gd name="connsiteY45" fmla="*/ 406987 h 3905171"/>
                <a:gd name="connsiteX46" fmla="*/ 1130428 w 2626806"/>
                <a:gd name="connsiteY46" fmla="*/ 404792 h 3905171"/>
                <a:gd name="connsiteX47" fmla="*/ 1132623 w 2626806"/>
                <a:gd name="connsiteY47" fmla="*/ 406987 h 3905171"/>
                <a:gd name="connsiteX48" fmla="*/ 1130428 w 2626806"/>
                <a:gd name="connsiteY48" fmla="*/ 409182 h 3905171"/>
                <a:gd name="connsiteX49" fmla="*/ 627771 w 2626806"/>
                <a:gd name="connsiteY49" fmla="*/ 466241 h 3905171"/>
                <a:gd name="connsiteX50" fmla="*/ 621186 w 2626806"/>
                <a:gd name="connsiteY50" fmla="*/ 459656 h 3905171"/>
                <a:gd name="connsiteX51" fmla="*/ 627771 w 2626806"/>
                <a:gd name="connsiteY51" fmla="*/ 453072 h 3905171"/>
                <a:gd name="connsiteX52" fmla="*/ 634356 w 2626806"/>
                <a:gd name="connsiteY52" fmla="*/ 459656 h 3905171"/>
                <a:gd name="connsiteX53" fmla="*/ 627771 w 2626806"/>
                <a:gd name="connsiteY53" fmla="*/ 466241 h 3905171"/>
                <a:gd name="connsiteX54" fmla="*/ 941657 w 2626806"/>
                <a:gd name="connsiteY54" fmla="*/ 470639 h 3905171"/>
                <a:gd name="connsiteX55" fmla="*/ 935072 w 2626806"/>
                <a:gd name="connsiteY55" fmla="*/ 464053 h 3905171"/>
                <a:gd name="connsiteX56" fmla="*/ 941657 w 2626806"/>
                <a:gd name="connsiteY56" fmla="*/ 457468 h 3905171"/>
                <a:gd name="connsiteX57" fmla="*/ 948242 w 2626806"/>
                <a:gd name="connsiteY57" fmla="*/ 464053 h 3905171"/>
                <a:gd name="connsiteX58" fmla="*/ 941657 w 2626806"/>
                <a:gd name="connsiteY58" fmla="*/ 470639 h 3905171"/>
                <a:gd name="connsiteX59" fmla="*/ 761667 w 2626806"/>
                <a:gd name="connsiteY59" fmla="*/ 529905 h 3905171"/>
                <a:gd name="connsiteX60" fmla="*/ 755082 w 2626806"/>
                <a:gd name="connsiteY60" fmla="*/ 523320 h 3905171"/>
                <a:gd name="connsiteX61" fmla="*/ 761667 w 2626806"/>
                <a:gd name="connsiteY61" fmla="*/ 516734 h 3905171"/>
                <a:gd name="connsiteX62" fmla="*/ 768252 w 2626806"/>
                <a:gd name="connsiteY62" fmla="*/ 523320 h 3905171"/>
                <a:gd name="connsiteX63" fmla="*/ 761667 w 2626806"/>
                <a:gd name="connsiteY63" fmla="*/ 529905 h 3905171"/>
                <a:gd name="connsiteX64" fmla="*/ 586066 w 2626806"/>
                <a:gd name="connsiteY64" fmla="*/ 593557 h 3905171"/>
                <a:gd name="connsiteX65" fmla="*/ 579481 w 2626806"/>
                <a:gd name="connsiteY65" fmla="*/ 586972 h 3905171"/>
                <a:gd name="connsiteX66" fmla="*/ 586066 w 2626806"/>
                <a:gd name="connsiteY66" fmla="*/ 580387 h 3905171"/>
                <a:gd name="connsiteX67" fmla="*/ 592651 w 2626806"/>
                <a:gd name="connsiteY67" fmla="*/ 586972 h 3905171"/>
                <a:gd name="connsiteX68" fmla="*/ 586066 w 2626806"/>
                <a:gd name="connsiteY68" fmla="*/ 593557 h 3905171"/>
                <a:gd name="connsiteX69" fmla="*/ 895563 w 2626806"/>
                <a:gd name="connsiteY69" fmla="*/ 593563 h 3905171"/>
                <a:gd name="connsiteX70" fmla="*/ 891173 w 2626806"/>
                <a:gd name="connsiteY70" fmla="*/ 589174 h 3905171"/>
                <a:gd name="connsiteX71" fmla="*/ 895563 w 2626806"/>
                <a:gd name="connsiteY71" fmla="*/ 584784 h 3905171"/>
                <a:gd name="connsiteX72" fmla="*/ 899953 w 2626806"/>
                <a:gd name="connsiteY72" fmla="*/ 589174 h 3905171"/>
                <a:gd name="connsiteX73" fmla="*/ 895563 w 2626806"/>
                <a:gd name="connsiteY73" fmla="*/ 593563 h 3905171"/>
                <a:gd name="connsiteX74" fmla="*/ 1029457 w 2626806"/>
                <a:gd name="connsiteY74" fmla="*/ 657221 h 3905171"/>
                <a:gd name="connsiteX75" fmla="*/ 1025067 w 2626806"/>
                <a:gd name="connsiteY75" fmla="*/ 652833 h 3905171"/>
                <a:gd name="connsiteX76" fmla="*/ 1029457 w 2626806"/>
                <a:gd name="connsiteY76" fmla="*/ 648443 h 3905171"/>
                <a:gd name="connsiteX77" fmla="*/ 1033847 w 2626806"/>
                <a:gd name="connsiteY77" fmla="*/ 652833 h 3905171"/>
                <a:gd name="connsiteX78" fmla="*/ 1029457 w 2626806"/>
                <a:gd name="connsiteY78" fmla="*/ 657221 h 3905171"/>
                <a:gd name="connsiteX79" fmla="*/ 719962 w 2626806"/>
                <a:gd name="connsiteY79" fmla="*/ 661605 h 3905171"/>
                <a:gd name="connsiteX80" fmla="*/ 708987 w 2626806"/>
                <a:gd name="connsiteY80" fmla="*/ 650631 h 3905171"/>
                <a:gd name="connsiteX81" fmla="*/ 719962 w 2626806"/>
                <a:gd name="connsiteY81" fmla="*/ 639656 h 3905171"/>
                <a:gd name="connsiteX82" fmla="*/ 730936 w 2626806"/>
                <a:gd name="connsiteY82" fmla="*/ 650631 h 3905171"/>
                <a:gd name="connsiteX83" fmla="*/ 719962 w 2626806"/>
                <a:gd name="connsiteY83" fmla="*/ 661605 h 3905171"/>
                <a:gd name="connsiteX84" fmla="*/ 550946 w 2626806"/>
                <a:gd name="connsiteY84" fmla="*/ 720866 h 3905171"/>
                <a:gd name="connsiteX85" fmla="*/ 544361 w 2626806"/>
                <a:gd name="connsiteY85" fmla="*/ 714282 h 3905171"/>
                <a:gd name="connsiteX86" fmla="*/ 550946 w 2626806"/>
                <a:gd name="connsiteY86" fmla="*/ 707697 h 3905171"/>
                <a:gd name="connsiteX87" fmla="*/ 557531 w 2626806"/>
                <a:gd name="connsiteY87" fmla="*/ 714282 h 3905171"/>
                <a:gd name="connsiteX88" fmla="*/ 550946 w 2626806"/>
                <a:gd name="connsiteY88" fmla="*/ 720866 h 3905171"/>
                <a:gd name="connsiteX89" fmla="*/ 856052 w 2626806"/>
                <a:gd name="connsiteY89" fmla="*/ 723070 h 3905171"/>
                <a:gd name="connsiteX90" fmla="*/ 849467 w 2626806"/>
                <a:gd name="connsiteY90" fmla="*/ 716484 h 3905171"/>
                <a:gd name="connsiteX91" fmla="*/ 856052 w 2626806"/>
                <a:gd name="connsiteY91" fmla="*/ 709900 h 3905171"/>
                <a:gd name="connsiteX92" fmla="*/ 862637 w 2626806"/>
                <a:gd name="connsiteY92" fmla="*/ 716484 h 3905171"/>
                <a:gd name="connsiteX93" fmla="*/ 856052 w 2626806"/>
                <a:gd name="connsiteY93" fmla="*/ 723070 h 3905171"/>
                <a:gd name="connsiteX94" fmla="*/ 384126 w 2626806"/>
                <a:gd name="connsiteY94" fmla="*/ 782321 h 3905171"/>
                <a:gd name="connsiteX95" fmla="*/ 379736 w 2626806"/>
                <a:gd name="connsiteY95" fmla="*/ 777931 h 3905171"/>
                <a:gd name="connsiteX96" fmla="*/ 384126 w 2626806"/>
                <a:gd name="connsiteY96" fmla="*/ 773541 h 3905171"/>
                <a:gd name="connsiteX97" fmla="*/ 388516 w 2626806"/>
                <a:gd name="connsiteY97" fmla="*/ 777931 h 3905171"/>
                <a:gd name="connsiteX98" fmla="*/ 384126 w 2626806"/>
                <a:gd name="connsiteY98" fmla="*/ 782321 h 3905171"/>
                <a:gd name="connsiteX99" fmla="*/ 992142 w 2626806"/>
                <a:gd name="connsiteY99" fmla="*/ 784532 h 3905171"/>
                <a:gd name="connsiteX100" fmla="*/ 989947 w 2626806"/>
                <a:gd name="connsiteY100" fmla="*/ 782337 h 3905171"/>
                <a:gd name="connsiteX101" fmla="*/ 992142 w 2626806"/>
                <a:gd name="connsiteY101" fmla="*/ 780142 h 3905171"/>
                <a:gd name="connsiteX102" fmla="*/ 994337 w 2626806"/>
                <a:gd name="connsiteY102" fmla="*/ 782337 h 3905171"/>
                <a:gd name="connsiteX103" fmla="*/ 992142 w 2626806"/>
                <a:gd name="connsiteY103" fmla="*/ 784532 h 3905171"/>
                <a:gd name="connsiteX104" fmla="*/ 687037 w 2626806"/>
                <a:gd name="connsiteY104" fmla="*/ 788915 h 3905171"/>
                <a:gd name="connsiteX105" fmla="*/ 678257 w 2626806"/>
                <a:gd name="connsiteY105" fmla="*/ 780135 h 3905171"/>
                <a:gd name="connsiteX106" fmla="*/ 687037 w 2626806"/>
                <a:gd name="connsiteY106" fmla="*/ 771355 h 3905171"/>
                <a:gd name="connsiteX107" fmla="*/ 695817 w 2626806"/>
                <a:gd name="connsiteY107" fmla="*/ 780135 h 3905171"/>
                <a:gd name="connsiteX108" fmla="*/ 687037 w 2626806"/>
                <a:gd name="connsiteY108" fmla="*/ 788915 h 3905171"/>
                <a:gd name="connsiteX109" fmla="*/ 1128232 w 2626806"/>
                <a:gd name="connsiteY109" fmla="*/ 848193 h 3905171"/>
                <a:gd name="connsiteX110" fmla="*/ 1126038 w 2626806"/>
                <a:gd name="connsiteY110" fmla="*/ 845997 h 3905171"/>
                <a:gd name="connsiteX111" fmla="*/ 1128232 w 2626806"/>
                <a:gd name="connsiteY111" fmla="*/ 843803 h 3905171"/>
                <a:gd name="connsiteX112" fmla="*/ 1130428 w 2626806"/>
                <a:gd name="connsiteY112" fmla="*/ 845997 h 3905171"/>
                <a:gd name="connsiteX113" fmla="*/ 1128232 w 2626806"/>
                <a:gd name="connsiteY113" fmla="*/ 848193 h 3905171"/>
                <a:gd name="connsiteX114" fmla="*/ 825322 w 2626806"/>
                <a:gd name="connsiteY114" fmla="*/ 852574 h 3905171"/>
                <a:gd name="connsiteX115" fmla="*/ 818737 w 2626806"/>
                <a:gd name="connsiteY115" fmla="*/ 845989 h 3905171"/>
                <a:gd name="connsiteX116" fmla="*/ 825322 w 2626806"/>
                <a:gd name="connsiteY116" fmla="*/ 839403 h 3905171"/>
                <a:gd name="connsiteX117" fmla="*/ 831907 w 2626806"/>
                <a:gd name="connsiteY117" fmla="*/ 845989 h 3905171"/>
                <a:gd name="connsiteX118" fmla="*/ 825322 w 2626806"/>
                <a:gd name="connsiteY118" fmla="*/ 852574 h 3905171"/>
                <a:gd name="connsiteX119" fmla="*/ 522412 w 2626806"/>
                <a:gd name="connsiteY119" fmla="*/ 854761 h 3905171"/>
                <a:gd name="connsiteX120" fmla="*/ 511437 w 2626806"/>
                <a:gd name="connsiteY120" fmla="*/ 843786 h 3905171"/>
                <a:gd name="connsiteX121" fmla="*/ 522412 w 2626806"/>
                <a:gd name="connsiteY121" fmla="*/ 832812 h 3905171"/>
                <a:gd name="connsiteX122" fmla="*/ 533386 w 2626806"/>
                <a:gd name="connsiteY122" fmla="*/ 843786 h 3905171"/>
                <a:gd name="connsiteX123" fmla="*/ 522412 w 2626806"/>
                <a:gd name="connsiteY123" fmla="*/ 854761 h 3905171"/>
                <a:gd name="connsiteX124" fmla="*/ 963607 w 2626806"/>
                <a:gd name="connsiteY124" fmla="*/ 914039 h 3905171"/>
                <a:gd name="connsiteX125" fmla="*/ 959217 w 2626806"/>
                <a:gd name="connsiteY125" fmla="*/ 909650 h 3905171"/>
                <a:gd name="connsiteX126" fmla="*/ 963607 w 2626806"/>
                <a:gd name="connsiteY126" fmla="*/ 905260 h 3905171"/>
                <a:gd name="connsiteX127" fmla="*/ 967997 w 2626806"/>
                <a:gd name="connsiteY127" fmla="*/ 909650 h 3905171"/>
                <a:gd name="connsiteX128" fmla="*/ 963607 w 2626806"/>
                <a:gd name="connsiteY128" fmla="*/ 914039 h 3905171"/>
                <a:gd name="connsiteX129" fmla="*/ 362176 w 2626806"/>
                <a:gd name="connsiteY129" fmla="*/ 918413 h 3905171"/>
                <a:gd name="connsiteX130" fmla="*/ 353396 w 2626806"/>
                <a:gd name="connsiteY130" fmla="*/ 909633 h 3905171"/>
                <a:gd name="connsiteX131" fmla="*/ 362176 w 2626806"/>
                <a:gd name="connsiteY131" fmla="*/ 900853 h 3905171"/>
                <a:gd name="connsiteX132" fmla="*/ 370956 w 2626806"/>
                <a:gd name="connsiteY132" fmla="*/ 909633 h 3905171"/>
                <a:gd name="connsiteX133" fmla="*/ 362176 w 2626806"/>
                <a:gd name="connsiteY133" fmla="*/ 918413 h 3905171"/>
                <a:gd name="connsiteX134" fmla="*/ 662892 w 2626806"/>
                <a:gd name="connsiteY134" fmla="*/ 922812 h 3905171"/>
                <a:gd name="connsiteX135" fmla="*/ 649722 w 2626806"/>
                <a:gd name="connsiteY135" fmla="*/ 909641 h 3905171"/>
                <a:gd name="connsiteX136" fmla="*/ 662892 w 2626806"/>
                <a:gd name="connsiteY136" fmla="*/ 896470 h 3905171"/>
                <a:gd name="connsiteX137" fmla="*/ 676061 w 2626806"/>
                <a:gd name="connsiteY137" fmla="*/ 909641 h 3905171"/>
                <a:gd name="connsiteX138" fmla="*/ 662892 w 2626806"/>
                <a:gd name="connsiteY138" fmla="*/ 922812 h 3905171"/>
                <a:gd name="connsiteX139" fmla="*/ 801177 w 2626806"/>
                <a:gd name="connsiteY139" fmla="*/ 982080 h 3905171"/>
                <a:gd name="connsiteX140" fmla="*/ 792397 w 2626806"/>
                <a:gd name="connsiteY140" fmla="*/ 973300 h 3905171"/>
                <a:gd name="connsiteX141" fmla="*/ 801177 w 2626806"/>
                <a:gd name="connsiteY141" fmla="*/ 964521 h 3905171"/>
                <a:gd name="connsiteX142" fmla="*/ 809957 w 2626806"/>
                <a:gd name="connsiteY142" fmla="*/ 973300 h 3905171"/>
                <a:gd name="connsiteX143" fmla="*/ 801177 w 2626806"/>
                <a:gd name="connsiteY143" fmla="*/ 982080 h 3905171"/>
                <a:gd name="connsiteX144" fmla="*/ 502657 w 2626806"/>
                <a:gd name="connsiteY144" fmla="*/ 990852 h 3905171"/>
                <a:gd name="connsiteX145" fmla="*/ 487291 w 2626806"/>
                <a:gd name="connsiteY145" fmla="*/ 975487 h 3905171"/>
                <a:gd name="connsiteX146" fmla="*/ 502657 w 2626806"/>
                <a:gd name="connsiteY146" fmla="*/ 960123 h 3905171"/>
                <a:gd name="connsiteX147" fmla="*/ 518022 w 2626806"/>
                <a:gd name="connsiteY147" fmla="*/ 975487 h 3905171"/>
                <a:gd name="connsiteX148" fmla="*/ 502657 w 2626806"/>
                <a:gd name="connsiteY148" fmla="*/ 990852 h 3905171"/>
                <a:gd name="connsiteX149" fmla="*/ 941657 w 2626806"/>
                <a:gd name="connsiteY149" fmla="*/ 1047934 h 3905171"/>
                <a:gd name="connsiteX150" fmla="*/ 935072 w 2626806"/>
                <a:gd name="connsiteY150" fmla="*/ 1041349 h 3905171"/>
                <a:gd name="connsiteX151" fmla="*/ 941657 w 2626806"/>
                <a:gd name="connsiteY151" fmla="*/ 1034764 h 3905171"/>
                <a:gd name="connsiteX152" fmla="*/ 948242 w 2626806"/>
                <a:gd name="connsiteY152" fmla="*/ 1041349 h 3905171"/>
                <a:gd name="connsiteX153" fmla="*/ 941657 w 2626806"/>
                <a:gd name="connsiteY153" fmla="*/ 1047934 h 3905171"/>
                <a:gd name="connsiteX154" fmla="*/ 344616 w 2626806"/>
                <a:gd name="connsiteY154" fmla="*/ 1052308 h 3905171"/>
                <a:gd name="connsiteX155" fmla="*/ 333641 w 2626806"/>
                <a:gd name="connsiteY155" fmla="*/ 1041333 h 3905171"/>
                <a:gd name="connsiteX156" fmla="*/ 344616 w 2626806"/>
                <a:gd name="connsiteY156" fmla="*/ 1030358 h 3905171"/>
                <a:gd name="connsiteX157" fmla="*/ 355591 w 2626806"/>
                <a:gd name="connsiteY157" fmla="*/ 1041333 h 3905171"/>
                <a:gd name="connsiteX158" fmla="*/ 344616 w 2626806"/>
                <a:gd name="connsiteY158" fmla="*/ 1052308 h 3905171"/>
                <a:gd name="connsiteX159" fmla="*/ 643136 w 2626806"/>
                <a:gd name="connsiteY159" fmla="*/ 1052315 h 3905171"/>
                <a:gd name="connsiteX160" fmla="*/ 629966 w 2626806"/>
                <a:gd name="connsiteY160" fmla="*/ 1041339 h 3905171"/>
                <a:gd name="connsiteX161" fmla="*/ 643136 w 2626806"/>
                <a:gd name="connsiteY161" fmla="*/ 1028170 h 3905171"/>
                <a:gd name="connsiteX162" fmla="*/ 656306 w 2626806"/>
                <a:gd name="connsiteY162" fmla="*/ 1039145 h 3905171"/>
                <a:gd name="connsiteX163" fmla="*/ 643136 w 2626806"/>
                <a:gd name="connsiteY163" fmla="*/ 1052315 h 3905171"/>
                <a:gd name="connsiteX164" fmla="*/ 190966 w 2626806"/>
                <a:gd name="connsiteY164" fmla="*/ 1111568 h 3905171"/>
                <a:gd name="connsiteX165" fmla="*/ 186576 w 2626806"/>
                <a:gd name="connsiteY165" fmla="*/ 1107179 h 3905171"/>
                <a:gd name="connsiteX166" fmla="*/ 190966 w 2626806"/>
                <a:gd name="connsiteY166" fmla="*/ 1102790 h 3905171"/>
                <a:gd name="connsiteX167" fmla="*/ 195356 w 2626806"/>
                <a:gd name="connsiteY167" fmla="*/ 1107179 h 3905171"/>
                <a:gd name="connsiteX168" fmla="*/ 190966 w 2626806"/>
                <a:gd name="connsiteY168" fmla="*/ 1111568 h 3905171"/>
                <a:gd name="connsiteX169" fmla="*/ 1082137 w 2626806"/>
                <a:gd name="connsiteY169" fmla="*/ 1111597 h 3905171"/>
                <a:gd name="connsiteX170" fmla="*/ 1077747 w 2626806"/>
                <a:gd name="connsiteY170" fmla="*/ 1107205 h 3905171"/>
                <a:gd name="connsiteX171" fmla="*/ 1082137 w 2626806"/>
                <a:gd name="connsiteY171" fmla="*/ 1102815 h 3905171"/>
                <a:gd name="connsiteX172" fmla="*/ 1086527 w 2626806"/>
                <a:gd name="connsiteY172" fmla="*/ 1107205 h 3905171"/>
                <a:gd name="connsiteX173" fmla="*/ 1082137 w 2626806"/>
                <a:gd name="connsiteY173" fmla="*/ 1111597 h 3905171"/>
                <a:gd name="connsiteX174" fmla="*/ 785812 w 2626806"/>
                <a:gd name="connsiteY174" fmla="*/ 1113780 h 3905171"/>
                <a:gd name="connsiteX175" fmla="*/ 779227 w 2626806"/>
                <a:gd name="connsiteY175" fmla="*/ 1107195 h 3905171"/>
                <a:gd name="connsiteX176" fmla="*/ 785812 w 2626806"/>
                <a:gd name="connsiteY176" fmla="*/ 1100611 h 3905171"/>
                <a:gd name="connsiteX177" fmla="*/ 792397 w 2626806"/>
                <a:gd name="connsiteY177" fmla="*/ 1107195 h 3905171"/>
                <a:gd name="connsiteX178" fmla="*/ 785812 w 2626806"/>
                <a:gd name="connsiteY178" fmla="*/ 1113780 h 3905171"/>
                <a:gd name="connsiteX179" fmla="*/ 487291 w 2626806"/>
                <a:gd name="connsiteY179" fmla="*/ 1118161 h 3905171"/>
                <a:gd name="connsiteX180" fmla="*/ 476316 w 2626806"/>
                <a:gd name="connsiteY180" fmla="*/ 1107187 h 3905171"/>
                <a:gd name="connsiteX181" fmla="*/ 487291 w 2626806"/>
                <a:gd name="connsiteY181" fmla="*/ 1096211 h 3905171"/>
                <a:gd name="connsiteX182" fmla="*/ 498267 w 2626806"/>
                <a:gd name="connsiteY182" fmla="*/ 1107187 h 3905171"/>
                <a:gd name="connsiteX183" fmla="*/ 487291 w 2626806"/>
                <a:gd name="connsiteY183" fmla="*/ 1118161 h 3905171"/>
                <a:gd name="connsiteX184" fmla="*/ 928488 w 2626806"/>
                <a:gd name="connsiteY184" fmla="*/ 1179636 h 3905171"/>
                <a:gd name="connsiteX185" fmla="*/ 921902 w 2626806"/>
                <a:gd name="connsiteY185" fmla="*/ 1173050 h 3905171"/>
                <a:gd name="connsiteX186" fmla="*/ 928488 w 2626806"/>
                <a:gd name="connsiteY186" fmla="*/ 1166466 h 3905171"/>
                <a:gd name="connsiteX187" fmla="*/ 935072 w 2626806"/>
                <a:gd name="connsiteY187" fmla="*/ 1173050 h 3905171"/>
                <a:gd name="connsiteX188" fmla="*/ 928488 w 2626806"/>
                <a:gd name="connsiteY188" fmla="*/ 1179636 h 3905171"/>
                <a:gd name="connsiteX189" fmla="*/ 335836 w 2626806"/>
                <a:gd name="connsiteY189" fmla="*/ 1184007 h 3905171"/>
                <a:gd name="connsiteX190" fmla="*/ 324861 w 2626806"/>
                <a:gd name="connsiteY190" fmla="*/ 1173034 h 3905171"/>
                <a:gd name="connsiteX191" fmla="*/ 335836 w 2626806"/>
                <a:gd name="connsiteY191" fmla="*/ 1162058 h 3905171"/>
                <a:gd name="connsiteX192" fmla="*/ 346811 w 2626806"/>
                <a:gd name="connsiteY192" fmla="*/ 1173034 h 3905171"/>
                <a:gd name="connsiteX193" fmla="*/ 335836 w 2626806"/>
                <a:gd name="connsiteY193" fmla="*/ 1184007 h 3905171"/>
                <a:gd name="connsiteX194" fmla="*/ 632161 w 2626806"/>
                <a:gd name="connsiteY194" fmla="*/ 1186210 h 3905171"/>
                <a:gd name="connsiteX195" fmla="*/ 618991 w 2626806"/>
                <a:gd name="connsiteY195" fmla="*/ 1173040 h 3905171"/>
                <a:gd name="connsiteX196" fmla="*/ 632161 w 2626806"/>
                <a:gd name="connsiteY196" fmla="*/ 1159871 h 3905171"/>
                <a:gd name="connsiteX197" fmla="*/ 645332 w 2626806"/>
                <a:gd name="connsiteY197" fmla="*/ 1173040 h 3905171"/>
                <a:gd name="connsiteX198" fmla="*/ 632161 w 2626806"/>
                <a:gd name="connsiteY198" fmla="*/ 1186210 h 3905171"/>
                <a:gd name="connsiteX199" fmla="*/ 1073357 w 2626806"/>
                <a:gd name="connsiteY199" fmla="*/ 1243268 h 3905171"/>
                <a:gd name="connsiteX200" fmla="*/ 1068967 w 2626806"/>
                <a:gd name="connsiteY200" fmla="*/ 1238878 h 3905171"/>
                <a:gd name="connsiteX201" fmla="*/ 1073357 w 2626806"/>
                <a:gd name="connsiteY201" fmla="*/ 1234489 h 3905171"/>
                <a:gd name="connsiteX202" fmla="*/ 1077747 w 2626806"/>
                <a:gd name="connsiteY202" fmla="*/ 1238878 h 3905171"/>
                <a:gd name="connsiteX203" fmla="*/ 1073357 w 2626806"/>
                <a:gd name="connsiteY203" fmla="*/ 1243268 h 3905171"/>
                <a:gd name="connsiteX204" fmla="*/ 184380 w 2626806"/>
                <a:gd name="connsiteY204" fmla="*/ 1247655 h 3905171"/>
                <a:gd name="connsiteX205" fmla="*/ 175600 w 2626806"/>
                <a:gd name="connsiteY205" fmla="*/ 1238875 h 3905171"/>
                <a:gd name="connsiteX206" fmla="*/ 184380 w 2626806"/>
                <a:gd name="connsiteY206" fmla="*/ 1230096 h 3905171"/>
                <a:gd name="connsiteX207" fmla="*/ 193160 w 2626806"/>
                <a:gd name="connsiteY207" fmla="*/ 1238875 h 3905171"/>
                <a:gd name="connsiteX208" fmla="*/ 184380 w 2626806"/>
                <a:gd name="connsiteY208" fmla="*/ 1247655 h 3905171"/>
                <a:gd name="connsiteX209" fmla="*/ 777032 w 2626806"/>
                <a:gd name="connsiteY209" fmla="*/ 1249851 h 3905171"/>
                <a:gd name="connsiteX210" fmla="*/ 768252 w 2626806"/>
                <a:gd name="connsiteY210" fmla="*/ 1241072 h 3905171"/>
                <a:gd name="connsiteX211" fmla="*/ 777032 w 2626806"/>
                <a:gd name="connsiteY211" fmla="*/ 1232294 h 3905171"/>
                <a:gd name="connsiteX212" fmla="*/ 785812 w 2626806"/>
                <a:gd name="connsiteY212" fmla="*/ 1241072 h 3905171"/>
                <a:gd name="connsiteX213" fmla="*/ 777032 w 2626806"/>
                <a:gd name="connsiteY213" fmla="*/ 1249851 h 3905171"/>
                <a:gd name="connsiteX214" fmla="*/ 480706 w 2626806"/>
                <a:gd name="connsiteY214" fmla="*/ 1252047 h 3905171"/>
                <a:gd name="connsiteX215" fmla="*/ 467536 w 2626806"/>
                <a:gd name="connsiteY215" fmla="*/ 1238878 h 3905171"/>
                <a:gd name="connsiteX216" fmla="*/ 480706 w 2626806"/>
                <a:gd name="connsiteY216" fmla="*/ 1225707 h 3905171"/>
                <a:gd name="connsiteX217" fmla="*/ 493877 w 2626806"/>
                <a:gd name="connsiteY217" fmla="*/ 1238878 h 3905171"/>
                <a:gd name="connsiteX218" fmla="*/ 480706 w 2626806"/>
                <a:gd name="connsiteY218" fmla="*/ 1252047 h 3905171"/>
                <a:gd name="connsiteX219" fmla="*/ 1220423 w 2626806"/>
                <a:gd name="connsiteY219" fmla="*/ 1309118 h 3905171"/>
                <a:gd name="connsiteX220" fmla="*/ 1218228 w 2626806"/>
                <a:gd name="connsiteY220" fmla="*/ 1306923 h 3905171"/>
                <a:gd name="connsiteX221" fmla="*/ 1220423 w 2626806"/>
                <a:gd name="connsiteY221" fmla="*/ 1304729 h 3905171"/>
                <a:gd name="connsiteX222" fmla="*/ 1222618 w 2626806"/>
                <a:gd name="connsiteY222" fmla="*/ 1306923 h 3905171"/>
                <a:gd name="connsiteX223" fmla="*/ 1220423 w 2626806"/>
                <a:gd name="connsiteY223" fmla="*/ 1309118 h 3905171"/>
                <a:gd name="connsiteX224" fmla="*/ 924097 w 2626806"/>
                <a:gd name="connsiteY224" fmla="*/ 1313508 h 3905171"/>
                <a:gd name="connsiteX225" fmla="*/ 917512 w 2626806"/>
                <a:gd name="connsiteY225" fmla="*/ 1306923 h 3905171"/>
                <a:gd name="connsiteX226" fmla="*/ 924097 w 2626806"/>
                <a:gd name="connsiteY226" fmla="*/ 1300336 h 3905171"/>
                <a:gd name="connsiteX227" fmla="*/ 930682 w 2626806"/>
                <a:gd name="connsiteY227" fmla="*/ 1306923 h 3905171"/>
                <a:gd name="connsiteX228" fmla="*/ 924097 w 2626806"/>
                <a:gd name="connsiteY228" fmla="*/ 1313508 h 3905171"/>
                <a:gd name="connsiteX229" fmla="*/ 331446 w 2626806"/>
                <a:gd name="connsiteY229" fmla="*/ 1317896 h 3905171"/>
                <a:gd name="connsiteX230" fmla="*/ 320471 w 2626806"/>
                <a:gd name="connsiteY230" fmla="*/ 1306921 h 3905171"/>
                <a:gd name="connsiteX231" fmla="*/ 331446 w 2626806"/>
                <a:gd name="connsiteY231" fmla="*/ 1295947 h 3905171"/>
                <a:gd name="connsiteX232" fmla="*/ 342421 w 2626806"/>
                <a:gd name="connsiteY232" fmla="*/ 1306921 h 3905171"/>
                <a:gd name="connsiteX233" fmla="*/ 331446 w 2626806"/>
                <a:gd name="connsiteY233" fmla="*/ 1317896 h 3905171"/>
                <a:gd name="connsiteX234" fmla="*/ 627771 w 2626806"/>
                <a:gd name="connsiteY234" fmla="*/ 1322289 h 3905171"/>
                <a:gd name="connsiteX235" fmla="*/ 612407 w 2626806"/>
                <a:gd name="connsiteY235" fmla="*/ 1306923 h 3905171"/>
                <a:gd name="connsiteX236" fmla="*/ 627771 w 2626806"/>
                <a:gd name="connsiteY236" fmla="*/ 1291557 h 3905171"/>
                <a:gd name="connsiteX237" fmla="*/ 643136 w 2626806"/>
                <a:gd name="connsiteY237" fmla="*/ 1306923 h 3905171"/>
                <a:gd name="connsiteX238" fmla="*/ 627771 w 2626806"/>
                <a:gd name="connsiteY238" fmla="*/ 1322289 h 3905171"/>
                <a:gd name="connsiteX239" fmla="*/ 1073357 w 2626806"/>
                <a:gd name="connsiteY239" fmla="*/ 1374967 h 3905171"/>
                <a:gd name="connsiteX240" fmla="*/ 1071162 w 2626806"/>
                <a:gd name="connsiteY240" fmla="*/ 1372772 h 3905171"/>
                <a:gd name="connsiteX241" fmla="*/ 1073357 w 2626806"/>
                <a:gd name="connsiteY241" fmla="*/ 1370577 h 3905171"/>
                <a:gd name="connsiteX242" fmla="*/ 1075553 w 2626806"/>
                <a:gd name="connsiteY242" fmla="*/ 1372772 h 3905171"/>
                <a:gd name="connsiteX243" fmla="*/ 1073357 w 2626806"/>
                <a:gd name="connsiteY243" fmla="*/ 1374967 h 3905171"/>
                <a:gd name="connsiteX244" fmla="*/ 184380 w 2626806"/>
                <a:gd name="connsiteY244" fmla="*/ 1383745 h 3905171"/>
                <a:gd name="connsiteX245" fmla="*/ 173405 w 2626806"/>
                <a:gd name="connsiteY245" fmla="*/ 1372769 h 3905171"/>
                <a:gd name="connsiteX246" fmla="*/ 184380 w 2626806"/>
                <a:gd name="connsiteY246" fmla="*/ 1361794 h 3905171"/>
                <a:gd name="connsiteX247" fmla="*/ 195356 w 2626806"/>
                <a:gd name="connsiteY247" fmla="*/ 1372769 h 3905171"/>
                <a:gd name="connsiteX248" fmla="*/ 184380 w 2626806"/>
                <a:gd name="connsiteY248" fmla="*/ 1383745 h 3905171"/>
                <a:gd name="connsiteX249" fmla="*/ 777032 w 2626806"/>
                <a:gd name="connsiteY249" fmla="*/ 1383748 h 3905171"/>
                <a:gd name="connsiteX250" fmla="*/ 766057 w 2626806"/>
                <a:gd name="connsiteY250" fmla="*/ 1372772 h 3905171"/>
                <a:gd name="connsiteX251" fmla="*/ 777032 w 2626806"/>
                <a:gd name="connsiteY251" fmla="*/ 1361796 h 3905171"/>
                <a:gd name="connsiteX252" fmla="*/ 788007 w 2626806"/>
                <a:gd name="connsiteY252" fmla="*/ 1372772 h 3905171"/>
                <a:gd name="connsiteX253" fmla="*/ 777032 w 2626806"/>
                <a:gd name="connsiteY253" fmla="*/ 1383748 h 3905171"/>
                <a:gd name="connsiteX254" fmla="*/ 480706 w 2626806"/>
                <a:gd name="connsiteY254" fmla="*/ 1385943 h 3905171"/>
                <a:gd name="connsiteX255" fmla="*/ 467536 w 2626806"/>
                <a:gd name="connsiteY255" fmla="*/ 1372772 h 3905171"/>
                <a:gd name="connsiteX256" fmla="*/ 480706 w 2626806"/>
                <a:gd name="connsiteY256" fmla="*/ 1359601 h 3905171"/>
                <a:gd name="connsiteX257" fmla="*/ 493877 w 2626806"/>
                <a:gd name="connsiteY257" fmla="*/ 1372772 h 3905171"/>
                <a:gd name="connsiteX258" fmla="*/ 480706 w 2626806"/>
                <a:gd name="connsiteY258" fmla="*/ 1385943 h 3905171"/>
                <a:gd name="connsiteX259" fmla="*/ 1224813 w 2626806"/>
                <a:gd name="connsiteY259" fmla="*/ 1443018 h 3905171"/>
                <a:gd name="connsiteX260" fmla="*/ 1220423 w 2626806"/>
                <a:gd name="connsiteY260" fmla="*/ 1438627 h 3905171"/>
                <a:gd name="connsiteX261" fmla="*/ 1224813 w 2626806"/>
                <a:gd name="connsiteY261" fmla="*/ 1434235 h 3905171"/>
                <a:gd name="connsiteX262" fmla="*/ 1229203 w 2626806"/>
                <a:gd name="connsiteY262" fmla="*/ 1438627 h 3905171"/>
                <a:gd name="connsiteX263" fmla="*/ 1224813 w 2626806"/>
                <a:gd name="connsiteY263" fmla="*/ 1443018 h 3905171"/>
                <a:gd name="connsiteX264" fmla="*/ 928488 w 2626806"/>
                <a:gd name="connsiteY264" fmla="*/ 1447408 h 3905171"/>
                <a:gd name="connsiteX265" fmla="*/ 919708 w 2626806"/>
                <a:gd name="connsiteY265" fmla="*/ 1438627 h 3905171"/>
                <a:gd name="connsiteX266" fmla="*/ 928488 w 2626806"/>
                <a:gd name="connsiteY266" fmla="*/ 1429847 h 3905171"/>
                <a:gd name="connsiteX267" fmla="*/ 937268 w 2626806"/>
                <a:gd name="connsiteY267" fmla="*/ 1438627 h 3905171"/>
                <a:gd name="connsiteX268" fmla="*/ 928488 w 2626806"/>
                <a:gd name="connsiteY268" fmla="*/ 1447408 h 3905171"/>
                <a:gd name="connsiteX269" fmla="*/ 335836 w 2626806"/>
                <a:gd name="connsiteY269" fmla="*/ 1449601 h 3905171"/>
                <a:gd name="connsiteX270" fmla="*/ 324861 w 2626806"/>
                <a:gd name="connsiteY270" fmla="*/ 1438625 h 3905171"/>
                <a:gd name="connsiteX271" fmla="*/ 335836 w 2626806"/>
                <a:gd name="connsiteY271" fmla="*/ 1427650 h 3905171"/>
                <a:gd name="connsiteX272" fmla="*/ 346811 w 2626806"/>
                <a:gd name="connsiteY272" fmla="*/ 1438625 h 3905171"/>
                <a:gd name="connsiteX273" fmla="*/ 335836 w 2626806"/>
                <a:gd name="connsiteY273" fmla="*/ 1449601 h 3905171"/>
                <a:gd name="connsiteX274" fmla="*/ 632161 w 2626806"/>
                <a:gd name="connsiteY274" fmla="*/ 1453993 h 3905171"/>
                <a:gd name="connsiteX275" fmla="*/ 616797 w 2626806"/>
                <a:gd name="connsiteY275" fmla="*/ 1438627 h 3905171"/>
                <a:gd name="connsiteX276" fmla="*/ 632161 w 2626806"/>
                <a:gd name="connsiteY276" fmla="*/ 1423261 h 3905171"/>
                <a:gd name="connsiteX277" fmla="*/ 647526 w 2626806"/>
                <a:gd name="connsiteY277" fmla="*/ 1438627 h 3905171"/>
                <a:gd name="connsiteX278" fmla="*/ 632161 w 2626806"/>
                <a:gd name="connsiteY278" fmla="*/ 1453993 h 3905171"/>
                <a:gd name="connsiteX279" fmla="*/ 1380658 w 2626806"/>
                <a:gd name="connsiteY279" fmla="*/ 1508871 h 3905171"/>
                <a:gd name="connsiteX280" fmla="*/ 1378462 w 2626806"/>
                <a:gd name="connsiteY280" fmla="*/ 1506674 h 3905171"/>
                <a:gd name="connsiteX281" fmla="*/ 1380658 w 2626806"/>
                <a:gd name="connsiteY281" fmla="*/ 1504479 h 3905171"/>
                <a:gd name="connsiteX282" fmla="*/ 1382853 w 2626806"/>
                <a:gd name="connsiteY282" fmla="*/ 1506674 h 3905171"/>
                <a:gd name="connsiteX283" fmla="*/ 1380658 w 2626806"/>
                <a:gd name="connsiteY283" fmla="*/ 1508871 h 3905171"/>
                <a:gd name="connsiteX284" fmla="*/ 1082137 w 2626806"/>
                <a:gd name="connsiteY284" fmla="*/ 1511065 h 3905171"/>
                <a:gd name="connsiteX285" fmla="*/ 1077747 w 2626806"/>
                <a:gd name="connsiteY285" fmla="*/ 1506674 h 3905171"/>
                <a:gd name="connsiteX286" fmla="*/ 1082137 w 2626806"/>
                <a:gd name="connsiteY286" fmla="*/ 1502284 h 3905171"/>
                <a:gd name="connsiteX287" fmla="*/ 1086527 w 2626806"/>
                <a:gd name="connsiteY287" fmla="*/ 1506674 h 3905171"/>
                <a:gd name="connsiteX288" fmla="*/ 1082137 w 2626806"/>
                <a:gd name="connsiteY288" fmla="*/ 1511065 h 3905171"/>
                <a:gd name="connsiteX289" fmla="*/ 785812 w 2626806"/>
                <a:gd name="connsiteY289" fmla="*/ 1515453 h 3905171"/>
                <a:gd name="connsiteX290" fmla="*/ 774837 w 2626806"/>
                <a:gd name="connsiteY290" fmla="*/ 1504479 h 3905171"/>
                <a:gd name="connsiteX291" fmla="*/ 785812 w 2626806"/>
                <a:gd name="connsiteY291" fmla="*/ 1493504 h 3905171"/>
                <a:gd name="connsiteX292" fmla="*/ 796787 w 2626806"/>
                <a:gd name="connsiteY292" fmla="*/ 1504479 h 3905171"/>
                <a:gd name="connsiteX293" fmla="*/ 785812 w 2626806"/>
                <a:gd name="connsiteY293" fmla="*/ 1515453 h 3905171"/>
                <a:gd name="connsiteX294" fmla="*/ 487291 w 2626806"/>
                <a:gd name="connsiteY294" fmla="*/ 1519845 h 3905171"/>
                <a:gd name="connsiteX295" fmla="*/ 474122 w 2626806"/>
                <a:gd name="connsiteY295" fmla="*/ 1506673 h 3905171"/>
                <a:gd name="connsiteX296" fmla="*/ 487291 w 2626806"/>
                <a:gd name="connsiteY296" fmla="*/ 1493504 h 3905171"/>
                <a:gd name="connsiteX297" fmla="*/ 500461 w 2626806"/>
                <a:gd name="connsiteY297" fmla="*/ 1506673 h 3905171"/>
                <a:gd name="connsiteX298" fmla="*/ 487291 w 2626806"/>
                <a:gd name="connsiteY298" fmla="*/ 1519845 h 3905171"/>
                <a:gd name="connsiteX299" fmla="*/ 190966 w 2626806"/>
                <a:gd name="connsiteY299" fmla="*/ 1522037 h 3905171"/>
                <a:gd name="connsiteX300" fmla="*/ 175600 w 2626806"/>
                <a:gd name="connsiteY300" fmla="*/ 1506672 h 3905171"/>
                <a:gd name="connsiteX301" fmla="*/ 190966 w 2626806"/>
                <a:gd name="connsiteY301" fmla="*/ 1491306 h 3905171"/>
                <a:gd name="connsiteX302" fmla="*/ 206330 w 2626806"/>
                <a:gd name="connsiteY302" fmla="*/ 1506672 h 3905171"/>
                <a:gd name="connsiteX303" fmla="*/ 190966 w 2626806"/>
                <a:gd name="connsiteY303" fmla="*/ 1522037 h 3905171"/>
                <a:gd name="connsiteX304" fmla="*/ 48291 w 2626806"/>
                <a:gd name="connsiteY304" fmla="*/ 1574711 h 3905171"/>
                <a:gd name="connsiteX305" fmla="*/ 46095 w 2626806"/>
                <a:gd name="connsiteY305" fmla="*/ 1572515 h 3905171"/>
                <a:gd name="connsiteX306" fmla="*/ 48291 w 2626806"/>
                <a:gd name="connsiteY306" fmla="*/ 1570320 h 3905171"/>
                <a:gd name="connsiteX307" fmla="*/ 50485 w 2626806"/>
                <a:gd name="connsiteY307" fmla="*/ 1572515 h 3905171"/>
                <a:gd name="connsiteX308" fmla="*/ 48291 w 2626806"/>
                <a:gd name="connsiteY308" fmla="*/ 1574711 h 3905171"/>
                <a:gd name="connsiteX309" fmla="*/ 1240178 w 2626806"/>
                <a:gd name="connsiteY309" fmla="*/ 1574718 h 3905171"/>
                <a:gd name="connsiteX310" fmla="*/ 1235788 w 2626806"/>
                <a:gd name="connsiteY310" fmla="*/ 1570330 h 3905171"/>
                <a:gd name="connsiteX311" fmla="*/ 1240178 w 2626806"/>
                <a:gd name="connsiteY311" fmla="*/ 1565939 h 3905171"/>
                <a:gd name="connsiteX312" fmla="*/ 1244568 w 2626806"/>
                <a:gd name="connsiteY312" fmla="*/ 1570330 h 3905171"/>
                <a:gd name="connsiteX313" fmla="*/ 1240178 w 2626806"/>
                <a:gd name="connsiteY313" fmla="*/ 1574718 h 3905171"/>
                <a:gd name="connsiteX314" fmla="*/ 941658 w 2626806"/>
                <a:gd name="connsiteY314" fmla="*/ 1581301 h 3905171"/>
                <a:gd name="connsiteX315" fmla="*/ 930682 w 2626806"/>
                <a:gd name="connsiteY315" fmla="*/ 1570330 h 3905171"/>
                <a:gd name="connsiteX316" fmla="*/ 941658 w 2626806"/>
                <a:gd name="connsiteY316" fmla="*/ 1559352 h 3905171"/>
                <a:gd name="connsiteX317" fmla="*/ 952633 w 2626806"/>
                <a:gd name="connsiteY317" fmla="*/ 1570330 h 3905171"/>
                <a:gd name="connsiteX318" fmla="*/ 941658 w 2626806"/>
                <a:gd name="connsiteY318" fmla="*/ 1581301 h 3905171"/>
                <a:gd name="connsiteX319" fmla="*/ 344616 w 2626806"/>
                <a:gd name="connsiteY319" fmla="*/ 1583497 h 3905171"/>
                <a:gd name="connsiteX320" fmla="*/ 331446 w 2626806"/>
                <a:gd name="connsiteY320" fmla="*/ 1570326 h 3905171"/>
                <a:gd name="connsiteX321" fmla="*/ 344616 w 2626806"/>
                <a:gd name="connsiteY321" fmla="*/ 1557157 h 3905171"/>
                <a:gd name="connsiteX322" fmla="*/ 357786 w 2626806"/>
                <a:gd name="connsiteY322" fmla="*/ 1570326 h 3905171"/>
                <a:gd name="connsiteX323" fmla="*/ 344616 w 2626806"/>
                <a:gd name="connsiteY323" fmla="*/ 1583497 h 3905171"/>
                <a:gd name="connsiteX324" fmla="*/ 643136 w 2626806"/>
                <a:gd name="connsiteY324" fmla="*/ 1587890 h 3905171"/>
                <a:gd name="connsiteX325" fmla="*/ 627771 w 2626806"/>
                <a:gd name="connsiteY325" fmla="*/ 1572522 h 3905171"/>
                <a:gd name="connsiteX326" fmla="*/ 643136 w 2626806"/>
                <a:gd name="connsiteY326" fmla="*/ 1557159 h 3905171"/>
                <a:gd name="connsiteX327" fmla="*/ 658502 w 2626806"/>
                <a:gd name="connsiteY327" fmla="*/ 1572522 h 3905171"/>
                <a:gd name="connsiteX328" fmla="*/ 643136 w 2626806"/>
                <a:gd name="connsiteY328" fmla="*/ 1587890 h 3905171"/>
                <a:gd name="connsiteX329" fmla="*/ 1402608 w 2626806"/>
                <a:gd name="connsiteY329" fmla="*/ 1640569 h 3905171"/>
                <a:gd name="connsiteX330" fmla="*/ 1398218 w 2626806"/>
                <a:gd name="connsiteY330" fmla="*/ 1636179 h 3905171"/>
                <a:gd name="connsiteX331" fmla="*/ 1402608 w 2626806"/>
                <a:gd name="connsiteY331" fmla="*/ 1631790 h 3905171"/>
                <a:gd name="connsiteX332" fmla="*/ 1406998 w 2626806"/>
                <a:gd name="connsiteY332" fmla="*/ 1636179 h 3905171"/>
                <a:gd name="connsiteX333" fmla="*/ 1402608 w 2626806"/>
                <a:gd name="connsiteY333" fmla="*/ 1640569 h 3905171"/>
                <a:gd name="connsiteX334" fmla="*/ 1101892 w 2626806"/>
                <a:gd name="connsiteY334" fmla="*/ 1642767 h 3905171"/>
                <a:gd name="connsiteX335" fmla="*/ 1095307 w 2626806"/>
                <a:gd name="connsiteY335" fmla="*/ 1636179 h 3905171"/>
                <a:gd name="connsiteX336" fmla="*/ 1101892 w 2626806"/>
                <a:gd name="connsiteY336" fmla="*/ 1629595 h 3905171"/>
                <a:gd name="connsiteX337" fmla="*/ 1108478 w 2626806"/>
                <a:gd name="connsiteY337" fmla="*/ 1636179 h 3905171"/>
                <a:gd name="connsiteX338" fmla="*/ 1101892 w 2626806"/>
                <a:gd name="connsiteY338" fmla="*/ 1642767 h 3905171"/>
                <a:gd name="connsiteX339" fmla="*/ 801177 w 2626806"/>
                <a:gd name="connsiteY339" fmla="*/ 1647154 h 3905171"/>
                <a:gd name="connsiteX340" fmla="*/ 790202 w 2626806"/>
                <a:gd name="connsiteY340" fmla="*/ 1636179 h 3905171"/>
                <a:gd name="connsiteX341" fmla="*/ 801177 w 2626806"/>
                <a:gd name="connsiteY341" fmla="*/ 1625205 h 3905171"/>
                <a:gd name="connsiteX342" fmla="*/ 812152 w 2626806"/>
                <a:gd name="connsiteY342" fmla="*/ 1636179 h 3905171"/>
                <a:gd name="connsiteX343" fmla="*/ 801177 w 2626806"/>
                <a:gd name="connsiteY343" fmla="*/ 1647154 h 3905171"/>
                <a:gd name="connsiteX344" fmla="*/ 204135 w 2626806"/>
                <a:gd name="connsiteY344" fmla="*/ 1653735 h 3905171"/>
                <a:gd name="connsiteX345" fmla="*/ 188770 w 2626806"/>
                <a:gd name="connsiteY345" fmla="*/ 1638372 h 3905171"/>
                <a:gd name="connsiteX346" fmla="*/ 204135 w 2626806"/>
                <a:gd name="connsiteY346" fmla="*/ 1623006 h 3905171"/>
                <a:gd name="connsiteX347" fmla="*/ 219501 w 2626806"/>
                <a:gd name="connsiteY347" fmla="*/ 1638372 h 3905171"/>
                <a:gd name="connsiteX348" fmla="*/ 204135 w 2626806"/>
                <a:gd name="connsiteY348" fmla="*/ 1653735 h 3905171"/>
                <a:gd name="connsiteX349" fmla="*/ 502657 w 2626806"/>
                <a:gd name="connsiteY349" fmla="*/ 1653740 h 3905171"/>
                <a:gd name="connsiteX350" fmla="*/ 485096 w 2626806"/>
                <a:gd name="connsiteY350" fmla="*/ 1638375 h 3905171"/>
                <a:gd name="connsiteX351" fmla="*/ 502657 w 2626806"/>
                <a:gd name="connsiteY351" fmla="*/ 1620814 h 3905171"/>
                <a:gd name="connsiteX352" fmla="*/ 520217 w 2626806"/>
                <a:gd name="connsiteY352" fmla="*/ 1636179 h 3905171"/>
                <a:gd name="connsiteX353" fmla="*/ 502657 w 2626806"/>
                <a:gd name="connsiteY353" fmla="*/ 1653740 h 3905171"/>
                <a:gd name="connsiteX354" fmla="*/ 1264323 w 2626806"/>
                <a:gd name="connsiteY354" fmla="*/ 1706417 h 3905171"/>
                <a:gd name="connsiteX355" fmla="*/ 1259933 w 2626806"/>
                <a:gd name="connsiteY355" fmla="*/ 1702029 h 3905171"/>
                <a:gd name="connsiteX356" fmla="*/ 1264323 w 2626806"/>
                <a:gd name="connsiteY356" fmla="*/ 1697638 h 3905171"/>
                <a:gd name="connsiteX357" fmla="*/ 1268713 w 2626806"/>
                <a:gd name="connsiteY357" fmla="*/ 1702029 h 3905171"/>
                <a:gd name="connsiteX358" fmla="*/ 1264323 w 2626806"/>
                <a:gd name="connsiteY358" fmla="*/ 1706417 h 3905171"/>
                <a:gd name="connsiteX359" fmla="*/ 63656 w 2626806"/>
                <a:gd name="connsiteY359" fmla="*/ 1708606 h 3905171"/>
                <a:gd name="connsiteX360" fmla="*/ 59265 w 2626806"/>
                <a:gd name="connsiteY360" fmla="*/ 1704216 h 3905171"/>
                <a:gd name="connsiteX361" fmla="*/ 63656 w 2626806"/>
                <a:gd name="connsiteY361" fmla="*/ 1699826 h 3905171"/>
                <a:gd name="connsiteX362" fmla="*/ 68046 w 2626806"/>
                <a:gd name="connsiteY362" fmla="*/ 1704216 h 3905171"/>
                <a:gd name="connsiteX363" fmla="*/ 63656 w 2626806"/>
                <a:gd name="connsiteY363" fmla="*/ 1708606 h 3905171"/>
                <a:gd name="connsiteX364" fmla="*/ 963607 w 2626806"/>
                <a:gd name="connsiteY364" fmla="*/ 1710809 h 3905171"/>
                <a:gd name="connsiteX365" fmla="*/ 954827 w 2626806"/>
                <a:gd name="connsiteY365" fmla="*/ 1702029 h 3905171"/>
                <a:gd name="connsiteX366" fmla="*/ 963607 w 2626806"/>
                <a:gd name="connsiteY366" fmla="*/ 1693250 h 3905171"/>
                <a:gd name="connsiteX367" fmla="*/ 972387 w 2626806"/>
                <a:gd name="connsiteY367" fmla="*/ 1702029 h 3905171"/>
                <a:gd name="connsiteX368" fmla="*/ 963607 w 2626806"/>
                <a:gd name="connsiteY368" fmla="*/ 1710809 h 3905171"/>
                <a:gd name="connsiteX369" fmla="*/ 362176 w 2626806"/>
                <a:gd name="connsiteY369" fmla="*/ 1715196 h 3905171"/>
                <a:gd name="connsiteX370" fmla="*/ 351201 w 2626806"/>
                <a:gd name="connsiteY370" fmla="*/ 1704223 h 3905171"/>
                <a:gd name="connsiteX371" fmla="*/ 362176 w 2626806"/>
                <a:gd name="connsiteY371" fmla="*/ 1693247 h 3905171"/>
                <a:gd name="connsiteX372" fmla="*/ 373151 w 2626806"/>
                <a:gd name="connsiteY372" fmla="*/ 1704223 h 3905171"/>
                <a:gd name="connsiteX373" fmla="*/ 362176 w 2626806"/>
                <a:gd name="connsiteY373" fmla="*/ 1715196 h 3905171"/>
                <a:gd name="connsiteX374" fmla="*/ 662892 w 2626806"/>
                <a:gd name="connsiteY374" fmla="*/ 1719588 h 3905171"/>
                <a:gd name="connsiteX375" fmla="*/ 647526 w 2626806"/>
                <a:gd name="connsiteY375" fmla="*/ 1704223 h 3905171"/>
                <a:gd name="connsiteX376" fmla="*/ 662892 w 2626806"/>
                <a:gd name="connsiteY376" fmla="*/ 1688860 h 3905171"/>
                <a:gd name="connsiteX377" fmla="*/ 678257 w 2626806"/>
                <a:gd name="connsiteY377" fmla="*/ 1704223 h 3905171"/>
                <a:gd name="connsiteX378" fmla="*/ 662892 w 2626806"/>
                <a:gd name="connsiteY378" fmla="*/ 1719588 h 3905171"/>
                <a:gd name="connsiteX379" fmla="*/ 1435533 w 2626806"/>
                <a:gd name="connsiteY379" fmla="*/ 1767878 h 3905171"/>
                <a:gd name="connsiteX380" fmla="*/ 1431143 w 2626806"/>
                <a:gd name="connsiteY380" fmla="*/ 1763487 h 3905171"/>
                <a:gd name="connsiteX381" fmla="*/ 1435533 w 2626806"/>
                <a:gd name="connsiteY381" fmla="*/ 1759098 h 3905171"/>
                <a:gd name="connsiteX382" fmla="*/ 1439923 w 2626806"/>
                <a:gd name="connsiteY382" fmla="*/ 1763487 h 3905171"/>
                <a:gd name="connsiteX383" fmla="*/ 1435533 w 2626806"/>
                <a:gd name="connsiteY383" fmla="*/ 1767878 h 3905171"/>
                <a:gd name="connsiteX384" fmla="*/ 1128232 w 2626806"/>
                <a:gd name="connsiteY384" fmla="*/ 1772266 h 3905171"/>
                <a:gd name="connsiteX385" fmla="*/ 1121648 w 2626806"/>
                <a:gd name="connsiteY385" fmla="*/ 1765682 h 3905171"/>
                <a:gd name="connsiteX386" fmla="*/ 1128232 w 2626806"/>
                <a:gd name="connsiteY386" fmla="*/ 1759098 h 3905171"/>
                <a:gd name="connsiteX387" fmla="*/ 1134817 w 2626806"/>
                <a:gd name="connsiteY387" fmla="*/ 1765682 h 3905171"/>
                <a:gd name="connsiteX388" fmla="*/ 1128232 w 2626806"/>
                <a:gd name="connsiteY388" fmla="*/ 1772266 h 3905171"/>
                <a:gd name="connsiteX389" fmla="*/ 825322 w 2626806"/>
                <a:gd name="connsiteY389" fmla="*/ 1778852 h 3905171"/>
                <a:gd name="connsiteX390" fmla="*/ 814347 w 2626806"/>
                <a:gd name="connsiteY390" fmla="*/ 1767878 h 3905171"/>
                <a:gd name="connsiteX391" fmla="*/ 825322 w 2626806"/>
                <a:gd name="connsiteY391" fmla="*/ 1756902 h 3905171"/>
                <a:gd name="connsiteX392" fmla="*/ 836297 w 2626806"/>
                <a:gd name="connsiteY392" fmla="*/ 1767878 h 3905171"/>
                <a:gd name="connsiteX393" fmla="*/ 825322 w 2626806"/>
                <a:gd name="connsiteY393" fmla="*/ 1778852 h 3905171"/>
                <a:gd name="connsiteX394" fmla="*/ 522412 w 2626806"/>
                <a:gd name="connsiteY394" fmla="*/ 1781047 h 3905171"/>
                <a:gd name="connsiteX395" fmla="*/ 509241 w 2626806"/>
                <a:gd name="connsiteY395" fmla="*/ 1767878 h 3905171"/>
                <a:gd name="connsiteX396" fmla="*/ 522412 w 2626806"/>
                <a:gd name="connsiteY396" fmla="*/ 1754706 h 3905171"/>
                <a:gd name="connsiteX397" fmla="*/ 535582 w 2626806"/>
                <a:gd name="connsiteY397" fmla="*/ 1767878 h 3905171"/>
                <a:gd name="connsiteX398" fmla="*/ 522412 w 2626806"/>
                <a:gd name="connsiteY398" fmla="*/ 1781047 h 3905171"/>
                <a:gd name="connsiteX399" fmla="*/ 221695 w 2626806"/>
                <a:gd name="connsiteY399" fmla="*/ 1785434 h 3905171"/>
                <a:gd name="connsiteX400" fmla="*/ 204135 w 2626806"/>
                <a:gd name="connsiteY400" fmla="*/ 1767874 h 3905171"/>
                <a:gd name="connsiteX401" fmla="*/ 221695 w 2626806"/>
                <a:gd name="connsiteY401" fmla="*/ 1750314 h 3905171"/>
                <a:gd name="connsiteX402" fmla="*/ 239255 w 2626806"/>
                <a:gd name="connsiteY402" fmla="*/ 1767874 h 3905171"/>
                <a:gd name="connsiteX403" fmla="*/ 221695 w 2626806"/>
                <a:gd name="connsiteY403" fmla="*/ 1785434 h 3905171"/>
                <a:gd name="connsiteX404" fmla="*/ 1611134 w 2626806"/>
                <a:gd name="connsiteY404" fmla="*/ 1829335 h 3905171"/>
                <a:gd name="connsiteX405" fmla="*/ 1608939 w 2626806"/>
                <a:gd name="connsiteY405" fmla="*/ 1827141 h 3905171"/>
                <a:gd name="connsiteX406" fmla="*/ 1611134 w 2626806"/>
                <a:gd name="connsiteY406" fmla="*/ 1824945 h 3905171"/>
                <a:gd name="connsiteX407" fmla="*/ 1613329 w 2626806"/>
                <a:gd name="connsiteY407" fmla="*/ 1827141 h 3905171"/>
                <a:gd name="connsiteX408" fmla="*/ 1611134 w 2626806"/>
                <a:gd name="connsiteY408" fmla="*/ 1829335 h 3905171"/>
                <a:gd name="connsiteX409" fmla="*/ 1299443 w 2626806"/>
                <a:gd name="connsiteY409" fmla="*/ 1833728 h 3905171"/>
                <a:gd name="connsiteX410" fmla="*/ 1295053 w 2626806"/>
                <a:gd name="connsiteY410" fmla="*/ 1829335 h 3905171"/>
                <a:gd name="connsiteX411" fmla="*/ 1299443 w 2626806"/>
                <a:gd name="connsiteY411" fmla="*/ 1824945 h 3905171"/>
                <a:gd name="connsiteX412" fmla="*/ 1303833 w 2626806"/>
                <a:gd name="connsiteY412" fmla="*/ 1829335 h 3905171"/>
                <a:gd name="connsiteX413" fmla="*/ 1299443 w 2626806"/>
                <a:gd name="connsiteY413" fmla="*/ 1833728 h 3905171"/>
                <a:gd name="connsiteX414" fmla="*/ 83410 w 2626806"/>
                <a:gd name="connsiteY414" fmla="*/ 1840308 h 3905171"/>
                <a:gd name="connsiteX415" fmla="*/ 76826 w 2626806"/>
                <a:gd name="connsiteY415" fmla="*/ 1833722 h 3905171"/>
                <a:gd name="connsiteX416" fmla="*/ 83410 w 2626806"/>
                <a:gd name="connsiteY416" fmla="*/ 1827136 h 3905171"/>
                <a:gd name="connsiteX417" fmla="*/ 89996 w 2626806"/>
                <a:gd name="connsiteY417" fmla="*/ 1833722 h 3905171"/>
                <a:gd name="connsiteX418" fmla="*/ 83410 w 2626806"/>
                <a:gd name="connsiteY418" fmla="*/ 1840308 h 3905171"/>
                <a:gd name="connsiteX419" fmla="*/ 992142 w 2626806"/>
                <a:gd name="connsiteY419" fmla="*/ 1840312 h 3905171"/>
                <a:gd name="connsiteX420" fmla="*/ 983362 w 2626806"/>
                <a:gd name="connsiteY420" fmla="*/ 1831531 h 3905171"/>
                <a:gd name="connsiteX421" fmla="*/ 992142 w 2626806"/>
                <a:gd name="connsiteY421" fmla="*/ 1822751 h 3905171"/>
                <a:gd name="connsiteX422" fmla="*/ 1000922 w 2626806"/>
                <a:gd name="connsiteY422" fmla="*/ 1831531 h 3905171"/>
                <a:gd name="connsiteX423" fmla="*/ 992142 w 2626806"/>
                <a:gd name="connsiteY423" fmla="*/ 1840312 h 3905171"/>
                <a:gd name="connsiteX424" fmla="*/ 384126 w 2626806"/>
                <a:gd name="connsiteY424" fmla="*/ 1849091 h 3905171"/>
                <a:gd name="connsiteX425" fmla="*/ 368761 w 2626806"/>
                <a:gd name="connsiteY425" fmla="*/ 1833725 h 3905171"/>
                <a:gd name="connsiteX426" fmla="*/ 384126 w 2626806"/>
                <a:gd name="connsiteY426" fmla="*/ 1818360 h 3905171"/>
                <a:gd name="connsiteX427" fmla="*/ 399491 w 2626806"/>
                <a:gd name="connsiteY427" fmla="*/ 1833725 h 3905171"/>
                <a:gd name="connsiteX428" fmla="*/ 384126 w 2626806"/>
                <a:gd name="connsiteY428" fmla="*/ 1849091 h 3905171"/>
                <a:gd name="connsiteX429" fmla="*/ 687037 w 2626806"/>
                <a:gd name="connsiteY429" fmla="*/ 1851287 h 3905171"/>
                <a:gd name="connsiteX430" fmla="*/ 669476 w 2626806"/>
                <a:gd name="connsiteY430" fmla="*/ 1833728 h 3905171"/>
                <a:gd name="connsiteX431" fmla="*/ 687037 w 2626806"/>
                <a:gd name="connsiteY431" fmla="*/ 1816165 h 3905171"/>
                <a:gd name="connsiteX432" fmla="*/ 704597 w 2626806"/>
                <a:gd name="connsiteY432" fmla="*/ 1833728 h 3905171"/>
                <a:gd name="connsiteX433" fmla="*/ 687037 w 2626806"/>
                <a:gd name="connsiteY433" fmla="*/ 1851287 h 3905171"/>
                <a:gd name="connsiteX434" fmla="*/ 1477238 w 2626806"/>
                <a:gd name="connsiteY434" fmla="*/ 1895184 h 3905171"/>
                <a:gd name="connsiteX435" fmla="*/ 1472848 w 2626806"/>
                <a:gd name="connsiteY435" fmla="*/ 1890793 h 3905171"/>
                <a:gd name="connsiteX436" fmla="*/ 1477238 w 2626806"/>
                <a:gd name="connsiteY436" fmla="*/ 1886403 h 3905171"/>
                <a:gd name="connsiteX437" fmla="*/ 1481628 w 2626806"/>
                <a:gd name="connsiteY437" fmla="*/ 1890793 h 3905171"/>
                <a:gd name="connsiteX438" fmla="*/ 1477238 w 2626806"/>
                <a:gd name="connsiteY438" fmla="*/ 1895184 h 3905171"/>
                <a:gd name="connsiteX439" fmla="*/ 1165548 w 2626806"/>
                <a:gd name="connsiteY439" fmla="*/ 1899573 h 3905171"/>
                <a:gd name="connsiteX440" fmla="*/ 1158963 w 2626806"/>
                <a:gd name="connsiteY440" fmla="*/ 1892988 h 3905171"/>
                <a:gd name="connsiteX441" fmla="*/ 1165548 w 2626806"/>
                <a:gd name="connsiteY441" fmla="*/ 1886403 h 3905171"/>
                <a:gd name="connsiteX442" fmla="*/ 1172133 w 2626806"/>
                <a:gd name="connsiteY442" fmla="*/ 1892988 h 3905171"/>
                <a:gd name="connsiteX443" fmla="*/ 1165548 w 2626806"/>
                <a:gd name="connsiteY443" fmla="*/ 1899573 h 3905171"/>
                <a:gd name="connsiteX444" fmla="*/ 550947 w 2626806"/>
                <a:gd name="connsiteY444" fmla="*/ 1910549 h 3905171"/>
                <a:gd name="connsiteX445" fmla="*/ 537776 w 2626806"/>
                <a:gd name="connsiteY445" fmla="*/ 1897379 h 3905171"/>
                <a:gd name="connsiteX446" fmla="*/ 550947 w 2626806"/>
                <a:gd name="connsiteY446" fmla="*/ 1884210 h 3905171"/>
                <a:gd name="connsiteX447" fmla="*/ 564117 w 2626806"/>
                <a:gd name="connsiteY447" fmla="*/ 1897379 h 3905171"/>
                <a:gd name="connsiteX448" fmla="*/ 550947 w 2626806"/>
                <a:gd name="connsiteY448" fmla="*/ 1910549 h 3905171"/>
                <a:gd name="connsiteX449" fmla="*/ 856052 w 2626806"/>
                <a:gd name="connsiteY449" fmla="*/ 1912745 h 3905171"/>
                <a:gd name="connsiteX450" fmla="*/ 840687 w 2626806"/>
                <a:gd name="connsiteY450" fmla="*/ 1897379 h 3905171"/>
                <a:gd name="connsiteX451" fmla="*/ 856052 w 2626806"/>
                <a:gd name="connsiteY451" fmla="*/ 1882014 h 3905171"/>
                <a:gd name="connsiteX452" fmla="*/ 871417 w 2626806"/>
                <a:gd name="connsiteY452" fmla="*/ 1897379 h 3905171"/>
                <a:gd name="connsiteX453" fmla="*/ 856052 w 2626806"/>
                <a:gd name="connsiteY453" fmla="*/ 1912745 h 3905171"/>
                <a:gd name="connsiteX454" fmla="*/ 248036 w 2626806"/>
                <a:gd name="connsiteY454" fmla="*/ 1917135 h 3905171"/>
                <a:gd name="connsiteX455" fmla="*/ 230475 w 2626806"/>
                <a:gd name="connsiteY455" fmla="*/ 1899573 h 3905171"/>
                <a:gd name="connsiteX456" fmla="*/ 248036 w 2626806"/>
                <a:gd name="connsiteY456" fmla="*/ 1882013 h 3905171"/>
                <a:gd name="connsiteX457" fmla="*/ 265596 w 2626806"/>
                <a:gd name="connsiteY457" fmla="*/ 1899573 h 3905171"/>
                <a:gd name="connsiteX458" fmla="*/ 248036 w 2626806"/>
                <a:gd name="connsiteY458" fmla="*/ 1917135 h 3905171"/>
                <a:gd name="connsiteX459" fmla="*/ 1343343 w 2626806"/>
                <a:gd name="connsiteY459" fmla="*/ 1958840 h 3905171"/>
                <a:gd name="connsiteX460" fmla="*/ 1338953 w 2626806"/>
                <a:gd name="connsiteY460" fmla="*/ 1954449 h 3905171"/>
                <a:gd name="connsiteX461" fmla="*/ 1343343 w 2626806"/>
                <a:gd name="connsiteY461" fmla="*/ 1950060 h 3905171"/>
                <a:gd name="connsiteX462" fmla="*/ 1347733 w 2626806"/>
                <a:gd name="connsiteY462" fmla="*/ 1954449 h 3905171"/>
                <a:gd name="connsiteX463" fmla="*/ 1343343 w 2626806"/>
                <a:gd name="connsiteY463" fmla="*/ 1958840 h 3905171"/>
                <a:gd name="connsiteX464" fmla="*/ 1029457 w 2626806"/>
                <a:gd name="connsiteY464" fmla="*/ 1972010 h 3905171"/>
                <a:gd name="connsiteX465" fmla="*/ 1016287 w 2626806"/>
                <a:gd name="connsiteY465" fmla="*/ 1958840 h 3905171"/>
                <a:gd name="connsiteX466" fmla="*/ 1029457 w 2626806"/>
                <a:gd name="connsiteY466" fmla="*/ 1945670 h 3905171"/>
                <a:gd name="connsiteX467" fmla="*/ 1042627 w 2626806"/>
                <a:gd name="connsiteY467" fmla="*/ 1958840 h 3905171"/>
                <a:gd name="connsiteX468" fmla="*/ 1029457 w 2626806"/>
                <a:gd name="connsiteY468" fmla="*/ 1972010 h 3905171"/>
                <a:gd name="connsiteX469" fmla="*/ 109751 w 2626806"/>
                <a:gd name="connsiteY469" fmla="*/ 1974202 h 3905171"/>
                <a:gd name="connsiteX470" fmla="*/ 100971 w 2626806"/>
                <a:gd name="connsiteY470" fmla="*/ 1965424 h 3905171"/>
                <a:gd name="connsiteX471" fmla="*/ 109751 w 2626806"/>
                <a:gd name="connsiteY471" fmla="*/ 1956642 h 3905171"/>
                <a:gd name="connsiteX472" fmla="*/ 118531 w 2626806"/>
                <a:gd name="connsiteY472" fmla="*/ 1965424 h 3905171"/>
                <a:gd name="connsiteX473" fmla="*/ 109751 w 2626806"/>
                <a:gd name="connsiteY473" fmla="*/ 1974202 h 3905171"/>
                <a:gd name="connsiteX474" fmla="*/ 414856 w 2626806"/>
                <a:gd name="connsiteY474" fmla="*/ 1980788 h 3905171"/>
                <a:gd name="connsiteX475" fmla="*/ 397296 w 2626806"/>
                <a:gd name="connsiteY475" fmla="*/ 1963228 h 3905171"/>
                <a:gd name="connsiteX476" fmla="*/ 414856 w 2626806"/>
                <a:gd name="connsiteY476" fmla="*/ 1945670 h 3905171"/>
                <a:gd name="connsiteX477" fmla="*/ 432416 w 2626806"/>
                <a:gd name="connsiteY477" fmla="*/ 1963228 h 3905171"/>
                <a:gd name="connsiteX478" fmla="*/ 414856 w 2626806"/>
                <a:gd name="connsiteY478" fmla="*/ 1980788 h 3905171"/>
                <a:gd name="connsiteX479" fmla="*/ 719962 w 2626806"/>
                <a:gd name="connsiteY479" fmla="*/ 1985177 h 3905171"/>
                <a:gd name="connsiteX480" fmla="*/ 695817 w 2626806"/>
                <a:gd name="connsiteY480" fmla="*/ 1961036 h 3905171"/>
                <a:gd name="connsiteX481" fmla="*/ 719962 w 2626806"/>
                <a:gd name="connsiteY481" fmla="*/ 1936888 h 3905171"/>
                <a:gd name="connsiteX482" fmla="*/ 744107 w 2626806"/>
                <a:gd name="connsiteY482" fmla="*/ 1961036 h 3905171"/>
                <a:gd name="connsiteX483" fmla="*/ 719962 w 2626806"/>
                <a:gd name="connsiteY483" fmla="*/ 1985177 h 3905171"/>
                <a:gd name="connsiteX484" fmla="*/ 1529919 w 2626806"/>
                <a:gd name="connsiteY484" fmla="*/ 2018101 h 3905171"/>
                <a:gd name="connsiteX485" fmla="*/ 1525528 w 2626806"/>
                <a:gd name="connsiteY485" fmla="*/ 2013711 h 3905171"/>
                <a:gd name="connsiteX486" fmla="*/ 1529919 w 2626806"/>
                <a:gd name="connsiteY486" fmla="*/ 2009323 h 3905171"/>
                <a:gd name="connsiteX487" fmla="*/ 1534309 w 2626806"/>
                <a:gd name="connsiteY487" fmla="*/ 2013711 h 3905171"/>
                <a:gd name="connsiteX488" fmla="*/ 1529919 w 2626806"/>
                <a:gd name="connsiteY488" fmla="*/ 2018101 h 3905171"/>
                <a:gd name="connsiteX489" fmla="*/ 1209448 w 2626806"/>
                <a:gd name="connsiteY489" fmla="*/ 2024688 h 3905171"/>
                <a:gd name="connsiteX490" fmla="*/ 1205058 w 2626806"/>
                <a:gd name="connsiteY490" fmla="*/ 2020297 h 3905171"/>
                <a:gd name="connsiteX491" fmla="*/ 1209448 w 2626806"/>
                <a:gd name="connsiteY491" fmla="*/ 2015906 h 3905171"/>
                <a:gd name="connsiteX492" fmla="*/ 1213838 w 2626806"/>
                <a:gd name="connsiteY492" fmla="*/ 2020297 h 3905171"/>
                <a:gd name="connsiteX493" fmla="*/ 1209448 w 2626806"/>
                <a:gd name="connsiteY493" fmla="*/ 2024688 h 3905171"/>
                <a:gd name="connsiteX494" fmla="*/ 895563 w 2626806"/>
                <a:gd name="connsiteY494" fmla="*/ 2037856 h 3905171"/>
                <a:gd name="connsiteX495" fmla="*/ 882393 w 2626806"/>
                <a:gd name="connsiteY495" fmla="*/ 2024688 h 3905171"/>
                <a:gd name="connsiteX496" fmla="*/ 895563 w 2626806"/>
                <a:gd name="connsiteY496" fmla="*/ 2011516 h 3905171"/>
                <a:gd name="connsiteX497" fmla="*/ 908732 w 2626806"/>
                <a:gd name="connsiteY497" fmla="*/ 2024688 h 3905171"/>
                <a:gd name="connsiteX498" fmla="*/ 895563 w 2626806"/>
                <a:gd name="connsiteY498" fmla="*/ 2037856 h 3905171"/>
                <a:gd name="connsiteX499" fmla="*/ 586066 w 2626806"/>
                <a:gd name="connsiteY499" fmla="*/ 2042247 h 3905171"/>
                <a:gd name="connsiteX500" fmla="*/ 570701 w 2626806"/>
                <a:gd name="connsiteY500" fmla="*/ 2026880 h 3905171"/>
                <a:gd name="connsiteX501" fmla="*/ 586066 w 2626806"/>
                <a:gd name="connsiteY501" fmla="*/ 2011516 h 3905171"/>
                <a:gd name="connsiteX502" fmla="*/ 601431 w 2626806"/>
                <a:gd name="connsiteY502" fmla="*/ 2026880 h 3905171"/>
                <a:gd name="connsiteX503" fmla="*/ 586066 w 2626806"/>
                <a:gd name="connsiteY503" fmla="*/ 2042247 h 3905171"/>
                <a:gd name="connsiteX504" fmla="*/ 278766 w 2626806"/>
                <a:gd name="connsiteY504" fmla="*/ 2046634 h 3905171"/>
                <a:gd name="connsiteX505" fmla="*/ 259010 w 2626806"/>
                <a:gd name="connsiteY505" fmla="*/ 2026880 h 3905171"/>
                <a:gd name="connsiteX506" fmla="*/ 278766 w 2626806"/>
                <a:gd name="connsiteY506" fmla="*/ 2007125 h 3905171"/>
                <a:gd name="connsiteX507" fmla="*/ 298521 w 2626806"/>
                <a:gd name="connsiteY507" fmla="*/ 2026880 h 3905171"/>
                <a:gd name="connsiteX508" fmla="*/ 278766 w 2626806"/>
                <a:gd name="connsiteY508" fmla="*/ 2046634 h 3905171"/>
                <a:gd name="connsiteX509" fmla="*/ 1725273 w 2626806"/>
                <a:gd name="connsiteY509" fmla="*/ 2068584 h 3905171"/>
                <a:gd name="connsiteX510" fmla="*/ 1720883 w 2626806"/>
                <a:gd name="connsiteY510" fmla="*/ 2064194 h 3905171"/>
                <a:gd name="connsiteX511" fmla="*/ 1725273 w 2626806"/>
                <a:gd name="connsiteY511" fmla="*/ 2059803 h 3905171"/>
                <a:gd name="connsiteX512" fmla="*/ 1729663 w 2626806"/>
                <a:gd name="connsiteY512" fmla="*/ 2064194 h 3905171"/>
                <a:gd name="connsiteX513" fmla="*/ 1725273 w 2626806"/>
                <a:gd name="connsiteY513" fmla="*/ 2068584 h 3905171"/>
                <a:gd name="connsiteX514" fmla="*/ 1396023 w 2626806"/>
                <a:gd name="connsiteY514" fmla="*/ 2081753 h 3905171"/>
                <a:gd name="connsiteX515" fmla="*/ 1391633 w 2626806"/>
                <a:gd name="connsiteY515" fmla="*/ 2077362 h 3905171"/>
                <a:gd name="connsiteX516" fmla="*/ 1396023 w 2626806"/>
                <a:gd name="connsiteY516" fmla="*/ 2072974 h 3905171"/>
                <a:gd name="connsiteX517" fmla="*/ 1400413 w 2626806"/>
                <a:gd name="connsiteY517" fmla="*/ 2077362 h 3905171"/>
                <a:gd name="connsiteX518" fmla="*/ 1396023 w 2626806"/>
                <a:gd name="connsiteY518" fmla="*/ 2081753 h 3905171"/>
                <a:gd name="connsiteX519" fmla="*/ 1075553 w 2626806"/>
                <a:gd name="connsiteY519" fmla="*/ 2097117 h 3905171"/>
                <a:gd name="connsiteX520" fmla="*/ 1062382 w 2626806"/>
                <a:gd name="connsiteY520" fmla="*/ 2083948 h 3905171"/>
                <a:gd name="connsiteX521" fmla="*/ 1075553 w 2626806"/>
                <a:gd name="connsiteY521" fmla="*/ 2070780 h 3905171"/>
                <a:gd name="connsiteX522" fmla="*/ 1088722 w 2626806"/>
                <a:gd name="connsiteY522" fmla="*/ 2083948 h 3905171"/>
                <a:gd name="connsiteX523" fmla="*/ 1075553 w 2626806"/>
                <a:gd name="connsiteY523" fmla="*/ 2097117 h 3905171"/>
                <a:gd name="connsiteX524" fmla="*/ 142676 w 2626806"/>
                <a:gd name="connsiteY524" fmla="*/ 2099312 h 3905171"/>
                <a:gd name="connsiteX525" fmla="*/ 136091 w 2626806"/>
                <a:gd name="connsiteY525" fmla="*/ 2092727 h 3905171"/>
                <a:gd name="connsiteX526" fmla="*/ 142676 w 2626806"/>
                <a:gd name="connsiteY526" fmla="*/ 2086143 h 3905171"/>
                <a:gd name="connsiteX527" fmla="*/ 149261 w 2626806"/>
                <a:gd name="connsiteY527" fmla="*/ 2092727 h 3905171"/>
                <a:gd name="connsiteX528" fmla="*/ 142676 w 2626806"/>
                <a:gd name="connsiteY528" fmla="*/ 2099312 h 3905171"/>
                <a:gd name="connsiteX529" fmla="*/ 449976 w 2626806"/>
                <a:gd name="connsiteY529" fmla="*/ 2110286 h 3905171"/>
                <a:gd name="connsiteX530" fmla="*/ 430221 w 2626806"/>
                <a:gd name="connsiteY530" fmla="*/ 2090534 h 3905171"/>
                <a:gd name="connsiteX531" fmla="*/ 449976 w 2626806"/>
                <a:gd name="connsiteY531" fmla="*/ 2070780 h 3905171"/>
                <a:gd name="connsiteX532" fmla="*/ 469732 w 2626806"/>
                <a:gd name="connsiteY532" fmla="*/ 2090534 h 3905171"/>
                <a:gd name="connsiteX533" fmla="*/ 449976 w 2626806"/>
                <a:gd name="connsiteY533" fmla="*/ 2110286 h 3905171"/>
                <a:gd name="connsiteX534" fmla="*/ 761667 w 2626806"/>
                <a:gd name="connsiteY534" fmla="*/ 2110286 h 3905171"/>
                <a:gd name="connsiteX535" fmla="*/ 739717 w 2626806"/>
                <a:gd name="connsiteY535" fmla="*/ 2088339 h 3905171"/>
                <a:gd name="connsiteX536" fmla="*/ 761667 w 2626806"/>
                <a:gd name="connsiteY536" fmla="*/ 2066389 h 3905171"/>
                <a:gd name="connsiteX537" fmla="*/ 783617 w 2626806"/>
                <a:gd name="connsiteY537" fmla="*/ 2088339 h 3905171"/>
                <a:gd name="connsiteX538" fmla="*/ 761667 w 2626806"/>
                <a:gd name="connsiteY538" fmla="*/ 2110286 h 3905171"/>
                <a:gd name="connsiteX539" fmla="*/ 1591378 w 2626806"/>
                <a:gd name="connsiteY539" fmla="*/ 2136627 h 3905171"/>
                <a:gd name="connsiteX540" fmla="*/ 1584794 w 2626806"/>
                <a:gd name="connsiteY540" fmla="*/ 2130041 h 3905171"/>
                <a:gd name="connsiteX541" fmla="*/ 1591378 w 2626806"/>
                <a:gd name="connsiteY541" fmla="*/ 2123457 h 3905171"/>
                <a:gd name="connsiteX542" fmla="*/ 1597964 w 2626806"/>
                <a:gd name="connsiteY542" fmla="*/ 2130041 h 3905171"/>
                <a:gd name="connsiteX543" fmla="*/ 1591378 w 2626806"/>
                <a:gd name="connsiteY543" fmla="*/ 2136627 h 3905171"/>
                <a:gd name="connsiteX544" fmla="*/ 1262128 w 2626806"/>
                <a:gd name="connsiteY544" fmla="*/ 2147601 h 3905171"/>
                <a:gd name="connsiteX545" fmla="*/ 1255543 w 2626806"/>
                <a:gd name="connsiteY545" fmla="*/ 2141017 h 3905171"/>
                <a:gd name="connsiteX546" fmla="*/ 1262128 w 2626806"/>
                <a:gd name="connsiteY546" fmla="*/ 2134430 h 3905171"/>
                <a:gd name="connsiteX547" fmla="*/ 1268713 w 2626806"/>
                <a:gd name="connsiteY547" fmla="*/ 2141017 h 3905171"/>
                <a:gd name="connsiteX548" fmla="*/ 1262128 w 2626806"/>
                <a:gd name="connsiteY548" fmla="*/ 2147601 h 3905171"/>
                <a:gd name="connsiteX549" fmla="*/ 6586 w 2626806"/>
                <a:gd name="connsiteY549" fmla="*/ 2165160 h 3905171"/>
                <a:gd name="connsiteX550" fmla="*/ 0 w 2626806"/>
                <a:gd name="connsiteY550" fmla="*/ 2158574 h 3905171"/>
                <a:gd name="connsiteX551" fmla="*/ 6586 w 2626806"/>
                <a:gd name="connsiteY551" fmla="*/ 2151990 h 3905171"/>
                <a:gd name="connsiteX552" fmla="*/ 13170 w 2626806"/>
                <a:gd name="connsiteY552" fmla="*/ 2158574 h 3905171"/>
                <a:gd name="connsiteX553" fmla="*/ 6586 w 2626806"/>
                <a:gd name="connsiteY553" fmla="*/ 2165160 h 3905171"/>
                <a:gd name="connsiteX554" fmla="*/ 941658 w 2626806"/>
                <a:gd name="connsiteY554" fmla="*/ 2165160 h 3905171"/>
                <a:gd name="connsiteX555" fmla="*/ 926292 w 2626806"/>
                <a:gd name="connsiteY555" fmla="*/ 2149796 h 3905171"/>
                <a:gd name="connsiteX556" fmla="*/ 941658 w 2626806"/>
                <a:gd name="connsiteY556" fmla="*/ 2134430 h 3905171"/>
                <a:gd name="connsiteX557" fmla="*/ 957023 w 2626806"/>
                <a:gd name="connsiteY557" fmla="*/ 2149796 h 3905171"/>
                <a:gd name="connsiteX558" fmla="*/ 941658 w 2626806"/>
                <a:gd name="connsiteY558" fmla="*/ 2165160 h 3905171"/>
                <a:gd name="connsiteX559" fmla="*/ 627771 w 2626806"/>
                <a:gd name="connsiteY559" fmla="*/ 2171744 h 3905171"/>
                <a:gd name="connsiteX560" fmla="*/ 608016 w 2626806"/>
                <a:gd name="connsiteY560" fmla="*/ 2151990 h 3905171"/>
                <a:gd name="connsiteX561" fmla="*/ 627771 w 2626806"/>
                <a:gd name="connsiteY561" fmla="*/ 2132235 h 3905171"/>
                <a:gd name="connsiteX562" fmla="*/ 647526 w 2626806"/>
                <a:gd name="connsiteY562" fmla="*/ 2151990 h 3905171"/>
                <a:gd name="connsiteX563" fmla="*/ 627771 w 2626806"/>
                <a:gd name="connsiteY563" fmla="*/ 2171744 h 3905171"/>
                <a:gd name="connsiteX564" fmla="*/ 316081 w 2626806"/>
                <a:gd name="connsiteY564" fmla="*/ 2173938 h 3905171"/>
                <a:gd name="connsiteX565" fmla="*/ 298521 w 2626806"/>
                <a:gd name="connsiteY565" fmla="*/ 2156380 h 3905171"/>
                <a:gd name="connsiteX566" fmla="*/ 316081 w 2626806"/>
                <a:gd name="connsiteY566" fmla="*/ 2138821 h 3905171"/>
                <a:gd name="connsiteX567" fmla="*/ 333641 w 2626806"/>
                <a:gd name="connsiteY567" fmla="*/ 2156380 h 3905171"/>
                <a:gd name="connsiteX568" fmla="*/ 316081 w 2626806"/>
                <a:gd name="connsiteY568" fmla="*/ 2173938 h 3905171"/>
                <a:gd name="connsiteX569" fmla="*/ 1799903 w 2626806"/>
                <a:gd name="connsiteY569" fmla="*/ 2178330 h 3905171"/>
                <a:gd name="connsiteX570" fmla="*/ 1798257 w 2626806"/>
                <a:gd name="connsiteY570" fmla="*/ 2175586 h 3905171"/>
                <a:gd name="connsiteX571" fmla="*/ 1799903 w 2626806"/>
                <a:gd name="connsiteY571" fmla="*/ 2176135 h 3905171"/>
                <a:gd name="connsiteX572" fmla="*/ 1799903 w 2626806"/>
                <a:gd name="connsiteY572" fmla="*/ 2177507 h 3905171"/>
                <a:gd name="connsiteX573" fmla="*/ 1457483 w 2626806"/>
                <a:gd name="connsiteY573" fmla="*/ 2200279 h 3905171"/>
                <a:gd name="connsiteX574" fmla="*/ 1453093 w 2626806"/>
                <a:gd name="connsiteY574" fmla="*/ 2195891 h 3905171"/>
                <a:gd name="connsiteX575" fmla="*/ 1457483 w 2626806"/>
                <a:gd name="connsiteY575" fmla="*/ 2191500 h 3905171"/>
                <a:gd name="connsiteX576" fmla="*/ 1461873 w 2626806"/>
                <a:gd name="connsiteY576" fmla="*/ 2195891 h 3905171"/>
                <a:gd name="connsiteX577" fmla="*/ 1457483 w 2626806"/>
                <a:gd name="connsiteY577" fmla="*/ 2200279 h 3905171"/>
                <a:gd name="connsiteX578" fmla="*/ 1130428 w 2626806"/>
                <a:gd name="connsiteY578" fmla="*/ 2217839 h 3905171"/>
                <a:gd name="connsiteX579" fmla="*/ 1117258 w 2626806"/>
                <a:gd name="connsiteY579" fmla="*/ 2204671 h 3905171"/>
                <a:gd name="connsiteX580" fmla="*/ 1130428 w 2626806"/>
                <a:gd name="connsiteY580" fmla="*/ 2191500 h 3905171"/>
                <a:gd name="connsiteX581" fmla="*/ 1143597 w 2626806"/>
                <a:gd name="connsiteY581" fmla="*/ 2204671 h 3905171"/>
                <a:gd name="connsiteX582" fmla="*/ 1130428 w 2626806"/>
                <a:gd name="connsiteY582" fmla="*/ 2217839 h 3905171"/>
                <a:gd name="connsiteX583" fmla="*/ 493877 w 2626806"/>
                <a:gd name="connsiteY583" fmla="*/ 2237594 h 3905171"/>
                <a:gd name="connsiteX584" fmla="*/ 474122 w 2626806"/>
                <a:gd name="connsiteY584" fmla="*/ 2217839 h 3905171"/>
                <a:gd name="connsiteX585" fmla="*/ 493877 w 2626806"/>
                <a:gd name="connsiteY585" fmla="*/ 2198085 h 3905171"/>
                <a:gd name="connsiteX586" fmla="*/ 513631 w 2626806"/>
                <a:gd name="connsiteY586" fmla="*/ 2217839 h 3905171"/>
                <a:gd name="connsiteX587" fmla="*/ 493877 w 2626806"/>
                <a:gd name="connsiteY587" fmla="*/ 2237594 h 3905171"/>
                <a:gd name="connsiteX588" fmla="*/ 807762 w 2626806"/>
                <a:gd name="connsiteY588" fmla="*/ 2239789 h 3905171"/>
                <a:gd name="connsiteX589" fmla="*/ 781422 w 2626806"/>
                <a:gd name="connsiteY589" fmla="*/ 2213449 h 3905171"/>
                <a:gd name="connsiteX590" fmla="*/ 807762 w 2626806"/>
                <a:gd name="connsiteY590" fmla="*/ 2187110 h 3905171"/>
                <a:gd name="connsiteX591" fmla="*/ 834102 w 2626806"/>
                <a:gd name="connsiteY591" fmla="*/ 2213449 h 3905171"/>
                <a:gd name="connsiteX592" fmla="*/ 807762 w 2626806"/>
                <a:gd name="connsiteY592" fmla="*/ 2239789 h 3905171"/>
                <a:gd name="connsiteX593" fmla="*/ 179991 w 2626806"/>
                <a:gd name="connsiteY593" fmla="*/ 2246374 h 3905171"/>
                <a:gd name="connsiteX594" fmla="*/ 155846 w 2626806"/>
                <a:gd name="connsiteY594" fmla="*/ 2222229 h 3905171"/>
                <a:gd name="connsiteX595" fmla="*/ 179991 w 2626806"/>
                <a:gd name="connsiteY595" fmla="*/ 2198085 h 3905171"/>
                <a:gd name="connsiteX596" fmla="*/ 204136 w 2626806"/>
                <a:gd name="connsiteY596" fmla="*/ 2222229 h 3905171"/>
                <a:gd name="connsiteX597" fmla="*/ 179991 w 2626806"/>
                <a:gd name="connsiteY597" fmla="*/ 2246374 h 3905171"/>
                <a:gd name="connsiteX598" fmla="*/ 1663814 w 2626806"/>
                <a:gd name="connsiteY598" fmla="*/ 2246374 h 3905171"/>
                <a:gd name="connsiteX599" fmla="*/ 1659424 w 2626806"/>
                <a:gd name="connsiteY599" fmla="*/ 2241984 h 3905171"/>
                <a:gd name="connsiteX600" fmla="*/ 1663814 w 2626806"/>
                <a:gd name="connsiteY600" fmla="*/ 2237594 h 3905171"/>
                <a:gd name="connsiteX601" fmla="*/ 1668204 w 2626806"/>
                <a:gd name="connsiteY601" fmla="*/ 2241984 h 3905171"/>
                <a:gd name="connsiteX602" fmla="*/ 1663814 w 2626806"/>
                <a:gd name="connsiteY602" fmla="*/ 2246374 h 3905171"/>
                <a:gd name="connsiteX603" fmla="*/ 1325783 w 2626806"/>
                <a:gd name="connsiteY603" fmla="*/ 2270519 h 3905171"/>
                <a:gd name="connsiteX604" fmla="*/ 1314808 w 2626806"/>
                <a:gd name="connsiteY604" fmla="*/ 2259544 h 3905171"/>
                <a:gd name="connsiteX605" fmla="*/ 1325783 w 2626806"/>
                <a:gd name="connsiteY605" fmla="*/ 2248569 h 3905171"/>
                <a:gd name="connsiteX606" fmla="*/ 1336759 w 2626806"/>
                <a:gd name="connsiteY606" fmla="*/ 2259544 h 3905171"/>
                <a:gd name="connsiteX607" fmla="*/ 1325783 w 2626806"/>
                <a:gd name="connsiteY607" fmla="*/ 2270519 h 3905171"/>
                <a:gd name="connsiteX608" fmla="*/ 1881119 w 2626806"/>
                <a:gd name="connsiteY608" fmla="*/ 2283689 h 3905171"/>
                <a:gd name="connsiteX609" fmla="*/ 1876729 w 2626806"/>
                <a:gd name="connsiteY609" fmla="*/ 2279299 h 3905171"/>
                <a:gd name="connsiteX610" fmla="*/ 1881119 w 2626806"/>
                <a:gd name="connsiteY610" fmla="*/ 2274909 h 3905171"/>
                <a:gd name="connsiteX611" fmla="*/ 1885509 w 2626806"/>
                <a:gd name="connsiteY611" fmla="*/ 2279299 h 3905171"/>
                <a:gd name="connsiteX612" fmla="*/ 1881119 w 2626806"/>
                <a:gd name="connsiteY612" fmla="*/ 2283689 h 3905171"/>
                <a:gd name="connsiteX613" fmla="*/ 46095 w 2626806"/>
                <a:gd name="connsiteY613" fmla="*/ 2288078 h 3905171"/>
                <a:gd name="connsiteX614" fmla="*/ 43901 w 2626806"/>
                <a:gd name="connsiteY614" fmla="*/ 2285884 h 3905171"/>
                <a:gd name="connsiteX615" fmla="*/ 46095 w 2626806"/>
                <a:gd name="connsiteY615" fmla="*/ 2283688 h 3905171"/>
                <a:gd name="connsiteX616" fmla="*/ 48291 w 2626806"/>
                <a:gd name="connsiteY616" fmla="*/ 2285884 h 3905171"/>
                <a:gd name="connsiteX617" fmla="*/ 46095 w 2626806"/>
                <a:gd name="connsiteY617" fmla="*/ 2288078 h 3905171"/>
                <a:gd name="connsiteX618" fmla="*/ 996532 w 2626806"/>
                <a:gd name="connsiteY618" fmla="*/ 2288079 h 3905171"/>
                <a:gd name="connsiteX619" fmla="*/ 976777 w 2626806"/>
                <a:gd name="connsiteY619" fmla="*/ 2268324 h 3905171"/>
                <a:gd name="connsiteX620" fmla="*/ 996532 w 2626806"/>
                <a:gd name="connsiteY620" fmla="*/ 2248569 h 3905171"/>
                <a:gd name="connsiteX621" fmla="*/ 1016287 w 2626806"/>
                <a:gd name="connsiteY621" fmla="*/ 2268324 h 3905171"/>
                <a:gd name="connsiteX622" fmla="*/ 996532 w 2626806"/>
                <a:gd name="connsiteY622" fmla="*/ 2288079 h 3905171"/>
                <a:gd name="connsiteX623" fmla="*/ 359981 w 2626806"/>
                <a:gd name="connsiteY623" fmla="*/ 2301248 h 3905171"/>
                <a:gd name="connsiteX624" fmla="*/ 340226 w 2626806"/>
                <a:gd name="connsiteY624" fmla="*/ 2281493 h 3905171"/>
                <a:gd name="connsiteX625" fmla="*/ 359981 w 2626806"/>
                <a:gd name="connsiteY625" fmla="*/ 2261738 h 3905171"/>
                <a:gd name="connsiteX626" fmla="*/ 379736 w 2626806"/>
                <a:gd name="connsiteY626" fmla="*/ 2281493 h 3905171"/>
                <a:gd name="connsiteX627" fmla="*/ 359981 w 2626806"/>
                <a:gd name="connsiteY627" fmla="*/ 2301248 h 3905171"/>
                <a:gd name="connsiteX628" fmla="*/ 676061 w 2626806"/>
                <a:gd name="connsiteY628" fmla="*/ 2301249 h 3905171"/>
                <a:gd name="connsiteX629" fmla="*/ 651916 w 2626806"/>
                <a:gd name="connsiteY629" fmla="*/ 2277104 h 3905171"/>
                <a:gd name="connsiteX630" fmla="*/ 676061 w 2626806"/>
                <a:gd name="connsiteY630" fmla="*/ 2252959 h 3905171"/>
                <a:gd name="connsiteX631" fmla="*/ 700207 w 2626806"/>
                <a:gd name="connsiteY631" fmla="*/ 2277104 h 3905171"/>
                <a:gd name="connsiteX632" fmla="*/ 676061 w 2626806"/>
                <a:gd name="connsiteY632" fmla="*/ 2301249 h 3905171"/>
                <a:gd name="connsiteX633" fmla="*/ 1529919 w 2626806"/>
                <a:gd name="connsiteY633" fmla="*/ 2312223 h 3905171"/>
                <a:gd name="connsiteX634" fmla="*/ 1523333 w 2626806"/>
                <a:gd name="connsiteY634" fmla="*/ 2305638 h 3905171"/>
                <a:gd name="connsiteX635" fmla="*/ 1529919 w 2626806"/>
                <a:gd name="connsiteY635" fmla="*/ 2299053 h 3905171"/>
                <a:gd name="connsiteX636" fmla="*/ 1536503 w 2626806"/>
                <a:gd name="connsiteY636" fmla="*/ 2305638 h 3905171"/>
                <a:gd name="connsiteX637" fmla="*/ 1529919 w 2626806"/>
                <a:gd name="connsiteY637" fmla="*/ 2312223 h 3905171"/>
                <a:gd name="connsiteX638" fmla="*/ 1191888 w 2626806"/>
                <a:gd name="connsiteY638" fmla="*/ 2334173 h 3905171"/>
                <a:gd name="connsiteX639" fmla="*/ 1180912 w 2626806"/>
                <a:gd name="connsiteY639" fmla="*/ 2323199 h 3905171"/>
                <a:gd name="connsiteX640" fmla="*/ 1191888 w 2626806"/>
                <a:gd name="connsiteY640" fmla="*/ 2312223 h 3905171"/>
                <a:gd name="connsiteX641" fmla="*/ 1202863 w 2626806"/>
                <a:gd name="connsiteY641" fmla="*/ 2323199 h 3905171"/>
                <a:gd name="connsiteX642" fmla="*/ 1191888 w 2626806"/>
                <a:gd name="connsiteY642" fmla="*/ 2334173 h 3905171"/>
                <a:gd name="connsiteX643" fmla="*/ 1745028 w 2626806"/>
                <a:gd name="connsiteY643" fmla="*/ 2351734 h 3905171"/>
                <a:gd name="connsiteX644" fmla="*/ 1740639 w 2626806"/>
                <a:gd name="connsiteY644" fmla="*/ 2347344 h 3905171"/>
                <a:gd name="connsiteX645" fmla="*/ 1745028 w 2626806"/>
                <a:gd name="connsiteY645" fmla="*/ 2342953 h 3905171"/>
                <a:gd name="connsiteX646" fmla="*/ 1749418 w 2626806"/>
                <a:gd name="connsiteY646" fmla="*/ 2347344 h 3905171"/>
                <a:gd name="connsiteX647" fmla="*/ 1745028 w 2626806"/>
                <a:gd name="connsiteY647" fmla="*/ 2351734 h 3905171"/>
                <a:gd name="connsiteX648" fmla="*/ 542166 w 2626806"/>
                <a:gd name="connsiteY648" fmla="*/ 2360514 h 3905171"/>
                <a:gd name="connsiteX649" fmla="*/ 522412 w 2626806"/>
                <a:gd name="connsiteY649" fmla="*/ 2340758 h 3905171"/>
                <a:gd name="connsiteX650" fmla="*/ 542166 w 2626806"/>
                <a:gd name="connsiteY650" fmla="*/ 2321003 h 3905171"/>
                <a:gd name="connsiteX651" fmla="*/ 561922 w 2626806"/>
                <a:gd name="connsiteY651" fmla="*/ 2340758 h 3905171"/>
                <a:gd name="connsiteX652" fmla="*/ 542166 w 2626806"/>
                <a:gd name="connsiteY652" fmla="*/ 2360514 h 3905171"/>
                <a:gd name="connsiteX653" fmla="*/ 862637 w 2626806"/>
                <a:gd name="connsiteY653" fmla="*/ 2360514 h 3905171"/>
                <a:gd name="connsiteX654" fmla="*/ 836297 w 2626806"/>
                <a:gd name="connsiteY654" fmla="*/ 2334174 h 3905171"/>
                <a:gd name="connsiteX655" fmla="*/ 862637 w 2626806"/>
                <a:gd name="connsiteY655" fmla="*/ 2307834 h 3905171"/>
                <a:gd name="connsiteX656" fmla="*/ 888977 w 2626806"/>
                <a:gd name="connsiteY656" fmla="*/ 2334174 h 3905171"/>
                <a:gd name="connsiteX657" fmla="*/ 862637 w 2626806"/>
                <a:gd name="connsiteY657" fmla="*/ 2360514 h 3905171"/>
                <a:gd name="connsiteX658" fmla="*/ 223891 w 2626806"/>
                <a:gd name="connsiteY658" fmla="*/ 2371488 h 3905171"/>
                <a:gd name="connsiteX659" fmla="*/ 199745 w 2626806"/>
                <a:gd name="connsiteY659" fmla="*/ 2347344 h 3905171"/>
                <a:gd name="connsiteX660" fmla="*/ 223891 w 2626806"/>
                <a:gd name="connsiteY660" fmla="*/ 2323199 h 3905171"/>
                <a:gd name="connsiteX661" fmla="*/ 248036 w 2626806"/>
                <a:gd name="connsiteY661" fmla="*/ 2347344 h 3905171"/>
                <a:gd name="connsiteX662" fmla="*/ 223891 w 2626806"/>
                <a:gd name="connsiteY662" fmla="*/ 2371488 h 3905171"/>
                <a:gd name="connsiteX663" fmla="*/ 1393828 w 2626806"/>
                <a:gd name="connsiteY663" fmla="*/ 2380269 h 3905171"/>
                <a:gd name="connsiteX664" fmla="*/ 1385048 w 2626806"/>
                <a:gd name="connsiteY664" fmla="*/ 2371488 h 3905171"/>
                <a:gd name="connsiteX665" fmla="*/ 1393828 w 2626806"/>
                <a:gd name="connsiteY665" fmla="*/ 2362708 h 3905171"/>
                <a:gd name="connsiteX666" fmla="*/ 1402608 w 2626806"/>
                <a:gd name="connsiteY666" fmla="*/ 2371488 h 3905171"/>
                <a:gd name="connsiteX667" fmla="*/ 1393828 w 2626806"/>
                <a:gd name="connsiteY667" fmla="*/ 2380269 h 3905171"/>
                <a:gd name="connsiteX668" fmla="*/ 1973310 w 2626806"/>
                <a:gd name="connsiteY668" fmla="*/ 2380269 h 3905171"/>
                <a:gd name="connsiteX669" fmla="*/ 1968920 w 2626806"/>
                <a:gd name="connsiteY669" fmla="*/ 2375879 h 3905171"/>
                <a:gd name="connsiteX670" fmla="*/ 1973310 w 2626806"/>
                <a:gd name="connsiteY670" fmla="*/ 2371488 h 3905171"/>
                <a:gd name="connsiteX671" fmla="*/ 1977700 w 2626806"/>
                <a:gd name="connsiteY671" fmla="*/ 2375879 h 3905171"/>
                <a:gd name="connsiteX672" fmla="*/ 1973310 w 2626806"/>
                <a:gd name="connsiteY672" fmla="*/ 2380269 h 3905171"/>
                <a:gd name="connsiteX673" fmla="*/ 1057992 w 2626806"/>
                <a:gd name="connsiteY673" fmla="*/ 2410999 h 3905171"/>
                <a:gd name="connsiteX674" fmla="*/ 1036042 w 2626806"/>
                <a:gd name="connsiteY674" fmla="*/ 2389049 h 3905171"/>
                <a:gd name="connsiteX675" fmla="*/ 1057992 w 2626806"/>
                <a:gd name="connsiteY675" fmla="*/ 2367098 h 3905171"/>
                <a:gd name="connsiteX676" fmla="*/ 1079943 w 2626806"/>
                <a:gd name="connsiteY676" fmla="*/ 2389049 h 3905171"/>
                <a:gd name="connsiteX677" fmla="*/ 1057992 w 2626806"/>
                <a:gd name="connsiteY677" fmla="*/ 2410999 h 3905171"/>
                <a:gd name="connsiteX678" fmla="*/ 728742 w 2626806"/>
                <a:gd name="connsiteY678" fmla="*/ 2419779 h 3905171"/>
                <a:gd name="connsiteX679" fmla="*/ 706792 w 2626806"/>
                <a:gd name="connsiteY679" fmla="*/ 2397829 h 3905171"/>
                <a:gd name="connsiteX680" fmla="*/ 728742 w 2626806"/>
                <a:gd name="connsiteY680" fmla="*/ 2375879 h 3905171"/>
                <a:gd name="connsiteX681" fmla="*/ 750692 w 2626806"/>
                <a:gd name="connsiteY681" fmla="*/ 2397829 h 3905171"/>
                <a:gd name="connsiteX682" fmla="*/ 728742 w 2626806"/>
                <a:gd name="connsiteY682" fmla="*/ 2419779 h 3905171"/>
                <a:gd name="connsiteX683" fmla="*/ 1608939 w 2626806"/>
                <a:gd name="connsiteY683" fmla="*/ 2419779 h 3905171"/>
                <a:gd name="connsiteX684" fmla="*/ 1604549 w 2626806"/>
                <a:gd name="connsiteY684" fmla="*/ 2415389 h 3905171"/>
                <a:gd name="connsiteX685" fmla="*/ 1608939 w 2626806"/>
                <a:gd name="connsiteY685" fmla="*/ 2410999 h 3905171"/>
                <a:gd name="connsiteX686" fmla="*/ 1613329 w 2626806"/>
                <a:gd name="connsiteY686" fmla="*/ 2415389 h 3905171"/>
                <a:gd name="connsiteX687" fmla="*/ 1608939 w 2626806"/>
                <a:gd name="connsiteY687" fmla="*/ 2419779 h 3905171"/>
                <a:gd name="connsiteX688" fmla="*/ 408271 w 2626806"/>
                <a:gd name="connsiteY688" fmla="*/ 2426364 h 3905171"/>
                <a:gd name="connsiteX689" fmla="*/ 388516 w 2626806"/>
                <a:gd name="connsiteY689" fmla="*/ 2406609 h 3905171"/>
                <a:gd name="connsiteX690" fmla="*/ 408271 w 2626806"/>
                <a:gd name="connsiteY690" fmla="*/ 2386853 h 3905171"/>
                <a:gd name="connsiteX691" fmla="*/ 428027 w 2626806"/>
                <a:gd name="connsiteY691" fmla="*/ 2406609 h 3905171"/>
                <a:gd name="connsiteX692" fmla="*/ 408271 w 2626806"/>
                <a:gd name="connsiteY692" fmla="*/ 2426364 h 3905171"/>
                <a:gd name="connsiteX693" fmla="*/ 1259933 w 2626806"/>
                <a:gd name="connsiteY693" fmla="*/ 2450509 h 3905171"/>
                <a:gd name="connsiteX694" fmla="*/ 1246763 w 2626806"/>
                <a:gd name="connsiteY694" fmla="*/ 2437339 h 3905171"/>
                <a:gd name="connsiteX695" fmla="*/ 1259933 w 2626806"/>
                <a:gd name="connsiteY695" fmla="*/ 2424169 h 3905171"/>
                <a:gd name="connsiteX696" fmla="*/ 1273103 w 2626806"/>
                <a:gd name="connsiteY696" fmla="*/ 2437339 h 3905171"/>
                <a:gd name="connsiteX697" fmla="*/ 1259933 w 2626806"/>
                <a:gd name="connsiteY697" fmla="*/ 2450509 h 3905171"/>
                <a:gd name="connsiteX698" fmla="*/ 1832829 w 2626806"/>
                <a:gd name="connsiteY698" fmla="*/ 2452704 h 3905171"/>
                <a:gd name="connsiteX699" fmla="*/ 1826244 w 2626806"/>
                <a:gd name="connsiteY699" fmla="*/ 2446119 h 3905171"/>
                <a:gd name="connsiteX700" fmla="*/ 1832829 w 2626806"/>
                <a:gd name="connsiteY700" fmla="*/ 2439534 h 3905171"/>
                <a:gd name="connsiteX701" fmla="*/ 1839414 w 2626806"/>
                <a:gd name="connsiteY701" fmla="*/ 2446119 h 3905171"/>
                <a:gd name="connsiteX702" fmla="*/ 1832829 w 2626806"/>
                <a:gd name="connsiteY702" fmla="*/ 2452704 h 3905171"/>
                <a:gd name="connsiteX703" fmla="*/ 2074279 w 2626806"/>
                <a:gd name="connsiteY703" fmla="*/ 2465874 h 3905171"/>
                <a:gd name="connsiteX704" fmla="*/ 2073456 w 2626806"/>
                <a:gd name="connsiteY704" fmla="*/ 2463130 h 3905171"/>
                <a:gd name="connsiteX705" fmla="*/ 2074279 w 2626806"/>
                <a:gd name="connsiteY705" fmla="*/ 2463679 h 3905171"/>
                <a:gd name="connsiteX706" fmla="*/ 2074279 w 2626806"/>
                <a:gd name="connsiteY706" fmla="*/ 2465874 h 3905171"/>
                <a:gd name="connsiteX707" fmla="*/ 924097 w 2626806"/>
                <a:gd name="connsiteY707" fmla="*/ 2476849 h 3905171"/>
                <a:gd name="connsiteX708" fmla="*/ 899953 w 2626806"/>
                <a:gd name="connsiteY708" fmla="*/ 2452704 h 3905171"/>
                <a:gd name="connsiteX709" fmla="*/ 924097 w 2626806"/>
                <a:gd name="connsiteY709" fmla="*/ 2428558 h 3905171"/>
                <a:gd name="connsiteX710" fmla="*/ 948242 w 2626806"/>
                <a:gd name="connsiteY710" fmla="*/ 2452704 h 3905171"/>
                <a:gd name="connsiteX711" fmla="*/ 924097 w 2626806"/>
                <a:gd name="connsiteY711" fmla="*/ 2476849 h 3905171"/>
                <a:gd name="connsiteX712" fmla="*/ 597041 w 2626806"/>
                <a:gd name="connsiteY712" fmla="*/ 2485629 h 3905171"/>
                <a:gd name="connsiteX713" fmla="*/ 575091 w 2626806"/>
                <a:gd name="connsiteY713" fmla="*/ 2463679 h 3905171"/>
                <a:gd name="connsiteX714" fmla="*/ 597041 w 2626806"/>
                <a:gd name="connsiteY714" fmla="*/ 2441729 h 3905171"/>
                <a:gd name="connsiteX715" fmla="*/ 618991 w 2626806"/>
                <a:gd name="connsiteY715" fmla="*/ 2463679 h 3905171"/>
                <a:gd name="connsiteX716" fmla="*/ 597041 w 2626806"/>
                <a:gd name="connsiteY716" fmla="*/ 2485629 h 3905171"/>
                <a:gd name="connsiteX717" fmla="*/ 1472848 w 2626806"/>
                <a:gd name="connsiteY717" fmla="*/ 2490019 h 3905171"/>
                <a:gd name="connsiteX718" fmla="*/ 1464068 w 2626806"/>
                <a:gd name="connsiteY718" fmla="*/ 2481239 h 3905171"/>
                <a:gd name="connsiteX719" fmla="*/ 1472848 w 2626806"/>
                <a:gd name="connsiteY719" fmla="*/ 2472459 h 3905171"/>
                <a:gd name="connsiteX720" fmla="*/ 1481628 w 2626806"/>
                <a:gd name="connsiteY720" fmla="*/ 2481239 h 3905171"/>
                <a:gd name="connsiteX721" fmla="*/ 1472848 w 2626806"/>
                <a:gd name="connsiteY721" fmla="*/ 2490019 h 3905171"/>
                <a:gd name="connsiteX722" fmla="*/ 274376 w 2626806"/>
                <a:gd name="connsiteY722" fmla="*/ 2494409 h 3905171"/>
                <a:gd name="connsiteX723" fmla="*/ 250230 w 2626806"/>
                <a:gd name="connsiteY723" fmla="*/ 2470264 h 3905171"/>
                <a:gd name="connsiteX724" fmla="*/ 274376 w 2626806"/>
                <a:gd name="connsiteY724" fmla="*/ 2446119 h 3905171"/>
                <a:gd name="connsiteX725" fmla="*/ 298521 w 2626806"/>
                <a:gd name="connsiteY725" fmla="*/ 2470264 h 3905171"/>
                <a:gd name="connsiteX726" fmla="*/ 274376 w 2626806"/>
                <a:gd name="connsiteY726" fmla="*/ 2494409 h 3905171"/>
                <a:gd name="connsiteX727" fmla="*/ 1126038 w 2626806"/>
                <a:gd name="connsiteY727" fmla="*/ 2522944 h 3905171"/>
                <a:gd name="connsiteX728" fmla="*/ 1104088 w 2626806"/>
                <a:gd name="connsiteY728" fmla="*/ 2500994 h 3905171"/>
                <a:gd name="connsiteX729" fmla="*/ 1126038 w 2626806"/>
                <a:gd name="connsiteY729" fmla="*/ 2479044 h 3905171"/>
                <a:gd name="connsiteX730" fmla="*/ 1147987 w 2626806"/>
                <a:gd name="connsiteY730" fmla="*/ 2500994 h 3905171"/>
                <a:gd name="connsiteX731" fmla="*/ 1126038 w 2626806"/>
                <a:gd name="connsiteY731" fmla="*/ 2522944 h 3905171"/>
                <a:gd name="connsiteX732" fmla="*/ 1694544 w 2626806"/>
                <a:gd name="connsiteY732" fmla="*/ 2522944 h 3905171"/>
                <a:gd name="connsiteX733" fmla="*/ 1685764 w 2626806"/>
                <a:gd name="connsiteY733" fmla="*/ 2514164 h 3905171"/>
                <a:gd name="connsiteX734" fmla="*/ 1694544 w 2626806"/>
                <a:gd name="connsiteY734" fmla="*/ 2505384 h 3905171"/>
                <a:gd name="connsiteX735" fmla="*/ 1703324 w 2626806"/>
                <a:gd name="connsiteY735" fmla="*/ 2514164 h 3905171"/>
                <a:gd name="connsiteX736" fmla="*/ 1694544 w 2626806"/>
                <a:gd name="connsiteY736" fmla="*/ 2522944 h 3905171"/>
                <a:gd name="connsiteX737" fmla="*/ 1931604 w 2626806"/>
                <a:gd name="connsiteY737" fmla="*/ 2542699 h 3905171"/>
                <a:gd name="connsiteX738" fmla="*/ 1925019 w 2626806"/>
                <a:gd name="connsiteY738" fmla="*/ 2536114 h 3905171"/>
                <a:gd name="connsiteX739" fmla="*/ 1931604 w 2626806"/>
                <a:gd name="connsiteY739" fmla="*/ 2529529 h 3905171"/>
                <a:gd name="connsiteX740" fmla="*/ 1938189 w 2626806"/>
                <a:gd name="connsiteY740" fmla="*/ 2536114 h 3905171"/>
                <a:gd name="connsiteX741" fmla="*/ 1931604 w 2626806"/>
                <a:gd name="connsiteY741" fmla="*/ 2542699 h 3905171"/>
                <a:gd name="connsiteX742" fmla="*/ 2181835 w 2626806"/>
                <a:gd name="connsiteY742" fmla="*/ 2544894 h 3905171"/>
                <a:gd name="connsiteX743" fmla="*/ 2179639 w 2626806"/>
                <a:gd name="connsiteY743" fmla="*/ 2542699 h 3905171"/>
                <a:gd name="connsiteX744" fmla="*/ 2181835 w 2626806"/>
                <a:gd name="connsiteY744" fmla="*/ 2540504 h 3905171"/>
                <a:gd name="connsiteX745" fmla="*/ 2184030 w 2626806"/>
                <a:gd name="connsiteY745" fmla="*/ 2542699 h 3905171"/>
                <a:gd name="connsiteX746" fmla="*/ 2181835 w 2626806"/>
                <a:gd name="connsiteY746" fmla="*/ 2544894 h 3905171"/>
                <a:gd name="connsiteX747" fmla="*/ 790202 w 2626806"/>
                <a:gd name="connsiteY747" fmla="*/ 2549284 h 3905171"/>
                <a:gd name="connsiteX748" fmla="*/ 757277 w 2626806"/>
                <a:gd name="connsiteY748" fmla="*/ 2516359 h 3905171"/>
                <a:gd name="connsiteX749" fmla="*/ 790202 w 2626806"/>
                <a:gd name="connsiteY749" fmla="*/ 2483434 h 3905171"/>
                <a:gd name="connsiteX750" fmla="*/ 823127 w 2626806"/>
                <a:gd name="connsiteY750" fmla="*/ 2516359 h 3905171"/>
                <a:gd name="connsiteX751" fmla="*/ 790202 w 2626806"/>
                <a:gd name="connsiteY751" fmla="*/ 2549284 h 3905171"/>
                <a:gd name="connsiteX752" fmla="*/ 463146 w 2626806"/>
                <a:gd name="connsiteY752" fmla="*/ 2553674 h 3905171"/>
                <a:gd name="connsiteX753" fmla="*/ 436806 w 2626806"/>
                <a:gd name="connsiteY753" fmla="*/ 2527334 h 3905171"/>
                <a:gd name="connsiteX754" fmla="*/ 463146 w 2626806"/>
                <a:gd name="connsiteY754" fmla="*/ 2500994 h 3905171"/>
                <a:gd name="connsiteX755" fmla="*/ 489487 w 2626806"/>
                <a:gd name="connsiteY755" fmla="*/ 2527334 h 3905171"/>
                <a:gd name="connsiteX756" fmla="*/ 463146 w 2626806"/>
                <a:gd name="connsiteY756" fmla="*/ 2553674 h 3905171"/>
                <a:gd name="connsiteX757" fmla="*/ 1336757 w 2626806"/>
                <a:gd name="connsiteY757" fmla="*/ 2562454 h 3905171"/>
                <a:gd name="connsiteX758" fmla="*/ 1321393 w 2626806"/>
                <a:gd name="connsiteY758" fmla="*/ 2547089 h 3905171"/>
                <a:gd name="connsiteX759" fmla="*/ 1336757 w 2626806"/>
                <a:gd name="connsiteY759" fmla="*/ 2531724 h 3905171"/>
                <a:gd name="connsiteX760" fmla="*/ 1352123 w 2626806"/>
                <a:gd name="connsiteY760" fmla="*/ 2547089 h 3905171"/>
                <a:gd name="connsiteX761" fmla="*/ 1336757 w 2626806"/>
                <a:gd name="connsiteY761" fmla="*/ 2562454 h 3905171"/>
                <a:gd name="connsiteX762" fmla="*/ 1556258 w 2626806"/>
                <a:gd name="connsiteY762" fmla="*/ 2593185 h 3905171"/>
                <a:gd name="connsiteX763" fmla="*/ 1545283 w 2626806"/>
                <a:gd name="connsiteY763" fmla="*/ 2582209 h 3905171"/>
                <a:gd name="connsiteX764" fmla="*/ 1556258 w 2626806"/>
                <a:gd name="connsiteY764" fmla="*/ 2571234 h 3905171"/>
                <a:gd name="connsiteX765" fmla="*/ 1567234 w 2626806"/>
                <a:gd name="connsiteY765" fmla="*/ 2582209 h 3905171"/>
                <a:gd name="connsiteX766" fmla="*/ 1556258 w 2626806"/>
                <a:gd name="connsiteY766" fmla="*/ 2593185 h 3905171"/>
                <a:gd name="connsiteX767" fmla="*/ 992142 w 2626806"/>
                <a:gd name="connsiteY767" fmla="*/ 2601965 h 3905171"/>
                <a:gd name="connsiteX768" fmla="*/ 957022 w 2626806"/>
                <a:gd name="connsiteY768" fmla="*/ 2566844 h 3905171"/>
                <a:gd name="connsiteX769" fmla="*/ 992142 w 2626806"/>
                <a:gd name="connsiteY769" fmla="*/ 2531724 h 3905171"/>
                <a:gd name="connsiteX770" fmla="*/ 1027262 w 2626806"/>
                <a:gd name="connsiteY770" fmla="*/ 2566844 h 3905171"/>
                <a:gd name="connsiteX771" fmla="*/ 992142 w 2626806"/>
                <a:gd name="connsiteY771" fmla="*/ 2601965 h 3905171"/>
                <a:gd name="connsiteX772" fmla="*/ 656306 w 2626806"/>
                <a:gd name="connsiteY772" fmla="*/ 2617330 h 3905171"/>
                <a:gd name="connsiteX773" fmla="*/ 618991 w 2626806"/>
                <a:gd name="connsiteY773" fmla="*/ 2580014 h 3905171"/>
                <a:gd name="connsiteX774" fmla="*/ 656306 w 2626806"/>
                <a:gd name="connsiteY774" fmla="*/ 2542699 h 3905171"/>
                <a:gd name="connsiteX775" fmla="*/ 693621 w 2626806"/>
                <a:gd name="connsiteY775" fmla="*/ 2580014 h 3905171"/>
                <a:gd name="connsiteX776" fmla="*/ 656306 w 2626806"/>
                <a:gd name="connsiteY776" fmla="*/ 2617330 h 3905171"/>
                <a:gd name="connsiteX777" fmla="*/ 1788929 w 2626806"/>
                <a:gd name="connsiteY777" fmla="*/ 2617330 h 3905171"/>
                <a:gd name="connsiteX778" fmla="*/ 1780149 w 2626806"/>
                <a:gd name="connsiteY778" fmla="*/ 2608549 h 3905171"/>
                <a:gd name="connsiteX779" fmla="*/ 1788929 w 2626806"/>
                <a:gd name="connsiteY779" fmla="*/ 2599769 h 3905171"/>
                <a:gd name="connsiteX780" fmla="*/ 1797709 w 2626806"/>
                <a:gd name="connsiteY780" fmla="*/ 2608549 h 3905171"/>
                <a:gd name="connsiteX781" fmla="*/ 1788929 w 2626806"/>
                <a:gd name="connsiteY781" fmla="*/ 2617330 h 3905171"/>
                <a:gd name="connsiteX782" fmla="*/ 329251 w 2626806"/>
                <a:gd name="connsiteY782" fmla="*/ 2619524 h 3905171"/>
                <a:gd name="connsiteX783" fmla="*/ 300715 w 2626806"/>
                <a:gd name="connsiteY783" fmla="*/ 2590989 h 3905171"/>
                <a:gd name="connsiteX784" fmla="*/ 329251 w 2626806"/>
                <a:gd name="connsiteY784" fmla="*/ 2562454 h 3905171"/>
                <a:gd name="connsiteX785" fmla="*/ 357786 w 2626806"/>
                <a:gd name="connsiteY785" fmla="*/ 2590989 h 3905171"/>
                <a:gd name="connsiteX786" fmla="*/ 329251 w 2626806"/>
                <a:gd name="connsiteY786" fmla="*/ 2619524 h 3905171"/>
                <a:gd name="connsiteX787" fmla="*/ 2034770 w 2626806"/>
                <a:gd name="connsiteY787" fmla="*/ 2626110 h 3905171"/>
                <a:gd name="connsiteX788" fmla="*/ 2028184 w 2626806"/>
                <a:gd name="connsiteY788" fmla="*/ 2619524 h 3905171"/>
                <a:gd name="connsiteX789" fmla="*/ 2034770 w 2626806"/>
                <a:gd name="connsiteY789" fmla="*/ 2612940 h 3905171"/>
                <a:gd name="connsiteX790" fmla="*/ 2041355 w 2626806"/>
                <a:gd name="connsiteY790" fmla="*/ 2619524 h 3905171"/>
                <a:gd name="connsiteX791" fmla="*/ 2034770 w 2626806"/>
                <a:gd name="connsiteY791" fmla="*/ 2626110 h 3905171"/>
                <a:gd name="connsiteX792" fmla="*/ 1200668 w 2626806"/>
                <a:gd name="connsiteY792" fmla="*/ 2632694 h 3905171"/>
                <a:gd name="connsiteX793" fmla="*/ 1178718 w 2626806"/>
                <a:gd name="connsiteY793" fmla="*/ 2610745 h 3905171"/>
                <a:gd name="connsiteX794" fmla="*/ 1200668 w 2626806"/>
                <a:gd name="connsiteY794" fmla="*/ 2588795 h 3905171"/>
                <a:gd name="connsiteX795" fmla="*/ 1222618 w 2626806"/>
                <a:gd name="connsiteY795" fmla="*/ 2610745 h 3905171"/>
                <a:gd name="connsiteX796" fmla="*/ 1200668 w 2626806"/>
                <a:gd name="connsiteY796" fmla="*/ 2632694 h 3905171"/>
                <a:gd name="connsiteX797" fmla="*/ 858247 w 2626806"/>
                <a:gd name="connsiteY797" fmla="*/ 2663425 h 3905171"/>
                <a:gd name="connsiteX798" fmla="*/ 825322 w 2626806"/>
                <a:gd name="connsiteY798" fmla="*/ 2630500 h 3905171"/>
                <a:gd name="connsiteX799" fmla="*/ 858247 w 2626806"/>
                <a:gd name="connsiteY799" fmla="*/ 2597575 h 3905171"/>
                <a:gd name="connsiteX800" fmla="*/ 891173 w 2626806"/>
                <a:gd name="connsiteY800" fmla="*/ 2630500 h 3905171"/>
                <a:gd name="connsiteX801" fmla="*/ 858247 w 2626806"/>
                <a:gd name="connsiteY801" fmla="*/ 2663425 h 3905171"/>
                <a:gd name="connsiteX802" fmla="*/ 1417973 w 2626806"/>
                <a:gd name="connsiteY802" fmla="*/ 2665619 h 3905171"/>
                <a:gd name="connsiteX803" fmla="*/ 1402608 w 2626806"/>
                <a:gd name="connsiteY803" fmla="*/ 2650254 h 3905171"/>
                <a:gd name="connsiteX804" fmla="*/ 1417973 w 2626806"/>
                <a:gd name="connsiteY804" fmla="*/ 2634889 h 3905171"/>
                <a:gd name="connsiteX805" fmla="*/ 1433338 w 2626806"/>
                <a:gd name="connsiteY805" fmla="*/ 2650254 h 3905171"/>
                <a:gd name="connsiteX806" fmla="*/ 1417973 w 2626806"/>
                <a:gd name="connsiteY806" fmla="*/ 2665619 h 3905171"/>
                <a:gd name="connsiteX807" fmla="*/ 2414506 w 2626806"/>
                <a:gd name="connsiteY807" fmla="*/ 2670010 h 3905171"/>
                <a:gd name="connsiteX808" fmla="*/ 2412311 w 2626806"/>
                <a:gd name="connsiteY808" fmla="*/ 2667815 h 3905171"/>
                <a:gd name="connsiteX809" fmla="*/ 2414506 w 2626806"/>
                <a:gd name="connsiteY809" fmla="*/ 2665619 h 3905171"/>
                <a:gd name="connsiteX810" fmla="*/ 2416700 w 2626806"/>
                <a:gd name="connsiteY810" fmla="*/ 2667815 h 3905171"/>
                <a:gd name="connsiteX811" fmla="*/ 2414506 w 2626806"/>
                <a:gd name="connsiteY811" fmla="*/ 2670010 h 3905171"/>
                <a:gd name="connsiteX812" fmla="*/ 522412 w 2626806"/>
                <a:gd name="connsiteY812" fmla="*/ 2672205 h 3905171"/>
                <a:gd name="connsiteX813" fmla="*/ 496071 w 2626806"/>
                <a:gd name="connsiteY813" fmla="*/ 2645865 h 3905171"/>
                <a:gd name="connsiteX814" fmla="*/ 522412 w 2626806"/>
                <a:gd name="connsiteY814" fmla="*/ 2619524 h 3905171"/>
                <a:gd name="connsiteX815" fmla="*/ 548752 w 2626806"/>
                <a:gd name="connsiteY815" fmla="*/ 2645865 h 3905171"/>
                <a:gd name="connsiteX816" fmla="*/ 522412 w 2626806"/>
                <a:gd name="connsiteY816" fmla="*/ 2672205 h 3905171"/>
                <a:gd name="connsiteX817" fmla="*/ 195356 w 2626806"/>
                <a:gd name="connsiteY817" fmla="*/ 2674399 h 3905171"/>
                <a:gd name="connsiteX818" fmla="*/ 175600 w 2626806"/>
                <a:gd name="connsiteY818" fmla="*/ 2654644 h 3905171"/>
                <a:gd name="connsiteX819" fmla="*/ 195356 w 2626806"/>
                <a:gd name="connsiteY819" fmla="*/ 2634889 h 3905171"/>
                <a:gd name="connsiteX820" fmla="*/ 215111 w 2626806"/>
                <a:gd name="connsiteY820" fmla="*/ 2654644 h 3905171"/>
                <a:gd name="connsiteX821" fmla="*/ 195356 w 2626806"/>
                <a:gd name="connsiteY821" fmla="*/ 2674399 h 3905171"/>
                <a:gd name="connsiteX822" fmla="*/ 1648449 w 2626806"/>
                <a:gd name="connsiteY822" fmla="*/ 2691960 h 3905171"/>
                <a:gd name="connsiteX823" fmla="*/ 1635279 w 2626806"/>
                <a:gd name="connsiteY823" fmla="*/ 2678790 h 3905171"/>
                <a:gd name="connsiteX824" fmla="*/ 1648449 w 2626806"/>
                <a:gd name="connsiteY824" fmla="*/ 2665619 h 3905171"/>
                <a:gd name="connsiteX825" fmla="*/ 1661619 w 2626806"/>
                <a:gd name="connsiteY825" fmla="*/ 2678790 h 3905171"/>
                <a:gd name="connsiteX826" fmla="*/ 1648449 w 2626806"/>
                <a:gd name="connsiteY826" fmla="*/ 2691960 h 3905171"/>
                <a:gd name="connsiteX827" fmla="*/ 2144518 w 2626806"/>
                <a:gd name="connsiteY827" fmla="*/ 2700740 h 3905171"/>
                <a:gd name="connsiteX828" fmla="*/ 2137934 w 2626806"/>
                <a:gd name="connsiteY828" fmla="*/ 2694155 h 3905171"/>
                <a:gd name="connsiteX829" fmla="*/ 2144518 w 2626806"/>
                <a:gd name="connsiteY829" fmla="*/ 2687570 h 3905171"/>
                <a:gd name="connsiteX830" fmla="*/ 2151104 w 2626806"/>
                <a:gd name="connsiteY830" fmla="*/ 2694155 h 3905171"/>
                <a:gd name="connsiteX831" fmla="*/ 2144518 w 2626806"/>
                <a:gd name="connsiteY831" fmla="*/ 2700740 h 3905171"/>
                <a:gd name="connsiteX832" fmla="*/ 1889899 w 2626806"/>
                <a:gd name="connsiteY832" fmla="*/ 2705129 h 3905171"/>
                <a:gd name="connsiteX833" fmla="*/ 1878924 w 2626806"/>
                <a:gd name="connsiteY833" fmla="*/ 2694154 h 3905171"/>
                <a:gd name="connsiteX834" fmla="*/ 1889899 w 2626806"/>
                <a:gd name="connsiteY834" fmla="*/ 2683179 h 3905171"/>
                <a:gd name="connsiteX835" fmla="*/ 1900874 w 2626806"/>
                <a:gd name="connsiteY835" fmla="*/ 2694154 h 3905171"/>
                <a:gd name="connsiteX836" fmla="*/ 1889899 w 2626806"/>
                <a:gd name="connsiteY836" fmla="*/ 2705129 h 3905171"/>
                <a:gd name="connsiteX837" fmla="*/ 1064577 w 2626806"/>
                <a:gd name="connsiteY837" fmla="*/ 2711715 h 3905171"/>
                <a:gd name="connsiteX838" fmla="*/ 1029457 w 2626806"/>
                <a:gd name="connsiteY838" fmla="*/ 2676595 h 3905171"/>
                <a:gd name="connsiteX839" fmla="*/ 1064577 w 2626806"/>
                <a:gd name="connsiteY839" fmla="*/ 2641475 h 3905171"/>
                <a:gd name="connsiteX840" fmla="*/ 1099698 w 2626806"/>
                <a:gd name="connsiteY840" fmla="*/ 2676595 h 3905171"/>
                <a:gd name="connsiteX841" fmla="*/ 1064577 w 2626806"/>
                <a:gd name="connsiteY841" fmla="*/ 2711715 h 3905171"/>
                <a:gd name="connsiteX842" fmla="*/ 2539620 w 2626806"/>
                <a:gd name="connsiteY842" fmla="*/ 2716105 h 3905171"/>
                <a:gd name="connsiteX843" fmla="*/ 2538797 w 2626806"/>
                <a:gd name="connsiteY843" fmla="*/ 2713362 h 3905171"/>
                <a:gd name="connsiteX844" fmla="*/ 2539620 w 2626806"/>
                <a:gd name="connsiteY844" fmla="*/ 2713910 h 3905171"/>
                <a:gd name="connsiteX845" fmla="*/ 2539620 w 2626806"/>
                <a:gd name="connsiteY845" fmla="*/ 2716105 h 3905171"/>
                <a:gd name="connsiteX846" fmla="*/ 722156 w 2626806"/>
                <a:gd name="connsiteY846" fmla="*/ 2733665 h 3905171"/>
                <a:gd name="connsiteX847" fmla="*/ 682647 w 2626806"/>
                <a:gd name="connsiteY847" fmla="*/ 2694155 h 3905171"/>
                <a:gd name="connsiteX848" fmla="*/ 722156 w 2626806"/>
                <a:gd name="connsiteY848" fmla="*/ 2654645 h 3905171"/>
                <a:gd name="connsiteX849" fmla="*/ 761667 w 2626806"/>
                <a:gd name="connsiteY849" fmla="*/ 2694155 h 3905171"/>
                <a:gd name="connsiteX850" fmla="*/ 722156 w 2626806"/>
                <a:gd name="connsiteY850" fmla="*/ 2733665 h 3905171"/>
                <a:gd name="connsiteX851" fmla="*/ 390711 w 2626806"/>
                <a:gd name="connsiteY851" fmla="*/ 2740250 h 3905171"/>
                <a:gd name="connsiteX852" fmla="*/ 359981 w 2626806"/>
                <a:gd name="connsiteY852" fmla="*/ 2709519 h 3905171"/>
                <a:gd name="connsiteX853" fmla="*/ 390711 w 2626806"/>
                <a:gd name="connsiteY853" fmla="*/ 2678789 h 3905171"/>
                <a:gd name="connsiteX854" fmla="*/ 421441 w 2626806"/>
                <a:gd name="connsiteY854" fmla="*/ 2709519 h 3905171"/>
                <a:gd name="connsiteX855" fmla="*/ 390711 w 2626806"/>
                <a:gd name="connsiteY855" fmla="*/ 2740250 h 3905171"/>
                <a:gd name="connsiteX856" fmla="*/ 1281883 w 2626806"/>
                <a:gd name="connsiteY856" fmla="*/ 2742444 h 3905171"/>
                <a:gd name="connsiteX857" fmla="*/ 1255543 w 2626806"/>
                <a:gd name="connsiteY857" fmla="*/ 2716104 h 3905171"/>
                <a:gd name="connsiteX858" fmla="*/ 1281883 w 2626806"/>
                <a:gd name="connsiteY858" fmla="*/ 2689764 h 3905171"/>
                <a:gd name="connsiteX859" fmla="*/ 1308223 w 2626806"/>
                <a:gd name="connsiteY859" fmla="*/ 2716104 h 3905171"/>
                <a:gd name="connsiteX860" fmla="*/ 1281883 w 2626806"/>
                <a:gd name="connsiteY860" fmla="*/ 2742444 h 3905171"/>
                <a:gd name="connsiteX861" fmla="*/ 2260855 w 2626806"/>
                <a:gd name="connsiteY861" fmla="*/ 2764395 h 3905171"/>
                <a:gd name="connsiteX862" fmla="*/ 2256465 w 2626806"/>
                <a:gd name="connsiteY862" fmla="*/ 2760004 h 3905171"/>
                <a:gd name="connsiteX863" fmla="*/ 2260855 w 2626806"/>
                <a:gd name="connsiteY863" fmla="*/ 2755614 h 3905171"/>
                <a:gd name="connsiteX864" fmla="*/ 2265245 w 2626806"/>
                <a:gd name="connsiteY864" fmla="*/ 2760004 h 3905171"/>
                <a:gd name="connsiteX865" fmla="*/ 2260855 w 2626806"/>
                <a:gd name="connsiteY865" fmla="*/ 2764395 h 3905171"/>
                <a:gd name="connsiteX866" fmla="*/ 1507968 w 2626806"/>
                <a:gd name="connsiteY866" fmla="*/ 2766589 h 3905171"/>
                <a:gd name="connsiteX867" fmla="*/ 1488214 w 2626806"/>
                <a:gd name="connsiteY867" fmla="*/ 2746834 h 3905171"/>
                <a:gd name="connsiteX868" fmla="*/ 1507968 w 2626806"/>
                <a:gd name="connsiteY868" fmla="*/ 2727079 h 3905171"/>
                <a:gd name="connsiteX869" fmla="*/ 1527723 w 2626806"/>
                <a:gd name="connsiteY869" fmla="*/ 2746834 h 3905171"/>
                <a:gd name="connsiteX870" fmla="*/ 1507968 w 2626806"/>
                <a:gd name="connsiteY870" fmla="*/ 2766589 h 3905171"/>
                <a:gd name="connsiteX871" fmla="*/ 930682 w 2626806"/>
                <a:gd name="connsiteY871" fmla="*/ 2777565 h 3905171"/>
                <a:gd name="connsiteX872" fmla="*/ 893367 w 2626806"/>
                <a:gd name="connsiteY872" fmla="*/ 2740250 h 3905171"/>
                <a:gd name="connsiteX873" fmla="*/ 930682 w 2626806"/>
                <a:gd name="connsiteY873" fmla="*/ 2702934 h 3905171"/>
                <a:gd name="connsiteX874" fmla="*/ 967997 w 2626806"/>
                <a:gd name="connsiteY874" fmla="*/ 2740250 h 3905171"/>
                <a:gd name="connsiteX875" fmla="*/ 930682 w 2626806"/>
                <a:gd name="connsiteY875" fmla="*/ 2777565 h 3905171"/>
                <a:gd name="connsiteX876" fmla="*/ 256816 w 2626806"/>
                <a:gd name="connsiteY876" fmla="*/ 2781955 h 3905171"/>
                <a:gd name="connsiteX877" fmla="*/ 248036 w 2626806"/>
                <a:gd name="connsiteY877" fmla="*/ 2773175 h 3905171"/>
                <a:gd name="connsiteX878" fmla="*/ 256816 w 2626806"/>
                <a:gd name="connsiteY878" fmla="*/ 2764395 h 3905171"/>
                <a:gd name="connsiteX879" fmla="*/ 265596 w 2626806"/>
                <a:gd name="connsiteY879" fmla="*/ 2773175 h 3905171"/>
                <a:gd name="connsiteX880" fmla="*/ 256816 w 2626806"/>
                <a:gd name="connsiteY880" fmla="*/ 2781955 h 3905171"/>
                <a:gd name="connsiteX881" fmla="*/ 1745028 w 2626806"/>
                <a:gd name="connsiteY881" fmla="*/ 2781955 h 3905171"/>
                <a:gd name="connsiteX882" fmla="*/ 1731859 w 2626806"/>
                <a:gd name="connsiteY882" fmla="*/ 2768785 h 3905171"/>
                <a:gd name="connsiteX883" fmla="*/ 1745028 w 2626806"/>
                <a:gd name="connsiteY883" fmla="*/ 2755614 h 3905171"/>
                <a:gd name="connsiteX884" fmla="*/ 1758198 w 2626806"/>
                <a:gd name="connsiteY884" fmla="*/ 2768785 h 3905171"/>
                <a:gd name="connsiteX885" fmla="*/ 1745028 w 2626806"/>
                <a:gd name="connsiteY885" fmla="*/ 2781955 h 3905171"/>
                <a:gd name="connsiteX886" fmla="*/ 1995259 w 2626806"/>
                <a:gd name="connsiteY886" fmla="*/ 2781955 h 3905171"/>
                <a:gd name="connsiteX887" fmla="*/ 1986479 w 2626806"/>
                <a:gd name="connsiteY887" fmla="*/ 2773175 h 3905171"/>
                <a:gd name="connsiteX888" fmla="*/ 1995259 w 2626806"/>
                <a:gd name="connsiteY888" fmla="*/ 2764395 h 3905171"/>
                <a:gd name="connsiteX889" fmla="*/ 2004039 w 2626806"/>
                <a:gd name="connsiteY889" fmla="*/ 2773175 h 3905171"/>
                <a:gd name="connsiteX890" fmla="*/ 1995259 w 2626806"/>
                <a:gd name="connsiteY890" fmla="*/ 2781955 h 3905171"/>
                <a:gd name="connsiteX891" fmla="*/ 588261 w 2626806"/>
                <a:gd name="connsiteY891" fmla="*/ 2795125 h 3905171"/>
                <a:gd name="connsiteX892" fmla="*/ 555336 w 2626806"/>
                <a:gd name="connsiteY892" fmla="*/ 2762199 h 3905171"/>
                <a:gd name="connsiteX893" fmla="*/ 588261 w 2626806"/>
                <a:gd name="connsiteY893" fmla="*/ 2729274 h 3905171"/>
                <a:gd name="connsiteX894" fmla="*/ 621186 w 2626806"/>
                <a:gd name="connsiteY894" fmla="*/ 2762199 h 3905171"/>
                <a:gd name="connsiteX895" fmla="*/ 588261 w 2626806"/>
                <a:gd name="connsiteY895" fmla="*/ 2795125 h 3905171"/>
                <a:gd name="connsiteX896" fmla="*/ 1145793 w 2626806"/>
                <a:gd name="connsiteY896" fmla="*/ 2817074 h 3905171"/>
                <a:gd name="connsiteX897" fmla="*/ 1110672 w 2626806"/>
                <a:gd name="connsiteY897" fmla="*/ 2781955 h 3905171"/>
                <a:gd name="connsiteX898" fmla="*/ 1145793 w 2626806"/>
                <a:gd name="connsiteY898" fmla="*/ 2746834 h 3905171"/>
                <a:gd name="connsiteX899" fmla="*/ 1180912 w 2626806"/>
                <a:gd name="connsiteY899" fmla="*/ 2781955 h 3905171"/>
                <a:gd name="connsiteX900" fmla="*/ 1145793 w 2626806"/>
                <a:gd name="connsiteY900" fmla="*/ 2817074 h 3905171"/>
                <a:gd name="connsiteX901" fmla="*/ 2381579 w 2626806"/>
                <a:gd name="connsiteY901" fmla="*/ 2823660 h 3905171"/>
                <a:gd name="connsiteX902" fmla="*/ 2372799 w 2626806"/>
                <a:gd name="connsiteY902" fmla="*/ 2814880 h 3905171"/>
                <a:gd name="connsiteX903" fmla="*/ 2381579 w 2626806"/>
                <a:gd name="connsiteY903" fmla="*/ 2806100 h 3905171"/>
                <a:gd name="connsiteX904" fmla="*/ 2390360 w 2626806"/>
                <a:gd name="connsiteY904" fmla="*/ 2814880 h 3905171"/>
                <a:gd name="connsiteX905" fmla="*/ 2381579 w 2626806"/>
                <a:gd name="connsiteY905" fmla="*/ 2823660 h 3905171"/>
                <a:gd name="connsiteX906" fmla="*/ 794592 w 2626806"/>
                <a:gd name="connsiteY906" fmla="*/ 2852195 h 3905171"/>
                <a:gd name="connsiteX907" fmla="*/ 748497 w 2626806"/>
                <a:gd name="connsiteY907" fmla="*/ 2806100 h 3905171"/>
                <a:gd name="connsiteX908" fmla="*/ 794592 w 2626806"/>
                <a:gd name="connsiteY908" fmla="*/ 2760004 h 3905171"/>
                <a:gd name="connsiteX909" fmla="*/ 840687 w 2626806"/>
                <a:gd name="connsiteY909" fmla="*/ 2806100 h 3905171"/>
                <a:gd name="connsiteX910" fmla="*/ 794592 w 2626806"/>
                <a:gd name="connsiteY910" fmla="*/ 2852195 h 3905171"/>
                <a:gd name="connsiteX911" fmla="*/ 1369682 w 2626806"/>
                <a:gd name="connsiteY911" fmla="*/ 2852195 h 3905171"/>
                <a:gd name="connsiteX912" fmla="*/ 1332367 w 2626806"/>
                <a:gd name="connsiteY912" fmla="*/ 2814880 h 3905171"/>
                <a:gd name="connsiteX913" fmla="*/ 1369682 w 2626806"/>
                <a:gd name="connsiteY913" fmla="*/ 2777565 h 3905171"/>
                <a:gd name="connsiteX914" fmla="*/ 1406998 w 2626806"/>
                <a:gd name="connsiteY914" fmla="*/ 2814880 h 3905171"/>
                <a:gd name="connsiteX915" fmla="*/ 1369682 w 2626806"/>
                <a:gd name="connsiteY915" fmla="*/ 2852195 h 3905171"/>
                <a:gd name="connsiteX916" fmla="*/ 2109399 w 2626806"/>
                <a:gd name="connsiteY916" fmla="*/ 2856585 h 3905171"/>
                <a:gd name="connsiteX917" fmla="*/ 2096230 w 2626806"/>
                <a:gd name="connsiteY917" fmla="*/ 2843415 h 3905171"/>
                <a:gd name="connsiteX918" fmla="*/ 2109399 w 2626806"/>
                <a:gd name="connsiteY918" fmla="*/ 2830245 h 3905171"/>
                <a:gd name="connsiteX919" fmla="*/ 2122570 w 2626806"/>
                <a:gd name="connsiteY919" fmla="*/ 2843415 h 3905171"/>
                <a:gd name="connsiteX920" fmla="*/ 2109399 w 2626806"/>
                <a:gd name="connsiteY920" fmla="*/ 2856585 h 3905171"/>
                <a:gd name="connsiteX921" fmla="*/ 454366 w 2626806"/>
                <a:gd name="connsiteY921" fmla="*/ 2858780 h 3905171"/>
                <a:gd name="connsiteX922" fmla="*/ 419246 w 2626806"/>
                <a:gd name="connsiteY922" fmla="*/ 2823660 h 3905171"/>
                <a:gd name="connsiteX923" fmla="*/ 454366 w 2626806"/>
                <a:gd name="connsiteY923" fmla="*/ 2788539 h 3905171"/>
                <a:gd name="connsiteX924" fmla="*/ 489487 w 2626806"/>
                <a:gd name="connsiteY924" fmla="*/ 2823660 h 3905171"/>
                <a:gd name="connsiteX925" fmla="*/ 454366 w 2626806"/>
                <a:gd name="connsiteY925" fmla="*/ 2858780 h 3905171"/>
                <a:gd name="connsiteX926" fmla="*/ 2506696 w 2626806"/>
                <a:gd name="connsiteY926" fmla="*/ 2867560 h 3905171"/>
                <a:gd name="connsiteX927" fmla="*/ 2497916 w 2626806"/>
                <a:gd name="connsiteY927" fmla="*/ 2858780 h 3905171"/>
                <a:gd name="connsiteX928" fmla="*/ 2506696 w 2626806"/>
                <a:gd name="connsiteY928" fmla="*/ 2849999 h 3905171"/>
                <a:gd name="connsiteX929" fmla="*/ 2515476 w 2626806"/>
                <a:gd name="connsiteY929" fmla="*/ 2858780 h 3905171"/>
                <a:gd name="connsiteX930" fmla="*/ 2506696 w 2626806"/>
                <a:gd name="connsiteY930" fmla="*/ 2867560 h 3905171"/>
                <a:gd name="connsiteX931" fmla="*/ 1604549 w 2626806"/>
                <a:gd name="connsiteY931" fmla="*/ 2869755 h 3905171"/>
                <a:gd name="connsiteX932" fmla="*/ 1576014 w 2626806"/>
                <a:gd name="connsiteY932" fmla="*/ 2841220 h 3905171"/>
                <a:gd name="connsiteX933" fmla="*/ 1604549 w 2626806"/>
                <a:gd name="connsiteY933" fmla="*/ 2812684 h 3905171"/>
                <a:gd name="connsiteX934" fmla="*/ 1633084 w 2626806"/>
                <a:gd name="connsiteY934" fmla="*/ 2841220 h 3905171"/>
                <a:gd name="connsiteX935" fmla="*/ 1604549 w 2626806"/>
                <a:gd name="connsiteY935" fmla="*/ 2869755 h 3905171"/>
                <a:gd name="connsiteX936" fmla="*/ 1850389 w 2626806"/>
                <a:gd name="connsiteY936" fmla="*/ 2874144 h 3905171"/>
                <a:gd name="connsiteX937" fmla="*/ 1826244 w 2626806"/>
                <a:gd name="connsiteY937" fmla="*/ 2849999 h 3905171"/>
                <a:gd name="connsiteX938" fmla="*/ 1850389 w 2626806"/>
                <a:gd name="connsiteY938" fmla="*/ 2825855 h 3905171"/>
                <a:gd name="connsiteX939" fmla="*/ 1874534 w 2626806"/>
                <a:gd name="connsiteY939" fmla="*/ 2849999 h 3905171"/>
                <a:gd name="connsiteX940" fmla="*/ 1850389 w 2626806"/>
                <a:gd name="connsiteY940" fmla="*/ 2874144 h 3905171"/>
                <a:gd name="connsiteX941" fmla="*/ 1009702 w 2626806"/>
                <a:gd name="connsiteY941" fmla="*/ 2891704 h 3905171"/>
                <a:gd name="connsiteX942" fmla="*/ 967997 w 2626806"/>
                <a:gd name="connsiteY942" fmla="*/ 2849999 h 3905171"/>
                <a:gd name="connsiteX943" fmla="*/ 1009702 w 2626806"/>
                <a:gd name="connsiteY943" fmla="*/ 2808294 h 3905171"/>
                <a:gd name="connsiteX944" fmla="*/ 1051407 w 2626806"/>
                <a:gd name="connsiteY944" fmla="*/ 2849999 h 3905171"/>
                <a:gd name="connsiteX945" fmla="*/ 1009702 w 2626806"/>
                <a:gd name="connsiteY945" fmla="*/ 2891704 h 3905171"/>
                <a:gd name="connsiteX946" fmla="*/ 2225735 w 2626806"/>
                <a:gd name="connsiteY946" fmla="*/ 2915850 h 3905171"/>
                <a:gd name="connsiteX947" fmla="*/ 2216954 w 2626806"/>
                <a:gd name="connsiteY947" fmla="*/ 2907069 h 3905171"/>
                <a:gd name="connsiteX948" fmla="*/ 2225735 w 2626806"/>
                <a:gd name="connsiteY948" fmla="*/ 2898290 h 3905171"/>
                <a:gd name="connsiteX949" fmla="*/ 2234515 w 2626806"/>
                <a:gd name="connsiteY949" fmla="*/ 2907069 h 3905171"/>
                <a:gd name="connsiteX950" fmla="*/ 2225735 w 2626806"/>
                <a:gd name="connsiteY950" fmla="*/ 2915850 h 3905171"/>
                <a:gd name="connsiteX951" fmla="*/ 320471 w 2626806"/>
                <a:gd name="connsiteY951" fmla="*/ 2918045 h 3905171"/>
                <a:gd name="connsiteX952" fmla="*/ 291936 w 2626806"/>
                <a:gd name="connsiteY952" fmla="*/ 2889510 h 3905171"/>
                <a:gd name="connsiteX953" fmla="*/ 320471 w 2626806"/>
                <a:gd name="connsiteY953" fmla="*/ 2860975 h 3905171"/>
                <a:gd name="connsiteX954" fmla="*/ 349006 w 2626806"/>
                <a:gd name="connsiteY954" fmla="*/ 2889510 h 3905171"/>
                <a:gd name="connsiteX955" fmla="*/ 320471 w 2626806"/>
                <a:gd name="connsiteY955" fmla="*/ 2918045 h 3905171"/>
                <a:gd name="connsiteX956" fmla="*/ 660696 w 2626806"/>
                <a:gd name="connsiteY956" fmla="*/ 2918045 h 3905171"/>
                <a:gd name="connsiteX957" fmla="*/ 614601 w 2626806"/>
                <a:gd name="connsiteY957" fmla="*/ 2871950 h 3905171"/>
                <a:gd name="connsiteX958" fmla="*/ 660696 w 2626806"/>
                <a:gd name="connsiteY958" fmla="*/ 2825855 h 3905171"/>
                <a:gd name="connsiteX959" fmla="*/ 706792 w 2626806"/>
                <a:gd name="connsiteY959" fmla="*/ 2871950 h 3905171"/>
                <a:gd name="connsiteX960" fmla="*/ 660696 w 2626806"/>
                <a:gd name="connsiteY960" fmla="*/ 2918045 h 3905171"/>
                <a:gd name="connsiteX961" fmla="*/ 1231398 w 2626806"/>
                <a:gd name="connsiteY961" fmla="*/ 2924630 h 3905171"/>
                <a:gd name="connsiteX962" fmla="*/ 1189693 w 2626806"/>
                <a:gd name="connsiteY962" fmla="*/ 2882925 h 3905171"/>
                <a:gd name="connsiteX963" fmla="*/ 1231398 w 2626806"/>
                <a:gd name="connsiteY963" fmla="*/ 2841220 h 3905171"/>
                <a:gd name="connsiteX964" fmla="*/ 1273103 w 2626806"/>
                <a:gd name="connsiteY964" fmla="*/ 2882925 h 3905171"/>
                <a:gd name="connsiteX965" fmla="*/ 1231398 w 2626806"/>
                <a:gd name="connsiteY965" fmla="*/ 2924630 h 3905171"/>
                <a:gd name="connsiteX966" fmla="*/ 1960140 w 2626806"/>
                <a:gd name="connsiteY966" fmla="*/ 2946580 h 3905171"/>
                <a:gd name="connsiteX967" fmla="*/ 1940384 w 2626806"/>
                <a:gd name="connsiteY967" fmla="*/ 2926825 h 3905171"/>
                <a:gd name="connsiteX968" fmla="*/ 1960140 w 2626806"/>
                <a:gd name="connsiteY968" fmla="*/ 2907069 h 3905171"/>
                <a:gd name="connsiteX969" fmla="*/ 1979894 w 2626806"/>
                <a:gd name="connsiteY969" fmla="*/ 2926825 h 3905171"/>
                <a:gd name="connsiteX970" fmla="*/ 1960140 w 2626806"/>
                <a:gd name="connsiteY970" fmla="*/ 2946580 h 3905171"/>
                <a:gd name="connsiteX971" fmla="*/ 1461873 w 2626806"/>
                <a:gd name="connsiteY971" fmla="*/ 2948775 h 3905171"/>
                <a:gd name="connsiteX972" fmla="*/ 1424558 w 2626806"/>
                <a:gd name="connsiteY972" fmla="*/ 2911460 h 3905171"/>
                <a:gd name="connsiteX973" fmla="*/ 1461873 w 2626806"/>
                <a:gd name="connsiteY973" fmla="*/ 2874144 h 3905171"/>
                <a:gd name="connsiteX974" fmla="*/ 1499188 w 2626806"/>
                <a:gd name="connsiteY974" fmla="*/ 2911460 h 3905171"/>
                <a:gd name="connsiteX975" fmla="*/ 1461873 w 2626806"/>
                <a:gd name="connsiteY975" fmla="*/ 2948775 h 3905171"/>
                <a:gd name="connsiteX976" fmla="*/ 1705519 w 2626806"/>
                <a:gd name="connsiteY976" fmla="*/ 2953165 h 3905171"/>
                <a:gd name="connsiteX977" fmla="*/ 1679178 w 2626806"/>
                <a:gd name="connsiteY977" fmla="*/ 2926825 h 3905171"/>
                <a:gd name="connsiteX978" fmla="*/ 1705519 w 2626806"/>
                <a:gd name="connsiteY978" fmla="*/ 2900485 h 3905171"/>
                <a:gd name="connsiteX979" fmla="*/ 1731859 w 2626806"/>
                <a:gd name="connsiteY979" fmla="*/ 2926825 h 3905171"/>
                <a:gd name="connsiteX980" fmla="*/ 1705519 w 2626806"/>
                <a:gd name="connsiteY980" fmla="*/ 2953165 h 3905171"/>
                <a:gd name="connsiteX981" fmla="*/ 873612 w 2626806"/>
                <a:gd name="connsiteY981" fmla="*/ 2961945 h 3905171"/>
                <a:gd name="connsiteX982" fmla="*/ 827517 w 2626806"/>
                <a:gd name="connsiteY982" fmla="*/ 2915850 h 3905171"/>
                <a:gd name="connsiteX983" fmla="*/ 873612 w 2626806"/>
                <a:gd name="connsiteY983" fmla="*/ 2869755 h 3905171"/>
                <a:gd name="connsiteX984" fmla="*/ 919708 w 2626806"/>
                <a:gd name="connsiteY984" fmla="*/ 2915850 h 3905171"/>
                <a:gd name="connsiteX985" fmla="*/ 873612 w 2626806"/>
                <a:gd name="connsiteY985" fmla="*/ 2961945 h 3905171"/>
                <a:gd name="connsiteX986" fmla="*/ 526802 w 2626806"/>
                <a:gd name="connsiteY986" fmla="*/ 2972920 h 3905171"/>
                <a:gd name="connsiteX987" fmla="*/ 491681 w 2626806"/>
                <a:gd name="connsiteY987" fmla="*/ 2937800 h 3905171"/>
                <a:gd name="connsiteX988" fmla="*/ 526802 w 2626806"/>
                <a:gd name="connsiteY988" fmla="*/ 2902680 h 3905171"/>
                <a:gd name="connsiteX989" fmla="*/ 561922 w 2626806"/>
                <a:gd name="connsiteY989" fmla="*/ 2937800 h 3905171"/>
                <a:gd name="connsiteX990" fmla="*/ 526802 w 2626806"/>
                <a:gd name="connsiteY990" fmla="*/ 2972920 h 3905171"/>
                <a:gd name="connsiteX991" fmla="*/ 2348655 w 2626806"/>
                <a:gd name="connsiteY991" fmla="*/ 2972920 h 3905171"/>
                <a:gd name="connsiteX992" fmla="*/ 2335485 w 2626806"/>
                <a:gd name="connsiteY992" fmla="*/ 2959750 h 3905171"/>
                <a:gd name="connsiteX993" fmla="*/ 2348655 w 2626806"/>
                <a:gd name="connsiteY993" fmla="*/ 2946580 h 3905171"/>
                <a:gd name="connsiteX994" fmla="*/ 2361825 w 2626806"/>
                <a:gd name="connsiteY994" fmla="*/ 2959750 h 3905171"/>
                <a:gd name="connsiteX995" fmla="*/ 2348655 w 2626806"/>
                <a:gd name="connsiteY995" fmla="*/ 2972920 h 3905171"/>
                <a:gd name="connsiteX996" fmla="*/ 1093112 w 2626806"/>
                <a:gd name="connsiteY996" fmla="*/ 2990480 h 3905171"/>
                <a:gd name="connsiteX997" fmla="*/ 1055797 w 2626806"/>
                <a:gd name="connsiteY997" fmla="*/ 2953165 h 3905171"/>
                <a:gd name="connsiteX998" fmla="*/ 1093112 w 2626806"/>
                <a:gd name="connsiteY998" fmla="*/ 2915850 h 3905171"/>
                <a:gd name="connsiteX999" fmla="*/ 1130428 w 2626806"/>
                <a:gd name="connsiteY999" fmla="*/ 2953165 h 3905171"/>
                <a:gd name="connsiteX1000" fmla="*/ 1093112 w 2626806"/>
                <a:gd name="connsiteY1000" fmla="*/ 2990480 h 3905171"/>
                <a:gd name="connsiteX1001" fmla="*/ 2074279 w 2626806"/>
                <a:gd name="connsiteY1001" fmla="*/ 3012430 h 3905171"/>
                <a:gd name="connsiteX1002" fmla="*/ 2056718 w 2626806"/>
                <a:gd name="connsiteY1002" fmla="*/ 2994870 h 3905171"/>
                <a:gd name="connsiteX1003" fmla="*/ 2074279 w 2626806"/>
                <a:gd name="connsiteY1003" fmla="*/ 2977311 h 3905171"/>
                <a:gd name="connsiteX1004" fmla="*/ 2091839 w 2626806"/>
                <a:gd name="connsiteY1004" fmla="*/ 2994870 h 3905171"/>
                <a:gd name="connsiteX1005" fmla="*/ 2074279 w 2626806"/>
                <a:gd name="connsiteY1005" fmla="*/ 3012430 h 3905171"/>
                <a:gd name="connsiteX1006" fmla="*/ 2473770 w 2626806"/>
                <a:gd name="connsiteY1006" fmla="*/ 3016820 h 3905171"/>
                <a:gd name="connsiteX1007" fmla="*/ 2460600 w 2626806"/>
                <a:gd name="connsiteY1007" fmla="*/ 3003649 h 3905171"/>
                <a:gd name="connsiteX1008" fmla="*/ 2473770 w 2626806"/>
                <a:gd name="connsiteY1008" fmla="*/ 2990480 h 3905171"/>
                <a:gd name="connsiteX1009" fmla="*/ 2486940 w 2626806"/>
                <a:gd name="connsiteY1009" fmla="*/ 3003649 h 3905171"/>
                <a:gd name="connsiteX1010" fmla="*/ 2473770 w 2626806"/>
                <a:gd name="connsiteY1010" fmla="*/ 3016820 h 3905171"/>
                <a:gd name="connsiteX1011" fmla="*/ 390711 w 2626806"/>
                <a:gd name="connsiteY1011" fmla="*/ 3021210 h 3905171"/>
                <a:gd name="connsiteX1012" fmla="*/ 370956 w 2626806"/>
                <a:gd name="connsiteY1012" fmla="*/ 3001455 h 3905171"/>
                <a:gd name="connsiteX1013" fmla="*/ 390711 w 2626806"/>
                <a:gd name="connsiteY1013" fmla="*/ 2981700 h 3905171"/>
                <a:gd name="connsiteX1014" fmla="*/ 410466 w 2626806"/>
                <a:gd name="connsiteY1014" fmla="*/ 3001455 h 3905171"/>
                <a:gd name="connsiteX1015" fmla="*/ 390711 w 2626806"/>
                <a:gd name="connsiteY1015" fmla="*/ 3021210 h 3905171"/>
                <a:gd name="connsiteX1016" fmla="*/ 1321393 w 2626806"/>
                <a:gd name="connsiteY1016" fmla="*/ 3023405 h 3905171"/>
                <a:gd name="connsiteX1017" fmla="*/ 1279688 w 2626806"/>
                <a:gd name="connsiteY1017" fmla="*/ 2981700 h 3905171"/>
                <a:gd name="connsiteX1018" fmla="*/ 1321393 w 2626806"/>
                <a:gd name="connsiteY1018" fmla="*/ 2939995 h 3905171"/>
                <a:gd name="connsiteX1019" fmla="*/ 1363099 w 2626806"/>
                <a:gd name="connsiteY1019" fmla="*/ 2981700 h 3905171"/>
                <a:gd name="connsiteX1020" fmla="*/ 1321393 w 2626806"/>
                <a:gd name="connsiteY1020" fmla="*/ 3023405 h 3905171"/>
                <a:gd name="connsiteX1021" fmla="*/ 737522 w 2626806"/>
                <a:gd name="connsiteY1021" fmla="*/ 3029990 h 3905171"/>
                <a:gd name="connsiteX1022" fmla="*/ 689232 w 2626806"/>
                <a:gd name="connsiteY1022" fmla="*/ 2981700 h 3905171"/>
                <a:gd name="connsiteX1023" fmla="*/ 737522 w 2626806"/>
                <a:gd name="connsiteY1023" fmla="*/ 2933410 h 3905171"/>
                <a:gd name="connsiteX1024" fmla="*/ 785812 w 2626806"/>
                <a:gd name="connsiteY1024" fmla="*/ 2981700 h 3905171"/>
                <a:gd name="connsiteX1025" fmla="*/ 737522 w 2626806"/>
                <a:gd name="connsiteY1025" fmla="*/ 3029990 h 3905171"/>
                <a:gd name="connsiteX1026" fmla="*/ 1810879 w 2626806"/>
                <a:gd name="connsiteY1026" fmla="*/ 3036575 h 3905171"/>
                <a:gd name="connsiteX1027" fmla="*/ 1780149 w 2626806"/>
                <a:gd name="connsiteY1027" fmla="*/ 3005846 h 3905171"/>
                <a:gd name="connsiteX1028" fmla="*/ 1810879 w 2626806"/>
                <a:gd name="connsiteY1028" fmla="*/ 2975115 h 3905171"/>
                <a:gd name="connsiteX1029" fmla="*/ 1841609 w 2626806"/>
                <a:gd name="connsiteY1029" fmla="*/ 3005846 h 3905171"/>
                <a:gd name="connsiteX1030" fmla="*/ 1810879 w 2626806"/>
                <a:gd name="connsiteY1030" fmla="*/ 3036575 h 3905171"/>
                <a:gd name="connsiteX1031" fmla="*/ 1560648 w 2626806"/>
                <a:gd name="connsiteY1031" fmla="*/ 3040965 h 3905171"/>
                <a:gd name="connsiteX1032" fmla="*/ 1521139 w 2626806"/>
                <a:gd name="connsiteY1032" fmla="*/ 3001455 h 3905171"/>
                <a:gd name="connsiteX1033" fmla="*/ 1560648 w 2626806"/>
                <a:gd name="connsiteY1033" fmla="*/ 2961945 h 3905171"/>
                <a:gd name="connsiteX1034" fmla="*/ 1600159 w 2626806"/>
                <a:gd name="connsiteY1034" fmla="*/ 3001455 h 3905171"/>
                <a:gd name="connsiteX1035" fmla="*/ 1560648 w 2626806"/>
                <a:gd name="connsiteY1035" fmla="*/ 3040965 h 3905171"/>
                <a:gd name="connsiteX1036" fmla="*/ 2601080 w 2626806"/>
                <a:gd name="connsiteY1036" fmla="*/ 3047550 h 3905171"/>
                <a:gd name="connsiteX1037" fmla="*/ 2592300 w 2626806"/>
                <a:gd name="connsiteY1037" fmla="*/ 3038769 h 3905171"/>
                <a:gd name="connsiteX1038" fmla="*/ 2601080 w 2626806"/>
                <a:gd name="connsiteY1038" fmla="*/ 3029990 h 3905171"/>
                <a:gd name="connsiteX1039" fmla="*/ 2609860 w 2626806"/>
                <a:gd name="connsiteY1039" fmla="*/ 3038769 h 3905171"/>
                <a:gd name="connsiteX1040" fmla="*/ 2601080 w 2626806"/>
                <a:gd name="connsiteY1040" fmla="*/ 3047550 h 3905171"/>
                <a:gd name="connsiteX1041" fmla="*/ 954827 w 2626806"/>
                <a:gd name="connsiteY1041" fmla="*/ 3062915 h 3905171"/>
                <a:gd name="connsiteX1042" fmla="*/ 910927 w 2626806"/>
                <a:gd name="connsiteY1042" fmla="*/ 3019016 h 3905171"/>
                <a:gd name="connsiteX1043" fmla="*/ 954827 w 2626806"/>
                <a:gd name="connsiteY1043" fmla="*/ 2975115 h 3905171"/>
                <a:gd name="connsiteX1044" fmla="*/ 998728 w 2626806"/>
                <a:gd name="connsiteY1044" fmla="*/ 3019016 h 3905171"/>
                <a:gd name="connsiteX1045" fmla="*/ 954827 w 2626806"/>
                <a:gd name="connsiteY1045" fmla="*/ 3062915 h 3905171"/>
                <a:gd name="connsiteX1046" fmla="*/ 2192810 w 2626806"/>
                <a:gd name="connsiteY1046" fmla="*/ 3071696 h 3905171"/>
                <a:gd name="connsiteX1047" fmla="*/ 2175250 w 2626806"/>
                <a:gd name="connsiteY1047" fmla="*/ 3054135 h 3905171"/>
                <a:gd name="connsiteX1048" fmla="*/ 2192810 w 2626806"/>
                <a:gd name="connsiteY1048" fmla="*/ 3036575 h 3905171"/>
                <a:gd name="connsiteX1049" fmla="*/ 2210370 w 2626806"/>
                <a:gd name="connsiteY1049" fmla="*/ 3054135 h 3905171"/>
                <a:gd name="connsiteX1050" fmla="*/ 2192810 w 2626806"/>
                <a:gd name="connsiteY1050" fmla="*/ 3071696 h 3905171"/>
                <a:gd name="connsiteX1051" fmla="*/ 1183108 w 2626806"/>
                <a:gd name="connsiteY1051" fmla="*/ 3093646 h 3905171"/>
                <a:gd name="connsiteX1052" fmla="*/ 1141403 w 2626806"/>
                <a:gd name="connsiteY1052" fmla="*/ 3051941 h 3905171"/>
                <a:gd name="connsiteX1053" fmla="*/ 1183108 w 2626806"/>
                <a:gd name="connsiteY1053" fmla="*/ 3010236 h 3905171"/>
                <a:gd name="connsiteX1054" fmla="*/ 1224813 w 2626806"/>
                <a:gd name="connsiteY1054" fmla="*/ 3051941 h 3905171"/>
                <a:gd name="connsiteX1055" fmla="*/ 1183108 w 2626806"/>
                <a:gd name="connsiteY1055" fmla="*/ 3093646 h 3905171"/>
                <a:gd name="connsiteX1056" fmla="*/ 601432 w 2626806"/>
                <a:gd name="connsiteY1056" fmla="*/ 3095840 h 3905171"/>
                <a:gd name="connsiteX1057" fmla="*/ 553142 w 2626806"/>
                <a:gd name="connsiteY1057" fmla="*/ 3047551 h 3905171"/>
                <a:gd name="connsiteX1058" fmla="*/ 601432 w 2626806"/>
                <a:gd name="connsiteY1058" fmla="*/ 2999260 h 3905171"/>
                <a:gd name="connsiteX1059" fmla="*/ 649722 w 2626806"/>
                <a:gd name="connsiteY1059" fmla="*/ 3047551 h 3905171"/>
                <a:gd name="connsiteX1060" fmla="*/ 601432 w 2626806"/>
                <a:gd name="connsiteY1060" fmla="*/ 3095840 h 3905171"/>
                <a:gd name="connsiteX1061" fmla="*/ 1922824 w 2626806"/>
                <a:gd name="connsiteY1061" fmla="*/ 3109010 h 3905171"/>
                <a:gd name="connsiteX1062" fmla="*/ 1894289 w 2626806"/>
                <a:gd name="connsiteY1062" fmla="*/ 3080475 h 3905171"/>
                <a:gd name="connsiteX1063" fmla="*/ 1922824 w 2626806"/>
                <a:gd name="connsiteY1063" fmla="*/ 3051940 h 3905171"/>
                <a:gd name="connsiteX1064" fmla="*/ 1951360 w 2626806"/>
                <a:gd name="connsiteY1064" fmla="*/ 3080475 h 3905171"/>
                <a:gd name="connsiteX1065" fmla="*/ 1922824 w 2626806"/>
                <a:gd name="connsiteY1065" fmla="*/ 3109010 h 3905171"/>
                <a:gd name="connsiteX1066" fmla="*/ 1417973 w 2626806"/>
                <a:gd name="connsiteY1066" fmla="*/ 3113401 h 3905171"/>
                <a:gd name="connsiteX1067" fmla="*/ 1376268 w 2626806"/>
                <a:gd name="connsiteY1067" fmla="*/ 3071696 h 3905171"/>
                <a:gd name="connsiteX1068" fmla="*/ 1417973 w 2626806"/>
                <a:gd name="connsiteY1068" fmla="*/ 3029990 h 3905171"/>
                <a:gd name="connsiteX1069" fmla="*/ 1459678 w 2626806"/>
                <a:gd name="connsiteY1069" fmla="*/ 3071696 h 3905171"/>
                <a:gd name="connsiteX1070" fmla="*/ 1417973 w 2626806"/>
                <a:gd name="connsiteY1070" fmla="*/ 3113401 h 3905171"/>
                <a:gd name="connsiteX1071" fmla="*/ 1666009 w 2626806"/>
                <a:gd name="connsiteY1071" fmla="*/ 3115596 h 3905171"/>
                <a:gd name="connsiteX1072" fmla="*/ 1633084 w 2626806"/>
                <a:gd name="connsiteY1072" fmla="*/ 3082670 h 3905171"/>
                <a:gd name="connsiteX1073" fmla="*/ 1666009 w 2626806"/>
                <a:gd name="connsiteY1073" fmla="*/ 3049745 h 3905171"/>
                <a:gd name="connsiteX1074" fmla="*/ 1698934 w 2626806"/>
                <a:gd name="connsiteY1074" fmla="*/ 3082670 h 3905171"/>
                <a:gd name="connsiteX1075" fmla="*/ 1666009 w 2626806"/>
                <a:gd name="connsiteY1075" fmla="*/ 3115596 h 3905171"/>
                <a:gd name="connsiteX1076" fmla="*/ 2313535 w 2626806"/>
                <a:gd name="connsiteY1076" fmla="*/ 3126571 h 3905171"/>
                <a:gd name="connsiteX1077" fmla="*/ 2291585 w 2626806"/>
                <a:gd name="connsiteY1077" fmla="*/ 3104621 h 3905171"/>
                <a:gd name="connsiteX1078" fmla="*/ 2313535 w 2626806"/>
                <a:gd name="connsiteY1078" fmla="*/ 3082670 h 3905171"/>
                <a:gd name="connsiteX1079" fmla="*/ 2335485 w 2626806"/>
                <a:gd name="connsiteY1079" fmla="*/ 3104621 h 3905171"/>
                <a:gd name="connsiteX1080" fmla="*/ 2313535 w 2626806"/>
                <a:gd name="connsiteY1080" fmla="*/ 3126571 h 3905171"/>
                <a:gd name="connsiteX1081" fmla="*/ 818737 w 2626806"/>
                <a:gd name="connsiteY1081" fmla="*/ 3133156 h 3905171"/>
                <a:gd name="connsiteX1082" fmla="*/ 770447 w 2626806"/>
                <a:gd name="connsiteY1082" fmla="*/ 3084866 h 3905171"/>
                <a:gd name="connsiteX1083" fmla="*/ 818737 w 2626806"/>
                <a:gd name="connsiteY1083" fmla="*/ 3036575 h 3905171"/>
                <a:gd name="connsiteX1084" fmla="*/ 867027 w 2626806"/>
                <a:gd name="connsiteY1084" fmla="*/ 3084866 h 3905171"/>
                <a:gd name="connsiteX1085" fmla="*/ 818737 w 2626806"/>
                <a:gd name="connsiteY1085" fmla="*/ 3133156 h 3905171"/>
                <a:gd name="connsiteX1086" fmla="*/ 465342 w 2626806"/>
                <a:gd name="connsiteY1086" fmla="*/ 3150716 h 3905171"/>
                <a:gd name="connsiteX1087" fmla="*/ 425831 w 2626806"/>
                <a:gd name="connsiteY1087" fmla="*/ 3111206 h 3905171"/>
                <a:gd name="connsiteX1088" fmla="*/ 465342 w 2626806"/>
                <a:gd name="connsiteY1088" fmla="*/ 3071696 h 3905171"/>
                <a:gd name="connsiteX1089" fmla="*/ 504851 w 2626806"/>
                <a:gd name="connsiteY1089" fmla="*/ 3111206 h 3905171"/>
                <a:gd name="connsiteX1090" fmla="*/ 465342 w 2626806"/>
                <a:gd name="connsiteY1090" fmla="*/ 3150716 h 3905171"/>
                <a:gd name="connsiteX1091" fmla="*/ 1042627 w 2626806"/>
                <a:gd name="connsiteY1091" fmla="*/ 3161690 h 3905171"/>
                <a:gd name="connsiteX1092" fmla="*/ 1000922 w 2626806"/>
                <a:gd name="connsiteY1092" fmla="*/ 3119985 h 3905171"/>
                <a:gd name="connsiteX1093" fmla="*/ 1042627 w 2626806"/>
                <a:gd name="connsiteY1093" fmla="*/ 3078280 h 3905171"/>
                <a:gd name="connsiteX1094" fmla="*/ 1084333 w 2626806"/>
                <a:gd name="connsiteY1094" fmla="*/ 3119985 h 3905171"/>
                <a:gd name="connsiteX1095" fmla="*/ 1042627 w 2626806"/>
                <a:gd name="connsiteY1095" fmla="*/ 3161690 h 3905171"/>
                <a:gd name="connsiteX1096" fmla="*/ 2440845 w 2626806"/>
                <a:gd name="connsiteY1096" fmla="*/ 3166081 h 3905171"/>
                <a:gd name="connsiteX1097" fmla="*/ 2423286 w 2626806"/>
                <a:gd name="connsiteY1097" fmla="*/ 3148520 h 3905171"/>
                <a:gd name="connsiteX1098" fmla="*/ 2440845 w 2626806"/>
                <a:gd name="connsiteY1098" fmla="*/ 3130960 h 3905171"/>
                <a:gd name="connsiteX1099" fmla="*/ 2458405 w 2626806"/>
                <a:gd name="connsiteY1099" fmla="*/ 3148520 h 3905171"/>
                <a:gd name="connsiteX1100" fmla="*/ 2440845 w 2626806"/>
                <a:gd name="connsiteY1100" fmla="*/ 3166081 h 3905171"/>
                <a:gd name="connsiteX1101" fmla="*/ 2039159 w 2626806"/>
                <a:gd name="connsiteY1101" fmla="*/ 3177055 h 3905171"/>
                <a:gd name="connsiteX1102" fmla="*/ 2006235 w 2626806"/>
                <a:gd name="connsiteY1102" fmla="*/ 3144130 h 3905171"/>
                <a:gd name="connsiteX1103" fmla="*/ 2039159 w 2626806"/>
                <a:gd name="connsiteY1103" fmla="*/ 3111205 h 3905171"/>
                <a:gd name="connsiteX1104" fmla="*/ 2072084 w 2626806"/>
                <a:gd name="connsiteY1104" fmla="*/ 3144130 h 3905171"/>
                <a:gd name="connsiteX1105" fmla="*/ 2039159 w 2626806"/>
                <a:gd name="connsiteY1105" fmla="*/ 3177055 h 3905171"/>
                <a:gd name="connsiteX1106" fmla="*/ 331446 w 2626806"/>
                <a:gd name="connsiteY1106" fmla="*/ 3181445 h 3905171"/>
                <a:gd name="connsiteX1107" fmla="*/ 327056 w 2626806"/>
                <a:gd name="connsiteY1107" fmla="*/ 3177055 h 3905171"/>
                <a:gd name="connsiteX1108" fmla="*/ 331446 w 2626806"/>
                <a:gd name="connsiteY1108" fmla="*/ 3172665 h 3905171"/>
                <a:gd name="connsiteX1109" fmla="*/ 335836 w 2626806"/>
                <a:gd name="connsiteY1109" fmla="*/ 3177055 h 3905171"/>
                <a:gd name="connsiteX1110" fmla="*/ 331446 w 2626806"/>
                <a:gd name="connsiteY1110" fmla="*/ 3181445 h 3905171"/>
                <a:gd name="connsiteX1111" fmla="*/ 1277493 w 2626806"/>
                <a:gd name="connsiteY1111" fmla="*/ 3185835 h 3905171"/>
                <a:gd name="connsiteX1112" fmla="*/ 1235788 w 2626806"/>
                <a:gd name="connsiteY1112" fmla="*/ 3144130 h 3905171"/>
                <a:gd name="connsiteX1113" fmla="*/ 1277493 w 2626806"/>
                <a:gd name="connsiteY1113" fmla="*/ 3102425 h 3905171"/>
                <a:gd name="connsiteX1114" fmla="*/ 1319198 w 2626806"/>
                <a:gd name="connsiteY1114" fmla="*/ 3144130 h 3905171"/>
                <a:gd name="connsiteX1115" fmla="*/ 1277493 w 2626806"/>
                <a:gd name="connsiteY1115" fmla="*/ 3185835 h 3905171"/>
                <a:gd name="connsiteX1116" fmla="*/ 2568156 w 2626806"/>
                <a:gd name="connsiteY1116" fmla="*/ 3192420 h 3905171"/>
                <a:gd name="connsiteX1117" fmla="*/ 2557181 w 2626806"/>
                <a:gd name="connsiteY1117" fmla="*/ 3181445 h 3905171"/>
                <a:gd name="connsiteX1118" fmla="*/ 2568156 w 2626806"/>
                <a:gd name="connsiteY1118" fmla="*/ 3170470 h 3905171"/>
                <a:gd name="connsiteX1119" fmla="*/ 2579131 w 2626806"/>
                <a:gd name="connsiteY1119" fmla="*/ 3181445 h 3905171"/>
                <a:gd name="connsiteX1120" fmla="*/ 2568156 w 2626806"/>
                <a:gd name="connsiteY1120" fmla="*/ 3192420 h 3905171"/>
                <a:gd name="connsiteX1121" fmla="*/ 1521139 w 2626806"/>
                <a:gd name="connsiteY1121" fmla="*/ 3196810 h 3905171"/>
                <a:gd name="connsiteX1122" fmla="*/ 1481628 w 2626806"/>
                <a:gd name="connsiteY1122" fmla="*/ 3157300 h 3905171"/>
                <a:gd name="connsiteX1123" fmla="*/ 1521139 w 2626806"/>
                <a:gd name="connsiteY1123" fmla="*/ 3117790 h 3905171"/>
                <a:gd name="connsiteX1124" fmla="*/ 1560648 w 2626806"/>
                <a:gd name="connsiteY1124" fmla="*/ 3157300 h 3905171"/>
                <a:gd name="connsiteX1125" fmla="*/ 1521139 w 2626806"/>
                <a:gd name="connsiteY1125" fmla="*/ 3196810 h 3905171"/>
                <a:gd name="connsiteX1126" fmla="*/ 1773564 w 2626806"/>
                <a:gd name="connsiteY1126" fmla="*/ 3196810 h 3905171"/>
                <a:gd name="connsiteX1127" fmla="*/ 1736249 w 2626806"/>
                <a:gd name="connsiteY1127" fmla="*/ 3159495 h 3905171"/>
                <a:gd name="connsiteX1128" fmla="*/ 1773564 w 2626806"/>
                <a:gd name="connsiteY1128" fmla="*/ 3122180 h 3905171"/>
                <a:gd name="connsiteX1129" fmla="*/ 1810879 w 2626806"/>
                <a:gd name="connsiteY1129" fmla="*/ 3159495 h 3905171"/>
                <a:gd name="connsiteX1130" fmla="*/ 1773564 w 2626806"/>
                <a:gd name="connsiteY1130" fmla="*/ 3196810 h 3905171"/>
                <a:gd name="connsiteX1131" fmla="*/ 682647 w 2626806"/>
                <a:gd name="connsiteY1131" fmla="*/ 3201201 h 3905171"/>
                <a:gd name="connsiteX1132" fmla="*/ 634356 w 2626806"/>
                <a:gd name="connsiteY1132" fmla="*/ 3152911 h 3905171"/>
                <a:gd name="connsiteX1133" fmla="*/ 682647 w 2626806"/>
                <a:gd name="connsiteY1133" fmla="*/ 3104621 h 3905171"/>
                <a:gd name="connsiteX1134" fmla="*/ 730936 w 2626806"/>
                <a:gd name="connsiteY1134" fmla="*/ 3152911 h 3905171"/>
                <a:gd name="connsiteX1135" fmla="*/ 682647 w 2626806"/>
                <a:gd name="connsiteY1135" fmla="*/ 3201201 h 3905171"/>
                <a:gd name="connsiteX1136" fmla="*/ 2157690 w 2626806"/>
                <a:gd name="connsiteY1136" fmla="*/ 3225345 h 3905171"/>
                <a:gd name="connsiteX1137" fmla="*/ 2133544 w 2626806"/>
                <a:gd name="connsiteY1137" fmla="*/ 3201200 h 3905171"/>
                <a:gd name="connsiteX1138" fmla="*/ 2157690 w 2626806"/>
                <a:gd name="connsiteY1138" fmla="*/ 3177055 h 3905171"/>
                <a:gd name="connsiteX1139" fmla="*/ 2181835 w 2626806"/>
                <a:gd name="connsiteY1139" fmla="*/ 3201200 h 3905171"/>
                <a:gd name="connsiteX1140" fmla="*/ 2157690 w 2626806"/>
                <a:gd name="connsiteY1140" fmla="*/ 3225345 h 3905171"/>
                <a:gd name="connsiteX1141" fmla="*/ 904342 w 2626806"/>
                <a:gd name="connsiteY1141" fmla="*/ 3231931 h 3905171"/>
                <a:gd name="connsiteX1142" fmla="*/ 858247 w 2626806"/>
                <a:gd name="connsiteY1142" fmla="*/ 3185835 h 3905171"/>
                <a:gd name="connsiteX1143" fmla="*/ 904342 w 2626806"/>
                <a:gd name="connsiteY1143" fmla="*/ 3139740 h 3905171"/>
                <a:gd name="connsiteX1144" fmla="*/ 950437 w 2626806"/>
                <a:gd name="connsiteY1144" fmla="*/ 3185835 h 3905171"/>
                <a:gd name="connsiteX1145" fmla="*/ 904342 w 2626806"/>
                <a:gd name="connsiteY1145" fmla="*/ 3231931 h 3905171"/>
                <a:gd name="connsiteX1146" fmla="*/ 1137013 w 2626806"/>
                <a:gd name="connsiteY1146" fmla="*/ 3256076 h 3905171"/>
                <a:gd name="connsiteX1147" fmla="*/ 1095307 w 2626806"/>
                <a:gd name="connsiteY1147" fmla="*/ 3214370 h 3905171"/>
                <a:gd name="connsiteX1148" fmla="*/ 1137013 w 2626806"/>
                <a:gd name="connsiteY1148" fmla="*/ 3172665 h 3905171"/>
                <a:gd name="connsiteX1149" fmla="*/ 1178718 w 2626806"/>
                <a:gd name="connsiteY1149" fmla="*/ 3214370 h 3905171"/>
                <a:gd name="connsiteX1150" fmla="*/ 1137013 w 2626806"/>
                <a:gd name="connsiteY1150" fmla="*/ 3256076 h 3905171"/>
                <a:gd name="connsiteX1151" fmla="*/ 546556 w 2626806"/>
                <a:gd name="connsiteY1151" fmla="*/ 3258270 h 3905171"/>
                <a:gd name="connsiteX1152" fmla="*/ 507047 w 2626806"/>
                <a:gd name="connsiteY1152" fmla="*/ 3218760 h 3905171"/>
                <a:gd name="connsiteX1153" fmla="*/ 546556 w 2626806"/>
                <a:gd name="connsiteY1153" fmla="*/ 3179250 h 3905171"/>
                <a:gd name="connsiteX1154" fmla="*/ 586067 w 2626806"/>
                <a:gd name="connsiteY1154" fmla="*/ 3218760 h 3905171"/>
                <a:gd name="connsiteX1155" fmla="*/ 546556 w 2626806"/>
                <a:gd name="connsiteY1155" fmla="*/ 3258270 h 3905171"/>
                <a:gd name="connsiteX1156" fmla="*/ 1887704 w 2626806"/>
                <a:gd name="connsiteY1156" fmla="*/ 3264856 h 3905171"/>
                <a:gd name="connsiteX1157" fmla="*/ 1852584 w 2626806"/>
                <a:gd name="connsiteY1157" fmla="*/ 3229735 h 3905171"/>
                <a:gd name="connsiteX1158" fmla="*/ 1887704 w 2626806"/>
                <a:gd name="connsiteY1158" fmla="*/ 3194615 h 3905171"/>
                <a:gd name="connsiteX1159" fmla="*/ 1922824 w 2626806"/>
                <a:gd name="connsiteY1159" fmla="*/ 3229735 h 3905171"/>
                <a:gd name="connsiteX1160" fmla="*/ 1887704 w 2626806"/>
                <a:gd name="connsiteY1160" fmla="*/ 3264856 h 3905171"/>
                <a:gd name="connsiteX1161" fmla="*/ 1376268 w 2626806"/>
                <a:gd name="connsiteY1161" fmla="*/ 3271440 h 3905171"/>
                <a:gd name="connsiteX1162" fmla="*/ 1336757 w 2626806"/>
                <a:gd name="connsiteY1162" fmla="*/ 3231931 h 3905171"/>
                <a:gd name="connsiteX1163" fmla="*/ 1376268 w 2626806"/>
                <a:gd name="connsiteY1163" fmla="*/ 3192420 h 3905171"/>
                <a:gd name="connsiteX1164" fmla="*/ 1415778 w 2626806"/>
                <a:gd name="connsiteY1164" fmla="*/ 3231931 h 3905171"/>
                <a:gd name="connsiteX1165" fmla="*/ 1376268 w 2626806"/>
                <a:gd name="connsiteY1165" fmla="*/ 3271440 h 3905171"/>
                <a:gd name="connsiteX1166" fmla="*/ 1626499 w 2626806"/>
                <a:gd name="connsiteY1166" fmla="*/ 3273635 h 3905171"/>
                <a:gd name="connsiteX1167" fmla="*/ 1589184 w 2626806"/>
                <a:gd name="connsiteY1167" fmla="*/ 3236321 h 3905171"/>
                <a:gd name="connsiteX1168" fmla="*/ 1626499 w 2626806"/>
                <a:gd name="connsiteY1168" fmla="*/ 3199006 h 3905171"/>
                <a:gd name="connsiteX1169" fmla="*/ 1663814 w 2626806"/>
                <a:gd name="connsiteY1169" fmla="*/ 3236321 h 3905171"/>
                <a:gd name="connsiteX1170" fmla="*/ 1626499 w 2626806"/>
                <a:gd name="connsiteY1170" fmla="*/ 3273635 h 3905171"/>
                <a:gd name="connsiteX1171" fmla="*/ 2280611 w 2626806"/>
                <a:gd name="connsiteY1171" fmla="*/ 3280220 h 3905171"/>
                <a:gd name="connsiteX1172" fmla="*/ 2252075 w 2626806"/>
                <a:gd name="connsiteY1172" fmla="*/ 3251686 h 3905171"/>
                <a:gd name="connsiteX1173" fmla="*/ 2280611 w 2626806"/>
                <a:gd name="connsiteY1173" fmla="*/ 3223151 h 3905171"/>
                <a:gd name="connsiteX1174" fmla="*/ 2309145 w 2626806"/>
                <a:gd name="connsiteY1174" fmla="*/ 3251686 h 3905171"/>
                <a:gd name="connsiteX1175" fmla="*/ 2280611 w 2626806"/>
                <a:gd name="connsiteY1175" fmla="*/ 3280220 h 3905171"/>
                <a:gd name="connsiteX1176" fmla="*/ 768252 w 2626806"/>
                <a:gd name="connsiteY1176" fmla="*/ 3302171 h 3905171"/>
                <a:gd name="connsiteX1177" fmla="*/ 719962 w 2626806"/>
                <a:gd name="connsiteY1177" fmla="*/ 3253880 h 3905171"/>
                <a:gd name="connsiteX1178" fmla="*/ 768252 w 2626806"/>
                <a:gd name="connsiteY1178" fmla="*/ 3205590 h 3905171"/>
                <a:gd name="connsiteX1179" fmla="*/ 816542 w 2626806"/>
                <a:gd name="connsiteY1179" fmla="*/ 3253880 h 3905171"/>
                <a:gd name="connsiteX1180" fmla="*/ 768252 w 2626806"/>
                <a:gd name="connsiteY1180" fmla="*/ 3302171 h 3905171"/>
                <a:gd name="connsiteX1181" fmla="*/ 2407920 w 2626806"/>
                <a:gd name="connsiteY1181" fmla="*/ 3317536 h 3905171"/>
                <a:gd name="connsiteX1182" fmla="*/ 2383775 w 2626806"/>
                <a:gd name="connsiteY1182" fmla="*/ 3293391 h 3905171"/>
                <a:gd name="connsiteX1183" fmla="*/ 2407920 w 2626806"/>
                <a:gd name="connsiteY1183" fmla="*/ 3269246 h 3905171"/>
                <a:gd name="connsiteX1184" fmla="*/ 2432066 w 2626806"/>
                <a:gd name="connsiteY1184" fmla="*/ 3293391 h 3905171"/>
                <a:gd name="connsiteX1185" fmla="*/ 2407920 w 2626806"/>
                <a:gd name="connsiteY1185" fmla="*/ 3317536 h 3905171"/>
                <a:gd name="connsiteX1186" fmla="*/ 996532 w 2626806"/>
                <a:gd name="connsiteY1186" fmla="*/ 3330706 h 3905171"/>
                <a:gd name="connsiteX1187" fmla="*/ 948242 w 2626806"/>
                <a:gd name="connsiteY1187" fmla="*/ 3282415 h 3905171"/>
                <a:gd name="connsiteX1188" fmla="*/ 996532 w 2626806"/>
                <a:gd name="connsiteY1188" fmla="*/ 3234125 h 3905171"/>
                <a:gd name="connsiteX1189" fmla="*/ 1044822 w 2626806"/>
                <a:gd name="connsiteY1189" fmla="*/ 3282415 h 3905171"/>
                <a:gd name="connsiteX1190" fmla="*/ 996532 w 2626806"/>
                <a:gd name="connsiteY1190" fmla="*/ 3330706 h 3905171"/>
                <a:gd name="connsiteX1191" fmla="*/ 2004039 w 2626806"/>
                <a:gd name="connsiteY1191" fmla="*/ 3330706 h 3905171"/>
                <a:gd name="connsiteX1192" fmla="*/ 1964530 w 2626806"/>
                <a:gd name="connsiteY1192" fmla="*/ 3291195 h 3905171"/>
                <a:gd name="connsiteX1193" fmla="*/ 2004039 w 2626806"/>
                <a:gd name="connsiteY1193" fmla="*/ 3251686 h 3905171"/>
                <a:gd name="connsiteX1194" fmla="*/ 2043550 w 2626806"/>
                <a:gd name="connsiteY1194" fmla="*/ 3291195 h 3905171"/>
                <a:gd name="connsiteX1195" fmla="*/ 2004039 w 2626806"/>
                <a:gd name="connsiteY1195" fmla="*/ 3330706 h 3905171"/>
                <a:gd name="connsiteX1196" fmla="*/ 2535230 w 2626806"/>
                <a:gd name="connsiteY1196" fmla="*/ 3346071 h 3905171"/>
                <a:gd name="connsiteX1197" fmla="*/ 2515476 w 2626806"/>
                <a:gd name="connsiteY1197" fmla="*/ 3326316 h 3905171"/>
                <a:gd name="connsiteX1198" fmla="*/ 2535230 w 2626806"/>
                <a:gd name="connsiteY1198" fmla="*/ 3306561 h 3905171"/>
                <a:gd name="connsiteX1199" fmla="*/ 2554985 w 2626806"/>
                <a:gd name="connsiteY1199" fmla="*/ 3326316 h 3905171"/>
                <a:gd name="connsiteX1200" fmla="*/ 2535230 w 2626806"/>
                <a:gd name="connsiteY1200" fmla="*/ 3346071 h 3905171"/>
                <a:gd name="connsiteX1201" fmla="*/ 1233593 w 2626806"/>
                <a:gd name="connsiteY1201" fmla="*/ 3350461 h 3905171"/>
                <a:gd name="connsiteX1202" fmla="*/ 1187498 w 2626806"/>
                <a:gd name="connsiteY1202" fmla="*/ 3304365 h 3905171"/>
                <a:gd name="connsiteX1203" fmla="*/ 1233593 w 2626806"/>
                <a:gd name="connsiteY1203" fmla="*/ 3258270 h 3905171"/>
                <a:gd name="connsiteX1204" fmla="*/ 1279688 w 2626806"/>
                <a:gd name="connsiteY1204" fmla="*/ 3304365 h 3905171"/>
                <a:gd name="connsiteX1205" fmla="*/ 1233593 w 2626806"/>
                <a:gd name="connsiteY1205" fmla="*/ 3350461 h 3905171"/>
                <a:gd name="connsiteX1206" fmla="*/ 1736249 w 2626806"/>
                <a:gd name="connsiteY1206" fmla="*/ 3352655 h 3905171"/>
                <a:gd name="connsiteX1207" fmla="*/ 1694544 w 2626806"/>
                <a:gd name="connsiteY1207" fmla="*/ 3310951 h 3905171"/>
                <a:gd name="connsiteX1208" fmla="*/ 1736249 w 2626806"/>
                <a:gd name="connsiteY1208" fmla="*/ 3269246 h 3905171"/>
                <a:gd name="connsiteX1209" fmla="*/ 1777954 w 2626806"/>
                <a:gd name="connsiteY1209" fmla="*/ 3310951 h 3905171"/>
                <a:gd name="connsiteX1210" fmla="*/ 1736249 w 2626806"/>
                <a:gd name="connsiteY1210" fmla="*/ 3352655 h 3905171"/>
                <a:gd name="connsiteX1211" fmla="*/ 1479433 w 2626806"/>
                <a:gd name="connsiteY1211" fmla="*/ 3359241 h 3905171"/>
                <a:gd name="connsiteX1212" fmla="*/ 1435533 w 2626806"/>
                <a:gd name="connsiteY1212" fmla="*/ 3315341 h 3905171"/>
                <a:gd name="connsiteX1213" fmla="*/ 1479433 w 2626806"/>
                <a:gd name="connsiteY1213" fmla="*/ 3271440 h 3905171"/>
                <a:gd name="connsiteX1214" fmla="*/ 1523333 w 2626806"/>
                <a:gd name="connsiteY1214" fmla="*/ 3315341 h 3905171"/>
                <a:gd name="connsiteX1215" fmla="*/ 1479433 w 2626806"/>
                <a:gd name="connsiteY1215" fmla="*/ 3359241 h 3905171"/>
                <a:gd name="connsiteX1216" fmla="*/ 629966 w 2626806"/>
                <a:gd name="connsiteY1216" fmla="*/ 3370215 h 3905171"/>
                <a:gd name="connsiteX1217" fmla="*/ 581676 w 2626806"/>
                <a:gd name="connsiteY1217" fmla="*/ 3321926 h 3905171"/>
                <a:gd name="connsiteX1218" fmla="*/ 629966 w 2626806"/>
                <a:gd name="connsiteY1218" fmla="*/ 3273635 h 3905171"/>
                <a:gd name="connsiteX1219" fmla="*/ 678257 w 2626806"/>
                <a:gd name="connsiteY1219" fmla="*/ 3321926 h 3905171"/>
                <a:gd name="connsiteX1220" fmla="*/ 629966 w 2626806"/>
                <a:gd name="connsiteY1220" fmla="*/ 3370215 h 3905171"/>
                <a:gd name="connsiteX1221" fmla="*/ 2124766 w 2626806"/>
                <a:gd name="connsiteY1221" fmla="*/ 3381191 h 3905171"/>
                <a:gd name="connsiteX1222" fmla="*/ 2091840 w 2626806"/>
                <a:gd name="connsiteY1222" fmla="*/ 3348266 h 3905171"/>
                <a:gd name="connsiteX1223" fmla="*/ 2124766 w 2626806"/>
                <a:gd name="connsiteY1223" fmla="*/ 3315341 h 3905171"/>
                <a:gd name="connsiteX1224" fmla="*/ 2157690 w 2626806"/>
                <a:gd name="connsiteY1224" fmla="*/ 3348266 h 3905171"/>
                <a:gd name="connsiteX1225" fmla="*/ 2124766 w 2626806"/>
                <a:gd name="connsiteY1225" fmla="*/ 3381191 h 3905171"/>
                <a:gd name="connsiteX1226" fmla="*/ 856052 w 2626806"/>
                <a:gd name="connsiteY1226" fmla="*/ 3400945 h 3905171"/>
                <a:gd name="connsiteX1227" fmla="*/ 807762 w 2626806"/>
                <a:gd name="connsiteY1227" fmla="*/ 3352656 h 3905171"/>
                <a:gd name="connsiteX1228" fmla="*/ 856052 w 2626806"/>
                <a:gd name="connsiteY1228" fmla="*/ 3304365 h 3905171"/>
                <a:gd name="connsiteX1229" fmla="*/ 904342 w 2626806"/>
                <a:gd name="connsiteY1229" fmla="*/ 3352656 h 3905171"/>
                <a:gd name="connsiteX1230" fmla="*/ 856052 w 2626806"/>
                <a:gd name="connsiteY1230" fmla="*/ 3400945 h 3905171"/>
                <a:gd name="connsiteX1231" fmla="*/ 491681 w 2626806"/>
                <a:gd name="connsiteY1231" fmla="*/ 3405336 h 3905171"/>
                <a:gd name="connsiteX1232" fmla="*/ 474122 w 2626806"/>
                <a:gd name="connsiteY1232" fmla="*/ 3387776 h 3905171"/>
                <a:gd name="connsiteX1233" fmla="*/ 491681 w 2626806"/>
                <a:gd name="connsiteY1233" fmla="*/ 3370215 h 3905171"/>
                <a:gd name="connsiteX1234" fmla="*/ 509241 w 2626806"/>
                <a:gd name="connsiteY1234" fmla="*/ 3387776 h 3905171"/>
                <a:gd name="connsiteX1235" fmla="*/ 491681 w 2626806"/>
                <a:gd name="connsiteY1235" fmla="*/ 3405336 h 3905171"/>
                <a:gd name="connsiteX1236" fmla="*/ 1850389 w 2626806"/>
                <a:gd name="connsiteY1236" fmla="*/ 3418506 h 3905171"/>
                <a:gd name="connsiteX1237" fmla="*/ 1810879 w 2626806"/>
                <a:gd name="connsiteY1237" fmla="*/ 3378996 h 3905171"/>
                <a:gd name="connsiteX1238" fmla="*/ 1850389 w 2626806"/>
                <a:gd name="connsiteY1238" fmla="*/ 3339486 h 3905171"/>
                <a:gd name="connsiteX1239" fmla="*/ 1887704 w 2626806"/>
                <a:gd name="connsiteY1239" fmla="*/ 3378996 h 3905171"/>
                <a:gd name="connsiteX1240" fmla="*/ 1850389 w 2626806"/>
                <a:gd name="connsiteY1240" fmla="*/ 3418506 h 3905171"/>
                <a:gd name="connsiteX1241" fmla="*/ 1090917 w 2626806"/>
                <a:gd name="connsiteY1241" fmla="*/ 3422896 h 3905171"/>
                <a:gd name="connsiteX1242" fmla="*/ 1044822 w 2626806"/>
                <a:gd name="connsiteY1242" fmla="*/ 3376801 h 3905171"/>
                <a:gd name="connsiteX1243" fmla="*/ 1090917 w 2626806"/>
                <a:gd name="connsiteY1243" fmla="*/ 3330706 h 3905171"/>
                <a:gd name="connsiteX1244" fmla="*/ 1137013 w 2626806"/>
                <a:gd name="connsiteY1244" fmla="*/ 3376801 h 3905171"/>
                <a:gd name="connsiteX1245" fmla="*/ 1090917 w 2626806"/>
                <a:gd name="connsiteY1245" fmla="*/ 3422896 h 3905171"/>
                <a:gd name="connsiteX1246" fmla="*/ 2247685 w 2626806"/>
                <a:gd name="connsiteY1246" fmla="*/ 3431676 h 3905171"/>
                <a:gd name="connsiteX1247" fmla="*/ 2212564 w 2626806"/>
                <a:gd name="connsiteY1247" fmla="*/ 3396556 h 3905171"/>
                <a:gd name="connsiteX1248" fmla="*/ 2247685 w 2626806"/>
                <a:gd name="connsiteY1248" fmla="*/ 3361436 h 3905171"/>
                <a:gd name="connsiteX1249" fmla="*/ 2282805 w 2626806"/>
                <a:gd name="connsiteY1249" fmla="*/ 3396556 h 3905171"/>
                <a:gd name="connsiteX1250" fmla="*/ 2247685 w 2626806"/>
                <a:gd name="connsiteY1250" fmla="*/ 3431676 h 3905171"/>
                <a:gd name="connsiteX1251" fmla="*/ 1334563 w 2626806"/>
                <a:gd name="connsiteY1251" fmla="*/ 3433871 h 3905171"/>
                <a:gd name="connsiteX1252" fmla="*/ 1290663 w 2626806"/>
                <a:gd name="connsiteY1252" fmla="*/ 3389971 h 3905171"/>
                <a:gd name="connsiteX1253" fmla="*/ 1334563 w 2626806"/>
                <a:gd name="connsiteY1253" fmla="*/ 3346071 h 3905171"/>
                <a:gd name="connsiteX1254" fmla="*/ 1378464 w 2626806"/>
                <a:gd name="connsiteY1254" fmla="*/ 3389971 h 3905171"/>
                <a:gd name="connsiteX1255" fmla="*/ 1334563 w 2626806"/>
                <a:gd name="connsiteY1255" fmla="*/ 3433871 h 3905171"/>
                <a:gd name="connsiteX1256" fmla="*/ 1589184 w 2626806"/>
                <a:gd name="connsiteY1256" fmla="*/ 3436066 h 3905171"/>
                <a:gd name="connsiteX1257" fmla="*/ 1545283 w 2626806"/>
                <a:gd name="connsiteY1257" fmla="*/ 3392166 h 3905171"/>
                <a:gd name="connsiteX1258" fmla="*/ 1589184 w 2626806"/>
                <a:gd name="connsiteY1258" fmla="*/ 3348266 h 3905171"/>
                <a:gd name="connsiteX1259" fmla="*/ 1633084 w 2626806"/>
                <a:gd name="connsiteY1259" fmla="*/ 3392166 h 3905171"/>
                <a:gd name="connsiteX1260" fmla="*/ 1589184 w 2626806"/>
                <a:gd name="connsiteY1260" fmla="*/ 3436066 h 3905171"/>
                <a:gd name="connsiteX1261" fmla="*/ 717766 w 2626806"/>
                <a:gd name="connsiteY1261" fmla="*/ 3460211 h 3905171"/>
                <a:gd name="connsiteX1262" fmla="*/ 678257 w 2626806"/>
                <a:gd name="connsiteY1262" fmla="*/ 3420701 h 3905171"/>
                <a:gd name="connsiteX1263" fmla="*/ 717766 w 2626806"/>
                <a:gd name="connsiteY1263" fmla="*/ 3381191 h 3905171"/>
                <a:gd name="connsiteX1264" fmla="*/ 757277 w 2626806"/>
                <a:gd name="connsiteY1264" fmla="*/ 3420701 h 3905171"/>
                <a:gd name="connsiteX1265" fmla="*/ 717766 w 2626806"/>
                <a:gd name="connsiteY1265" fmla="*/ 3460211 h 3905171"/>
                <a:gd name="connsiteX1266" fmla="*/ 2374995 w 2626806"/>
                <a:gd name="connsiteY1266" fmla="*/ 3468991 h 3905171"/>
                <a:gd name="connsiteX1267" fmla="*/ 2344265 w 2626806"/>
                <a:gd name="connsiteY1267" fmla="*/ 3438260 h 3905171"/>
                <a:gd name="connsiteX1268" fmla="*/ 2374995 w 2626806"/>
                <a:gd name="connsiteY1268" fmla="*/ 3407531 h 3905171"/>
                <a:gd name="connsiteX1269" fmla="*/ 2405726 w 2626806"/>
                <a:gd name="connsiteY1269" fmla="*/ 3438260 h 3905171"/>
                <a:gd name="connsiteX1270" fmla="*/ 2374995 w 2626806"/>
                <a:gd name="connsiteY1270" fmla="*/ 3468991 h 3905171"/>
                <a:gd name="connsiteX1271" fmla="*/ 1968920 w 2626806"/>
                <a:gd name="connsiteY1271" fmla="*/ 3477771 h 3905171"/>
                <a:gd name="connsiteX1272" fmla="*/ 1929409 w 2626806"/>
                <a:gd name="connsiteY1272" fmla="*/ 3438261 h 3905171"/>
                <a:gd name="connsiteX1273" fmla="*/ 1968920 w 2626806"/>
                <a:gd name="connsiteY1273" fmla="*/ 3398751 h 3905171"/>
                <a:gd name="connsiteX1274" fmla="*/ 2008430 w 2626806"/>
                <a:gd name="connsiteY1274" fmla="*/ 3438261 h 3905171"/>
                <a:gd name="connsiteX1275" fmla="*/ 1968920 w 2626806"/>
                <a:gd name="connsiteY1275" fmla="*/ 3477771 h 3905171"/>
                <a:gd name="connsiteX1276" fmla="*/ 579481 w 2626806"/>
                <a:gd name="connsiteY1276" fmla="*/ 3493135 h 3905171"/>
                <a:gd name="connsiteX1277" fmla="*/ 575091 w 2626806"/>
                <a:gd name="connsiteY1277" fmla="*/ 3488745 h 3905171"/>
                <a:gd name="connsiteX1278" fmla="*/ 579481 w 2626806"/>
                <a:gd name="connsiteY1278" fmla="*/ 3484355 h 3905171"/>
                <a:gd name="connsiteX1279" fmla="*/ 583871 w 2626806"/>
                <a:gd name="connsiteY1279" fmla="*/ 3488745 h 3905171"/>
                <a:gd name="connsiteX1280" fmla="*/ 579481 w 2626806"/>
                <a:gd name="connsiteY1280" fmla="*/ 3493135 h 3905171"/>
                <a:gd name="connsiteX1281" fmla="*/ 950437 w 2626806"/>
                <a:gd name="connsiteY1281" fmla="*/ 3497526 h 3905171"/>
                <a:gd name="connsiteX1282" fmla="*/ 899953 w 2626806"/>
                <a:gd name="connsiteY1282" fmla="*/ 3447040 h 3905171"/>
                <a:gd name="connsiteX1283" fmla="*/ 950437 w 2626806"/>
                <a:gd name="connsiteY1283" fmla="*/ 3396555 h 3905171"/>
                <a:gd name="connsiteX1284" fmla="*/ 1000922 w 2626806"/>
                <a:gd name="connsiteY1284" fmla="*/ 3447040 h 3905171"/>
                <a:gd name="connsiteX1285" fmla="*/ 950437 w 2626806"/>
                <a:gd name="connsiteY1285" fmla="*/ 3497526 h 3905171"/>
                <a:gd name="connsiteX1286" fmla="*/ 2502304 w 2626806"/>
                <a:gd name="connsiteY1286" fmla="*/ 3501916 h 3905171"/>
                <a:gd name="connsiteX1287" fmla="*/ 2471576 w 2626806"/>
                <a:gd name="connsiteY1287" fmla="*/ 3471185 h 3905171"/>
                <a:gd name="connsiteX1288" fmla="*/ 2502304 w 2626806"/>
                <a:gd name="connsiteY1288" fmla="*/ 3440456 h 3905171"/>
                <a:gd name="connsiteX1289" fmla="*/ 2533036 w 2626806"/>
                <a:gd name="connsiteY1289" fmla="*/ 3471185 h 3905171"/>
                <a:gd name="connsiteX1290" fmla="*/ 2502304 w 2626806"/>
                <a:gd name="connsiteY1290" fmla="*/ 3501916 h 3905171"/>
                <a:gd name="connsiteX1291" fmla="*/ 1191888 w 2626806"/>
                <a:gd name="connsiteY1291" fmla="*/ 3510696 h 3905171"/>
                <a:gd name="connsiteX1292" fmla="*/ 1145793 w 2626806"/>
                <a:gd name="connsiteY1292" fmla="*/ 3464600 h 3905171"/>
                <a:gd name="connsiteX1293" fmla="*/ 1191888 w 2626806"/>
                <a:gd name="connsiteY1293" fmla="*/ 3418505 h 3905171"/>
                <a:gd name="connsiteX1294" fmla="*/ 1237983 w 2626806"/>
                <a:gd name="connsiteY1294" fmla="*/ 3464600 h 3905171"/>
                <a:gd name="connsiteX1295" fmla="*/ 1191888 w 2626806"/>
                <a:gd name="connsiteY1295" fmla="*/ 3510696 h 3905171"/>
                <a:gd name="connsiteX1296" fmla="*/ 1701129 w 2626806"/>
                <a:gd name="connsiteY1296" fmla="*/ 3510696 h 3905171"/>
                <a:gd name="connsiteX1297" fmla="*/ 1652839 w 2626806"/>
                <a:gd name="connsiteY1297" fmla="*/ 3462405 h 3905171"/>
                <a:gd name="connsiteX1298" fmla="*/ 1701129 w 2626806"/>
                <a:gd name="connsiteY1298" fmla="*/ 3414115 h 3905171"/>
                <a:gd name="connsiteX1299" fmla="*/ 1749419 w 2626806"/>
                <a:gd name="connsiteY1299" fmla="*/ 3462405 h 3905171"/>
                <a:gd name="connsiteX1300" fmla="*/ 1701129 w 2626806"/>
                <a:gd name="connsiteY1300" fmla="*/ 3510696 h 3905171"/>
                <a:gd name="connsiteX1301" fmla="*/ 1442118 w 2626806"/>
                <a:gd name="connsiteY1301" fmla="*/ 3515086 h 3905171"/>
                <a:gd name="connsiteX1302" fmla="*/ 1396023 w 2626806"/>
                <a:gd name="connsiteY1302" fmla="*/ 3468991 h 3905171"/>
                <a:gd name="connsiteX1303" fmla="*/ 1442118 w 2626806"/>
                <a:gd name="connsiteY1303" fmla="*/ 3422896 h 3905171"/>
                <a:gd name="connsiteX1304" fmla="*/ 1488214 w 2626806"/>
                <a:gd name="connsiteY1304" fmla="*/ 3468991 h 3905171"/>
                <a:gd name="connsiteX1305" fmla="*/ 1442118 w 2626806"/>
                <a:gd name="connsiteY1305" fmla="*/ 3515086 h 3905171"/>
                <a:gd name="connsiteX1306" fmla="*/ 2626806 w 2626806"/>
                <a:gd name="connsiteY1306" fmla="*/ 3521105 h 3905171"/>
                <a:gd name="connsiteX1307" fmla="*/ 2613976 w 2626806"/>
                <a:gd name="connsiteY1307" fmla="*/ 3516184 h 3905171"/>
                <a:gd name="connsiteX1308" fmla="*/ 2605470 w 2626806"/>
                <a:gd name="connsiteY1308" fmla="*/ 3495331 h 3905171"/>
                <a:gd name="connsiteX1309" fmla="*/ 2613976 w 2626806"/>
                <a:gd name="connsiteY1309" fmla="*/ 3475302 h 3905171"/>
                <a:gd name="connsiteX1310" fmla="*/ 2626806 w 2626806"/>
                <a:gd name="connsiteY1310" fmla="*/ 3469853 h 3905171"/>
                <a:gd name="connsiteX1311" fmla="*/ 2089644 w 2626806"/>
                <a:gd name="connsiteY1311" fmla="*/ 3530452 h 3905171"/>
                <a:gd name="connsiteX1312" fmla="*/ 2054524 w 2626806"/>
                <a:gd name="connsiteY1312" fmla="*/ 3495331 h 3905171"/>
                <a:gd name="connsiteX1313" fmla="*/ 2089644 w 2626806"/>
                <a:gd name="connsiteY1313" fmla="*/ 3460211 h 3905171"/>
                <a:gd name="connsiteX1314" fmla="*/ 2124764 w 2626806"/>
                <a:gd name="connsiteY1314" fmla="*/ 3495331 h 3905171"/>
                <a:gd name="connsiteX1315" fmla="*/ 2089644 w 2626806"/>
                <a:gd name="connsiteY1315" fmla="*/ 3530452 h 3905171"/>
                <a:gd name="connsiteX1316" fmla="*/ 809957 w 2626806"/>
                <a:gd name="connsiteY1316" fmla="*/ 3565571 h 3905171"/>
                <a:gd name="connsiteX1317" fmla="*/ 759472 w 2626806"/>
                <a:gd name="connsiteY1317" fmla="*/ 3515086 h 3905171"/>
                <a:gd name="connsiteX1318" fmla="*/ 809957 w 2626806"/>
                <a:gd name="connsiteY1318" fmla="*/ 3464600 h 3905171"/>
                <a:gd name="connsiteX1319" fmla="*/ 860442 w 2626806"/>
                <a:gd name="connsiteY1319" fmla="*/ 3515086 h 3905171"/>
                <a:gd name="connsiteX1320" fmla="*/ 809957 w 2626806"/>
                <a:gd name="connsiteY1320" fmla="*/ 3565571 h 3905171"/>
                <a:gd name="connsiteX1321" fmla="*/ 1815269 w 2626806"/>
                <a:gd name="connsiteY1321" fmla="*/ 3569961 h 3905171"/>
                <a:gd name="connsiteX1322" fmla="*/ 1773564 w 2626806"/>
                <a:gd name="connsiteY1322" fmla="*/ 3528256 h 3905171"/>
                <a:gd name="connsiteX1323" fmla="*/ 1815269 w 2626806"/>
                <a:gd name="connsiteY1323" fmla="*/ 3486551 h 3905171"/>
                <a:gd name="connsiteX1324" fmla="*/ 1856974 w 2626806"/>
                <a:gd name="connsiteY1324" fmla="*/ 3528256 h 3905171"/>
                <a:gd name="connsiteX1325" fmla="*/ 1815269 w 2626806"/>
                <a:gd name="connsiteY1325" fmla="*/ 3569961 h 3905171"/>
                <a:gd name="connsiteX1326" fmla="*/ 2214759 w 2626806"/>
                <a:gd name="connsiteY1326" fmla="*/ 3578741 h 3905171"/>
                <a:gd name="connsiteX1327" fmla="*/ 2179639 w 2626806"/>
                <a:gd name="connsiteY1327" fmla="*/ 3543621 h 3905171"/>
                <a:gd name="connsiteX1328" fmla="*/ 2214759 w 2626806"/>
                <a:gd name="connsiteY1328" fmla="*/ 3508500 h 3905171"/>
                <a:gd name="connsiteX1329" fmla="*/ 2249879 w 2626806"/>
                <a:gd name="connsiteY1329" fmla="*/ 3543621 h 3905171"/>
                <a:gd name="connsiteX1330" fmla="*/ 2214759 w 2626806"/>
                <a:gd name="connsiteY1330" fmla="*/ 3578741 h 3905171"/>
                <a:gd name="connsiteX1331" fmla="*/ 1049212 w 2626806"/>
                <a:gd name="connsiteY1331" fmla="*/ 3585327 h 3905171"/>
                <a:gd name="connsiteX1332" fmla="*/ 1000922 w 2626806"/>
                <a:gd name="connsiteY1332" fmla="*/ 3537036 h 3905171"/>
                <a:gd name="connsiteX1333" fmla="*/ 1049212 w 2626806"/>
                <a:gd name="connsiteY1333" fmla="*/ 3488746 h 3905171"/>
                <a:gd name="connsiteX1334" fmla="*/ 1097502 w 2626806"/>
                <a:gd name="connsiteY1334" fmla="*/ 3537036 h 3905171"/>
                <a:gd name="connsiteX1335" fmla="*/ 1049212 w 2626806"/>
                <a:gd name="connsiteY1335" fmla="*/ 3585327 h 3905171"/>
                <a:gd name="connsiteX1336" fmla="*/ 1295053 w 2626806"/>
                <a:gd name="connsiteY1336" fmla="*/ 3594106 h 3905171"/>
                <a:gd name="connsiteX1337" fmla="*/ 1246763 w 2626806"/>
                <a:gd name="connsiteY1337" fmla="*/ 3545816 h 3905171"/>
                <a:gd name="connsiteX1338" fmla="*/ 1295053 w 2626806"/>
                <a:gd name="connsiteY1338" fmla="*/ 3497526 h 3905171"/>
                <a:gd name="connsiteX1339" fmla="*/ 1343343 w 2626806"/>
                <a:gd name="connsiteY1339" fmla="*/ 3545816 h 3905171"/>
                <a:gd name="connsiteX1340" fmla="*/ 1295053 w 2626806"/>
                <a:gd name="connsiteY1340" fmla="*/ 3594106 h 3905171"/>
                <a:gd name="connsiteX1341" fmla="*/ 1551869 w 2626806"/>
                <a:gd name="connsiteY1341" fmla="*/ 3594106 h 3905171"/>
                <a:gd name="connsiteX1342" fmla="*/ 1503578 w 2626806"/>
                <a:gd name="connsiteY1342" fmla="*/ 3545816 h 3905171"/>
                <a:gd name="connsiteX1343" fmla="*/ 1551869 w 2626806"/>
                <a:gd name="connsiteY1343" fmla="*/ 3497526 h 3905171"/>
                <a:gd name="connsiteX1344" fmla="*/ 1600159 w 2626806"/>
                <a:gd name="connsiteY1344" fmla="*/ 3545816 h 3905171"/>
                <a:gd name="connsiteX1345" fmla="*/ 1551869 w 2626806"/>
                <a:gd name="connsiteY1345" fmla="*/ 3594106 h 3905171"/>
                <a:gd name="connsiteX1346" fmla="*/ 671671 w 2626806"/>
                <a:gd name="connsiteY1346" fmla="*/ 3596301 h 3905171"/>
                <a:gd name="connsiteX1347" fmla="*/ 660696 w 2626806"/>
                <a:gd name="connsiteY1347" fmla="*/ 3585326 h 3905171"/>
                <a:gd name="connsiteX1348" fmla="*/ 671671 w 2626806"/>
                <a:gd name="connsiteY1348" fmla="*/ 3574351 h 3905171"/>
                <a:gd name="connsiteX1349" fmla="*/ 682647 w 2626806"/>
                <a:gd name="connsiteY1349" fmla="*/ 3585326 h 3905171"/>
                <a:gd name="connsiteX1350" fmla="*/ 671671 w 2626806"/>
                <a:gd name="connsiteY1350" fmla="*/ 3596301 h 3905171"/>
                <a:gd name="connsiteX1351" fmla="*/ 2342071 w 2626806"/>
                <a:gd name="connsiteY1351" fmla="*/ 3618251 h 3905171"/>
                <a:gd name="connsiteX1352" fmla="*/ 2304755 w 2626806"/>
                <a:gd name="connsiteY1352" fmla="*/ 3580936 h 3905171"/>
                <a:gd name="connsiteX1353" fmla="*/ 2342071 w 2626806"/>
                <a:gd name="connsiteY1353" fmla="*/ 3543621 h 3905171"/>
                <a:gd name="connsiteX1354" fmla="*/ 2379385 w 2626806"/>
                <a:gd name="connsiteY1354" fmla="*/ 3580936 h 3905171"/>
                <a:gd name="connsiteX1355" fmla="*/ 2342071 w 2626806"/>
                <a:gd name="connsiteY1355" fmla="*/ 3618251 h 3905171"/>
                <a:gd name="connsiteX1356" fmla="*/ 1935994 w 2626806"/>
                <a:gd name="connsiteY1356" fmla="*/ 3629226 h 3905171"/>
                <a:gd name="connsiteX1357" fmla="*/ 1894289 w 2626806"/>
                <a:gd name="connsiteY1357" fmla="*/ 3587521 h 3905171"/>
                <a:gd name="connsiteX1358" fmla="*/ 1935994 w 2626806"/>
                <a:gd name="connsiteY1358" fmla="*/ 3545816 h 3905171"/>
                <a:gd name="connsiteX1359" fmla="*/ 1977700 w 2626806"/>
                <a:gd name="connsiteY1359" fmla="*/ 3587521 h 3905171"/>
                <a:gd name="connsiteX1360" fmla="*/ 1935994 w 2626806"/>
                <a:gd name="connsiteY1360" fmla="*/ 3629226 h 3905171"/>
                <a:gd name="connsiteX1361" fmla="*/ 2469380 w 2626806"/>
                <a:gd name="connsiteY1361" fmla="*/ 3651176 h 3905171"/>
                <a:gd name="connsiteX1362" fmla="*/ 2434260 w 2626806"/>
                <a:gd name="connsiteY1362" fmla="*/ 3616056 h 3905171"/>
                <a:gd name="connsiteX1363" fmla="*/ 2469380 w 2626806"/>
                <a:gd name="connsiteY1363" fmla="*/ 3580936 h 3905171"/>
                <a:gd name="connsiteX1364" fmla="*/ 2504500 w 2626806"/>
                <a:gd name="connsiteY1364" fmla="*/ 3616056 h 3905171"/>
                <a:gd name="connsiteX1365" fmla="*/ 2469380 w 2626806"/>
                <a:gd name="connsiteY1365" fmla="*/ 3651176 h 3905171"/>
                <a:gd name="connsiteX1366" fmla="*/ 906537 w 2626806"/>
                <a:gd name="connsiteY1366" fmla="*/ 3655566 h 3905171"/>
                <a:gd name="connsiteX1367" fmla="*/ 858247 w 2626806"/>
                <a:gd name="connsiteY1367" fmla="*/ 3607276 h 3905171"/>
                <a:gd name="connsiteX1368" fmla="*/ 906537 w 2626806"/>
                <a:gd name="connsiteY1368" fmla="*/ 3558986 h 3905171"/>
                <a:gd name="connsiteX1369" fmla="*/ 954827 w 2626806"/>
                <a:gd name="connsiteY1369" fmla="*/ 3607276 h 3905171"/>
                <a:gd name="connsiteX1370" fmla="*/ 906537 w 2626806"/>
                <a:gd name="connsiteY1370" fmla="*/ 3655566 h 3905171"/>
                <a:gd name="connsiteX1371" fmla="*/ 1663814 w 2626806"/>
                <a:gd name="connsiteY1371" fmla="*/ 3662151 h 3905171"/>
                <a:gd name="connsiteX1372" fmla="*/ 1615523 w 2626806"/>
                <a:gd name="connsiteY1372" fmla="*/ 3613861 h 3905171"/>
                <a:gd name="connsiteX1373" fmla="*/ 1663814 w 2626806"/>
                <a:gd name="connsiteY1373" fmla="*/ 3565571 h 3905171"/>
                <a:gd name="connsiteX1374" fmla="*/ 1712104 w 2626806"/>
                <a:gd name="connsiteY1374" fmla="*/ 3613861 h 3905171"/>
                <a:gd name="connsiteX1375" fmla="*/ 1663814 w 2626806"/>
                <a:gd name="connsiteY1375" fmla="*/ 3662151 h 3905171"/>
                <a:gd name="connsiteX1376" fmla="*/ 1150183 w 2626806"/>
                <a:gd name="connsiteY1376" fmla="*/ 3670931 h 3905171"/>
                <a:gd name="connsiteX1377" fmla="*/ 1101892 w 2626806"/>
                <a:gd name="connsiteY1377" fmla="*/ 3622641 h 3905171"/>
                <a:gd name="connsiteX1378" fmla="*/ 1150183 w 2626806"/>
                <a:gd name="connsiteY1378" fmla="*/ 3574351 h 3905171"/>
                <a:gd name="connsiteX1379" fmla="*/ 1198473 w 2626806"/>
                <a:gd name="connsiteY1379" fmla="*/ 3622641 h 3905171"/>
                <a:gd name="connsiteX1380" fmla="*/ 1150183 w 2626806"/>
                <a:gd name="connsiteY1380" fmla="*/ 3670931 h 3905171"/>
                <a:gd name="connsiteX1381" fmla="*/ 1402608 w 2626806"/>
                <a:gd name="connsiteY1381" fmla="*/ 3670931 h 3905171"/>
                <a:gd name="connsiteX1382" fmla="*/ 1354318 w 2626806"/>
                <a:gd name="connsiteY1382" fmla="*/ 3622641 h 3905171"/>
                <a:gd name="connsiteX1383" fmla="*/ 1402608 w 2626806"/>
                <a:gd name="connsiteY1383" fmla="*/ 3574351 h 3905171"/>
                <a:gd name="connsiteX1384" fmla="*/ 1450898 w 2626806"/>
                <a:gd name="connsiteY1384" fmla="*/ 3622641 h 3905171"/>
                <a:gd name="connsiteX1385" fmla="*/ 1402608 w 2626806"/>
                <a:gd name="connsiteY1385" fmla="*/ 3670931 h 3905171"/>
                <a:gd name="connsiteX1386" fmla="*/ 2601080 w 2626806"/>
                <a:gd name="connsiteY1386" fmla="*/ 3679711 h 3905171"/>
                <a:gd name="connsiteX1387" fmla="*/ 2561570 w 2626806"/>
                <a:gd name="connsiteY1387" fmla="*/ 3640201 h 3905171"/>
                <a:gd name="connsiteX1388" fmla="*/ 2601080 w 2626806"/>
                <a:gd name="connsiteY1388" fmla="*/ 3600691 h 3905171"/>
                <a:gd name="connsiteX1389" fmla="*/ 2616514 w 2626806"/>
                <a:gd name="connsiteY1389" fmla="*/ 3603778 h 3905171"/>
                <a:gd name="connsiteX1390" fmla="*/ 2626806 w 2626806"/>
                <a:gd name="connsiteY1390" fmla="*/ 3610695 h 3905171"/>
                <a:gd name="connsiteX1391" fmla="*/ 2626806 w 2626806"/>
                <a:gd name="connsiteY1391" fmla="*/ 3669707 h 3905171"/>
                <a:gd name="connsiteX1392" fmla="*/ 2616514 w 2626806"/>
                <a:gd name="connsiteY1392" fmla="*/ 3676625 h 3905171"/>
                <a:gd name="connsiteX1393" fmla="*/ 2601080 w 2626806"/>
                <a:gd name="connsiteY1393" fmla="*/ 3679711 h 3905171"/>
                <a:gd name="connsiteX1394" fmla="*/ 2056720 w 2626806"/>
                <a:gd name="connsiteY1394" fmla="*/ 3681905 h 3905171"/>
                <a:gd name="connsiteX1395" fmla="*/ 2015015 w 2626806"/>
                <a:gd name="connsiteY1395" fmla="*/ 3640201 h 3905171"/>
                <a:gd name="connsiteX1396" fmla="*/ 2056720 w 2626806"/>
                <a:gd name="connsiteY1396" fmla="*/ 3598496 h 3905171"/>
                <a:gd name="connsiteX1397" fmla="*/ 2098425 w 2626806"/>
                <a:gd name="connsiteY1397" fmla="*/ 3640201 h 3905171"/>
                <a:gd name="connsiteX1398" fmla="*/ 2056720 w 2626806"/>
                <a:gd name="connsiteY1398" fmla="*/ 3681905 h 3905171"/>
                <a:gd name="connsiteX1399" fmla="*/ 766057 w 2626806"/>
                <a:gd name="connsiteY1399" fmla="*/ 3721416 h 3905171"/>
                <a:gd name="connsiteX1400" fmla="*/ 722156 w 2626806"/>
                <a:gd name="connsiteY1400" fmla="*/ 3677516 h 3905171"/>
                <a:gd name="connsiteX1401" fmla="*/ 766057 w 2626806"/>
                <a:gd name="connsiteY1401" fmla="*/ 3633616 h 3905171"/>
                <a:gd name="connsiteX1402" fmla="*/ 809957 w 2626806"/>
                <a:gd name="connsiteY1402" fmla="*/ 3677516 h 3905171"/>
                <a:gd name="connsiteX1403" fmla="*/ 766057 w 2626806"/>
                <a:gd name="connsiteY1403" fmla="*/ 3721416 h 3905171"/>
                <a:gd name="connsiteX1404" fmla="*/ 1782344 w 2626806"/>
                <a:gd name="connsiteY1404" fmla="*/ 3723612 h 3905171"/>
                <a:gd name="connsiteX1405" fmla="*/ 1736249 w 2626806"/>
                <a:gd name="connsiteY1405" fmla="*/ 3677516 h 3905171"/>
                <a:gd name="connsiteX1406" fmla="*/ 1782344 w 2626806"/>
                <a:gd name="connsiteY1406" fmla="*/ 3631421 h 3905171"/>
                <a:gd name="connsiteX1407" fmla="*/ 1828439 w 2626806"/>
                <a:gd name="connsiteY1407" fmla="*/ 3677516 h 3905171"/>
                <a:gd name="connsiteX1408" fmla="*/ 1782344 w 2626806"/>
                <a:gd name="connsiteY1408" fmla="*/ 3723612 h 3905171"/>
                <a:gd name="connsiteX1409" fmla="*/ 2181835 w 2626806"/>
                <a:gd name="connsiteY1409" fmla="*/ 3730196 h 3905171"/>
                <a:gd name="connsiteX1410" fmla="*/ 2137934 w 2626806"/>
                <a:gd name="connsiteY1410" fmla="*/ 3686297 h 3905171"/>
                <a:gd name="connsiteX1411" fmla="*/ 2181835 w 2626806"/>
                <a:gd name="connsiteY1411" fmla="*/ 3642396 h 3905171"/>
                <a:gd name="connsiteX1412" fmla="*/ 2225735 w 2626806"/>
                <a:gd name="connsiteY1412" fmla="*/ 3686297 h 3905171"/>
                <a:gd name="connsiteX1413" fmla="*/ 2181835 w 2626806"/>
                <a:gd name="connsiteY1413" fmla="*/ 3730196 h 3905171"/>
                <a:gd name="connsiteX1414" fmla="*/ 1007507 w 2626806"/>
                <a:gd name="connsiteY1414" fmla="*/ 3738977 h 3905171"/>
                <a:gd name="connsiteX1415" fmla="*/ 963607 w 2626806"/>
                <a:gd name="connsiteY1415" fmla="*/ 3695076 h 3905171"/>
                <a:gd name="connsiteX1416" fmla="*/ 1007507 w 2626806"/>
                <a:gd name="connsiteY1416" fmla="*/ 3651176 h 3905171"/>
                <a:gd name="connsiteX1417" fmla="*/ 1051407 w 2626806"/>
                <a:gd name="connsiteY1417" fmla="*/ 3695076 h 3905171"/>
                <a:gd name="connsiteX1418" fmla="*/ 1007507 w 2626806"/>
                <a:gd name="connsiteY1418" fmla="*/ 3738977 h 3905171"/>
                <a:gd name="connsiteX1419" fmla="*/ 1514553 w 2626806"/>
                <a:gd name="connsiteY1419" fmla="*/ 3743367 h 3905171"/>
                <a:gd name="connsiteX1420" fmla="*/ 1468458 w 2626806"/>
                <a:gd name="connsiteY1420" fmla="*/ 3697271 h 3905171"/>
                <a:gd name="connsiteX1421" fmla="*/ 1514553 w 2626806"/>
                <a:gd name="connsiteY1421" fmla="*/ 3651176 h 3905171"/>
                <a:gd name="connsiteX1422" fmla="*/ 1560648 w 2626806"/>
                <a:gd name="connsiteY1422" fmla="*/ 3697271 h 3905171"/>
                <a:gd name="connsiteX1423" fmla="*/ 1514553 w 2626806"/>
                <a:gd name="connsiteY1423" fmla="*/ 3743367 h 3905171"/>
                <a:gd name="connsiteX1424" fmla="*/ 1257738 w 2626806"/>
                <a:gd name="connsiteY1424" fmla="*/ 3749951 h 3905171"/>
                <a:gd name="connsiteX1425" fmla="*/ 1209448 w 2626806"/>
                <a:gd name="connsiteY1425" fmla="*/ 3701661 h 3905171"/>
                <a:gd name="connsiteX1426" fmla="*/ 1257738 w 2626806"/>
                <a:gd name="connsiteY1426" fmla="*/ 3653371 h 3905171"/>
                <a:gd name="connsiteX1427" fmla="*/ 1306028 w 2626806"/>
                <a:gd name="connsiteY1427" fmla="*/ 3701661 h 3905171"/>
                <a:gd name="connsiteX1428" fmla="*/ 1257738 w 2626806"/>
                <a:gd name="connsiteY1428" fmla="*/ 3749951 h 3905171"/>
                <a:gd name="connsiteX1429" fmla="*/ 2309145 w 2626806"/>
                <a:gd name="connsiteY1429" fmla="*/ 3771902 h 3905171"/>
                <a:gd name="connsiteX1430" fmla="*/ 2263051 w 2626806"/>
                <a:gd name="connsiteY1430" fmla="*/ 3725806 h 3905171"/>
                <a:gd name="connsiteX1431" fmla="*/ 2309145 w 2626806"/>
                <a:gd name="connsiteY1431" fmla="*/ 3679711 h 3905171"/>
                <a:gd name="connsiteX1432" fmla="*/ 2355239 w 2626806"/>
                <a:gd name="connsiteY1432" fmla="*/ 3725806 h 3905171"/>
                <a:gd name="connsiteX1433" fmla="*/ 2309145 w 2626806"/>
                <a:gd name="connsiteY1433" fmla="*/ 3771902 h 3905171"/>
                <a:gd name="connsiteX1434" fmla="*/ 1900874 w 2626806"/>
                <a:gd name="connsiteY1434" fmla="*/ 3782876 h 3905171"/>
                <a:gd name="connsiteX1435" fmla="*/ 1852584 w 2626806"/>
                <a:gd name="connsiteY1435" fmla="*/ 3734586 h 3905171"/>
                <a:gd name="connsiteX1436" fmla="*/ 1900874 w 2626806"/>
                <a:gd name="connsiteY1436" fmla="*/ 3686297 h 3905171"/>
                <a:gd name="connsiteX1437" fmla="*/ 1949164 w 2626806"/>
                <a:gd name="connsiteY1437" fmla="*/ 3734586 h 3905171"/>
                <a:gd name="connsiteX1438" fmla="*/ 1900874 w 2626806"/>
                <a:gd name="connsiteY1438" fmla="*/ 3782876 h 3905171"/>
                <a:gd name="connsiteX1439" fmla="*/ 864832 w 2626806"/>
                <a:gd name="connsiteY1439" fmla="*/ 3798242 h 3905171"/>
                <a:gd name="connsiteX1440" fmla="*/ 834102 w 2626806"/>
                <a:gd name="connsiteY1440" fmla="*/ 3767511 h 3905171"/>
                <a:gd name="connsiteX1441" fmla="*/ 864832 w 2626806"/>
                <a:gd name="connsiteY1441" fmla="*/ 3736781 h 3905171"/>
                <a:gd name="connsiteX1442" fmla="*/ 895563 w 2626806"/>
                <a:gd name="connsiteY1442" fmla="*/ 3767511 h 3905171"/>
                <a:gd name="connsiteX1443" fmla="*/ 864832 w 2626806"/>
                <a:gd name="connsiteY1443" fmla="*/ 3798242 h 3905171"/>
                <a:gd name="connsiteX1444" fmla="*/ 2436456 w 2626806"/>
                <a:gd name="connsiteY1444" fmla="*/ 3800437 h 3905171"/>
                <a:gd name="connsiteX1445" fmla="*/ 2394751 w 2626806"/>
                <a:gd name="connsiteY1445" fmla="*/ 3758731 h 3905171"/>
                <a:gd name="connsiteX1446" fmla="*/ 2436456 w 2626806"/>
                <a:gd name="connsiteY1446" fmla="*/ 3717026 h 3905171"/>
                <a:gd name="connsiteX1447" fmla="*/ 2478160 w 2626806"/>
                <a:gd name="connsiteY1447" fmla="*/ 3758731 h 3905171"/>
                <a:gd name="connsiteX1448" fmla="*/ 2436456 w 2626806"/>
                <a:gd name="connsiteY1448" fmla="*/ 3800437 h 3905171"/>
                <a:gd name="connsiteX1449" fmla="*/ 1628694 w 2626806"/>
                <a:gd name="connsiteY1449" fmla="*/ 3811412 h 3905171"/>
                <a:gd name="connsiteX1450" fmla="*/ 1580404 w 2626806"/>
                <a:gd name="connsiteY1450" fmla="*/ 3763121 h 3905171"/>
                <a:gd name="connsiteX1451" fmla="*/ 1628694 w 2626806"/>
                <a:gd name="connsiteY1451" fmla="*/ 3714832 h 3905171"/>
                <a:gd name="connsiteX1452" fmla="*/ 1676984 w 2626806"/>
                <a:gd name="connsiteY1452" fmla="*/ 3763121 h 3905171"/>
                <a:gd name="connsiteX1453" fmla="*/ 1628694 w 2626806"/>
                <a:gd name="connsiteY1453" fmla="*/ 3811412 h 3905171"/>
                <a:gd name="connsiteX1454" fmla="*/ 2568156 w 2626806"/>
                <a:gd name="connsiteY1454" fmla="*/ 3822387 h 3905171"/>
                <a:gd name="connsiteX1455" fmla="*/ 2530840 w 2626806"/>
                <a:gd name="connsiteY1455" fmla="*/ 3785072 h 3905171"/>
                <a:gd name="connsiteX1456" fmla="*/ 2568156 w 2626806"/>
                <a:gd name="connsiteY1456" fmla="*/ 3747757 h 3905171"/>
                <a:gd name="connsiteX1457" fmla="*/ 2605470 w 2626806"/>
                <a:gd name="connsiteY1457" fmla="*/ 3785072 h 3905171"/>
                <a:gd name="connsiteX1458" fmla="*/ 2568156 w 2626806"/>
                <a:gd name="connsiteY1458" fmla="*/ 3822387 h 3905171"/>
                <a:gd name="connsiteX1459" fmla="*/ 1365293 w 2626806"/>
                <a:gd name="connsiteY1459" fmla="*/ 3824582 h 3905171"/>
                <a:gd name="connsiteX1460" fmla="*/ 1319198 w 2626806"/>
                <a:gd name="connsiteY1460" fmla="*/ 3778487 h 3905171"/>
                <a:gd name="connsiteX1461" fmla="*/ 1365293 w 2626806"/>
                <a:gd name="connsiteY1461" fmla="*/ 3732392 h 3905171"/>
                <a:gd name="connsiteX1462" fmla="*/ 1411388 w 2626806"/>
                <a:gd name="connsiteY1462" fmla="*/ 3778487 h 3905171"/>
                <a:gd name="connsiteX1463" fmla="*/ 1365293 w 2626806"/>
                <a:gd name="connsiteY1463" fmla="*/ 3824582 h 3905171"/>
                <a:gd name="connsiteX1464" fmla="*/ 1110672 w 2626806"/>
                <a:gd name="connsiteY1464" fmla="*/ 3828971 h 3905171"/>
                <a:gd name="connsiteX1465" fmla="*/ 1057992 w 2626806"/>
                <a:gd name="connsiteY1465" fmla="*/ 3776292 h 3905171"/>
                <a:gd name="connsiteX1466" fmla="*/ 1110672 w 2626806"/>
                <a:gd name="connsiteY1466" fmla="*/ 3723612 h 3905171"/>
                <a:gd name="connsiteX1467" fmla="*/ 1163353 w 2626806"/>
                <a:gd name="connsiteY1467" fmla="*/ 3776292 h 3905171"/>
                <a:gd name="connsiteX1468" fmla="*/ 1110672 w 2626806"/>
                <a:gd name="connsiteY1468" fmla="*/ 3828971 h 3905171"/>
                <a:gd name="connsiteX1469" fmla="*/ 2023795 w 2626806"/>
                <a:gd name="connsiteY1469" fmla="*/ 3833362 h 3905171"/>
                <a:gd name="connsiteX1470" fmla="*/ 1977700 w 2626806"/>
                <a:gd name="connsiteY1470" fmla="*/ 3787266 h 3905171"/>
                <a:gd name="connsiteX1471" fmla="*/ 2023795 w 2626806"/>
                <a:gd name="connsiteY1471" fmla="*/ 3741171 h 3905171"/>
                <a:gd name="connsiteX1472" fmla="*/ 2069890 w 2626806"/>
                <a:gd name="connsiteY1472" fmla="*/ 3787266 h 3905171"/>
                <a:gd name="connsiteX1473" fmla="*/ 2023795 w 2626806"/>
                <a:gd name="connsiteY1473" fmla="*/ 3833362 h 3905171"/>
                <a:gd name="connsiteX1474" fmla="*/ 1747224 w 2626806"/>
                <a:gd name="connsiteY1474" fmla="*/ 3872872 h 3905171"/>
                <a:gd name="connsiteX1475" fmla="*/ 1698933 w 2626806"/>
                <a:gd name="connsiteY1475" fmla="*/ 3824582 h 3905171"/>
                <a:gd name="connsiteX1476" fmla="*/ 1747224 w 2626806"/>
                <a:gd name="connsiteY1476" fmla="*/ 3776292 h 3905171"/>
                <a:gd name="connsiteX1477" fmla="*/ 1795514 w 2626806"/>
                <a:gd name="connsiteY1477" fmla="*/ 3824582 h 3905171"/>
                <a:gd name="connsiteX1478" fmla="*/ 1747224 w 2626806"/>
                <a:gd name="connsiteY1478" fmla="*/ 3872872 h 3905171"/>
                <a:gd name="connsiteX1479" fmla="*/ 965802 w 2626806"/>
                <a:gd name="connsiteY1479" fmla="*/ 3879457 h 3905171"/>
                <a:gd name="connsiteX1480" fmla="*/ 939462 w 2626806"/>
                <a:gd name="connsiteY1480" fmla="*/ 3853117 h 3905171"/>
                <a:gd name="connsiteX1481" fmla="*/ 965802 w 2626806"/>
                <a:gd name="connsiteY1481" fmla="*/ 3826777 h 3905171"/>
                <a:gd name="connsiteX1482" fmla="*/ 992142 w 2626806"/>
                <a:gd name="connsiteY1482" fmla="*/ 3853117 h 3905171"/>
                <a:gd name="connsiteX1483" fmla="*/ 965802 w 2626806"/>
                <a:gd name="connsiteY1483" fmla="*/ 3879457 h 3905171"/>
                <a:gd name="connsiteX1484" fmla="*/ 2148910 w 2626806"/>
                <a:gd name="connsiteY1484" fmla="*/ 3879457 h 3905171"/>
                <a:gd name="connsiteX1485" fmla="*/ 2102815 w 2626806"/>
                <a:gd name="connsiteY1485" fmla="*/ 3833362 h 3905171"/>
                <a:gd name="connsiteX1486" fmla="*/ 2148910 w 2626806"/>
                <a:gd name="connsiteY1486" fmla="*/ 3787266 h 3905171"/>
                <a:gd name="connsiteX1487" fmla="*/ 2195006 w 2626806"/>
                <a:gd name="connsiteY1487" fmla="*/ 3833362 h 3905171"/>
                <a:gd name="connsiteX1488" fmla="*/ 2148910 w 2626806"/>
                <a:gd name="connsiteY1488" fmla="*/ 3879457 h 3905171"/>
                <a:gd name="connsiteX1489" fmla="*/ 1479433 w 2626806"/>
                <a:gd name="connsiteY1489" fmla="*/ 3890431 h 3905171"/>
                <a:gd name="connsiteX1490" fmla="*/ 1435533 w 2626806"/>
                <a:gd name="connsiteY1490" fmla="*/ 3846531 h 3905171"/>
                <a:gd name="connsiteX1491" fmla="*/ 1479433 w 2626806"/>
                <a:gd name="connsiteY1491" fmla="*/ 3802631 h 3905171"/>
                <a:gd name="connsiteX1492" fmla="*/ 1523333 w 2626806"/>
                <a:gd name="connsiteY1492" fmla="*/ 3846531 h 3905171"/>
                <a:gd name="connsiteX1493" fmla="*/ 1479433 w 2626806"/>
                <a:gd name="connsiteY1493" fmla="*/ 3890431 h 3905171"/>
                <a:gd name="connsiteX1494" fmla="*/ 1106195 w 2626806"/>
                <a:gd name="connsiteY1494" fmla="*/ 3905171 h 3905171"/>
                <a:gd name="connsiteX1495" fmla="*/ 1034905 w 2626806"/>
                <a:gd name="connsiteY1495" fmla="*/ 3905171 h 3905171"/>
                <a:gd name="connsiteX1496" fmla="*/ 1039060 w 2626806"/>
                <a:gd name="connsiteY1496" fmla="*/ 3899211 h 3905171"/>
                <a:gd name="connsiteX1497" fmla="*/ 1071162 w 2626806"/>
                <a:gd name="connsiteY1497" fmla="*/ 3886041 h 3905171"/>
                <a:gd name="connsiteX1498" fmla="*/ 1104087 w 2626806"/>
                <a:gd name="connsiteY1498" fmla="*/ 3900035 h 3905171"/>
                <a:gd name="connsiteX1499" fmla="*/ 1225200 w 2626806"/>
                <a:gd name="connsiteY1499" fmla="*/ 3905171 h 3905171"/>
                <a:gd name="connsiteX1500" fmla="*/ 1211629 w 2626806"/>
                <a:gd name="connsiteY1500" fmla="*/ 3905171 h 3905171"/>
                <a:gd name="connsiteX1501" fmla="*/ 1182285 w 2626806"/>
                <a:gd name="connsiteY1501" fmla="*/ 3892627 h 3905171"/>
                <a:gd name="connsiteX1502" fmla="*/ 1167743 w 2626806"/>
                <a:gd name="connsiteY1502" fmla="*/ 3857506 h 3905171"/>
                <a:gd name="connsiteX1503" fmla="*/ 1218228 w 2626806"/>
                <a:gd name="connsiteY1503" fmla="*/ 3807022 h 3905171"/>
                <a:gd name="connsiteX1504" fmla="*/ 1268713 w 2626806"/>
                <a:gd name="connsiteY1504" fmla="*/ 3857506 h 3905171"/>
                <a:gd name="connsiteX1505" fmla="*/ 1254171 w 2626806"/>
                <a:gd name="connsiteY1505" fmla="*/ 3893450 h 3905171"/>
                <a:gd name="connsiteX1506" fmla="*/ 1371361 w 2626806"/>
                <a:gd name="connsiteY1506" fmla="*/ 3905171 h 3905171"/>
                <a:gd name="connsiteX1507" fmla="*/ 1284594 w 2626806"/>
                <a:gd name="connsiteY1507" fmla="*/ 3905171 h 3905171"/>
                <a:gd name="connsiteX1508" fmla="*/ 1292034 w 2626806"/>
                <a:gd name="connsiteY1508" fmla="*/ 3893998 h 3905171"/>
                <a:gd name="connsiteX1509" fmla="*/ 1327977 w 2626806"/>
                <a:gd name="connsiteY1509" fmla="*/ 3879456 h 3905171"/>
                <a:gd name="connsiteX1510" fmla="*/ 1363920 w 2626806"/>
                <a:gd name="connsiteY1510" fmla="*/ 3893998 h 3905171"/>
                <a:gd name="connsiteX1511" fmla="*/ 1634475 w 2626806"/>
                <a:gd name="connsiteY1511" fmla="*/ 3905171 h 3905171"/>
                <a:gd name="connsiteX1512" fmla="*/ 1552672 w 2626806"/>
                <a:gd name="connsiteY1512" fmla="*/ 3905171 h 3905171"/>
                <a:gd name="connsiteX1513" fmla="*/ 1562569 w 2626806"/>
                <a:gd name="connsiteY1513" fmla="*/ 3881377 h 3905171"/>
                <a:gd name="connsiteX1514" fmla="*/ 1593574 w 2626806"/>
                <a:gd name="connsiteY1514" fmla="*/ 3868481 h 3905171"/>
                <a:gd name="connsiteX1515" fmla="*/ 1624578 w 2626806"/>
                <a:gd name="connsiteY1515" fmla="*/ 3881377 h 3905171"/>
                <a:gd name="connsiteX1516" fmla="*/ 1909099 w 2626806"/>
                <a:gd name="connsiteY1516" fmla="*/ 3905171 h 3905171"/>
                <a:gd name="connsiteX1517" fmla="*/ 1824848 w 2626806"/>
                <a:gd name="connsiteY1517" fmla="*/ 3905171 h 3905171"/>
                <a:gd name="connsiteX1518" fmla="*/ 1822266 w 2626806"/>
                <a:gd name="connsiteY1518" fmla="*/ 3901235 h 3905171"/>
                <a:gd name="connsiteX1519" fmla="*/ 1819659 w 2626806"/>
                <a:gd name="connsiteY1519" fmla="*/ 3881652 h 3905171"/>
                <a:gd name="connsiteX1520" fmla="*/ 1867949 w 2626806"/>
                <a:gd name="connsiteY1520" fmla="*/ 3833362 h 3905171"/>
                <a:gd name="connsiteX1521" fmla="*/ 1916239 w 2626806"/>
                <a:gd name="connsiteY1521" fmla="*/ 3881652 h 3905171"/>
                <a:gd name="connsiteX1522" fmla="*/ 1912398 w 2626806"/>
                <a:gd name="connsiteY1522" fmla="*/ 3900310 h 3905171"/>
                <a:gd name="connsiteX1523" fmla="*/ 2029680 w 2626806"/>
                <a:gd name="connsiteY1523" fmla="*/ 3905171 h 3905171"/>
                <a:gd name="connsiteX1524" fmla="*/ 1952059 w 2626806"/>
                <a:gd name="connsiteY1524" fmla="*/ 3905171 h 3905171"/>
                <a:gd name="connsiteX1525" fmla="*/ 1956847 w 2626806"/>
                <a:gd name="connsiteY1525" fmla="*/ 3898115 h 3905171"/>
                <a:gd name="connsiteX1526" fmla="*/ 1990869 w 2626806"/>
                <a:gd name="connsiteY1526" fmla="*/ 3883847 h 3905171"/>
                <a:gd name="connsiteX1527" fmla="*/ 2024892 w 2626806"/>
                <a:gd name="connsiteY1527" fmla="*/ 3898115 h 3905171"/>
                <a:gd name="connsiteX1528" fmla="*/ 2304497 w 2626806"/>
                <a:gd name="connsiteY1528" fmla="*/ 3905171 h 3905171"/>
                <a:gd name="connsiteX1529" fmla="*/ 2247217 w 2626806"/>
                <a:gd name="connsiteY1529" fmla="*/ 3905171 h 3905171"/>
                <a:gd name="connsiteX1530" fmla="*/ 2243294 w 2626806"/>
                <a:gd name="connsiteY1530" fmla="*/ 3903602 h 3905171"/>
                <a:gd name="connsiteX1531" fmla="*/ 2230124 w 2626806"/>
                <a:gd name="connsiteY1531" fmla="*/ 3870677 h 3905171"/>
                <a:gd name="connsiteX1532" fmla="*/ 2276219 w 2626806"/>
                <a:gd name="connsiteY1532" fmla="*/ 3824581 h 3905171"/>
                <a:gd name="connsiteX1533" fmla="*/ 2322315 w 2626806"/>
                <a:gd name="connsiteY1533" fmla="*/ 3870677 h 3905171"/>
                <a:gd name="connsiteX1534" fmla="*/ 2308322 w 2626806"/>
                <a:gd name="connsiteY1534" fmla="*/ 3903602 h 3905171"/>
                <a:gd name="connsiteX1535" fmla="*/ 2448998 w 2626806"/>
                <a:gd name="connsiteY1535" fmla="*/ 3905171 h 3905171"/>
                <a:gd name="connsiteX1536" fmla="*/ 2357761 w 2626806"/>
                <a:gd name="connsiteY1536" fmla="*/ 3905171 h 3905171"/>
                <a:gd name="connsiteX1537" fmla="*/ 2357435 w 2626806"/>
                <a:gd name="connsiteY1537" fmla="*/ 3903602 h 3905171"/>
                <a:gd name="connsiteX1538" fmla="*/ 2403531 w 2626806"/>
                <a:gd name="connsiteY1538" fmla="*/ 3857506 h 3905171"/>
                <a:gd name="connsiteX1539" fmla="*/ 2449625 w 2626806"/>
                <a:gd name="connsiteY1539" fmla="*/ 3903602 h 3905171"/>
                <a:gd name="connsiteX1540" fmla="*/ 2565556 w 2626806"/>
                <a:gd name="connsiteY1540" fmla="*/ 3905171 h 3905171"/>
                <a:gd name="connsiteX1541" fmla="*/ 2504463 w 2626806"/>
                <a:gd name="connsiteY1541" fmla="*/ 3905171 h 3905171"/>
                <a:gd name="connsiteX1542" fmla="*/ 2505322 w 2626806"/>
                <a:gd name="connsiteY1542" fmla="*/ 3903053 h 3905171"/>
                <a:gd name="connsiteX1543" fmla="*/ 2535230 w 2626806"/>
                <a:gd name="connsiteY1543" fmla="*/ 3890431 h 3905171"/>
                <a:gd name="connsiteX1544" fmla="*/ 2564315 w 2626806"/>
                <a:gd name="connsiteY1544" fmla="*/ 3902230 h 390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Lst>
              <a:rect l="l" t="t" r="r" b="b"/>
              <a:pathLst>
                <a:path w="2626806" h="3905171">
                  <a:moveTo>
                    <a:pt x="1200667" y="3105"/>
                  </a:moveTo>
                  <a:cubicBezTo>
                    <a:pt x="1199570" y="2007"/>
                    <a:pt x="1199570" y="909"/>
                    <a:pt x="1199844" y="361"/>
                  </a:cubicBezTo>
                  <a:cubicBezTo>
                    <a:pt x="1200118" y="-188"/>
                    <a:pt x="1200667" y="-188"/>
                    <a:pt x="1200667" y="909"/>
                  </a:cubicBezTo>
                  <a:cubicBezTo>
                    <a:pt x="1200667" y="909"/>
                    <a:pt x="1202862" y="909"/>
                    <a:pt x="1200667" y="3105"/>
                  </a:cubicBezTo>
                  <a:close/>
                  <a:moveTo>
                    <a:pt x="1126038" y="115049"/>
                  </a:moveTo>
                  <a:cubicBezTo>
                    <a:pt x="1123842" y="115049"/>
                    <a:pt x="1121648" y="112853"/>
                    <a:pt x="1121648" y="110659"/>
                  </a:cubicBezTo>
                  <a:cubicBezTo>
                    <a:pt x="1121648" y="108463"/>
                    <a:pt x="1123842" y="106269"/>
                    <a:pt x="1126038" y="106269"/>
                  </a:cubicBezTo>
                  <a:cubicBezTo>
                    <a:pt x="1128232" y="106269"/>
                    <a:pt x="1130428" y="108463"/>
                    <a:pt x="1130428" y="110659"/>
                  </a:cubicBezTo>
                  <a:cubicBezTo>
                    <a:pt x="1130428" y="112853"/>
                    <a:pt x="1128232" y="115049"/>
                    <a:pt x="1126038" y="115049"/>
                  </a:cubicBezTo>
                  <a:close/>
                  <a:moveTo>
                    <a:pt x="924097" y="167725"/>
                  </a:moveTo>
                  <a:cubicBezTo>
                    <a:pt x="919707" y="167725"/>
                    <a:pt x="917512" y="163335"/>
                    <a:pt x="917512" y="161140"/>
                  </a:cubicBezTo>
                  <a:cubicBezTo>
                    <a:pt x="917512" y="156750"/>
                    <a:pt x="919707" y="154555"/>
                    <a:pt x="924097" y="154555"/>
                  </a:cubicBezTo>
                  <a:cubicBezTo>
                    <a:pt x="928487" y="154555"/>
                    <a:pt x="930682" y="156750"/>
                    <a:pt x="930682" y="161140"/>
                  </a:cubicBezTo>
                  <a:cubicBezTo>
                    <a:pt x="930682" y="165530"/>
                    <a:pt x="928487" y="167725"/>
                    <a:pt x="924097" y="167725"/>
                  </a:cubicBezTo>
                  <a:close/>
                  <a:moveTo>
                    <a:pt x="1259933" y="178707"/>
                  </a:moveTo>
                  <a:cubicBezTo>
                    <a:pt x="1257738" y="178707"/>
                    <a:pt x="1257738" y="176512"/>
                    <a:pt x="1257738" y="176512"/>
                  </a:cubicBezTo>
                  <a:cubicBezTo>
                    <a:pt x="1257738" y="176512"/>
                    <a:pt x="1257738" y="174318"/>
                    <a:pt x="1259933" y="174318"/>
                  </a:cubicBezTo>
                  <a:cubicBezTo>
                    <a:pt x="1259933" y="174318"/>
                    <a:pt x="1262128" y="174318"/>
                    <a:pt x="1262128" y="176512"/>
                  </a:cubicBezTo>
                  <a:cubicBezTo>
                    <a:pt x="1262128" y="176512"/>
                    <a:pt x="1262128" y="178707"/>
                    <a:pt x="1259933" y="178707"/>
                  </a:cubicBezTo>
                  <a:close/>
                  <a:moveTo>
                    <a:pt x="1057992" y="229189"/>
                  </a:moveTo>
                  <a:cubicBezTo>
                    <a:pt x="1055797" y="229189"/>
                    <a:pt x="1053602" y="226994"/>
                    <a:pt x="1053602" y="224799"/>
                  </a:cubicBezTo>
                  <a:cubicBezTo>
                    <a:pt x="1053602" y="222604"/>
                    <a:pt x="1055797" y="220409"/>
                    <a:pt x="1057992" y="220409"/>
                  </a:cubicBezTo>
                  <a:cubicBezTo>
                    <a:pt x="1060187" y="220409"/>
                    <a:pt x="1062382" y="222604"/>
                    <a:pt x="1062382" y="224799"/>
                  </a:cubicBezTo>
                  <a:cubicBezTo>
                    <a:pt x="1062382" y="226994"/>
                    <a:pt x="1060187" y="229189"/>
                    <a:pt x="1057992" y="229189"/>
                  </a:cubicBezTo>
                  <a:close/>
                  <a:moveTo>
                    <a:pt x="862637" y="284060"/>
                  </a:moveTo>
                  <a:cubicBezTo>
                    <a:pt x="860442" y="284060"/>
                    <a:pt x="856052" y="281865"/>
                    <a:pt x="856052" y="277476"/>
                  </a:cubicBezTo>
                  <a:cubicBezTo>
                    <a:pt x="856052" y="273086"/>
                    <a:pt x="858247" y="270890"/>
                    <a:pt x="862637" y="270890"/>
                  </a:cubicBezTo>
                  <a:cubicBezTo>
                    <a:pt x="867027" y="270890"/>
                    <a:pt x="869222" y="273086"/>
                    <a:pt x="869222" y="277476"/>
                  </a:cubicBezTo>
                  <a:cubicBezTo>
                    <a:pt x="869222" y="281865"/>
                    <a:pt x="867027" y="284060"/>
                    <a:pt x="862637" y="284060"/>
                  </a:cubicBezTo>
                  <a:close/>
                  <a:moveTo>
                    <a:pt x="676061" y="338932"/>
                  </a:moveTo>
                  <a:cubicBezTo>
                    <a:pt x="673866" y="338932"/>
                    <a:pt x="671671" y="336737"/>
                    <a:pt x="671671" y="334542"/>
                  </a:cubicBezTo>
                  <a:cubicBezTo>
                    <a:pt x="671671" y="332347"/>
                    <a:pt x="673866" y="330153"/>
                    <a:pt x="676061" y="330153"/>
                  </a:cubicBezTo>
                  <a:cubicBezTo>
                    <a:pt x="678257" y="330153"/>
                    <a:pt x="680451" y="332347"/>
                    <a:pt x="680451" y="334542"/>
                  </a:cubicBezTo>
                  <a:cubicBezTo>
                    <a:pt x="680451" y="336737"/>
                    <a:pt x="678257" y="338932"/>
                    <a:pt x="676061" y="338932"/>
                  </a:cubicBezTo>
                  <a:close/>
                  <a:moveTo>
                    <a:pt x="996532" y="352109"/>
                  </a:moveTo>
                  <a:cubicBezTo>
                    <a:pt x="992142" y="352109"/>
                    <a:pt x="987752" y="347718"/>
                    <a:pt x="987752" y="343329"/>
                  </a:cubicBezTo>
                  <a:cubicBezTo>
                    <a:pt x="987752" y="338938"/>
                    <a:pt x="992142" y="334548"/>
                    <a:pt x="996532" y="334548"/>
                  </a:cubicBezTo>
                  <a:cubicBezTo>
                    <a:pt x="1000922" y="334548"/>
                    <a:pt x="1005312" y="338938"/>
                    <a:pt x="1005312" y="343329"/>
                  </a:cubicBezTo>
                  <a:cubicBezTo>
                    <a:pt x="1005312" y="347718"/>
                    <a:pt x="1000922" y="352109"/>
                    <a:pt x="996532" y="352109"/>
                  </a:cubicBezTo>
                  <a:close/>
                  <a:moveTo>
                    <a:pt x="807762" y="404785"/>
                  </a:moveTo>
                  <a:cubicBezTo>
                    <a:pt x="805567" y="404785"/>
                    <a:pt x="803372" y="402590"/>
                    <a:pt x="803372" y="400395"/>
                  </a:cubicBezTo>
                  <a:cubicBezTo>
                    <a:pt x="803372" y="398200"/>
                    <a:pt x="805567" y="396005"/>
                    <a:pt x="807762" y="396005"/>
                  </a:cubicBezTo>
                  <a:cubicBezTo>
                    <a:pt x="809957" y="396005"/>
                    <a:pt x="812152" y="398200"/>
                    <a:pt x="812152" y="400395"/>
                  </a:cubicBezTo>
                  <a:cubicBezTo>
                    <a:pt x="812152" y="402590"/>
                    <a:pt x="809957" y="404785"/>
                    <a:pt x="807762" y="404785"/>
                  </a:cubicBezTo>
                  <a:close/>
                  <a:moveTo>
                    <a:pt x="1130428" y="409182"/>
                  </a:moveTo>
                  <a:cubicBezTo>
                    <a:pt x="1128232" y="409182"/>
                    <a:pt x="1126038" y="409182"/>
                    <a:pt x="1128232" y="406987"/>
                  </a:cubicBezTo>
                  <a:cubicBezTo>
                    <a:pt x="1128232" y="406987"/>
                    <a:pt x="1130428" y="404792"/>
                    <a:pt x="1130428" y="404792"/>
                  </a:cubicBezTo>
                  <a:cubicBezTo>
                    <a:pt x="1130428" y="404792"/>
                    <a:pt x="1132623" y="404792"/>
                    <a:pt x="1132623" y="406987"/>
                  </a:cubicBezTo>
                  <a:cubicBezTo>
                    <a:pt x="1132623" y="406987"/>
                    <a:pt x="1132623" y="409182"/>
                    <a:pt x="1130428" y="409182"/>
                  </a:cubicBezTo>
                  <a:close/>
                  <a:moveTo>
                    <a:pt x="627771" y="466241"/>
                  </a:moveTo>
                  <a:cubicBezTo>
                    <a:pt x="623381" y="466241"/>
                    <a:pt x="618991" y="464046"/>
                    <a:pt x="621186" y="459656"/>
                  </a:cubicBezTo>
                  <a:cubicBezTo>
                    <a:pt x="621186" y="457462"/>
                    <a:pt x="623381" y="453072"/>
                    <a:pt x="627771" y="453072"/>
                  </a:cubicBezTo>
                  <a:cubicBezTo>
                    <a:pt x="629966" y="453072"/>
                    <a:pt x="634356" y="455266"/>
                    <a:pt x="634356" y="459656"/>
                  </a:cubicBezTo>
                  <a:cubicBezTo>
                    <a:pt x="634356" y="461852"/>
                    <a:pt x="632161" y="466241"/>
                    <a:pt x="627771" y="466241"/>
                  </a:cubicBezTo>
                  <a:close/>
                  <a:moveTo>
                    <a:pt x="941657" y="470639"/>
                  </a:moveTo>
                  <a:cubicBezTo>
                    <a:pt x="939462" y="470639"/>
                    <a:pt x="935072" y="468444"/>
                    <a:pt x="935072" y="464053"/>
                  </a:cubicBezTo>
                  <a:cubicBezTo>
                    <a:pt x="935072" y="459664"/>
                    <a:pt x="939462" y="457468"/>
                    <a:pt x="941657" y="457468"/>
                  </a:cubicBezTo>
                  <a:cubicBezTo>
                    <a:pt x="946047" y="457468"/>
                    <a:pt x="948242" y="459664"/>
                    <a:pt x="948242" y="464053"/>
                  </a:cubicBezTo>
                  <a:cubicBezTo>
                    <a:pt x="948242" y="468444"/>
                    <a:pt x="943852" y="470639"/>
                    <a:pt x="941657" y="470639"/>
                  </a:cubicBezTo>
                  <a:close/>
                  <a:moveTo>
                    <a:pt x="761667" y="529905"/>
                  </a:moveTo>
                  <a:cubicBezTo>
                    <a:pt x="757277" y="529905"/>
                    <a:pt x="755082" y="527710"/>
                    <a:pt x="755082" y="523320"/>
                  </a:cubicBezTo>
                  <a:cubicBezTo>
                    <a:pt x="755082" y="518931"/>
                    <a:pt x="757277" y="516734"/>
                    <a:pt x="761667" y="516734"/>
                  </a:cubicBezTo>
                  <a:cubicBezTo>
                    <a:pt x="766057" y="516734"/>
                    <a:pt x="768252" y="518931"/>
                    <a:pt x="768252" y="523320"/>
                  </a:cubicBezTo>
                  <a:cubicBezTo>
                    <a:pt x="768252" y="527710"/>
                    <a:pt x="766057" y="529905"/>
                    <a:pt x="761667" y="529905"/>
                  </a:cubicBezTo>
                  <a:close/>
                  <a:moveTo>
                    <a:pt x="586066" y="593557"/>
                  </a:moveTo>
                  <a:cubicBezTo>
                    <a:pt x="581676" y="593557"/>
                    <a:pt x="577286" y="589166"/>
                    <a:pt x="579481" y="586972"/>
                  </a:cubicBezTo>
                  <a:cubicBezTo>
                    <a:pt x="579481" y="584776"/>
                    <a:pt x="581676" y="580387"/>
                    <a:pt x="586066" y="580387"/>
                  </a:cubicBezTo>
                  <a:cubicBezTo>
                    <a:pt x="588261" y="580387"/>
                    <a:pt x="592651" y="582582"/>
                    <a:pt x="592651" y="586972"/>
                  </a:cubicBezTo>
                  <a:cubicBezTo>
                    <a:pt x="592651" y="589166"/>
                    <a:pt x="590456" y="593557"/>
                    <a:pt x="586066" y="593557"/>
                  </a:cubicBezTo>
                  <a:close/>
                  <a:moveTo>
                    <a:pt x="895563" y="593563"/>
                  </a:moveTo>
                  <a:cubicBezTo>
                    <a:pt x="893367" y="593563"/>
                    <a:pt x="891173" y="591367"/>
                    <a:pt x="891173" y="589174"/>
                  </a:cubicBezTo>
                  <a:cubicBezTo>
                    <a:pt x="891173" y="586979"/>
                    <a:pt x="893367" y="584784"/>
                    <a:pt x="895563" y="584784"/>
                  </a:cubicBezTo>
                  <a:cubicBezTo>
                    <a:pt x="897757" y="584784"/>
                    <a:pt x="899953" y="586979"/>
                    <a:pt x="899953" y="589174"/>
                  </a:cubicBezTo>
                  <a:cubicBezTo>
                    <a:pt x="899953" y="591367"/>
                    <a:pt x="897757" y="593563"/>
                    <a:pt x="895563" y="593563"/>
                  </a:cubicBezTo>
                  <a:close/>
                  <a:moveTo>
                    <a:pt x="1029457" y="657221"/>
                  </a:moveTo>
                  <a:cubicBezTo>
                    <a:pt x="1027033" y="657221"/>
                    <a:pt x="1025067" y="655258"/>
                    <a:pt x="1025067" y="652833"/>
                  </a:cubicBezTo>
                  <a:cubicBezTo>
                    <a:pt x="1025067" y="650408"/>
                    <a:pt x="1027033" y="648443"/>
                    <a:pt x="1029457" y="648443"/>
                  </a:cubicBezTo>
                  <a:cubicBezTo>
                    <a:pt x="1031882" y="648443"/>
                    <a:pt x="1033847" y="650408"/>
                    <a:pt x="1033847" y="652833"/>
                  </a:cubicBezTo>
                  <a:cubicBezTo>
                    <a:pt x="1033847" y="655258"/>
                    <a:pt x="1031882" y="657221"/>
                    <a:pt x="1029457" y="657221"/>
                  </a:cubicBezTo>
                  <a:close/>
                  <a:moveTo>
                    <a:pt x="719962" y="661605"/>
                  </a:moveTo>
                  <a:cubicBezTo>
                    <a:pt x="715572" y="661605"/>
                    <a:pt x="708987" y="657215"/>
                    <a:pt x="708987" y="650631"/>
                  </a:cubicBezTo>
                  <a:cubicBezTo>
                    <a:pt x="708987" y="644046"/>
                    <a:pt x="713377" y="639656"/>
                    <a:pt x="719962" y="639656"/>
                  </a:cubicBezTo>
                  <a:cubicBezTo>
                    <a:pt x="726546" y="639656"/>
                    <a:pt x="730936" y="644046"/>
                    <a:pt x="730936" y="650631"/>
                  </a:cubicBezTo>
                  <a:cubicBezTo>
                    <a:pt x="730936" y="657215"/>
                    <a:pt x="726546" y="661605"/>
                    <a:pt x="719962" y="661605"/>
                  </a:cubicBezTo>
                  <a:close/>
                  <a:moveTo>
                    <a:pt x="550946" y="720866"/>
                  </a:moveTo>
                  <a:cubicBezTo>
                    <a:pt x="546556" y="720866"/>
                    <a:pt x="544361" y="718672"/>
                    <a:pt x="544361" y="714282"/>
                  </a:cubicBezTo>
                  <a:cubicBezTo>
                    <a:pt x="544361" y="712086"/>
                    <a:pt x="546556" y="707697"/>
                    <a:pt x="550946" y="707697"/>
                  </a:cubicBezTo>
                  <a:cubicBezTo>
                    <a:pt x="553141" y="707697"/>
                    <a:pt x="557531" y="709892"/>
                    <a:pt x="557531" y="714282"/>
                  </a:cubicBezTo>
                  <a:cubicBezTo>
                    <a:pt x="557531" y="716477"/>
                    <a:pt x="555336" y="720866"/>
                    <a:pt x="550946" y="720866"/>
                  </a:cubicBezTo>
                  <a:close/>
                  <a:moveTo>
                    <a:pt x="856052" y="723070"/>
                  </a:moveTo>
                  <a:cubicBezTo>
                    <a:pt x="851662" y="723070"/>
                    <a:pt x="849467" y="718680"/>
                    <a:pt x="849467" y="716484"/>
                  </a:cubicBezTo>
                  <a:cubicBezTo>
                    <a:pt x="849467" y="714288"/>
                    <a:pt x="851662" y="709900"/>
                    <a:pt x="856052" y="709900"/>
                  </a:cubicBezTo>
                  <a:cubicBezTo>
                    <a:pt x="858247" y="709900"/>
                    <a:pt x="862637" y="712094"/>
                    <a:pt x="862637" y="716484"/>
                  </a:cubicBezTo>
                  <a:cubicBezTo>
                    <a:pt x="862637" y="718680"/>
                    <a:pt x="860442" y="723070"/>
                    <a:pt x="856052" y="723070"/>
                  </a:cubicBezTo>
                  <a:close/>
                  <a:moveTo>
                    <a:pt x="384126" y="782321"/>
                  </a:moveTo>
                  <a:cubicBezTo>
                    <a:pt x="381931" y="782321"/>
                    <a:pt x="379736" y="780126"/>
                    <a:pt x="379736" y="777931"/>
                  </a:cubicBezTo>
                  <a:cubicBezTo>
                    <a:pt x="379736" y="775737"/>
                    <a:pt x="381931" y="773541"/>
                    <a:pt x="384126" y="773541"/>
                  </a:cubicBezTo>
                  <a:cubicBezTo>
                    <a:pt x="386321" y="773541"/>
                    <a:pt x="388516" y="775737"/>
                    <a:pt x="388516" y="777931"/>
                  </a:cubicBezTo>
                  <a:cubicBezTo>
                    <a:pt x="388516" y="780126"/>
                    <a:pt x="386321" y="782321"/>
                    <a:pt x="384126" y="782321"/>
                  </a:cubicBezTo>
                  <a:close/>
                  <a:moveTo>
                    <a:pt x="992142" y="784532"/>
                  </a:moveTo>
                  <a:cubicBezTo>
                    <a:pt x="989947" y="784532"/>
                    <a:pt x="989947" y="782337"/>
                    <a:pt x="989947" y="782337"/>
                  </a:cubicBezTo>
                  <a:cubicBezTo>
                    <a:pt x="989947" y="782337"/>
                    <a:pt x="989947" y="780142"/>
                    <a:pt x="992142" y="780142"/>
                  </a:cubicBezTo>
                  <a:cubicBezTo>
                    <a:pt x="992142" y="780142"/>
                    <a:pt x="994337" y="782337"/>
                    <a:pt x="994337" y="782337"/>
                  </a:cubicBezTo>
                  <a:cubicBezTo>
                    <a:pt x="994337" y="782337"/>
                    <a:pt x="994337" y="784532"/>
                    <a:pt x="992142" y="784532"/>
                  </a:cubicBezTo>
                  <a:close/>
                  <a:moveTo>
                    <a:pt x="687037" y="788915"/>
                  </a:moveTo>
                  <a:cubicBezTo>
                    <a:pt x="682187" y="788915"/>
                    <a:pt x="678257" y="784984"/>
                    <a:pt x="678257" y="780135"/>
                  </a:cubicBezTo>
                  <a:cubicBezTo>
                    <a:pt x="678257" y="775286"/>
                    <a:pt x="682187" y="771355"/>
                    <a:pt x="687037" y="771355"/>
                  </a:cubicBezTo>
                  <a:cubicBezTo>
                    <a:pt x="691886" y="771355"/>
                    <a:pt x="695817" y="775286"/>
                    <a:pt x="695817" y="780135"/>
                  </a:cubicBezTo>
                  <a:cubicBezTo>
                    <a:pt x="695817" y="784984"/>
                    <a:pt x="691886" y="788915"/>
                    <a:pt x="687037" y="788915"/>
                  </a:cubicBezTo>
                  <a:close/>
                  <a:moveTo>
                    <a:pt x="1128232" y="848193"/>
                  </a:moveTo>
                  <a:cubicBezTo>
                    <a:pt x="1126038" y="848193"/>
                    <a:pt x="1126038" y="848193"/>
                    <a:pt x="1126038" y="845997"/>
                  </a:cubicBezTo>
                  <a:cubicBezTo>
                    <a:pt x="1126038" y="845997"/>
                    <a:pt x="1128232" y="843803"/>
                    <a:pt x="1128232" y="843803"/>
                  </a:cubicBezTo>
                  <a:cubicBezTo>
                    <a:pt x="1128232" y="843803"/>
                    <a:pt x="1130428" y="843803"/>
                    <a:pt x="1130428" y="845997"/>
                  </a:cubicBezTo>
                  <a:cubicBezTo>
                    <a:pt x="1130428" y="845997"/>
                    <a:pt x="1130428" y="848193"/>
                    <a:pt x="1128232" y="848193"/>
                  </a:cubicBezTo>
                  <a:close/>
                  <a:moveTo>
                    <a:pt x="825322" y="852574"/>
                  </a:moveTo>
                  <a:cubicBezTo>
                    <a:pt x="820932" y="852574"/>
                    <a:pt x="816542" y="848183"/>
                    <a:pt x="818737" y="845989"/>
                  </a:cubicBezTo>
                  <a:cubicBezTo>
                    <a:pt x="818737" y="843793"/>
                    <a:pt x="820932" y="839403"/>
                    <a:pt x="825322" y="839403"/>
                  </a:cubicBezTo>
                  <a:cubicBezTo>
                    <a:pt x="827517" y="839403"/>
                    <a:pt x="831907" y="841597"/>
                    <a:pt x="831907" y="845989"/>
                  </a:cubicBezTo>
                  <a:cubicBezTo>
                    <a:pt x="831907" y="848183"/>
                    <a:pt x="829712" y="852574"/>
                    <a:pt x="825322" y="852574"/>
                  </a:cubicBezTo>
                  <a:close/>
                  <a:moveTo>
                    <a:pt x="522412" y="854761"/>
                  </a:moveTo>
                  <a:cubicBezTo>
                    <a:pt x="515827" y="854761"/>
                    <a:pt x="511437" y="850371"/>
                    <a:pt x="511437" y="843786"/>
                  </a:cubicBezTo>
                  <a:cubicBezTo>
                    <a:pt x="511437" y="837202"/>
                    <a:pt x="515827" y="832812"/>
                    <a:pt x="522412" y="832812"/>
                  </a:cubicBezTo>
                  <a:cubicBezTo>
                    <a:pt x="528996" y="832812"/>
                    <a:pt x="533386" y="837202"/>
                    <a:pt x="533386" y="843786"/>
                  </a:cubicBezTo>
                  <a:cubicBezTo>
                    <a:pt x="533386" y="850371"/>
                    <a:pt x="528996" y="854761"/>
                    <a:pt x="522412" y="854761"/>
                  </a:cubicBezTo>
                  <a:close/>
                  <a:moveTo>
                    <a:pt x="963607" y="914039"/>
                  </a:moveTo>
                  <a:cubicBezTo>
                    <a:pt x="959217" y="914039"/>
                    <a:pt x="957023" y="911845"/>
                    <a:pt x="959217" y="909650"/>
                  </a:cubicBezTo>
                  <a:cubicBezTo>
                    <a:pt x="959217" y="907454"/>
                    <a:pt x="961413" y="905260"/>
                    <a:pt x="963607" y="905260"/>
                  </a:cubicBezTo>
                  <a:cubicBezTo>
                    <a:pt x="965803" y="905260"/>
                    <a:pt x="967997" y="907454"/>
                    <a:pt x="967997" y="909650"/>
                  </a:cubicBezTo>
                  <a:cubicBezTo>
                    <a:pt x="967997" y="911845"/>
                    <a:pt x="965803" y="914039"/>
                    <a:pt x="963607" y="914039"/>
                  </a:cubicBezTo>
                  <a:close/>
                  <a:moveTo>
                    <a:pt x="362176" y="918413"/>
                  </a:moveTo>
                  <a:cubicBezTo>
                    <a:pt x="357327" y="918413"/>
                    <a:pt x="353396" y="914482"/>
                    <a:pt x="353396" y="909633"/>
                  </a:cubicBezTo>
                  <a:cubicBezTo>
                    <a:pt x="353396" y="904783"/>
                    <a:pt x="357327" y="900853"/>
                    <a:pt x="362176" y="900853"/>
                  </a:cubicBezTo>
                  <a:cubicBezTo>
                    <a:pt x="367025" y="900853"/>
                    <a:pt x="370956" y="904783"/>
                    <a:pt x="370956" y="909633"/>
                  </a:cubicBezTo>
                  <a:cubicBezTo>
                    <a:pt x="370956" y="914482"/>
                    <a:pt x="367025" y="918413"/>
                    <a:pt x="362176" y="918413"/>
                  </a:cubicBezTo>
                  <a:close/>
                  <a:moveTo>
                    <a:pt x="662892" y="922812"/>
                  </a:moveTo>
                  <a:cubicBezTo>
                    <a:pt x="654112" y="922812"/>
                    <a:pt x="649722" y="916226"/>
                    <a:pt x="649722" y="909641"/>
                  </a:cubicBezTo>
                  <a:cubicBezTo>
                    <a:pt x="649722" y="900861"/>
                    <a:pt x="656306" y="896470"/>
                    <a:pt x="662892" y="896470"/>
                  </a:cubicBezTo>
                  <a:cubicBezTo>
                    <a:pt x="671671" y="896470"/>
                    <a:pt x="676061" y="903056"/>
                    <a:pt x="676061" y="909641"/>
                  </a:cubicBezTo>
                  <a:cubicBezTo>
                    <a:pt x="676061" y="916226"/>
                    <a:pt x="669476" y="922812"/>
                    <a:pt x="662892" y="922812"/>
                  </a:cubicBezTo>
                  <a:close/>
                  <a:moveTo>
                    <a:pt x="801177" y="982080"/>
                  </a:moveTo>
                  <a:cubicBezTo>
                    <a:pt x="796787" y="982080"/>
                    <a:pt x="792397" y="979884"/>
                    <a:pt x="792397" y="973300"/>
                  </a:cubicBezTo>
                  <a:cubicBezTo>
                    <a:pt x="792397" y="968910"/>
                    <a:pt x="796787" y="964521"/>
                    <a:pt x="801177" y="964521"/>
                  </a:cubicBezTo>
                  <a:cubicBezTo>
                    <a:pt x="805567" y="964521"/>
                    <a:pt x="809957" y="968910"/>
                    <a:pt x="809957" y="973300"/>
                  </a:cubicBezTo>
                  <a:cubicBezTo>
                    <a:pt x="809957" y="977690"/>
                    <a:pt x="805567" y="982080"/>
                    <a:pt x="801177" y="982080"/>
                  </a:cubicBezTo>
                  <a:close/>
                  <a:moveTo>
                    <a:pt x="502657" y="990852"/>
                  </a:moveTo>
                  <a:cubicBezTo>
                    <a:pt x="494171" y="990852"/>
                    <a:pt x="487291" y="983972"/>
                    <a:pt x="487291" y="975487"/>
                  </a:cubicBezTo>
                  <a:cubicBezTo>
                    <a:pt x="487291" y="967001"/>
                    <a:pt x="494171" y="960123"/>
                    <a:pt x="502657" y="960123"/>
                  </a:cubicBezTo>
                  <a:cubicBezTo>
                    <a:pt x="511142" y="960123"/>
                    <a:pt x="518022" y="967001"/>
                    <a:pt x="518022" y="975487"/>
                  </a:cubicBezTo>
                  <a:cubicBezTo>
                    <a:pt x="518022" y="983972"/>
                    <a:pt x="511142" y="990852"/>
                    <a:pt x="502657" y="990852"/>
                  </a:cubicBezTo>
                  <a:close/>
                  <a:moveTo>
                    <a:pt x="941657" y="1047934"/>
                  </a:moveTo>
                  <a:cubicBezTo>
                    <a:pt x="937267" y="1047934"/>
                    <a:pt x="935072" y="1045739"/>
                    <a:pt x="935072" y="1041349"/>
                  </a:cubicBezTo>
                  <a:cubicBezTo>
                    <a:pt x="935072" y="1036959"/>
                    <a:pt x="937267" y="1034764"/>
                    <a:pt x="941657" y="1034764"/>
                  </a:cubicBezTo>
                  <a:cubicBezTo>
                    <a:pt x="946047" y="1034764"/>
                    <a:pt x="948242" y="1036959"/>
                    <a:pt x="948242" y="1041349"/>
                  </a:cubicBezTo>
                  <a:cubicBezTo>
                    <a:pt x="948242" y="1045739"/>
                    <a:pt x="946047" y="1047934"/>
                    <a:pt x="941657" y="1047934"/>
                  </a:cubicBezTo>
                  <a:close/>
                  <a:moveTo>
                    <a:pt x="344616" y="1052308"/>
                  </a:moveTo>
                  <a:cubicBezTo>
                    <a:pt x="340226" y="1052308"/>
                    <a:pt x="335836" y="1045722"/>
                    <a:pt x="333641" y="1041333"/>
                  </a:cubicBezTo>
                  <a:cubicBezTo>
                    <a:pt x="333641" y="1034748"/>
                    <a:pt x="338031" y="1030358"/>
                    <a:pt x="344616" y="1030358"/>
                  </a:cubicBezTo>
                  <a:cubicBezTo>
                    <a:pt x="351201" y="1030358"/>
                    <a:pt x="355591" y="1034748"/>
                    <a:pt x="355591" y="1041333"/>
                  </a:cubicBezTo>
                  <a:cubicBezTo>
                    <a:pt x="355591" y="1047918"/>
                    <a:pt x="351201" y="1052308"/>
                    <a:pt x="344616" y="1052308"/>
                  </a:cubicBezTo>
                  <a:close/>
                  <a:moveTo>
                    <a:pt x="643136" y="1052315"/>
                  </a:moveTo>
                  <a:cubicBezTo>
                    <a:pt x="636551" y="1052315"/>
                    <a:pt x="629966" y="1047925"/>
                    <a:pt x="629966" y="1041339"/>
                  </a:cubicBezTo>
                  <a:cubicBezTo>
                    <a:pt x="629966" y="1034755"/>
                    <a:pt x="636551" y="1028170"/>
                    <a:pt x="643136" y="1028170"/>
                  </a:cubicBezTo>
                  <a:cubicBezTo>
                    <a:pt x="649722" y="1028170"/>
                    <a:pt x="656306" y="1032561"/>
                    <a:pt x="656306" y="1039145"/>
                  </a:cubicBezTo>
                  <a:cubicBezTo>
                    <a:pt x="656306" y="1045731"/>
                    <a:pt x="649722" y="1052315"/>
                    <a:pt x="643136" y="1052315"/>
                  </a:cubicBezTo>
                  <a:close/>
                  <a:moveTo>
                    <a:pt x="190966" y="1111568"/>
                  </a:moveTo>
                  <a:cubicBezTo>
                    <a:pt x="188770" y="1111568"/>
                    <a:pt x="186576" y="1109374"/>
                    <a:pt x="186576" y="1107179"/>
                  </a:cubicBezTo>
                  <a:cubicBezTo>
                    <a:pt x="186576" y="1104985"/>
                    <a:pt x="188770" y="1102790"/>
                    <a:pt x="190966" y="1102790"/>
                  </a:cubicBezTo>
                  <a:cubicBezTo>
                    <a:pt x="193160" y="1102790"/>
                    <a:pt x="195356" y="1104985"/>
                    <a:pt x="195356" y="1107179"/>
                  </a:cubicBezTo>
                  <a:cubicBezTo>
                    <a:pt x="195356" y="1109374"/>
                    <a:pt x="193160" y="1111568"/>
                    <a:pt x="190966" y="1111568"/>
                  </a:cubicBezTo>
                  <a:close/>
                  <a:moveTo>
                    <a:pt x="1082137" y="1111597"/>
                  </a:moveTo>
                  <a:cubicBezTo>
                    <a:pt x="1079943" y="1111597"/>
                    <a:pt x="1077747" y="1109400"/>
                    <a:pt x="1077747" y="1107205"/>
                  </a:cubicBezTo>
                  <a:cubicBezTo>
                    <a:pt x="1077747" y="1105010"/>
                    <a:pt x="1079943" y="1102815"/>
                    <a:pt x="1082137" y="1102815"/>
                  </a:cubicBezTo>
                  <a:cubicBezTo>
                    <a:pt x="1084333" y="1102815"/>
                    <a:pt x="1086527" y="1105010"/>
                    <a:pt x="1086527" y="1107205"/>
                  </a:cubicBezTo>
                  <a:cubicBezTo>
                    <a:pt x="1086527" y="1109400"/>
                    <a:pt x="1084333" y="1111597"/>
                    <a:pt x="1082137" y="1111597"/>
                  </a:cubicBezTo>
                  <a:close/>
                  <a:moveTo>
                    <a:pt x="785812" y="1113780"/>
                  </a:moveTo>
                  <a:cubicBezTo>
                    <a:pt x="781422" y="1113780"/>
                    <a:pt x="777032" y="1111584"/>
                    <a:pt x="779227" y="1107195"/>
                  </a:cubicBezTo>
                  <a:cubicBezTo>
                    <a:pt x="779227" y="1105000"/>
                    <a:pt x="781422" y="1100611"/>
                    <a:pt x="785812" y="1100611"/>
                  </a:cubicBezTo>
                  <a:cubicBezTo>
                    <a:pt x="790202" y="1100611"/>
                    <a:pt x="792397" y="1102804"/>
                    <a:pt x="792397" y="1107195"/>
                  </a:cubicBezTo>
                  <a:cubicBezTo>
                    <a:pt x="792397" y="1109390"/>
                    <a:pt x="790202" y="1113780"/>
                    <a:pt x="785812" y="1113780"/>
                  </a:cubicBezTo>
                  <a:close/>
                  <a:moveTo>
                    <a:pt x="487291" y="1118161"/>
                  </a:moveTo>
                  <a:cubicBezTo>
                    <a:pt x="482901" y="1118161"/>
                    <a:pt x="476316" y="1113770"/>
                    <a:pt x="476316" y="1107187"/>
                  </a:cubicBezTo>
                  <a:cubicBezTo>
                    <a:pt x="476316" y="1100602"/>
                    <a:pt x="480706" y="1096211"/>
                    <a:pt x="487291" y="1096211"/>
                  </a:cubicBezTo>
                  <a:cubicBezTo>
                    <a:pt x="493877" y="1096211"/>
                    <a:pt x="498267" y="1100602"/>
                    <a:pt x="498267" y="1107187"/>
                  </a:cubicBezTo>
                  <a:cubicBezTo>
                    <a:pt x="498267" y="1113770"/>
                    <a:pt x="493877" y="1118161"/>
                    <a:pt x="487291" y="1118161"/>
                  </a:cubicBezTo>
                  <a:close/>
                  <a:moveTo>
                    <a:pt x="928488" y="1179636"/>
                  </a:moveTo>
                  <a:cubicBezTo>
                    <a:pt x="924098" y="1179636"/>
                    <a:pt x="921902" y="1177440"/>
                    <a:pt x="921902" y="1173050"/>
                  </a:cubicBezTo>
                  <a:cubicBezTo>
                    <a:pt x="921902" y="1168661"/>
                    <a:pt x="924098" y="1166466"/>
                    <a:pt x="928488" y="1166466"/>
                  </a:cubicBezTo>
                  <a:cubicBezTo>
                    <a:pt x="932878" y="1166466"/>
                    <a:pt x="935072" y="1168661"/>
                    <a:pt x="935072" y="1173050"/>
                  </a:cubicBezTo>
                  <a:cubicBezTo>
                    <a:pt x="935072" y="1177440"/>
                    <a:pt x="932878" y="1179636"/>
                    <a:pt x="928488" y="1179636"/>
                  </a:cubicBezTo>
                  <a:close/>
                  <a:moveTo>
                    <a:pt x="335836" y="1184007"/>
                  </a:moveTo>
                  <a:cubicBezTo>
                    <a:pt x="329251" y="1184007"/>
                    <a:pt x="324861" y="1179617"/>
                    <a:pt x="324861" y="1173034"/>
                  </a:cubicBezTo>
                  <a:cubicBezTo>
                    <a:pt x="324861" y="1166447"/>
                    <a:pt x="329251" y="1162058"/>
                    <a:pt x="335836" y="1162058"/>
                  </a:cubicBezTo>
                  <a:cubicBezTo>
                    <a:pt x="342421" y="1162058"/>
                    <a:pt x="346811" y="1166447"/>
                    <a:pt x="346811" y="1173034"/>
                  </a:cubicBezTo>
                  <a:cubicBezTo>
                    <a:pt x="346811" y="1179617"/>
                    <a:pt x="342421" y="1184007"/>
                    <a:pt x="335836" y="1184007"/>
                  </a:cubicBezTo>
                  <a:close/>
                  <a:moveTo>
                    <a:pt x="632161" y="1186210"/>
                  </a:moveTo>
                  <a:cubicBezTo>
                    <a:pt x="625576" y="1186210"/>
                    <a:pt x="618991" y="1179626"/>
                    <a:pt x="618991" y="1173040"/>
                  </a:cubicBezTo>
                  <a:cubicBezTo>
                    <a:pt x="618991" y="1166456"/>
                    <a:pt x="625576" y="1159871"/>
                    <a:pt x="632161" y="1159871"/>
                  </a:cubicBezTo>
                  <a:cubicBezTo>
                    <a:pt x="638746" y="1159871"/>
                    <a:pt x="645332" y="1166456"/>
                    <a:pt x="645332" y="1173040"/>
                  </a:cubicBezTo>
                  <a:cubicBezTo>
                    <a:pt x="645332" y="1181820"/>
                    <a:pt x="638746" y="1186210"/>
                    <a:pt x="632161" y="1186210"/>
                  </a:cubicBezTo>
                  <a:close/>
                  <a:moveTo>
                    <a:pt x="1073357" y="1243268"/>
                  </a:moveTo>
                  <a:cubicBezTo>
                    <a:pt x="1071162" y="1243268"/>
                    <a:pt x="1068967" y="1243268"/>
                    <a:pt x="1068967" y="1238878"/>
                  </a:cubicBezTo>
                  <a:cubicBezTo>
                    <a:pt x="1068967" y="1236683"/>
                    <a:pt x="1071162" y="1234489"/>
                    <a:pt x="1073357" y="1234489"/>
                  </a:cubicBezTo>
                  <a:cubicBezTo>
                    <a:pt x="1075553" y="1234489"/>
                    <a:pt x="1077747" y="1236683"/>
                    <a:pt x="1077747" y="1238878"/>
                  </a:cubicBezTo>
                  <a:cubicBezTo>
                    <a:pt x="1077747" y="1241072"/>
                    <a:pt x="1075553" y="1243268"/>
                    <a:pt x="1073357" y="1243268"/>
                  </a:cubicBezTo>
                  <a:close/>
                  <a:moveTo>
                    <a:pt x="184380" y="1247655"/>
                  </a:moveTo>
                  <a:cubicBezTo>
                    <a:pt x="179990" y="1247655"/>
                    <a:pt x="175600" y="1245460"/>
                    <a:pt x="175600" y="1238875"/>
                  </a:cubicBezTo>
                  <a:cubicBezTo>
                    <a:pt x="175600" y="1234486"/>
                    <a:pt x="179990" y="1230096"/>
                    <a:pt x="184380" y="1230096"/>
                  </a:cubicBezTo>
                  <a:cubicBezTo>
                    <a:pt x="188770" y="1230096"/>
                    <a:pt x="193160" y="1234486"/>
                    <a:pt x="193160" y="1238875"/>
                  </a:cubicBezTo>
                  <a:cubicBezTo>
                    <a:pt x="193160" y="1243264"/>
                    <a:pt x="188770" y="1247655"/>
                    <a:pt x="184380" y="1247655"/>
                  </a:cubicBezTo>
                  <a:close/>
                  <a:moveTo>
                    <a:pt x="777032" y="1249851"/>
                  </a:moveTo>
                  <a:cubicBezTo>
                    <a:pt x="772642" y="1249851"/>
                    <a:pt x="768252" y="1245464"/>
                    <a:pt x="768252" y="1241072"/>
                  </a:cubicBezTo>
                  <a:cubicBezTo>
                    <a:pt x="768252" y="1236683"/>
                    <a:pt x="772642" y="1232294"/>
                    <a:pt x="777032" y="1232294"/>
                  </a:cubicBezTo>
                  <a:cubicBezTo>
                    <a:pt x="781422" y="1232294"/>
                    <a:pt x="785812" y="1236683"/>
                    <a:pt x="785812" y="1241072"/>
                  </a:cubicBezTo>
                  <a:cubicBezTo>
                    <a:pt x="785812" y="1245464"/>
                    <a:pt x="781422" y="1249851"/>
                    <a:pt x="777032" y="1249851"/>
                  </a:cubicBezTo>
                  <a:close/>
                  <a:moveTo>
                    <a:pt x="480706" y="1252047"/>
                  </a:moveTo>
                  <a:cubicBezTo>
                    <a:pt x="474122" y="1252047"/>
                    <a:pt x="467536" y="1247658"/>
                    <a:pt x="467536" y="1238878"/>
                  </a:cubicBezTo>
                  <a:cubicBezTo>
                    <a:pt x="467536" y="1232294"/>
                    <a:pt x="474122" y="1225707"/>
                    <a:pt x="480706" y="1225707"/>
                  </a:cubicBezTo>
                  <a:cubicBezTo>
                    <a:pt x="487291" y="1225707"/>
                    <a:pt x="493877" y="1232294"/>
                    <a:pt x="493877" y="1238878"/>
                  </a:cubicBezTo>
                  <a:cubicBezTo>
                    <a:pt x="493877" y="1245464"/>
                    <a:pt x="487291" y="1252047"/>
                    <a:pt x="480706" y="1252047"/>
                  </a:cubicBezTo>
                  <a:close/>
                  <a:moveTo>
                    <a:pt x="1220423" y="1309118"/>
                  </a:moveTo>
                  <a:cubicBezTo>
                    <a:pt x="1218228" y="1309118"/>
                    <a:pt x="1218228" y="1306923"/>
                    <a:pt x="1218228" y="1306923"/>
                  </a:cubicBezTo>
                  <a:cubicBezTo>
                    <a:pt x="1218228" y="1306923"/>
                    <a:pt x="1218228" y="1304729"/>
                    <a:pt x="1220423" y="1304729"/>
                  </a:cubicBezTo>
                  <a:cubicBezTo>
                    <a:pt x="1220423" y="1304729"/>
                    <a:pt x="1222618" y="1306923"/>
                    <a:pt x="1222618" y="1306923"/>
                  </a:cubicBezTo>
                  <a:cubicBezTo>
                    <a:pt x="1222618" y="1306923"/>
                    <a:pt x="1222618" y="1309118"/>
                    <a:pt x="1220423" y="1309118"/>
                  </a:cubicBezTo>
                  <a:close/>
                  <a:moveTo>
                    <a:pt x="924097" y="1313508"/>
                  </a:moveTo>
                  <a:cubicBezTo>
                    <a:pt x="919707" y="1313508"/>
                    <a:pt x="917512" y="1311314"/>
                    <a:pt x="917512" y="1306923"/>
                  </a:cubicBezTo>
                  <a:cubicBezTo>
                    <a:pt x="917512" y="1304729"/>
                    <a:pt x="919707" y="1300336"/>
                    <a:pt x="924097" y="1300336"/>
                  </a:cubicBezTo>
                  <a:cubicBezTo>
                    <a:pt x="926292" y="1300336"/>
                    <a:pt x="930682" y="1302532"/>
                    <a:pt x="930682" y="1306923"/>
                  </a:cubicBezTo>
                  <a:cubicBezTo>
                    <a:pt x="930682" y="1309118"/>
                    <a:pt x="928487" y="1313508"/>
                    <a:pt x="924097" y="1313508"/>
                  </a:cubicBezTo>
                  <a:close/>
                  <a:moveTo>
                    <a:pt x="331446" y="1317896"/>
                  </a:moveTo>
                  <a:cubicBezTo>
                    <a:pt x="327056" y="1317896"/>
                    <a:pt x="320471" y="1311312"/>
                    <a:pt x="320471" y="1306921"/>
                  </a:cubicBezTo>
                  <a:cubicBezTo>
                    <a:pt x="320471" y="1300336"/>
                    <a:pt x="324861" y="1295947"/>
                    <a:pt x="331446" y="1295947"/>
                  </a:cubicBezTo>
                  <a:cubicBezTo>
                    <a:pt x="338031" y="1295947"/>
                    <a:pt x="342421" y="1300336"/>
                    <a:pt x="342421" y="1306921"/>
                  </a:cubicBezTo>
                  <a:cubicBezTo>
                    <a:pt x="342421" y="1313508"/>
                    <a:pt x="338031" y="1317896"/>
                    <a:pt x="331446" y="1317896"/>
                  </a:cubicBezTo>
                  <a:close/>
                  <a:moveTo>
                    <a:pt x="627771" y="1322289"/>
                  </a:moveTo>
                  <a:cubicBezTo>
                    <a:pt x="618991" y="1322289"/>
                    <a:pt x="612407" y="1315704"/>
                    <a:pt x="612407" y="1306923"/>
                  </a:cubicBezTo>
                  <a:cubicBezTo>
                    <a:pt x="612407" y="1298144"/>
                    <a:pt x="618991" y="1291557"/>
                    <a:pt x="627771" y="1291557"/>
                  </a:cubicBezTo>
                  <a:cubicBezTo>
                    <a:pt x="636551" y="1291557"/>
                    <a:pt x="643136" y="1298144"/>
                    <a:pt x="643136" y="1306923"/>
                  </a:cubicBezTo>
                  <a:cubicBezTo>
                    <a:pt x="643136" y="1315704"/>
                    <a:pt x="636551" y="1322289"/>
                    <a:pt x="627771" y="1322289"/>
                  </a:cubicBezTo>
                  <a:close/>
                  <a:moveTo>
                    <a:pt x="1073357" y="1374967"/>
                  </a:moveTo>
                  <a:cubicBezTo>
                    <a:pt x="1071162" y="1374967"/>
                    <a:pt x="1071162" y="1374967"/>
                    <a:pt x="1071162" y="1372772"/>
                  </a:cubicBezTo>
                  <a:cubicBezTo>
                    <a:pt x="1071162" y="1372772"/>
                    <a:pt x="1071162" y="1370577"/>
                    <a:pt x="1073357" y="1370577"/>
                  </a:cubicBezTo>
                  <a:cubicBezTo>
                    <a:pt x="1073357" y="1370577"/>
                    <a:pt x="1075553" y="1370577"/>
                    <a:pt x="1075553" y="1372772"/>
                  </a:cubicBezTo>
                  <a:cubicBezTo>
                    <a:pt x="1075553" y="1372772"/>
                    <a:pt x="1075553" y="1374967"/>
                    <a:pt x="1073357" y="1374967"/>
                  </a:cubicBezTo>
                  <a:close/>
                  <a:moveTo>
                    <a:pt x="184380" y="1383745"/>
                  </a:moveTo>
                  <a:cubicBezTo>
                    <a:pt x="179990" y="1383745"/>
                    <a:pt x="175600" y="1379355"/>
                    <a:pt x="173405" y="1372769"/>
                  </a:cubicBezTo>
                  <a:cubicBezTo>
                    <a:pt x="173405" y="1366183"/>
                    <a:pt x="177795" y="1361794"/>
                    <a:pt x="184380" y="1361794"/>
                  </a:cubicBezTo>
                  <a:cubicBezTo>
                    <a:pt x="190966" y="1361794"/>
                    <a:pt x="195356" y="1366183"/>
                    <a:pt x="195356" y="1372769"/>
                  </a:cubicBezTo>
                  <a:cubicBezTo>
                    <a:pt x="195356" y="1379355"/>
                    <a:pt x="190966" y="1383745"/>
                    <a:pt x="184380" y="1383745"/>
                  </a:cubicBezTo>
                  <a:close/>
                  <a:moveTo>
                    <a:pt x="777032" y="1383748"/>
                  </a:moveTo>
                  <a:cubicBezTo>
                    <a:pt x="772642" y="1383748"/>
                    <a:pt x="766057" y="1379358"/>
                    <a:pt x="766057" y="1372772"/>
                  </a:cubicBezTo>
                  <a:cubicBezTo>
                    <a:pt x="766057" y="1366187"/>
                    <a:pt x="770447" y="1361796"/>
                    <a:pt x="777032" y="1361796"/>
                  </a:cubicBezTo>
                  <a:cubicBezTo>
                    <a:pt x="783617" y="1361796"/>
                    <a:pt x="788007" y="1366187"/>
                    <a:pt x="788007" y="1372772"/>
                  </a:cubicBezTo>
                  <a:cubicBezTo>
                    <a:pt x="788007" y="1379358"/>
                    <a:pt x="783617" y="1383748"/>
                    <a:pt x="777032" y="1383748"/>
                  </a:cubicBezTo>
                  <a:close/>
                  <a:moveTo>
                    <a:pt x="480706" y="1385943"/>
                  </a:moveTo>
                  <a:cubicBezTo>
                    <a:pt x="474122" y="1385943"/>
                    <a:pt x="469732" y="1379357"/>
                    <a:pt x="467536" y="1372772"/>
                  </a:cubicBezTo>
                  <a:cubicBezTo>
                    <a:pt x="467536" y="1366187"/>
                    <a:pt x="474122" y="1359601"/>
                    <a:pt x="480706" y="1359601"/>
                  </a:cubicBezTo>
                  <a:cubicBezTo>
                    <a:pt x="487291" y="1359601"/>
                    <a:pt x="493877" y="1366187"/>
                    <a:pt x="493877" y="1372772"/>
                  </a:cubicBezTo>
                  <a:cubicBezTo>
                    <a:pt x="493877" y="1379357"/>
                    <a:pt x="487291" y="1385943"/>
                    <a:pt x="480706" y="1385943"/>
                  </a:cubicBezTo>
                  <a:close/>
                  <a:moveTo>
                    <a:pt x="1224813" y="1443018"/>
                  </a:moveTo>
                  <a:cubicBezTo>
                    <a:pt x="1222618" y="1443018"/>
                    <a:pt x="1220423" y="1440822"/>
                    <a:pt x="1220423" y="1438627"/>
                  </a:cubicBezTo>
                  <a:cubicBezTo>
                    <a:pt x="1220423" y="1436431"/>
                    <a:pt x="1222618" y="1434235"/>
                    <a:pt x="1224813" y="1434235"/>
                  </a:cubicBezTo>
                  <a:cubicBezTo>
                    <a:pt x="1227008" y="1434235"/>
                    <a:pt x="1229203" y="1436431"/>
                    <a:pt x="1229203" y="1438627"/>
                  </a:cubicBezTo>
                  <a:cubicBezTo>
                    <a:pt x="1229203" y="1440822"/>
                    <a:pt x="1227008" y="1443018"/>
                    <a:pt x="1224813" y="1443018"/>
                  </a:cubicBezTo>
                  <a:close/>
                  <a:moveTo>
                    <a:pt x="928488" y="1447408"/>
                  </a:moveTo>
                  <a:cubicBezTo>
                    <a:pt x="924098" y="1447408"/>
                    <a:pt x="921902" y="1443018"/>
                    <a:pt x="919708" y="1438627"/>
                  </a:cubicBezTo>
                  <a:cubicBezTo>
                    <a:pt x="919708" y="1434235"/>
                    <a:pt x="924098" y="1429847"/>
                    <a:pt x="928488" y="1429847"/>
                  </a:cubicBezTo>
                  <a:cubicBezTo>
                    <a:pt x="932878" y="1429847"/>
                    <a:pt x="937268" y="1434235"/>
                    <a:pt x="937268" y="1438627"/>
                  </a:cubicBezTo>
                  <a:cubicBezTo>
                    <a:pt x="937268" y="1443018"/>
                    <a:pt x="932878" y="1447408"/>
                    <a:pt x="928488" y="1447408"/>
                  </a:cubicBezTo>
                  <a:close/>
                  <a:moveTo>
                    <a:pt x="335836" y="1449601"/>
                  </a:moveTo>
                  <a:cubicBezTo>
                    <a:pt x="329774" y="1449601"/>
                    <a:pt x="324861" y="1444687"/>
                    <a:pt x="324861" y="1438625"/>
                  </a:cubicBezTo>
                  <a:cubicBezTo>
                    <a:pt x="324861" y="1432563"/>
                    <a:pt x="329774" y="1427650"/>
                    <a:pt x="335836" y="1427650"/>
                  </a:cubicBezTo>
                  <a:cubicBezTo>
                    <a:pt x="341897" y="1427650"/>
                    <a:pt x="346811" y="1432563"/>
                    <a:pt x="346811" y="1438625"/>
                  </a:cubicBezTo>
                  <a:cubicBezTo>
                    <a:pt x="346811" y="1444687"/>
                    <a:pt x="341897" y="1449601"/>
                    <a:pt x="335836" y="1449601"/>
                  </a:cubicBezTo>
                  <a:close/>
                  <a:moveTo>
                    <a:pt x="632161" y="1453993"/>
                  </a:moveTo>
                  <a:cubicBezTo>
                    <a:pt x="623381" y="1453993"/>
                    <a:pt x="616797" y="1447408"/>
                    <a:pt x="616797" y="1438627"/>
                  </a:cubicBezTo>
                  <a:cubicBezTo>
                    <a:pt x="616797" y="1429847"/>
                    <a:pt x="623381" y="1423261"/>
                    <a:pt x="632161" y="1423261"/>
                  </a:cubicBezTo>
                  <a:cubicBezTo>
                    <a:pt x="640941" y="1423261"/>
                    <a:pt x="647526" y="1429847"/>
                    <a:pt x="647526" y="1438627"/>
                  </a:cubicBezTo>
                  <a:cubicBezTo>
                    <a:pt x="647526" y="1447408"/>
                    <a:pt x="640941" y="1453993"/>
                    <a:pt x="632161" y="1453993"/>
                  </a:cubicBezTo>
                  <a:close/>
                  <a:moveTo>
                    <a:pt x="1380658" y="1508871"/>
                  </a:moveTo>
                  <a:cubicBezTo>
                    <a:pt x="1378462" y="1508871"/>
                    <a:pt x="1378462" y="1506674"/>
                    <a:pt x="1378462" y="1506674"/>
                  </a:cubicBezTo>
                  <a:cubicBezTo>
                    <a:pt x="1378462" y="1506674"/>
                    <a:pt x="1378462" y="1504479"/>
                    <a:pt x="1380658" y="1504479"/>
                  </a:cubicBezTo>
                  <a:cubicBezTo>
                    <a:pt x="1380658" y="1504479"/>
                    <a:pt x="1382853" y="1504479"/>
                    <a:pt x="1382853" y="1506674"/>
                  </a:cubicBezTo>
                  <a:cubicBezTo>
                    <a:pt x="1382853" y="1506674"/>
                    <a:pt x="1382853" y="1508871"/>
                    <a:pt x="1380658" y="1508871"/>
                  </a:cubicBezTo>
                  <a:close/>
                  <a:moveTo>
                    <a:pt x="1082137" y="1511065"/>
                  </a:moveTo>
                  <a:cubicBezTo>
                    <a:pt x="1079943" y="1511065"/>
                    <a:pt x="1077747" y="1508871"/>
                    <a:pt x="1077747" y="1506674"/>
                  </a:cubicBezTo>
                  <a:cubicBezTo>
                    <a:pt x="1077747" y="1504479"/>
                    <a:pt x="1079943" y="1502284"/>
                    <a:pt x="1082137" y="1502284"/>
                  </a:cubicBezTo>
                  <a:cubicBezTo>
                    <a:pt x="1084333" y="1502284"/>
                    <a:pt x="1086527" y="1504479"/>
                    <a:pt x="1086527" y="1506674"/>
                  </a:cubicBezTo>
                  <a:cubicBezTo>
                    <a:pt x="1086527" y="1508871"/>
                    <a:pt x="1084333" y="1511065"/>
                    <a:pt x="1082137" y="1511065"/>
                  </a:cubicBezTo>
                  <a:close/>
                  <a:moveTo>
                    <a:pt x="785812" y="1515453"/>
                  </a:moveTo>
                  <a:cubicBezTo>
                    <a:pt x="779227" y="1515453"/>
                    <a:pt x="774837" y="1511065"/>
                    <a:pt x="774837" y="1504479"/>
                  </a:cubicBezTo>
                  <a:cubicBezTo>
                    <a:pt x="774837" y="1497894"/>
                    <a:pt x="779227" y="1493504"/>
                    <a:pt x="785812" y="1493504"/>
                  </a:cubicBezTo>
                  <a:cubicBezTo>
                    <a:pt x="792397" y="1493504"/>
                    <a:pt x="796787" y="1497894"/>
                    <a:pt x="796787" y="1504479"/>
                  </a:cubicBezTo>
                  <a:cubicBezTo>
                    <a:pt x="796787" y="1511065"/>
                    <a:pt x="792397" y="1515453"/>
                    <a:pt x="785812" y="1515453"/>
                  </a:cubicBezTo>
                  <a:close/>
                  <a:moveTo>
                    <a:pt x="487291" y="1519845"/>
                  </a:moveTo>
                  <a:cubicBezTo>
                    <a:pt x="480706" y="1519845"/>
                    <a:pt x="474122" y="1513259"/>
                    <a:pt x="474122" y="1506673"/>
                  </a:cubicBezTo>
                  <a:cubicBezTo>
                    <a:pt x="474122" y="1500088"/>
                    <a:pt x="480706" y="1493504"/>
                    <a:pt x="487291" y="1493504"/>
                  </a:cubicBezTo>
                  <a:cubicBezTo>
                    <a:pt x="493877" y="1493504"/>
                    <a:pt x="500461" y="1500088"/>
                    <a:pt x="500461" y="1506673"/>
                  </a:cubicBezTo>
                  <a:cubicBezTo>
                    <a:pt x="500461" y="1513259"/>
                    <a:pt x="493877" y="1519845"/>
                    <a:pt x="487291" y="1519845"/>
                  </a:cubicBezTo>
                  <a:close/>
                  <a:moveTo>
                    <a:pt x="190966" y="1522037"/>
                  </a:moveTo>
                  <a:cubicBezTo>
                    <a:pt x="182185" y="1522037"/>
                    <a:pt x="175600" y="1513258"/>
                    <a:pt x="175600" y="1506672"/>
                  </a:cubicBezTo>
                  <a:cubicBezTo>
                    <a:pt x="175600" y="1497891"/>
                    <a:pt x="182185" y="1491306"/>
                    <a:pt x="190966" y="1491306"/>
                  </a:cubicBezTo>
                  <a:cubicBezTo>
                    <a:pt x="199745" y="1491306"/>
                    <a:pt x="206330" y="1497891"/>
                    <a:pt x="206330" y="1506672"/>
                  </a:cubicBezTo>
                  <a:cubicBezTo>
                    <a:pt x="206330" y="1515452"/>
                    <a:pt x="199745" y="1522037"/>
                    <a:pt x="190966" y="1522037"/>
                  </a:cubicBezTo>
                  <a:close/>
                  <a:moveTo>
                    <a:pt x="48291" y="1574711"/>
                  </a:moveTo>
                  <a:cubicBezTo>
                    <a:pt x="46095" y="1574711"/>
                    <a:pt x="46095" y="1572515"/>
                    <a:pt x="46095" y="1572515"/>
                  </a:cubicBezTo>
                  <a:cubicBezTo>
                    <a:pt x="46095" y="1572515"/>
                    <a:pt x="46095" y="1570320"/>
                    <a:pt x="48291" y="1570320"/>
                  </a:cubicBezTo>
                  <a:cubicBezTo>
                    <a:pt x="48291" y="1570320"/>
                    <a:pt x="50485" y="1570320"/>
                    <a:pt x="50485" y="1572515"/>
                  </a:cubicBezTo>
                  <a:cubicBezTo>
                    <a:pt x="50485" y="1572515"/>
                    <a:pt x="50485" y="1574711"/>
                    <a:pt x="48291" y="1574711"/>
                  </a:cubicBezTo>
                  <a:close/>
                  <a:moveTo>
                    <a:pt x="1240178" y="1574718"/>
                  </a:moveTo>
                  <a:cubicBezTo>
                    <a:pt x="1237983" y="1574718"/>
                    <a:pt x="1235788" y="1572522"/>
                    <a:pt x="1235788" y="1570330"/>
                  </a:cubicBezTo>
                  <a:cubicBezTo>
                    <a:pt x="1235788" y="1568132"/>
                    <a:pt x="1237983" y="1565939"/>
                    <a:pt x="1240178" y="1565939"/>
                  </a:cubicBezTo>
                  <a:cubicBezTo>
                    <a:pt x="1242373" y="1565939"/>
                    <a:pt x="1244568" y="1568132"/>
                    <a:pt x="1244568" y="1570330"/>
                  </a:cubicBezTo>
                  <a:cubicBezTo>
                    <a:pt x="1244568" y="1572522"/>
                    <a:pt x="1242373" y="1574718"/>
                    <a:pt x="1240178" y="1574718"/>
                  </a:cubicBezTo>
                  <a:close/>
                  <a:moveTo>
                    <a:pt x="941658" y="1581301"/>
                  </a:moveTo>
                  <a:cubicBezTo>
                    <a:pt x="935072" y="1581301"/>
                    <a:pt x="930682" y="1576913"/>
                    <a:pt x="930682" y="1570330"/>
                  </a:cubicBezTo>
                  <a:cubicBezTo>
                    <a:pt x="930682" y="1563744"/>
                    <a:pt x="935072" y="1559352"/>
                    <a:pt x="941658" y="1559352"/>
                  </a:cubicBezTo>
                  <a:cubicBezTo>
                    <a:pt x="948243" y="1559352"/>
                    <a:pt x="952633" y="1563744"/>
                    <a:pt x="952633" y="1570330"/>
                  </a:cubicBezTo>
                  <a:cubicBezTo>
                    <a:pt x="952633" y="1576913"/>
                    <a:pt x="948243" y="1581301"/>
                    <a:pt x="941658" y="1581301"/>
                  </a:cubicBezTo>
                  <a:close/>
                  <a:moveTo>
                    <a:pt x="344616" y="1583497"/>
                  </a:moveTo>
                  <a:cubicBezTo>
                    <a:pt x="338031" y="1583497"/>
                    <a:pt x="333641" y="1579104"/>
                    <a:pt x="331446" y="1570326"/>
                  </a:cubicBezTo>
                  <a:cubicBezTo>
                    <a:pt x="331446" y="1563740"/>
                    <a:pt x="338031" y="1557157"/>
                    <a:pt x="344616" y="1557157"/>
                  </a:cubicBezTo>
                  <a:cubicBezTo>
                    <a:pt x="351201" y="1557157"/>
                    <a:pt x="357786" y="1563740"/>
                    <a:pt x="357786" y="1570326"/>
                  </a:cubicBezTo>
                  <a:cubicBezTo>
                    <a:pt x="357786" y="1579104"/>
                    <a:pt x="351201" y="1583497"/>
                    <a:pt x="344616" y="1583497"/>
                  </a:cubicBezTo>
                  <a:close/>
                  <a:moveTo>
                    <a:pt x="643136" y="1587890"/>
                  </a:moveTo>
                  <a:cubicBezTo>
                    <a:pt x="634356" y="1587890"/>
                    <a:pt x="627771" y="1581301"/>
                    <a:pt x="627771" y="1572522"/>
                  </a:cubicBezTo>
                  <a:cubicBezTo>
                    <a:pt x="627771" y="1563744"/>
                    <a:pt x="634356" y="1557159"/>
                    <a:pt x="643136" y="1557159"/>
                  </a:cubicBezTo>
                  <a:cubicBezTo>
                    <a:pt x="651916" y="1557159"/>
                    <a:pt x="658502" y="1563744"/>
                    <a:pt x="658502" y="1572522"/>
                  </a:cubicBezTo>
                  <a:cubicBezTo>
                    <a:pt x="658502" y="1581301"/>
                    <a:pt x="651916" y="1587890"/>
                    <a:pt x="643136" y="1587890"/>
                  </a:cubicBezTo>
                  <a:close/>
                  <a:moveTo>
                    <a:pt x="1402608" y="1640569"/>
                  </a:moveTo>
                  <a:cubicBezTo>
                    <a:pt x="1400413" y="1640569"/>
                    <a:pt x="1398218" y="1638375"/>
                    <a:pt x="1398218" y="1636179"/>
                  </a:cubicBezTo>
                  <a:cubicBezTo>
                    <a:pt x="1398218" y="1633985"/>
                    <a:pt x="1400413" y="1631790"/>
                    <a:pt x="1402608" y="1631790"/>
                  </a:cubicBezTo>
                  <a:cubicBezTo>
                    <a:pt x="1404803" y="1631790"/>
                    <a:pt x="1406998" y="1633985"/>
                    <a:pt x="1406998" y="1636179"/>
                  </a:cubicBezTo>
                  <a:cubicBezTo>
                    <a:pt x="1406998" y="1638375"/>
                    <a:pt x="1404803" y="1640569"/>
                    <a:pt x="1402608" y="1640569"/>
                  </a:cubicBezTo>
                  <a:close/>
                  <a:moveTo>
                    <a:pt x="1101892" y="1642767"/>
                  </a:moveTo>
                  <a:cubicBezTo>
                    <a:pt x="1097502" y="1642767"/>
                    <a:pt x="1095307" y="1640569"/>
                    <a:pt x="1095307" y="1636179"/>
                  </a:cubicBezTo>
                  <a:cubicBezTo>
                    <a:pt x="1095307" y="1631790"/>
                    <a:pt x="1097502" y="1629595"/>
                    <a:pt x="1101892" y="1629595"/>
                  </a:cubicBezTo>
                  <a:cubicBezTo>
                    <a:pt x="1106282" y="1629595"/>
                    <a:pt x="1108478" y="1633985"/>
                    <a:pt x="1108478" y="1636179"/>
                  </a:cubicBezTo>
                  <a:cubicBezTo>
                    <a:pt x="1108478" y="1640569"/>
                    <a:pt x="1104088" y="1642767"/>
                    <a:pt x="1101892" y="1642767"/>
                  </a:cubicBezTo>
                  <a:close/>
                  <a:moveTo>
                    <a:pt x="801177" y="1647154"/>
                  </a:moveTo>
                  <a:cubicBezTo>
                    <a:pt x="794592" y="1647154"/>
                    <a:pt x="790202" y="1642767"/>
                    <a:pt x="790202" y="1636179"/>
                  </a:cubicBezTo>
                  <a:cubicBezTo>
                    <a:pt x="790202" y="1629595"/>
                    <a:pt x="794592" y="1625205"/>
                    <a:pt x="801177" y="1625205"/>
                  </a:cubicBezTo>
                  <a:cubicBezTo>
                    <a:pt x="807762" y="1625205"/>
                    <a:pt x="812152" y="1629595"/>
                    <a:pt x="812152" y="1636179"/>
                  </a:cubicBezTo>
                  <a:cubicBezTo>
                    <a:pt x="812152" y="1642767"/>
                    <a:pt x="807762" y="1647154"/>
                    <a:pt x="801177" y="1647154"/>
                  </a:cubicBezTo>
                  <a:close/>
                  <a:moveTo>
                    <a:pt x="204135" y="1653735"/>
                  </a:moveTo>
                  <a:cubicBezTo>
                    <a:pt x="195356" y="1653735"/>
                    <a:pt x="188770" y="1647151"/>
                    <a:pt x="188770" y="1638372"/>
                  </a:cubicBezTo>
                  <a:cubicBezTo>
                    <a:pt x="188770" y="1629591"/>
                    <a:pt x="195356" y="1623006"/>
                    <a:pt x="204135" y="1623006"/>
                  </a:cubicBezTo>
                  <a:cubicBezTo>
                    <a:pt x="212915" y="1623006"/>
                    <a:pt x="219501" y="1629591"/>
                    <a:pt x="219501" y="1638372"/>
                  </a:cubicBezTo>
                  <a:cubicBezTo>
                    <a:pt x="219501" y="1647151"/>
                    <a:pt x="212915" y="1653735"/>
                    <a:pt x="204135" y="1653735"/>
                  </a:cubicBezTo>
                  <a:close/>
                  <a:moveTo>
                    <a:pt x="502657" y="1653740"/>
                  </a:moveTo>
                  <a:cubicBezTo>
                    <a:pt x="491681" y="1653740"/>
                    <a:pt x="485096" y="1647154"/>
                    <a:pt x="485096" y="1638375"/>
                  </a:cubicBezTo>
                  <a:cubicBezTo>
                    <a:pt x="485096" y="1629595"/>
                    <a:pt x="493877" y="1620814"/>
                    <a:pt x="502657" y="1620814"/>
                  </a:cubicBezTo>
                  <a:cubicBezTo>
                    <a:pt x="511437" y="1620814"/>
                    <a:pt x="520217" y="1627400"/>
                    <a:pt x="520217" y="1636179"/>
                  </a:cubicBezTo>
                  <a:cubicBezTo>
                    <a:pt x="520217" y="1644960"/>
                    <a:pt x="511437" y="1653740"/>
                    <a:pt x="502657" y="1653740"/>
                  </a:cubicBezTo>
                  <a:close/>
                  <a:moveTo>
                    <a:pt x="1264323" y="1706417"/>
                  </a:moveTo>
                  <a:cubicBezTo>
                    <a:pt x="1262128" y="1706417"/>
                    <a:pt x="1259933" y="1704223"/>
                    <a:pt x="1259933" y="1702029"/>
                  </a:cubicBezTo>
                  <a:cubicBezTo>
                    <a:pt x="1259933" y="1699834"/>
                    <a:pt x="1262128" y="1697638"/>
                    <a:pt x="1264323" y="1697638"/>
                  </a:cubicBezTo>
                  <a:cubicBezTo>
                    <a:pt x="1266518" y="1697638"/>
                    <a:pt x="1268713" y="1699834"/>
                    <a:pt x="1268713" y="1702029"/>
                  </a:cubicBezTo>
                  <a:cubicBezTo>
                    <a:pt x="1268713" y="1704223"/>
                    <a:pt x="1266518" y="1706417"/>
                    <a:pt x="1264323" y="1706417"/>
                  </a:cubicBezTo>
                  <a:close/>
                  <a:moveTo>
                    <a:pt x="63656" y="1708606"/>
                  </a:moveTo>
                  <a:cubicBezTo>
                    <a:pt x="61460" y="1708606"/>
                    <a:pt x="59265" y="1706412"/>
                    <a:pt x="59265" y="1704216"/>
                  </a:cubicBezTo>
                  <a:cubicBezTo>
                    <a:pt x="59265" y="1702021"/>
                    <a:pt x="61460" y="1699826"/>
                    <a:pt x="63656" y="1699826"/>
                  </a:cubicBezTo>
                  <a:cubicBezTo>
                    <a:pt x="65850" y="1699826"/>
                    <a:pt x="68046" y="1702021"/>
                    <a:pt x="68046" y="1704216"/>
                  </a:cubicBezTo>
                  <a:cubicBezTo>
                    <a:pt x="68046" y="1706412"/>
                    <a:pt x="65850" y="1708606"/>
                    <a:pt x="63656" y="1708606"/>
                  </a:cubicBezTo>
                  <a:close/>
                  <a:moveTo>
                    <a:pt x="963607" y="1710809"/>
                  </a:moveTo>
                  <a:cubicBezTo>
                    <a:pt x="958758" y="1710809"/>
                    <a:pt x="954827" y="1706878"/>
                    <a:pt x="954827" y="1702029"/>
                  </a:cubicBezTo>
                  <a:cubicBezTo>
                    <a:pt x="954827" y="1697180"/>
                    <a:pt x="958758" y="1693250"/>
                    <a:pt x="963607" y="1693250"/>
                  </a:cubicBezTo>
                  <a:cubicBezTo>
                    <a:pt x="968456" y="1693250"/>
                    <a:pt x="972387" y="1697180"/>
                    <a:pt x="972387" y="1702029"/>
                  </a:cubicBezTo>
                  <a:cubicBezTo>
                    <a:pt x="972387" y="1706878"/>
                    <a:pt x="968456" y="1710809"/>
                    <a:pt x="963607" y="1710809"/>
                  </a:cubicBezTo>
                  <a:close/>
                  <a:moveTo>
                    <a:pt x="362176" y="1715196"/>
                  </a:moveTo>
                  <a:cubicBezTo>
                    <a:pt x="356115" y="1715196"/>
                    <a:pt x="351201" y="1710283"/>
                    <a:pt x="351201" y="1704223"/>
                  </a:cubicBezTo>
                  <a:cubicBezTo>
                    <a:pt x="351201" y="1698161"/>
                    <a:pt x="356115" y="1693247"/>
                    <a:pt x="362176" y="1693247"/>
                  </a:cubicBezTo>
                  <a:cubicBezTo>
                    <a:pt x="368237" y="1693247"/>
                    <a:pt x="373151" y="1698161"/>
                    <a:pt x="373151" y="1704223"/>
                  </a:cubicBezTo>
                  <a:cubicBezTo>
                    <a:pt x="373151" y="1710283"/>
                    <a:pt x="368237" y="1715196"/>
                    <a:pt x="362176" y="1715196"/>
                  </a:cubicBezTo>
                  <a:close/>
                  <a:moveTo>
                    <a:pt x="662892" y="1719588"/>
                  </a:moveTo>
                  <a:cubicBezTo>
                    <a:pt x="654112" y="1719588"/>
                    <a:pt x="645332" y="1710809"/>
                    <a:pt x="647526" y="1704223"/>
                  </a:cubicBezTo>
                  <a:cubicBezTo>
                    <a:pt x="647526" y="1695445"/>
                    <a:pt x="654112" y="1688860"/>
                    <a:pt x="662892" y="1688860"/>
                  </a:cubicBezTo>
                  <a:cubicBezTo>
                    <a:pt x="671671" y="1688860"/>
                    <a:pt x="678257" y="1695445"/>
                    <a:pt x="678257" y="1704223"/>
                  </a:cubicBezTo>
                  <a:cubicBezTo>
                    <a:pt x="678257" y="1713004"/>
                    <a:pt x="671671" y="1719588"/>
                    <a:pt x="662892" y="1719588"/>
                  </a:cubicBezTo>
                  <a:close/>
                  <a:moveTo>
                    <a:pt x="1435533" y="1767878"/>
                  </a:moveTo>
                  <a:cubicBezTo>
                    <a:pt x="1433338" y="1767878"/>
                    <a:pt x="1431143" y="1765682"/>
                    <a:pt x="1431143" y="1763487"/>
                  </a:cubicBezTo>
                  <a:cubicBezTo>
                    <a:pt x="1431143" y="1761292"/>
                    <a:pt x="1433338" y="1759098"/>
                    <a:pt x="1435533" y="1759098"/>
                  </a:cubicBezTo>
                  <a:cubicBezTo>
                    <a:pt x="1437728" y="1759098"/>
                    <a:pt x="1439923" y="1761292"/>
                    <a:pt x="1439923" y="1763487"/>
                  </a:cubicBezTo>
                  <a:cubicBezTo>
                    <a:pt x="1439923" y="1765682"/>
                    <a:pt x="1437728" y="1767878"/>
                    <a:pt x="1435533" y="1767878"/>
                  </a:cubicBezTo>
                  <a:close/>
                  <a:moveTo>
                    <a:pt x="1128232" y="1772266"/>
                  </a:moveTo>
                  <a:cubicBezTo>
                    <a:pt x="1126038" y="1772266"/>
                    <a:pt x="1121648" y="1770071"/>
                    <a:pt x="1121648" y="1765682"/>
                  </a:cubicBezTo>
                  <a:cubicBezTo>
                    <a:pt x="1121648" y="1761292"/>
                    <a:pt x="1123842" y="1759098"/>
                    <a:pt x="1128232" y="1759098"/>
                  </a:cubicBezTo>
                  <a:cubicBezTo>
                    <a:pt x="1132623" y="1759098"/>
                    <a:pt x="1134817" y="1761292"/>
                    <a:pt x="1134817" y="1765682"/>
                  </a:cubicBezTo>
                  <a:cubicBezTo>
                    <a:pt x="1134817" y="1770071"/>
                    <a:pt x="1130428" y="1772266"/>
                    <a:pt x="1128232" y="1772266"/>
                  </a:cubicBezTo>
                  <a:close/>
                  <a:moveTo>
                    <a:pt x="825322" y="1778852"/>
                  </a:moveTo>
                  <a:cubicBezTo>
                    <a:pt x="818737" y="1778852"/>
                    <a:pt x="814347" y="1774462"/>
                    <a:pt x="814347" y="1767878"/>
                  </a:cubicBezTo>
                  <a:cubicBezTo>
                    <a:pt x="814347" y="1761292"/>
                    <a:pt x="818737" y="1756902"/>
                    <a:pt x="825322" y="1756902"/>
                  </a:cubicBezTo>
                  <a:cubicBezTo>
                    <a:pt x="831907" y="1756902"/>
                    <a:pt x="836297" y="1761292"/>
                    <a:pt x="836297" y="1767878"/>
                  </a:cubicBezTo>
                  <a:cubicBezTo>
                    <a:pt x="836297" y="1774462"/>
                    <a:pt x="831907" y="1778852"/>
                    <a:pt x="825322" y="1778852"/>
                  </a:cubicBezTo>
                  <a:close/>
                  <a:moveTo>
                    <a:pt x="522412" y="1781047"/>
                  </a:moveTo>
                  <a:cubicBezTo>
                    <a:pt x="515827" y="1781047"/>
                    <a:pt x="511437" y="1774462"/>
                    <a:pt x="509241" y="1767878"/>
                  </a:cubicBezTo>
                  <a:cubicBezTo>
                    <a:pt x="509241" y="1761292"/>
                    <a:pt x="515827" y="1754706"/>
                    <a:pt x="522412" y="1754706"/>
                  </a:cubicBezTo>
                  <a:cubicBezTo>
                    <a:pt x="528996" y="1754706"/>
                    <a:pt x="535582" y="1761292"/>
                    <a:pt x="535582" y="1767878"/>
                  </a:cubicBezTo>
                  <a:cubicBezTo>
                    <a:pt x="535582" y="1774462"/>
                    <a:pt x="528996" y="1781047"/>
                    <a:pt x="522412" y="1781047"/>
                  </a:cubicBezTo>
                  <a:close/>
                  <a:moveTo>
                    <a:pt x="221695" y="1785434"/>
                  </a:moveTo>
                  <a:cubicBezTo>
                    <a:pt x="212915" y="1785434"/>
                    <a:pt x="206330" y="1778850"/>
                    <a:pt x="204135" y="1767874"/>
                  </a:cubicBezTo>
                  <a:cubicBezTo>
                    <a:pt x="204135" y="1759094"/>
                    <a:pt x="212915" y="1750314"/>
                    <a:pt x="221695" y="1750314"/>
                  </a:cubicBezTo>
                  <a:cubicBezTo>
                    <a:pt x="232671" y="1750314"/>
                    <a:pt x="239255" y="1759094"/>
                    <a:pt x="239255" y="1767874"/>
                  </a:cubicBezTo>
                  <a:cubicBezTo>
                    <a:pt x="239255" y="1776654"/>
                    <a:pt x="230475" y="1785434"/>
                    <a:pt x="221695" y="1785434"/>
                  </a:cubicBezTo>
                  <a:close/>
                  <a:moveTo>
                    <a:pt x="1611134" y="1829335"/>
                  </a:moveTo>
                  <a:cubicBezTo>
                    <a:pt x="1608939" y="1829335"/>
                    <a:pt x="1608939" y="1827141"/>
                    <a:pt x="1608939" y="1827141"/>
                  </a:cubicBezTo>
                  <a:cubicBezTo>
                    <a:pt x="1608939" y="1827141"/>
                    <a:pt x="1608939" y="1824945"/>
                    <a:pt x="1611134" y="1824945"/>
                  </a:cubicBezTo>
                  <a:cubicBezTo>
                    <a:pt x="1611134" y="1824945"/>
                    <a:pt x="1613329" y="1824945"/>
                    <a:pt x="1613329" y="1827141"/>
                  </a:cubicBezTo>
                  <a:cubicBezTo>
                    <a:pt x="1613329" y="1827141"/>
                    <a:pt x="1613329" y="1829335"/>
                    <a:pt x="1611134" y="1829335"/>
                  </a:cubicBezTo>
                  <a:close/>
                  <a:moveTo>
                    <a:pt x="1299443" y="1833728"/>
                  </a:moveTo>
                  <a:cubicBezTo>
                    <a:pt x="1297248" y="1833728"/>
                    <a:pt x="1295053" y="1831531"/>
                    <a:pt x="1295053" y="1829335"/>
                  </a:cubicBezTo>
                  <a:cubicBezTo>
                    <a:pt x="1295053" y="1827141"/>
                    <a:pt x="1297248" y="1824945"/>
                    <a:pt x="1299443" y="1824945"/>
                  </a:cubicBezTo>
                  <a:cubicBezTo>
                    <a:pt x="1301638" y="1824945"/>
                    <a:pt x="1303833" y="1827141"/>
                    <a:pt x="1303833" y="1829335"/>
                  </a:cubicBezTo>
                  <a:cubicBezTo>
                    <a:pt x="1303833" y="1831531"/>
                    <a:pt x="1301638" y="1833728"/>
                    <a:pt x="1299443" y="1833728"/>
                  </a:cubicBezTo>
                  <a:close/>
                  <a:moveTo>
                    <a:pt x="83410" y="1840308"/>
                  </a:moveTo>
                  <a:cubicBezTo>
                    <a:pt x="81216" y="1840308"/>
                    <a:pt x="76826" y="1838113"/>
                    <a:pt x="76826" y="1833722"/>
                  </a:cubicBezTo>
                  <a:cubicBezTo>
                    <a:pt x="76826" y="1829332"/>
                    <a:pt x="81216" y="1827136"/>
                    <a:pt x="83410" y="1827136"/>
                  </a:cubicBezTo>
                  <a:cubicBezTo>
                    <a:pt x="87800" y="1827136"/>
                    <a:pt x="89996" y="1831526"/>
                    <a:pt x="89996" y="1833722"/>
                  </a:cubicBezTo>
                  <a:cubicBezTo>
                    <a:pt x="89996" y="1838113"/>
                    <a:pt x="85606" y="1840308"/>
                    <a:pt x="83410" y="1840308"/>
                  </a:cubicBezTo>
                  <a:close/>
                  <a:moveTo>
                    <a:pt x="992142" y="1840312"/>
                  </a:moveTo>
                  <a:cubicBezTo>
                    <a:pt x="987752" y="1840312"/>
                    <a:pt x="983362" y="1838117"/>
                    <a:pt x="983362" y="1831531"/>
                  </a:cubicBezTo>
                  <a:cubicBezTo>
                    <a:pt x="983362" y="1827141"/>
                    <a:pt x="987752" y="1822751"/>
                    <a:pt x="992142" y="1822751"/>
                  </a:cubicBezTo>
                  <a:cubicBezTo>
                    <a:pt x="996532" y="1822751"/>
                    <a:pt x="1000922" y="1827141"/>
                    <a:pt x="1000922" y="1831531"/>
                  </a:cubicBezTo>
                  <a:cubicBezTo>
                    <a:pt x="1000922" y="1835921"/>
                    <a:pt x="996532" y="1840312"/>
                    <a:pt x="992142" y="1840312"/>
                  </a:cubicBezTo>
                  <a:close/>
                  <a:moveTo>
                    <a:pt x="384126" y="1849091"/>
                  </a:moveTo>
                  <a:cubicBezTo>
                    <a:pt x="377541" y="1849091"/>
                    <a:pt x="368761" y="1842507"/>
                    <a:pt x="368761" y="1833725"/>
                  </a:cubicBezTo>
                  <a:cubicBezTo>
                    <a:pt x="368761" y="1824945"/>
                    <a:pt x="375346" y="1818360"/>
                    <a:pt x="384126" y="1818360"/>
                  </a:cubicBezTo>
                  <a:cubicBezTo>
                    <a:pt x="392906" y="1818360"/>
                    <a:pt x="399491" y="1824945"/>
                    <a:pt x="399491" y="1833725"/>
                  </a:cubicBezTo>
                  <a:cubicBezTo>
                    <a:pt x="399491" y="1842507"/>
                    <a:pt x="392906" y="1849091"/>
                    <a:pt x="384126" y="1849091"/>
                  </a:cubicBezTo>
                  <a:close/>
                  <a:moveTo>
                    <a:pt x="687037" y="1851287"/>
                  </a:moveTo>
                  <a:cubicBezTo>
                    <a:pt x="678257" y="1851287"/>
                    <a:pt x="669476" y="1842507"/>
                    <a:pt x="669476" y="1833728"/>
                  </a:cubicBezTo>
                  <a:cubicBezTo>
                    <a:pt x="669476" y="1824945"/>
                    <a:pt x="678257" y="1816165"/>
                    <a:pt x="687037" y="1816165"/>
                  </a:cubicBezTo>
                  <a:cubicBezTo>
                    <a:pt x="695817" y="1816165"/>
                    <a:pt x="704597" y="1824945"/>
                    <a:pt x="704597" y="1833728"/>
                  </a:cubicBezTo>
                  <a:cubicBezTo>
                    <a:pt x="704597" y="1842507"/>
                    <a:pt x="695817" y="1851287"/>
                    <a:pt x="687037" y="1851287"/>
                  </a:cubicBezTo>
                  <a:close/>
                  <a:moveTo>
                    <a:pt x="1477238" y="1895184"/>
                  </a:moveTo>
                  <a:cubicBezTo>
                    <a:pt x="1475043" y="1895184"/>
                    <a:pt x="1472848" y="1892988"/>
                    <a:pt x="1472848" y="1890793"/>
                  </a:cubicBezTo>
                  <a:cubicBezTo>
                    <a:pt x="1472848" y="1888599"/>
                    <a:pt x="1475043" y="1886403"/>
                    <a:pt x="1477238" y="1886403"/>
                  </a:cubicBezTo>
                  <a:cubicBezTo>
                    <a:pt x="1479433" y="1886403"/>
                    <a:pt x="1481628" y="1888599"/>
                    <a:pt x="1481628" y="1890793"/>
                  </a:cubicBezTo>
                  <a:cubicBezTo>
                    <a:pt x="1481628" y="1892988"/>
                    <a:pt x="1479433" y="1895184"/>
                    <a:pt x="1477238" y="1895184"/>
                  </a:cubicBezTo>
                  <a:close/>
                  <a:moveTo>
                    <a:pt x="1165548" y="1899573"/>
                  </a:moveTo>
                  <a:cubicBezTo>
                    <a:pt x="1161157" y="1899573"/>
                    <a:pt x="1158963" y="1897379"/>
                    <a:pt x="1158963" y="1892988"/>
                  </a:cubicBezTo>
                  <a:cubicBezTo>
                    <a:pt x="1158963" y="1888599"/>
                    <a:pt x="1163353" y="1886403"/>
                    <a:pt x="1165548" y="1886403"/>
                  </a:cubicBezTo>
                  <a:cubicBezTo>
                    <a:pt x="1169938" y="1886403"/>
                    <a:pt x="1172133" y="1890793"/>
                    <a:pt x="1172133" y="1892988"/>
                  </a:cubicBezTo>
                  <a:cubicBezTo>
                    <a:pt x="1172133" y="1897379"/>
                    <a:pt x="1167743" y="1899573"/>
                    <a:pt x="1165548" y="1899573"/>
                  </a:cubicBezTo>
                  <a:close/>
                  <a:moveTo>
                    <a:pt x="550947" y="1910549"/>
                  </a:moveTo>
                  <a:cubicBezTo>
                    <a:pt x="544362" y="1910549"/>
                    <a:pt x="537776" y="1906160"/>
                    <a:pt x="537776" y="1897379"/>
                  </a:cubicBezTo>
                  <a:cubicBezTo>
                    <a:pt x="537776" y="1890793"/>
                    <a:pt x="544362" y="1884210"/>
                    <a:pt x="550947" y="1884210"/>
                  </a:cubicBezTo>
                  <a:cubicBezTo>
                    <a:pt x="559727" y="1884210"/>
                    <a:pt x="564117" y="1890793"/>
                    <a:pt x="564117" y="1897379"/>
                  </a:cubicBezTo>
                  <a:cubicBezTo>
                    <a:pt x="564117" y="1903965"/>
                    <a:pt x="557532" y="1910549"/>
                    <a:pt x="550947" y="1910549"/>
                  </a:cubicBezTo>
                  <a:close/>
                  <a:moveTo>
                    <a:pt x="856052" y="1912745"/>
                  </a:moveTo>
                  <a:cubicBezTo>
                    <a:pt x="847272" y="1912745"/>
                    <a:pt x="840687" y="1906160"/>
                    <a:pt x="840687" y="1897379"/>
                  </a:cubicBezTo>
                  <a:cubicBezTo>
                    <a:pt x="840687" y="1888599"/>
                    <a:pt x="847272" y="1882014"/>
                    <a:pt x="856052" y="1882014"/>
                  </a:cubicBezTo>
                  <a:cubicBezTo>
                    <a:pt x="864832" y="1882014"/>
                    <a:pt x="871417" y="1888599"/>
                    <a:pt x="871417" y="1897379"/>
                  </a:cubicBezTo>
                  <a:cubicBezTo>
                    <a:pt x="871417" y="1906160"/>
                    <a:pt x="864832" y="1912745"/>
                    <a:pt x="856052" y="1912745"/>
                  </a:cubicBezTo>
                  <a:close/>
                  <a:moveTo>
                    <a:pt x="248036" y="1917135"/>
                  </a:moveTo>
                  <a:cubicBezTo>
                    <a:pt x="237061" y="1917135"/>
                    <a:pt x="230475" y="1908354"/>
                    <a:pt x="230475" y="1899573"/>
                  </a:cubicBezTo>
                  <a:cubicBezTo>
                    <a:pt x="230475" y="1890793"/>
                    <a:pt x="239255" y="1882013"/>
                    <a:pt x="248036" y="1882013"/>
                  </a:cubicBezTo>
                  <a:cubicBezTo>
                    <a:pt x="256816" y="1882013"/>
                    <a:pt x="265596" y="1890793"/>
                    <a:pt x="265596" y="1899573"/>
                  </a:cubicBezTo>
                  <a:cubicBezTo>
                    <a:pt x="265596" y="1908354"/>
                    <a:pt x="256816" y="1917135"/>
                    <a:pt x="248036" y="1917135"/>
                  </a:cubicBezTo>
                  <a:close/>
                  <a:moveTo>
                    <a:pt x="1343343" y="1958840"/>
                  </a:moveTo>
                  <a:cubicBezTo>
                    <a:pt x="1341148" y="1958840"/>
                    <a:pt x="1338953" y="1956645"/>
                    <a:pt x="1338953" y="1954449"/>
                  </a:cubicBezTo>
                  <a:cubicBezTo>
                    <a:pt x="1338953" y="1952254"/>
                    <a:pt x="1341148" y="1950060"/>
                    <a:pt x="1343343" y="1950060"/>
                  </a:cubicBezTo>
                  <a:cubicBezTo>
                    <a:pt x="1345537" y="1950060"/>
                    <a:pt x="1347733" y="1952254"/>
                    <a:pt x="1347733" y="1954449"/>
                  </a:cubicBezTo>
                  <a:cubicBezTo>
                    <a:pt x="1347733" y="1956645"/>
                    <a:pt x="1345537" y="1958840"/>
                    <a:pt x="1343343" y="1958840"/>
                  </a:cubicBezTo>
                  <a:close/>
                  <a:moveTo>
                    <a:pt x="1029457" y="1972010"/>
                  </a:moveTo>
                  <a:cubicBezTo>
                    <a:pt x="1022872" y="1972010"/>
                    <a:pt x="1016287" y="1965424"/>
                    <a:pt x="1016287" y="1958840"/>
                  </a:cubicBezTo>
                  <a:cubicBezTo>
                    <a:pt x="1016287" y="1952254"/>
                    <a:pt x="1022872" y="1945670"/>
                    <a:pt x="1029457" y="1945670"/>
                  </a:cubicBezTo>
                  <a:cubicBezTo>
                    <a:pt x="1036042" y="1945670"/>
                    <a:pt x="1042627" y="1952254"/>
                    <a:pt x="1042627" y="1958840"/>
                  </a:cubicBezTo>
                  <a:cubicBezTo>
                    <a:pt x="1042627" y="1965424"/>
                    <a:pt x="1036042" y="1972010"/>
                    <a:pt x="1029457" y="1972010"/>
                  </a:cubicBezTo>
                  <a:close/>
                  <a:moveTo>
                    <a:pt x="109751" y="1974202"/>
                  </a:moveTo>
                  <a:cubicBezTo>
                    <a:pt x="104902" y="1974202"/>
                    <a:pt x="100971" y="1970271"/>
                    <a:pt x="100971" y="1965424"/>
                  </a:cubicBezTo>
                  <a:cubicBezTo>
                    <a:pt x="100971" y="1960572"/>
                    <a:pt x="104902" y="1956642"/>
                    <a:pt x="109751" y="1956642"/>
                  </a:cubicBezTo>
                  <a:cubicBezTo>
                    <a:pt x="114600" y="1956642"/>
                    <a:pt x="118531" y="1960572"/>
                    <a:pt x="118531" y="1965424"/>
                  </a:cubicBezTo>
                  <a:cubicBezTo>
                    <a:pt x="118531" y="1970271"/>
                    <a:pt x="114600" y="1974202"/>
                    <a:pt x="109751" y="1974202"/>
                  </a:cubicBezTo>
                  <a:close/>
                  <a:moveTo>
                    <a:pt x="414856" y="1980788"/>
                  </a:moveTo>
                  <a:cubicBezTo>
                    <a:pt x="406076" y="1980788"/>
                    <a:pt x="397296" y="1974205"/>
                    <a:pt x="397296" y="1963228"/>
                  </a:cubicBezTo>
                  <a:cubicBezTo>
                    <a:pt x="397296" y="1954449"/>
                    <a:pt x="406076" y="1945670"/>
                    <a:pt x="414856" y="1945670"/>
                  </a:cubicBezTo>
                  <a:cubicBezTo>
                    <a:pt x="423636" y="1945670"/>
                    <a:pt x="432416" y="1954449"/>
                    <a:pt x="432416" y="1963228"/>
                  </a:cubicBezTo>
                  <a:cubicBezTo>
                    <a:pt x="432416" y="1972010"/>
                    <a:pt x="423636" y="1980788"/>
                    <a:pt x="414856" y="1980788"/>
                  </a:cubicBezTo>
                  <a:close/>
                  <a:moveTo>
                    <a:pt x="719962" y="1985177"/>
                  </a:moveTo>
                  <a:cubicBezTo>
                    <a:pt x="706792" y="1985177"/>
                    <a:pt x="698011" y="1974205"/>
                    <a:pt x="695817" y="1961036"/>
                  </a:cubicBezTo>
                  <a:cubicBezTo>
                    <a:pt x="695817" y="1947863"/>
                    <a:pt x="706792" y="1936888"/>
                    <a:pt x="719962" y="1936888"/>
                  </a:cubicBezTo>
                  <a:cubicBezTo>
                    <a:pt x="733132" y="1936888"/>
                    <a:pt x="744107" y="1947863"/>
                    <a:pt x="744107" y="1961036"/>
                  </a:cubicBezTo>
                  <a:cubicBezTo>
                    <a:pt x="744107" y="1974205"/>
                    <a:pt x="733132" y="1985177"/>
                    <a:pt x="719962" y="1985177"/>
                  </a:cubicBezTo>
                  <a:close/>
                  <a:moveTo>
                    <a:pt x="1529919" y="2018101"/>
                  </a:moveTo>
                  <a:cubicBezTo>
                    <a:pt x="1527723" y="2018101"/>
                    <a:pt x="1525528" y="2015906"/>
                    <a:pt x="1525528" y="2013711"/>
                  </a:cubicBezTo>
                  <a:cubicBezTo>
                    <a:pt x="1525528" y="2011516"/>
                    <a:pt x="1527723" y="2009323"/>
                    <a:pt x="1529919" y="2009323"/>
                  </a:cubicBezTo>
                  <a:cubicBezTo>
                    <a:pt x="1532113" y="2009323"/>
                    <a:pt x="1534309" y="2011516"/>
                    <a:pt x="1534309" y="2013711"/>
                  </a:cubicBezTo>
                  <a:cubicBezTo>
                    <a:pt x="1534309" y="2015906"/>
                    <a:pt x="1532113" y="2018101"/>
                    <a:pt x="1529919" y="2018101"/>
                  </a:cubicBezTo>
                  <a:close/>
                  <a:moveTo>
                    <a:pt x="1209448" y="2024688"/>
                  </a:moveTo>
                  <a:cubicBezTo>
                    <a:pt x="1207253" y="2024688"/>
                    <a:pt x="1205058" y="2022492"/>
                    <a:pt x="1205058" y="2020297"/>
                  </a:cubicBezTo>
                  <a:cubicBezTo>
                    <a:pt x="1205058" y="2018101"/>
                    <a:pt x="1207253" y="2015906"/>
                    <a:pt x="1209448" y="2015906"/>
                  </a:cubicBezTo>
                  <a:cubicBezTo>
                    <a:pt x="1211643" y="2015906"/>
                    <a:pt x="1213838" y="2018101"/>
                    <a:pt x="1213838" y="2020297"/>
                  </a:cubicBezTo>
                  <a:cubicBezTo>
                    <a:pt x="1213838" y="2022492"/>
                    <a:pt x="1211643" y="2024688"/>
                    <a:pt x="1209448" y="2024688"/>
                  </a:cubicBezTo>
                  <a:close/>
                  <a:moveTo>
                    <a:pt x="895563" y="2037856"/>
                  </a:moveTo>
                  <a:cubicBezTo>
                    <a:pt x="888977" y="2037856"/>
                    <a:pt x="882393" y="2031270"/>
                    <a:pt x="882393" y="2024688"/>
                  </a:cubicBezTo>
                  <a:cubicBezTo>
                    <a:pt x="882393" y="2018101"/>
                    <a:pt x="888977" y="2011516"/>
                    <a:pt x="895563" y="2011516"/>
                  </a:cubicBezTo>
                  <a:cubicBezTo>
                    <a:pt x="902147" y="2011516"/>
                    <a:pt x="908732" y="2018101"/>
                    <a:pt x="908732" y="2024688"/>
                  </a:cubicBezTo>
                  <a:cubicBezTo>
                    <a:pt x="908732" y="2031270"/>
                    <a:pt x="902147" y="2037856"/>
                    <a:pt x="895563" y="2037856"/>
                  </a:cubicBezTo>
                  <a:close/>
                  <a:moveTo>
                    <a:pt x="586066" y="2042247"/>
                  </a:moveTo>
                  <a:cubicBezTo>
                    <a:pt x="577286" y="2042247"/>
                    <a:pt x="570701" y="2035661"/>
                    <a:pt x="570701" y="2026880"/>
                  </a:cubicBezTo>
                  <a:cubicBezTo>
                    <a:pt x="570701" y="2018101"/>
                    <a:pt x="577286" y="2011516"/>
                    <a:pt x="586066" y="2011516"/>
                  </a:cubicBezTo>
                  <a:cubicBezTo>
                    <a:pt x="594846" y="2011516"/>
                    <a:pt x="601431" y="2018101"/>
                    <a:pt x="601431" y="2026880"/>
                  </a:cubicBezTo>
                  <a:cubicBezTo>
                    <a:pt x="601431" y="2035661"/>
                    <a:pt x="594846" y="2042247"/>
                    <a:pt x="586066" y="2042247"/>
                  </a:cubicBezTo>
                  <a:close/>
                  <a:moveTo>
                    <a:pt x="278766" y="2046634"/>
                  </a:moveTo>
                  <a:cubicBezTo>
                    <a:pt x="267790" y="2046634"/>
                    <a:pt x="259010" y="2040052"/>
                    <a:pt x="259010" y="2026880"/>
                  </a:cubicBezTo>
                  <a:cubicBezTo>
                    <a:pt x="259010" y="2015906"/>
                    <a:pt x="267790" y="2007125"/>
                    <a:pt x="278766" y="2007125"/>
                  </a:cubicBezTo>
                  <a:cubicBezTo>
                    <a:pt x="289741" y="2007125"/>
                    <a:pt x="298521" y="2015906"/>
                    <a:pt x="298521" y="2026880"/>
                  </a:cubicBezTo>
                  <a:cubicBezTo>
                    <a:pt x="298521" y="2037856"/>
                    <a:pt x="289741" y="2046634"/>
                    <a:pt x="278766" y="2046634"/>
                  </a:cubicBezTo>
                  <a:close/>
                  <a:moveTo>
                    <a:pt x="1725273" y="2068584"/>
                  </a:moveTo>
                  <a:cubicBezTo>
                    <a:pt x="1725273" y="2068584"/>
                    <a:pt x="1723079" y="2066389"/>
                    <a:pt x="1720883" y="2064194"/>
                  </a:cubicBezTo>
                  <a:cubicBezTo>
                    <a:pt x="1720883" y="2061998"/>
                    <a:pt x="1723079" y="2059803"/>
                    <a:pt x="1725273" y="2059803"/>
                  </a:cubicBezTo>
                  <a:cubicBezTo>
                    <a:pt x="1727469" y="2059803"/>
                    <a:pt x="1729663" y="2061998"/>
                    <a:pt x="1729663" y="2064194"/>
                  </a:cubicBezTo>
                  <a:cubicBezTo>
                    <a:pt x="1729663" y="2066389"/>
                    <a:pt x="1727469" y="2068584"/>
                    <a:pt x="1725273" y="2068584"/>
                  </a:cubicBezTo>
                  <a:close/>
                  <a:moveTo>
                    <a:pt x="1396023" y="2081753"/>
                  </a:moveTo>
                  <a:cubicBezTo>
                    <a:pt x="1393828" y="2081753"/>
                    <a:pt x="1391633" y="2079557"/>
                    <a:pt x="1391633" y="2077362"/>
                  </a:cubicBezTo>
                  <a:cubicBezTo>
                    <a:pt x="1391633" y="2075168"/>
                    <a:pt x="1393828" y="2072974"/>
                    <a:pt x="1396023" y="2072974"/>
                  </a:cubicBezTo>
                  <a:cubicBezTo>
                    <a:pt x="1398218" y="2072974"/>
                    <a:pt x="1400413" y="2075168"/>
                    <a:pt x="1400413" y="2077362"/>
                  </a:cubicBezTo>
                  <a:cubicBezTo>
                    <a:pt x="1400413" y="2079557"/>
                    <a:pt x="1398218" y="2081753"/>
                    <a:pt x="1396023" y="2081753"/>
                  </a:cubicBezTo>
                  <a:close/>
                  <a:moveTo>
                    <a:pt x="1075553" y="2097117"/>
                  </a:moveTo>
                  <a:cubicBezTo>
                    <a:pt x="1068967" y="2097117"/>
                    <a:pt x="1064577" y="2090534"/>
                    <a:pt x="1062382" y="2083948"/>
                  </a:cubicBezTo>
                  <a:cubicBezTo>
                    <a:pt x="1062382" y="2077362"/>
                    <a:pt x="1068967" y="2070780"/>
                    <a:pt x="1075553" y="2070780"/>
                  </a:cubicBezTo>
                  <a:cubicBezTo>
                    <a:pt x="1082137" y="2070780"/>
                    <a:pt x="1088722" y="2077362"/>
                    <a:pt x="1088722" y="2083948"/>
                  </a:cubicBezTo>
                  <a:cubicBezTo>
                    <a:pt x="1088722" y="2090534"/>
                    <a:pt x="1082137" y="2097117"/>
                    <a:pt x="1075553" y="2097117"/>
                  </a:cubicBezTo>
                  <a:close/>
                  <a:moveTo>
                    <a:pt x="142676" y="2099312"/>
                  </a:moveTo>
                  <a:cubicBezTo>
                    <a:pt x="138286" y="2099312"/>
                    <a:pt x="136091" y="2097117"/>
                    <a:pt x="136091" y="2092727"/>
                  </a:cubicBezTo>
                  <a:cubicBezTo>
                    <a:pt x="136091" y="2088339"/>
                    <a:pt x="138286" y="2086143"/>
                    <a:pt x="142676" y="2086143"/>
                  </a:cubicBezTo>
                  <a:cubicBezTo>
                    <a:pt x="147066" y="2086143"/>
                    <a:pt x="149261" y="2088339"/>
                    <a:pt x="149261" y="2092727"/>
                  </a:cubicBezTo>
                  <a:cubicBezTo>
                    <a:pt x="149261" y="2097117"/>
                    <a:pt x="147066" y="2099312"/>
                    <a:pt x="142676" y="2099312"/>
                  </a:cubicBezTo>
                  <a:close/>
                  <a:moveTo>
                    <a:pt x="449976" y="2110286"/>
                  </a:moveTo>
                  <a:cubicBezTo>
                    <a:pt x="439001" y="2110286"/>
                    <a:pt x="432416" y="2101507"/>
                    <a:pt x="430221" y="2090534"/>
                  </a:cubicBezTo>
                  <a:cubicBezTo>
                    <a:pt x="430221" y="2079557"/>
                    <a:pt x="439001" y="2070780"/>
                    <a:pt x="449976" y="2070780"/>
                  </a:cubicBezTo>
                  <a:cubicBezTo>
                    <a:pt x="460952" y="2070780"/>
                    <a:pt x="469732" y="2079557"/>
                    <a:pt x="469732" y="2090534"/>
                  </a:cubicBezTo>
                  <a:cubicBezTo>
                    <a:pt x="469732" y="2101507"/>
                    <a:pt x="460952" y="2110286"/>
                    <a:pt x="449976" y="2110286"/>
                  </a:cubicBezTo>
                  <a:close/>
                  <a:moveTo>
                    <a:pt x="761667" y="2110286"/>
                  </a:moveTo>
                  <a:cubicBezTo>
                    <a:pt x="748497" y="2110286"/>
                    <a:pt x="739717" y="2101507"/>
                    <a:pt x="739717" y="2088339"/>
                  </a:cubicBezTo>
                  <a:cubicBezTo>
                    <a:pt x="739717" y="2075168"/>
                    <a:pt x="750692" y="2066389"/>
                    <a:pt x="761667" y="2066389"/>
                  </a:cubicBezTo>
                  <a:cubicBezTo>
                    <a:pt x="774837" y="2066389"/>
                    <a:pt x="783617" y="2077362"/>
                    <a:pt x="783617" y="2088339"/>
                  </a:cubicBezTo>
                  <a:cubicBezTo>
                    <a:pt x="783617" y="2101507"/>
                    <a:pt x="772642" y="2110286"/>
                    <a:pt x="761667" y="2110286"/>
                  </a:cubicBezTo>
                  <a:close/>
                  <a:moveTo>
                    <a:pt x="1591378" y="2136627"/>
                  </a:moveTo>
                  <a:cubicBezTo>
                    <a:pt x="1589184" y="2136627"/>
                    <a:pt x="1586989" y="2132235"/>
                    <a:pt x="1584794" y="2130041"/>
                  </a:cubicBezTo>
                  <a:cubicBezTo>
                    <a:pt x="1584794" y="2125653"/>
                    <a:pt x="1589184" y="2123457"/>
                    <a:pt x="1591378" y="2123457"/>
                  </a:cubicBezTo>
                  <a:cubicBezTo>
                    <a:pt x="1595769" y="2123457"/>
                    <a:pt x="1597964" y="2125653"/>
                    <a:pt x="1597964" y="2130041"/>
                  </a:cubicBezTo>
                  <a:cubicBezTo>
                    <a:pt x="1597964" y="2134430"/>
                    <a:pt x="1593574" y="2136627"/>
                    <a:pt x="1591378" y="2136627"/>
                  </a:cubicBezTo>
                  <a:close/>
                  <a:moveTo>
                    <a:pt x="1262128" y="2147601"/>
                  </a:moveTo>
                  <a:cubicBezTo>
                    <a:pt x="1259933" y="2147601"/>
                    <a:pt x="1255543" y="2145407"/>
                    <a:pt x="1255543" y="2141017"/>
                  </a:cubicBezTo>
                  <a:cubicBezTo>
                    <a:pt x="1255543" y="2138821"/>
                    <a:pt x="1257738" y="2134430"/>
                    <a:pt x="1262128" y="2134430"/>
                  </a:cubicBezTo>
                  <a:cubicBezTo>
                    <a:pt x="1264323" y="2134430"/>
                    <a:pt x="1268713" y="2136627"/>
                    <a:pt x="1268713" y="2141017"/>
                  </a:cubicBezTo>
                  <a:cubicBezTo>
                    <a:pt x="1268713" y="2143212"/>
                    <a:pt x="1266518" y="2147601"/>
                    <a:pt x="1262128" y="2147601"/>
                  </a:cubicBezTo>
                  <a:close/>
                  <a:moveTo>
                    <a:pt x="6586" y="2165160"/>
                  </a:moveTo>
                  <a:cubicBezTo>
                    <a:pt x="4390" y="2165160"/>
                    <a:pt x="0" y="2162964"/>
                    <a:pt x="0" y="2158574"/>
                  </a:cubicBezTo>
                  <a:cubicBezTo>
                    <a:pt x="0" y="2154185"/>
                    <a:pt x="2196" y="2151990"/>
                    <a:pt x="6586" y="2151990"/>
                  </a:cubicBezTo>
                  <a:cubicBezTo>
                    <a:pt x="10976" y="2151990"/>
                    <a:pt x="13170" y="2154185"/>
                    <a:pt x="13170" y="2158574"/>
                  </a:cubicBezTo>
                  <a:cubicBezTo>
                    <a:pt x="13170" y="2162964"/>
                    <a:pt x="10976" y="2165160"/>
                    <a:pt x="6586" y="2165160"/>
                  </a:cubicBezTo>
                  <a:close/>
                  <a:moveTo>
                    <a:pt x="941658" y="2165160"/>
                  </a:moveTo>
                  <a:cubicBezTo>
                    <a:pt x="932878" y="2165160"/>
                    <a:pt x="926292" y="2156380"/>
                    <a:pt x="926292" y="2149796"/>
                  </a:cubicBezTo>
                  <a:cubicBezTo>
                    <a:pt x="926292" y="2141017"/>
                    <a:pt x="932878" y="2134430"/>
                    <a:pt x="941658" y="2134430"/>
                  </a:cubicBezTo>
                  <a:cubicBezTo>
                    <a:pt x="950437" y="2134430"/>
                    <a:pt x="957023" y="2141017"/>
                    <a:pt x="957023" y="2149796"/>
                  </a:cubicBezTo>
                  <a:cubicBezTo>
                    <a:pt x="957023" y="2158574"/>
                    <a:pt x="950437" y="2165160"/>
                    <a:pt x="941658" y="2165160"/>
                  </a:cubicBezTo>
                  <a:close/>
                  <a:moveTo>
                    <a:pt x="627771" y="2171744"/>
                  </a:moveTo>
                  <a:cubicBezTo>
                    <a:pt x="616797" y="2171744"/>
                    <a:pt x="608016" y="2162964"/>
                    <a:pt x="608016" y="2151990"/>
                  </a:cubicBezTo>
                  <a:cubicBezTo>
                    <a:pt x="608016" y="2141017"/>
                    <a:pt x="616797" y="2132235"/>
                    <a:pt x="627771" y="2132235"/>
                  </a:cubicBezTo>
                  <a:cubicBezTo>
                    <a:pt x="638746" y="2132235"/>
                    <a:pt x="647526" y="2141017"/>
                    <a:pt x="647526" y="2151990"/>
                  </a:cubicBezTo>
                  <a:cubicBezTo>
                    <a:pt x="647526" y="2162964"/>
                    <a:pt x="638746" y="2171744"/>
                    <a:pt x="627771" y="2171744"/>
                  </a:cubicBezTo>
                  <a:close/>
                  <a:moveTo>
                    <a:pt x="316081" y="2173938"/>
                  </a:moveTo>
                  <a:cubicBezTo>
                    <a:pt x="307301" y="2173938"/>
                    <a:pt x="298521" y="2165160"/>
                    <a:pt x="298521" y="2156380"/>
                  </a:cubicBezTo>
                  <a:cubicBezTo>
                    <a:pt x="298521" y="2147601"/>
                    <a:pt x="307301" y="2138821"/>
                    <a:pt x="316081" y="2138821"/>
                  </a:cubicBezTo>
                  <a:cubicBezTo>
                    <a:pt x="324861" y="2138821"/>
                    <a:pt x="333641" y="2147601"/>
                    <a:pt x="333641" y="2156380"/>
                  </a:cubicBezTo>
                  <a:cubicBezTo>
                    <a:pt x="333641" y="2165160"/>
                    <a:pt x="324861" y="2173938"/>
                    <a:pt x="316081" y="2173938"/>
                  </a:cubicBezTo>
                  <a:close/>
                  <a:moveTo>
                    <a:pt x="1799903" y="2178330"/>
                  </a:moveTo>
                  <a:cubicBezTo>
                    <a:pt x="1798807" y="2177231"/>
                    <a:pt x="1798257" y="2176135"/>
                    <a:pt x="1798257" y="2175586"/>
                  </a:cubicBezTo>
                  <a:cubicBezTo>
                    <a:pt x="1798257" y="2175036"/>
                    <a:pt x="1798807" y="2175036"/>
                    <a:pt x="1799903" y="2176135"/>
                  </a:cubicBezTo>
                  <a:lnTo>
                    <a:pt x="1799903" y="2177507"/>
                  </a:lnTo>
                  <a:close/>
                  <a:moveTo>
                    <a:pt x="1457483" y="2200279"/>
                  </a:moveTo>
                  <a:cubicBezTo>
                    <a:pt x="1455288" y="2200279"/>
                    <a:pt x="1453093" y="2198085"/>
                    <a:pt x="1453093" y="2195891"/>
                  </a:cubicBezTo>
                  <a:cubicBezTo>
                    <a:pt x="1453093" y="2193697"/>
                    <a:pt x="1455288" y="2191500"/>
                    <a:pt x="1457483" y="2191500"/>
                  </a:cubicBezTo>
                  <a:cubicBezTo>
                    <a:pt x="1459678" y="2191500"/>
                    <a:pt x="1461873" y="2193697"/>
                    <a:pt x="1461873" y="2195891"/>
                  </a:cubicBezTo>
                  <a:cubicBezTo>
                    <a:pt x="1461873" y="2198085"/>
                    <a:pt x="1459678" y="2200279"/>
                    <a:pt x="1457483" y="2200279"/>
                  </a:cubicBezTo>
                  <a:close/>
                  <a:moveTo>
                    <a:pt x="1130428" y="2217839"/>
                  </a:moveTo>
                  <a:cubicBezTo>
                    <a:pt x="1123842" y="2217839"/>
                    <a:pt x="1117258" y="2211254"/>
                    <a:pt x="1117258" y="2204671"/>
                  </a:cubicBezTo>
                  <a:cubicBezTo>
                    <a:pt x="1117258" y="2198085"/>
                    <a:pt x="1123842" y="2191500"/>
                    <a:pt x="1130428" y="2191500"/>
                  </a:cubicBezTo>
                  <a:cubicBezTo>
                    <a:pt x="1139207" y="2191500"/>
                    <a:pt x="1143597" y="2198085"/>
                    <a:pt x="1143597" y="2204671"/>
                  </a:cubicBezTo>
                  <a:cubicBezTo>
                    <a:pt x="1143597" y="2211254"/>
                    <a:pt x="1137013" y="2217839"/>
                    <a:pt x="1130428" y="2217839"/>
                  </a:cubicBezTo>
                  <a:close/>
                  <a:moveTo>
                    <a:pt x="493877" y="2237594"/>
                  </a:moveTo>
                  <a:cubicBezTo>
                    <a:pt x="482966" y="2237594"/>
                    <a:pt x="474122" y="2228749"/>
                    <a:pt x="474122" y="2217839"/>
                  </a:cubicBezTo>
                  <a:cubicBezTo>
                    <a:pt x="474122" y="2206931"/>
                    <a:pt x="482966" y="2198085"/>
                    <a:pt x="493877" y="2198085"/>
                  </a:cubicBezTo>
                  <a:cubicBezTo>
                    <a:pt x="504787" y="2198085"/>
                    <a:pt x="513631" y="2206931"/>
                    <a:pt x="513631" y="2217839"/>
                  </a:cubicBezTo>
                  <a:cubicBezTo>
                    <a:pt x="513631" y="2228749"/>
                    <a:pt x="504787" y="2237594"/>
                    <a:pt x="493877" y="2237594"/>
                  </a:cubicBezTo>
                  <a:close/>
                  <a:moveTo>
                    <a:pt x="807762" y="2239789"/>
                  </a:moveTo>
                  <a:cubicBezTo>
                    <a:pt x="794592" y="2239789"/>
                    <a:pt x="781422" y="2226619"/>
                    <a:pt x="781422" y="2213449"/>
                  </a:cubicBezTo>
                  <a:cubicBezTo>
                    <a:pt x="781422" y="2200279"/>
                    <a:pt x="792397" y="2187110"/>
                    <a:pt x="807762" y="2187110"/>
                  </a:cubicBezTo>
                  <a:cubicBezTo>
                    <a:pt x="820932" y="2187110"/>
                    <a:pt x="834102" y="2198085"/>
                    <a:pt x="834102" y="2213449"/>
                  </a:cubicBezTo>
                  <a:cubicBezTo>
                    <a:pt x="834102" y="2226619"/>
                    <a:pt x="823127" y="2239789"/>
                    <a:pt x="807762" y="2239789"/>
                  </a:cubicBezTo>
                  <a:close/>
                  <a:moveTo>
                    <a:pt x="179991" y="2246374"/>
                  </a:moveTo>
                  <a:cubicBezTo>
                    <a:pt x="166821" y="2246374"/>
                    <a:pt x="155846" y="2235399"/>
                    <a:pt x="155846" y="2222229"/>
                  </a:cubicBezTo>
                  <a:cubicBezTo>
                    <a:pt x="155846" y="2209060"/>
                    <a:pt x="166821" y="2198085"/>
                    <a:pt x="179991" y="2198085"/>
                  </a:cubicBezTo>
                  <a:cubicBezTo>
                    <a:pt x="193161" y="2198085"/>
                    <a:pt x="204136" y="2209060"/>
                    <a:pt x="204136" y="2222229"/>
                  </a:cubicBezTo>
                  <a:cubicBezTo>
                    <a:pt x="204136" y="2235399"/>
                    <a:pt x="193161" y="2246374"/>
                    <a:pt x="179991" y="2246374"/>
                  </a:cubicBezTo>
                  <a:close/>
                  <a:moveTo>
                    <a:pt x="1663814" y="2246374"/>
                  </a:moveTo>
                  <a:cubicBezTo>
                    <a:pt x="1661619" y="2246374"/>
                    <a:pt x="1659424" y="2244179"/>
                    <a:pt x="1659424" y="2241984"/>
                  </a:cubicBezTo>
                  <a:cubicBezTo>
                    <a:pt x="1659424" y="2239789"/>
                    <a:pt x="1661619" y="2237594"/>
                    <a:pt x="1663814" y="2237594"/>
                  </a:cubicBezTo>
                  <a:cubicBezTo>
                    <a:pt x="1666009" y="2237594"/>
                    <a:pt x="1668204" y="2239789"/>
                    <a:pt x="1668204" y="2241984"/>
                  </a:cubicBezTo>
                  <a:cubicBezTo>
                    <a:pt x="1668204" y="2244179"/>
                    <a:pt x="1666009" y="2246374"/>
                    <a:pt x="1663814" y="2246374"/>
                  </a:cubicBezTo>
                  <a:close/>
                  <a:moveTo>
                    <a:pt x="1325783" y="2270519"/>
                  </a:moveTo>
                  <a:cubicBezTo>
                    <a:pt x="1319198" y="2270519"/>
                    <a:pt x="1314808" y="2263934"/>
                    <a:pt x="1314808" y="2259544"/>
                  </a:cubicBezTo>
                  <a:cubicBezTo>
                    <a:pt x="1314808" y="2252959"/>
                    <a:pt x="1319198" y="2248569"/>
                    <a:pt x="1325783" y="2248569"/>
                  </a:cubicBezTo>
                  <a:cubicBezTo>
                    <a:pt x="1332368" y="2248569"/>
                    <a:pt x="1336759" y="2252959"/>
                    <a:pt x="1336759" y="2259544"/>
                  </a:cubicBezTo>
                  <a:cubicBezTo>
                    <a:pt x="1336759" y="2266129"/>
                    <a:pt x="1332368" y="2270519"/>
                    <a:pt x="1325783" y="2270519"/>
                  </a:cubicBezTo>
                  <a:close/>
                  <a:moveTo>
                    <a:pt x="1881119" y="2283689"/>
                  </a:moveTo>
                  <a:cubicBezTo>
                    <a:pt x="1881119" y="2283689"/>
                    <a:pt x="1876729" y="2281494"/>
                    <a:pt x="1876729" y="2279299"/>
                  </a:cubicBezTo>
                  <a:cubicBezTo>
                    <a:pt x="1876729" y="2277104"/>
                    <a:pt x="1878924" y="2274909"/>
                    <a:pt x="1881119" y="2274909"/>
                  </a:cubicBezTo>
                  <a:cubicBezTo>
                    <a:pt x="1883314" y="2274909"/>
                    <a:pt x="1885509" y="2277104"/>
                    <a:pt x="1885509" y="2279299"/>
                  </a:cubicBezTo>
                  <a:cubicBezTo>
                    <a:pt x="1885509" y="2281494"/>
                    <a:pt x="1883314" y="2283689"/>
                    <a:pt x="1881119" y="2283689"/>
                  </a:cubicBezTo>
                  <a:close/>
                  <a:moveTo>
                    <a:pt x="46095" y="2288078"/>
                  </a:moveTo>
                  <a:cubicBezTo>
                    <a:pt x="43901" y="2288078"/>
                    <a:pt x="43901" y="2288078"/>
                    <a:pt x="43901" y="2285884"/>
                  </a:cubicBezTo>
                  <a:cubicBezTo>
                    <a:pt x="43901" y="2285884"/>
                    <a:pt x="46095" y="2283688"/>
                    <a:pt x="46095" y="2283688"/>
                  </a:cubicBezTo>
                  <a:cubicBezTo>
                    <a:pt x="46095" y="2283688"/>
                    <a:pt x="48291" y="2283688"/>
                    <a:pt x="48291" y="2285884"/>
                  </a:cubicBezTo>
                  <a:cubicBezTo>
                    <a:pt x="48291" y="2285884"/>
                    <a:pt x="48291" y="2288078"/>
                    <a:pt x="46095" y="2288078"/>
                  </a:cubicBezTo>
                  <a:close/>
                  <a:moveTo>
                    <a:pt x="996532" y="2288079"/>
                  </a:moveTo>
                  <a:cubicBezTo>
                    <a:pt x="985557" y="2288079"/>
                    <a:pt x="976777" y="2279299"/>
                    <a:pt x="976777" y="2268324"/>
                  </a:cubicBezTo>
                  <a:cubicBezTo>
                    <a:pt x="976777" y="2257349"/>
                    <a:pt x="985557" y="2248569"/>
                    <a:pt x="996532" y="2248569"/>
                  </a:cubicBezTo>
                  <a:cubicBezTo>
                    <a:pt x="1007507" y="2248569"/>
                    <a:pt x="1016287" y="2257349"/>
                    <a:pt x="1016287" y="2268324"/>
                  </a:cubicBezTo>
                  <a:cubicBezTo>
                    <a:pt x="1016287" y="2279299"/>
                    <a:pt x="1007507" y="2288079"/>
                    <a:pt x="996532" y="2288079"/>
                  </a:cubicBezTo>
                  <a:close/>
                  <a:moveTo>
                    <a:pt x="359981" y="2301248"/>
                  </a:moveTo>
                  <a:cubicBezTo>
                    <a:pt x="349006" y="2301248"/>
                    <a:pt x="340226" y="2292468"/>
                    <a:pt x="340226" y="2281493"/>
                  </a:cubicBezTo>
                  <a:cubicBezTo>
                    <a:pt x="340226" y="2270518"/>
                    <a:pt x="349006" y="2261738"/>
                    <a:pt x="359981" y="2261738"/>
                  </a:cubicBezTo>
                  <a:cubicBezTo>
                    <a:pt x="370956" y="2261738"/>
                    <a:pt x="379736" y="2270518"/>
                    <a:pt x="379736" y="2281493"/>
                  </a:cubicBezTo>
                  <a:cubicBezTo>
                    <a:pt x="379736" y="2292468"/>
                    <a:pt x="370956" y="2301248"/>
                    <a:pt x="359981" y="2301248"/>
                  </a:cubicBezTo>
                  <a:close/>
                  <a:moveTo>
                    <a:pt x="676061" y="2301249"/>
                  </a:moveTo>
                  <a:cubicBezTo>
                    <a:pt x="660696" y="2301249"/>
                    <a:pt x="651916" y="2290274"/>
                    <a:pt x="651916" y="2277104"/>
                  </a:cubicBezTo>
                  <a:cubicBezTo>
                    <a:pt x="651916" y="2263934"/>
                    <a:pt x="662892" y="2252959"/>
                    <a:pt x="676061" y="2252959"/>
                  </a:cubicBezTo>
                  <a:cubicBezTo>
                    <a:pt x="689231" y="2252959"/>
                    <a:pt x="700207" y="2263934"/>
                    <a:pt x="700207" y="2277104"/>
                  </a:cubicBezTo>
                  <a:cubicBezTo>
                    <a:pt x="700207" y="2290274"/>
                    <a:pt x="689231" y="2301249"/>
                    <a:pt x="676061" y="2301249"/>
                  </a:cubicBezTo>
                  <a:close/>
                  <a:moveTo>
                    <a:pt x="1529919" y="2312223"/>
                  </a:moveTo>
                  <a:cubicBezTo>
                    <a:pt x="1525528" y="2312223"/>
                    <a:pt x="1523333" y="2310028"/>
                    <a:pt x="1523333" y="2305638"/>
                  </a:cubicBezTo>
                  <a:cubicBezTo>
                    <a:pt x="1523333" y="2301248"/>
                    <a:pt x="1527723" y="2299053"/>
                    <a:pt x="1529919" y="2299053"/>
                  </a:cubicBezTo>
                  <a:cubicBezTo>
                    <a:pt x="1534309" y="2299053"/>
                    <a:pt x="1536503" y="2303443"/>
                    <a:pt x="1536503" y="2305638"/>
                  </a:cubicBezTo>
                  <a:cubicBezTo>
                    <a:pt x="1536503" y="2310028"/>
                    <a:pt x="1534309" y="2312223"/>
                    <a:pt x="1529919" y="2312223"/>
                  </a:cubicBezTo>
                  <a:close/>
                  <a:moveTo>
                    <a:pt x="1191888" y="2334173"/>
                  </a:moveTo>
                  <a:cubicBezTo>
                    <a:pt x="1185302" y="2334173"/>
                    <a:pt x="1180912" y="2329783"/>
                    <a:pt x="1180912" y="2323199"/>
                  </a:cubicBezTo>
                  <a:cubicBezTo>
                    <a:pt x="1180912" y="2316613"/>
                    <a:pt x="1185302" y="2312223"/>
                    <a:pt x="1191888" y="2312223"/>
                  </a:cubicBezTo>
                  <a:cubicBezTo>
                    <a:pt x="1198473" y="2312223"/>
                    <a:pt x="1202863" y="2316613"/>
                    <a:pt x="1202863" y="2323199"/>
                  </a:cubicBezTo>
                  <a:cubicBezTo>
                    <a:pt x="1202863" y="2329783"/>
                    <a:pt x="1198473" y="2334173"/>
                    <a:pt x="1191888" y="2334173"/>
                  </a:cubicBezTo>
                  <a:close/>
                  <a:moveTo>
                    <a:pt x="1745028" y="2351734"/>
                  </a:moveTo>
                  <a:cubicBezTo>
                    <a:pt x="1742833" y="2351734"/>
                    <a:pt x="1740639" y="2349538"/>
                    <a:pt x="1740639" y="2347344"/>
                  </a:cubicBezTo>
                  <a:cubicBezTo>
                    <a:pt x="1740639" y="2345148"/>
                    <a:pt x="1742833" y="2342953"/>
                    <a:pt x="1745028" y="2342953"/>
                  </a:cubicBezTo>
                  <a:cubicBezTo>
                    <a:pt x="1747224" y="2342953"/>
                    <a:pt x="1749418" y="2345148"/>
                    <a:pt x="1749418" y="2347344"/>
                  </a:cubicBezTo>
                  <a:cubicBezTo>
                    <a:pt x="1749418" y="2349538"/>
                    <a:pt x="1747224" y="2351734"/>
                    <a:pt x="1745028" y="2351734"/>
                  </a:cubicBezTo>
                  <a:close/>
                  <a:moveTo>
                    <a:pt x="542166" y="2360514"/>
                  </a:moveTo>
                  <a:cubicBezTo>
                    <a:pt x="531192" y="2360514"/>
                    <a:pt x="522412" y="2351734"/>
                    <a:pt x="522412" y="2340758"/>
                  </a:cubicBezTo>
                  <a:cubicBezTo>
                    <a:pt x="522412" y="2329783"/>
                    <a:pt x="531192" y="2321003"/>
                    <a:pt x="542166" y="2321003"/>
                  </a:cubicBezTo>
                  <a:cubicBezTo>
                    <a:pt x="553142" y="2321003"/>
                    <a:pt x="561922" y="2329783"/>
                    <a:pt x="561922" y="2340758"/>
                  </a:cubicBezTo>
                  <a:cubicBezTo>
                    <a:pt x="561922" y="2351734"/>
                    <a:pt x="553142" y="2360514"/>
                    <a:pt x="542166" y="2360514"/>
                  </a:cubicBezTo>
                  <a:close/>
                  <a:moveTo>
                    <a:pt x="862637" y="2360514"/>
                  </a:moveTo>
                  <a:cubicBezTo>
                    <a:pt x="847272" y="2360514"/>
                    <a:pt x="836297" y="2349539"/>
                    <a:pt x="836297" y="2334174"/>
                  </a:cubicBezTo>
                  <a:cubicBezTo>
                    <a:pt x="836297" y="2321004"/>
                    <a:pt x="849467" y="2307834"/>
                    <a:pt x="862637" y="2307834"/>
                  </a:cubicBezTo>
                  <a:cubicBezTo>
                    <a:pt x="875807" y="2307834"/>
                    <a:pt x="888977" y="2318809"/>
                    <a:pt x="888977" y="2334174"/>
                  </a:cubicBezTo>
                  <a:cubicBezTo>
                    <a:pt x="888977" y="2347344"/>
                    <a:pt x="878002" y="2360514"/>
                    <a:pt x="862637" y="2360514"/>
                  </a:cubicBezTo>
                  <a:close/>
                  <a:moveTo>
                    <a:pt x="223891" y="2371488"/>
                  </a:moveTo>
                  <a:cubicBezTo>
                    <a:pt x="210720" y="2371488"/>
                    <a:pt x="199745" y="2360514"/>
                    <a:pt x="199745" y="2347344"/>
                  </a:cubicBezTo>
                  <a:cubicBezTo>
                    <a:pt x="199745" y="2334173"/>
                    <a:pt x="210720" y="2323199"/>
                    <a:pt x="223891" y="2323199"/>
                  </a:cubicBezTo>
                  <a:cubicBezTo>
                    <a:pt x="237061" y="2323199"/>
                    <a:pt x="248036" y="2334173"/>
                    <a:pt x="248036" y="2347344"/>
                  </a:cubicBezTo>
                  <a:cubicBezTo>
                    <a:pt x="248036" y="2360514"/>
                    <a:pt x="237061" y="2371488"/>
                    <a:pt x="223891" y="2371488"/>
                  </a:cubicBezTo>
                  <a:close/>
                  <a:moveTo>
                    <a:pt x="1393828" y="2380269"/>
                  </a:moveTo>
                  <a:cubicBezTo>
                    <a:pt x="1389438" y="2380269"/>
                    <a:pt x="1385048" y="2378074"/>
                    <a:pt x="1385048" y="2371488"/>
                  </a:cubicBezTo>
                  <a:cubicBezTo>
                    <a:pt x="1385048" y="2367098"/>
                    <a:pt x="1389438" y="2362708"/>
                    <a:pt x="1393828" y="2362708"/>
                  </a:cubicBezTo>
                  <a:cubicBezTo>
                    <a:pt x="1398218" y="2362708"/>
                    <a:pt x="1402608" y="2367098"/>
                    <a:pt x="1402608" y="2371488"/>
                  </a:cubicBezTo>
                  <a:cubicBezTo>
                    <a:pt x="1402608" y="2375879"/>
                    <a:pt x="1398218" y="2380269"/>
                    <a:pt x="1393828" y="2380269"/>
                  </a:cubicBezTo>
                  <a:close/>
                  <a:moveTo>
                    <a:pt x="1973310" y="2380269"/>
                  </a:moveTo>
                  <a:cubicBezTo>
                    <a:pt x="1971114" y="2380269"/>
                    <a:pt x="1968920" y="2378074"/>
                    <a:pt x="1968920" y="2375879"/>
                  </a:cubicBezTo>
                  <a:cubicBezTo>
                    <a:pt x="1968920" y="2373684"/>
                    <a:pt x="1971114" y="2371488"/>
                    <a:pt x="1973310" y="2371488"/>
                  </a:cubicBezTo>
                  <a:cubicBezTo>
                    <a:pt x="1975505" y="2371488"/>
                    <a:pt x="1977700" y="2373684"/>
                    <a:pt x="1977700" y="2375879"/>
                  </a:cubicBezTo>
                  <a:cubicBezTo>
                    <a:pt x="1977700" y="2378074"/>
                    <a:pt x="1975505" y="2380269"/>
                    <a:pt x="1973310" y="2380269"/>
                  </a:cubicBezTo>
                  <a:close/>
                  <a:moveTo>
                    <a:pt x="1057992" y="2410999"/>
                  </a:moveTo>
                  <a:cubicBezTo>
                    <a:pt x="1044822" y="2410999"/>
                    <a:pt x="1033847" y="2400023"/>
                    <a:pt x="1036042" y="2389049"/>
                  </a:cubicBezTo>
                  <a:cubicBezTo>
                    <a:pt x="1036042" y="2378074"/>
                    <a:pt x="1047017" y="2367098"/>
                    <a:pt x="1057992" y="2367098"/>
                  </a:cubicBezTo>
                  <a:cubicBezTo>
                    <a:pt x="1068967" y="2367098"/>
                    <a:pt x="1079943" y="2375879"/>
                    <a:pt x="1079943" y="2389049"/>
                  </a:cubicBezTo>
                  <a:cubicBezTo>
                    <a:pt x="1079943" y="2400023"/>
                    <a:pt x="1071162" y="2410999"/>
                    <a:pt x="1057992" y="2410999"/>
                  </a:cubicBezTo>
                  <a:close/>
                  <a:moveTo>
                    <a:pt x="728742" y="2419779"/>
                  </a:moveTo>
                  <a:cubicBezTo>
                    <a:pt x="717766" y="2419779"/>
                    <a:pt x="706792" y="2410999"/>
                    <a:pt x="706792" y="2397829"/>
                  </a:cubicBezTo>
                  <a:cubicBezTo>
                    <a:pt x="706792" y="2386853"/>
                    <a:pt x="715572" y="2375879"/>
                    <a:pt x="728742" y="2375879"/>
                  </a:cubicBezTo>
                  <a:cubicBezTo>
                    <a:pt x="739717" y="2375879"/>
                    <a:pt x="750692" y="2384659"/>
                    <a:pt x="750692" y="2397829"/>
                  </a:cubicBezTo>
                  <a:cubicBezTo>
                    <a:pt x="750692" y="2408804"/>
                    <a:pt x="741912" y="2419779"/>
                    <a:pt x="728742" y="2419779"/>
                  </a:cubicBezTo>
                  <a:close/>
                  <a:moveTo>
                    <a:pt x="1608939" y="2419779"/>
                  </a:moveTo>
                  <a:cubicBezTo>
                    <a:pt x="1604549" y="2419779"/>
                    <a:pt x="1602354" y="2417584"/>
                    <a:pt x="1604549" y="2415389"/>
                  </a:cubicBezTo>
                  <a:cubicBezTo>
                    <a:pt x="1604549" y="2413194"/>
                    <a:pt x="1606743" y="2410999"/>
                    <a:pt x="1608939" y="2410999"/>
                  </a:cubicBezTo>
                  <a:cubicBezTo>
                    <a:pt x="1611134" y="2410999"/>
                    <a:pt x="1613329" y="2413194"/>
                    <a:pt x="1613329" y="2415389"/>
                  </a:cubicBezTo>
                  <a:cubicBezTo>
                    <a:pt x="1613329" y="2417584"/>
                    <a:pt x="1611134" y="2419779"/>
                    <a:pt x="1608939" y="2419779"/>
                  </a:cubicBezTo>
                  <a:close/>
                  <a:moveTo>
                    <a:pt x="408271" y="2426364"/>
                  </a:moveTo>
                  <a:cubicBezTo>
                    <a:pt x="397361" y="2426364"/>
                    <a:pt x="388516" y="2417519"/>
                    <a:pt x="388516" y="2406609"/>
                  </a:cubicBezTo>
                  <a:cubicBezTo>
                    <a:pt x="388516" y="2395699"/>
                    <a:pt x="397361" y="2386853"/>
                    <a:pt x="408271" y="2386853"/>
                  </a:cubicBezTo>
                  <a:cubicBezTo>
                    <a:pt x="419181" y="2386853"/>
                    <a:pt x="428027" y="2395699"/>
                    <a:pt x="428027" y="2406609"/>
                  </a:cubicBezTo>
                  <a:cubicBezTo>
                    <a:pt x="428027" y="2417519"/>
                    <a:pt x="419181" y="2426364"/>
                    <a:pt x="408271" y="2426364"/>
                  </a:cubicBezTo>
                  <a:close/>
                  <a:moveTo>
                    <a:pt x="1259933" y="2450509"/>
                  </a:moveTo>
                  <a:cubicBezTo>
                    <a:pt x="1253348" y="2450509"/>
                    <a:pt x="1246763" y="2443924"/>
                    <a:pt x="1246763" y="2437339"/>
                  </a:cubicBezTo>
                  <a:cubicBezTo>
                    <a:pt x="1246763" y="2430754"/>
                    <a:pt x="1253348" y="2424169"/>
                    <a:pt x="1259933" y="2424169"/>
                  </a:cubicBezTo>
                  <a:cubicBezTo>
                    <a:pt x="1266518" y="2424169"/>
                    <a:pt x="1273103" y="2430754"/>
                    <a:pt x="1273103" y="2437339"/>
                  </a:cubicBezTo>
                  <a:cubicBezTo>
                    <a:pt x="1273103" y="2443924"/>
                    <a:pt x="1266518" y="2450509"/>
                    <a:pt x="1259933" y="2450509"/>
                  </a:cubicBezTo>
                  <a:close/>
                  <a:moveTo>
                    <a:pt x="1832829" y="2452704"/>
                  </a:moveTo>
                  <a:cubicBezTo>
                    <a:pt x="1830634" y="2452704"/>
                    <a:pt x="1828439" y="2450509"/>
                    <a:pt x="1826244" y="2446119"/>
                  </a:cubicBezTo>
                  <a:cubicBezTo>
                    <a:pt x="1826244" y="2441729"/>
                    <a:pt x="1828439" y="2439534"/>
                    <a:pt x="1832829" y="2439534"/>
                  </a:cubicBezTo>
                  <a:cubicBezTo>
                    <a:pt x="1837219" y="2439534"/>
                    <a:pt x="1839414" y="2441729"/>
                    <a:pt x="1839414" y="2446119"/>
                  </a:cubicBezTo>
                  <a:cubicBezTo>
                    <a:pt x="1839414" y="2450509"/>
                    <a:pt x="1837219" y="2452704"/>
                    <a:pt x="1832829" y="2452704"/>
                  </a:cubicBezTo>
                  <a:close/>
                  <a:moveTo>
                    <a:pt x="2074279" y="2465874"/>
                  </a:moveTo>
                  <a:cubicBezTo>
                    <a:pt x="2073182" y="2464776"/>
                    <a:pt x="2073182" y="2463679"/>
                    <a:pt x="2073456" y="2463130"/>
                  </a:cubicBezTo>
                  <a:cubicBezTo>
                    <a:pt x="2073730" y="2462581"/>
                    <a:pt x="2074279" y="2462581"/>
                    <a:pt x="2074279" y="2463679"/>
                  </a:cubicBezTo>
                  <a:cubicBezTo>
                    <a:pt x="2074279" y="2463679"/>
                    <a:pt x="2076474" y="2463679"/>
                    <a:pt x="2074279" y="2465874"/>
                  </a:cubicBezTo>
                  <a:close/>
                  <a:moveTo>
                    <a:pt x="924097" y="2476849"/>
                  </a:moveTo>
                  <a:cubicBezTo>
                    <a:pt x="910927" y="2476849"/>
                    <a:pt x="897757" y="2465874"/>
                    <a:pt x="899953" y="2452704"/>
                  </a:cubicBezTo>
                  <a:cubicBezTo>
                    <a:pt x="899953" y="2439534"/>
                    <a:pt x="910927" y="2428558"/>
                    <a:pt x="924097" y="2428558"/>
                  </a:cubicBezTo>
                  <a:cubicBezTo>
                    <a:pt x="937267" y="2428558"/>
                    <a:pt x="948242" y="2439534"/>
                    <a:pt x="948242" y="2452704"/>
                  </a:cubicBezTo>
                  <a:cubicBezTo>
                    <a:pt x="948242" y="2465874"/>
                    <a:pt x="937267" y="2476849"/>
                    <a:pt x="924097" y="2476849"/>
                  </a:cubicBezTo>
                  <a:close/>
                  <a:moveTo>
                    <a:pt x="597041" y="2485629"/>
                  </a:moveTo>
                  <a:cubicBezTo>
                    <a:pt x="583871" y="2485629"/>
                    <a:pt x="572896" y="2474654"/>
                    <a:pt x="575091" y="2463679"/>
                  </a:cubicBezTo>
                  <a:cubicBezTo>
                    <a:pt x="575091" y="2452704"/>
                    <a:pt x="583871" y="2441729"/>
                    <a:pt x="597041" y="2441729"/>
                  </a:cubicBezTo>
                  <a:cubicBezTo>
                    <a:pt x="608016" y="2441729"/>
                    <a:pt x="618991" y="2450509"/>
                    <a:pt x="618991" y="2463679"/>
                  </a:cubicBezTo>
                  <a:cubicBezTo>
                    <a:pt x="618991" y="2474654"/>
                    <a:pt x="610211" y="2485629"/>
                    <a:pt x="597041" y="2485629"/>
                  </a:cubicBezTo>
                  <a:close/>
                  <a:moveTo>
                    <a:pt x="1472848" y="2490019"/>
                  </a:moveTo>
                  <a:cubicBezTo>
                    <a:pt x="1466263" y="2490019"/>
                    <a:pt x="1461873" y="2485629"/>
                    <a:pt x="1464068" y="2481239"/>
                  </a:cubicBezTo>
                  <a:cubicBezTo>
                    <a:pt x="1464068" y="2476849"/>
                    <a:pt x="1468458" y="2472459"/>
                    <a:pt x="1472848" y="2472459"/>
                  </a:cubicBezTo>
                  <a:cubicBezTo>
                    <a:pt x="1477238" y="2472459"/>
                    <a:pt x="1481628" y="2476849"/>
                    <a:pt x="1481628" y="2481239"/>
                  </a:cubicBezTo>
                  <a:cubicBezTo>
                    <a:pt x="1481628" y="2485629"/>
                    <a:pt x="1477238" y="2490019"/>
                    <a:pt x="1472848" y="2490019"/>
                  </a:cubicBezTo>
                  <a:close/>
                  <a:moveTo>
                    <a:pt x="274376" y="2494409"/>
                  </a:moveTo>
                  <a:cubicBezTo>
                    <a:pt x="261206" y="2494409"/>
                    <a:pt x="250230" y="2483434"/>
                    <a:pt x="250230" y="2470264"/>
                  </a:cubicBezTo>
                  <a:cubicBezTo>
                    <a:pt x="250230" y="2457094"/>
                    <a:pt x="261206" y="2446119"/>
                    <a:pt x="274376" y="2446119"/>
                  </a:cubicBezTo>
                  <a:cubicBezTo>
                    <a:pt x="287546" y="2446119"/>
                    <a:pt x="298521" y="2457094"/>
                    <a:pt x="298521" y="2470264"/>
                  </a:cubicBezTo>
                  <a:cubicBezTo>
                    <a:pt x="298521" y="2483434"/>
                    <a:pt x="287546" y="2494409"/>
                    <a:pt x="274376" y="2494409"/>
                  </a:cubicBezTo>
                  <a:close/>
                  <a:moveTo>
                    <a:pt x="1126038" y="2522944"/>
                  </a:moveTo>
                  <a:cubicBezTo>
                    <a:pt x="1113915" y="2522944"/>
                    <a:pt x="1104088" y="2513117"/>
                    <a:pt x="1104088" y="2500994"/>
                  </a:cubicBezTo>
                  <a:cubicBezTo>
                    <a:pt x="1104088" y="2488871"/>
                    <a:pt x="1113915" y="2479044"/>
                    <a:pt x="1126038" y="2479044"/>
                  </a:cubicBezTo>
                  <a:cubicBezTo>
                    <a:pt x="1138160" y="2479044"/>
                    <a:pt x="1147987" y="2488871"/>
                    <a:pt x="1147987" y="2500994"/>
                  </a:cubicBezTo>
                  <a:cubicBezTo>
                    <a:pt x="1147987" y="2513117"/>
                    <a:pt x="1138160" y="2522944"/>
                    <a:pt x="1126038" y="2522944"/>
                  </a:cubicBezTo>
                  <a:close/>
                  <a:moveTo>
                    <a:pt x="1694544" y="2522944"/>
                  </a:moveTo>
                  <a:cubicBezTo>
                    <a:pt x="1690154" y="2522944"/>
                    <a:pt x="1687959" y="2518554"/>
                    <a:pt x="1685764" y="2514164"/>
                  </a:cubicBezTo>
                  <a:cubicBezTo>
                    <a:pt x="1685764" y="2509774"/>
                    <a:pt x="1690154" y="2505384"/>
                    <a:pt x="1694544" y="2505384"/>
                  </a:cubicBezTo>
                  <a:cubicBezTo>
                    <a:pt x="1698934" y="2505384"/>
                    <a:pt x="1703324" y="2509774"/>
                    <a:pt x="1703324" y="2514164"/>
                  </a:cubicBezTo>
                  <a:cubicBezTo>
                    <a:pt x="1703324" y="2518554"/>
                    <a:pt x="1698934" y="2522944"/>
                    <a:pt x="1694544" y="2522944"/>
                  </a:cubicBezTo>
                  <a:close/>
                  <a:moveTo>
                    <a:pt x="1931604" y="2542699"/>
                  </a:moveTo>
                  <a:cubicBezTo>
                    <a:pt x="1927215" y="2542699"/>
                    <a:pt x="1925019" y="2540504"/>
                    <a:pt x="1925019" y="2536114"/>
                  </a:cubicBezTo>
                  <a:cubicBezTo>
                    <a:pt x="1925019" y="2531724"/>
                    <a:pt x="1927215" y="2529529"/>
                    <a:pt x="1931604" y="2529529"/>
                  </a:cubicBezTo>
                  <a:cubicBezTo>
                    <a:pt x="1935994" y="2529529"/>
                    <a:pt x="1938189" y="2533919"/>
                    <a:pt x="1938189" y="2536114"/>
                  </a:cubicBezTo>
                  <a:cubicBezTo>
                    <a:pt x="1938189" y="2540504"/>
                    <a:pt x="1933799" y="2542699"/>
                    <a:pt x="1931604" y="2542699"/>
                  </a:cubicBezTo>
                  <a:close/>
                  <a:moveTo>
                    <a:pt x="2181835" y="2544894"/>
                  </a:moveTo>
                  <a:cubicBezTo>
                    <a:pt x="2179639" y="2544894"/>
                    <a:pt x="2179639" y="2542699"/>
                    <a:pt x="2179639" y="2542699"/>
                  </a:cubicBezTo>
                  <a:cubicBezTo>
                    <a:pt x="2179639" y="2542699"/>
                    <a:pt x="2179639" y="2540504"/>
                    <a:pt x="2181835" y="2540504"/>
                  </a:cubicBezTo>
                  <a:cubicBezTo>
                    <a:pt x="2181835" y="2540504"/>
                    <a:pt x="2184030" y="2540504"/>
                    <a:pt x="2184030" y="2542699"/>
                  </a:cubicBezTo>
                  <a:cubicBezTo>
                    <a:pt x="2184030" y="2542699"/>
                    <a:pt x="2184030" y="2544894"/>
                    <a:pt x="2181835" y="2544894"/>
                  </a:cubicBezTo>
                  <a:close/>
                  <a:moveTo>
                    <a:pt x="790202" y="2549284"/>
                  </a:moveTo>
                  <a:cubicBezTo>
                    <a:pt x="772642" y="2549284"/>
                    <a:pt x="757277" y="2533919"/>
                    <a:pt x="757277" y="2516359"/>
                  </a:cubicBezTo>
                  <a:cubicBezTo>
                    <a:pt x="757277" y="2498799"/>
                    <a:pt x="772642" y="2483434"/>
                    <a:pt x="790202" y="2483434"/>
                  </a:cubicBezTo>
                  <a:cubicBezTo>
                    <a:pt x="807762" y="2483434"/>
                    <a:pt x="823127" y="2498799"/>
                    <a:pt x="823127" y="2516359"/>
                  </a:cubicBezTo>
                  <a:cubicBezTo>
                    <a:pt x="823127" y="2533919"/>
                    <a:pt x="807762" y="2549284"/>
                    <a:pt x="790202" y="2549284"/>
                  </a:cubicBezTo>
                  <a:close/>
                  <a:moveTo>
                    <a:pt x="463146" y="2553674"/>
                  </a:moveTo>
                  <a:cubicBezTo>
                    <a:pt x="447781" y="2553674"/>
                    <a:pt x="434611" y="2542699"/>
                    <a:pt x="436806" y="2527334"/>
                  </a:cubicBezTo>
                  <a:cubicBezTo>
                    <a:pt x="436806" y="2514164"/>
                    <a:pt x="447781" y="2500994"/>
                    <a:pt x="463146" y="2500994"/>
                  </a:cubicBezTo>
                  <a:cubicBezTo>
                    <a:pt x="476316" y="2500994"/>
                    <a:pt x="489487" y="2511969"/>
                    <a:pt x="489487" y="2527334"/>
                  </a:cubicBezTo>
                  <a:cubicBezTo>
                    <a:pt x="489487" y="2540504"/>
                    <a:pt x="478512" y="2553674"/>
                    <a:pt x="463146" y="2553674"/>
                  </a:cubicBezTo>
                  <a:close/>
                  <a:moveTo>
                    <a:pt x="1336757" y="2562454"/>
                  </a:moveTo>
                  <a:cubicBezTo>
                    <a:pt x="1327977" y="2562454"/>
                    <a:pt x="1321393" y="2553674"/>
                    <a:pt x="1321393" y="2547089"/>
                  </a:cubicBezTo>
                  <a:cubicBezTo>
                    <a:pt x="1321393" y="2538309"/>
                    <a:pt x="1327977" y="2531724"/>
                    <a:pt x="1336757" y="2531724"/>
                  </a:cubicBezTo>
                  <a:cubicBezTo>
                    <a:pt x="1345537" y="2531724"/>
                    <a:pt x="1352123" y="2538309"/>
                    <a:pt x="1352123" y="2547089"/>
                  </a:cubicBezTo>
                  <a:cubicBezTo>
                    <a:pt x="1352123" y="2555869"/>
                    <a:pt x="1345537" y="2562454"/>
                    <a:pt x="1336757" y="2562454"/>
                  </a:cubicBezTo>
                  <a:close/>
                  <a:moveTo>
                    <a:pt x="1556258" y="2593185"/>
                  </a:moveTo>
                  <a:cubicBezTo>
                    <a:pt x="1551869" y="2593185"/>
                    <a:pt x="1545283" y="2588795"/>
                    <a:pt x="1545283" y="2582209"/>
                  </a:cubicBezTo>
                  <a:cubicBezTo>
                    <a:pt x="1545283" y="2575624"/>
                    <a:pt x="1549673" y="2571234"/>
                    <a:pt x="1556258" y="2571234"/>
                  </a:cubicBezTo>
                  <a:cubicBezTo>
                    <a:pt x="1562844" y="2571234"/>
                    <a:pt x="1567234" y="2575624"/>
                    <a:pt x="1567234" y="2582209"/>
                  </a:cubicBezTo>
                  <a:cubicBezTo>
                    <a:pt x="1567234" y="2588795"/>
                    <a:pt x="1562844" y="2593185"/>
                    <a:pt x="1556258" y="2593185"/>
                  </a:cubicBezTo>
                  <a:close/>
                  <a:moveTo>
                    <a:pt x="992142" y="2601965"/>
                  </a:moveTo>
                  <a:cubicBezTo>
                    <a:pt x="972387" y="2601965"/>
                    <a:pt x="957022" y="2586599"/>
                    <a:pt x="957022" y="2566844"/>
                  </a:cubicBezTo>
                  <a:cubicBezTo>
                    <a:pt x="957022" y="2547089"/>
                    <a:pt x="972387" y="2531724"/>
                    <a:pt x="992142" y="2531724"/>
                  </a:cubicBezTo>
                  <a:cubicBezTo>
                    <a:pt x="1011897" y="2531724"/>
                    <a:pt x="1027262" y="2547089"/>
                    <a:pt x="1027262" y="2566844"/>
                  </a:cubicBezTo>
                  <a:cubicBezTo>
                    <a:pt x="1027262" y="2586599"/>
                    <a:pt x="1011897" y="2601965"/>
                    <a:pt x="992142" y="2601965"/>
                  </a:cubicBezTo>
                  <a:close/>
                  <a:moveTo>
                    <a:pt x="656306" y="2617330"/>
                  </a:moveTo>
                  <a:cubicBezTo>
                    <a:pt x="636551" y="2617330"/>
                    <a:pt x="618991" y="2601965"/>
                    <a:pt x="618991" y="2580014"/>
                  </a:cubicBezTo>
                  <a:cubicBezTo>
                    <a:pt x="618991" y="2560260"/>
                    <a:pt x="636551" y="2542699"/>
                    <a:pt x="656306" y="2542699"/>
                  </a:cubicBezTo>
                  <a:cubicBezTo>
                    <a:pt x="676061" y="2542699"/>
                    <a:pt x="693621" y="2560260"/>
                    <a:pt x="693621" y="2580014"/>
                  </a:cubicBezTo>
                  <a:cubicBezTo>
                    <a:pt x="693621" y="2599769"/>
                    <a:pt x="676061" y="2617330"/>
                    <a:pt x="656306" y="2617330"/>
                  </a:cubicBezTo>
                  <a:close/>
                  <a:moveTo>
                    <a:pt x="1788929" y="2617330"/>
                  </a:moveTo>
                  <a:cubicBezTo>
                    <a:pt x="1784539" y="2617330"/>
                    <a:pt x="1780149" y="2612940"/>
                    <a:pt x="1780149" y="2608549"/>
                  </a:cubicBezTo>
                  <a:cubicBezTo>
                    <a:pt x="1780149" y="2604159"/>
                    <a:pt x="1784539" y="2599769"/>
                    <a:pt x="1788929" y="2599769"/>
                  </a:cubicBezTo>
                  <a:cubicBezTo>
                    <a:pt x="1793319" y="2599769"/>
                    <a:pt x="1797709" y="2604159"/>
                    <a:pt x="1797709" y="2608549"/>
                  </a:cubicBezTo>
                  <a:cubicBezTo>
                    <a:pt x="1797709" y="2612940"/>
                    <a:pt x="1793319" y="2617330"/>
                    <a:pt x="1788929" y="2617330"/>
                  </a:cubicBezTo>
                  <a:close/>
                  <a:moveTo>
                    <a:pt x="329251" y="2619524"/>
                  </a:moveTo>
                  <a:cubicBezTo>
                    <a:pt x="313886" y="2619524"/>
                    <a:pt x="300715" y="2606355"/>
                    <a:pt x="300715" y="2590989"/>
                  </a:cubicBezTo>
                  <a:cubicBezTo>
                    <a:pt x="300715" y="2575624"/>
                    <a:pt x="313886" y="2562454"/>
                    <a:pt x="329251" y="2562454"/>
                  </a:cubicBezTo>
                  <a:cubicBezTo>
                    <a:pt x="344616" y="2562454"/>
                    <a:pt x="357786" y="2575624"/>
                    <a:pt x="357786" y="2590989"/>
                  </a:cubicBezTo>
                  <a:cubicBezTo>
                    <a:pt x="357786" y="2606355"/>
                    <a:pt x="344616" y="2619524"/>
                    <a:pt x="329251" y="2619524"/>
                  </a:cubicBezTo>
                  <a:close/>
                  <a:moveTo>
                    <a:pt x="2034770" y="2626110"/>
                  </a:moveTo>
                  <a:cubicBezTo>
                    <a:pt x="2030380" y="2626110"/>
                    <a:pt x="2028184" y="2623914"/>
                    <a:pt x="2028184" y="2619524"/>
                  </a:cubicBezTo>
                  <a:cubicBezTo>
                    <a:pt x="2028184" y="2615134"/>
                    <a:pt x="2032574" y="2612940"/>
                    <a:pt x="2034770" y="2612940"/>
                  </a:cubicBezTo>
                  <a:cubicBezTo>
                    <a:pt x="2039160" y="2612940"/>
                    <a:pt x="2041355" y="2617330"/>
                    <a:pt x="2041355" y="2619524"/>
                  </a:cubicBezTo>
                  <a:cubicBezTo>
                    <a:pt x="2041355" y="2623914"/>
                    <a:pt x="2039160" y="2626110"/>
                    <a:pt x="2034770" y="2626110"/>
                  </a:cubicBezTo>
                  <a:close/>
                  <a:moveTo>
                    <a:pt x="1200668" y="2632694"/>
                  </a:moveTo>
                  <a:cubicBezTo>
                    <a:pt x="1189693" y="2632694"/>
                    <a:pt x="1178718" y="2623914"/>
                    <a:pt x="1178718" y="2610745"/>
                  </a:cubicBezTo>
                  <a:cubicBezTo>
                    <a:pt x="1178718" y="2597575"/>
                    <a:pt x="1189693" y="2588795"/>
                    <a:pt x="1200668" y="2588795"/>
                  </a:cubicBezTo>
                  <a:cubicBezTo>
                    <a:pt x="1213838" y="2588795"/>
                    <a:pt x="1222618" y="2597575"/>
                    <a:pt x="1222618" y="2610745"/>
                  </a:cubicBezTo>
                  <a:cubicBezTo>
                    <a:pt x="1222618" y="2623914"/>
                    <a:pt x="1211643" y="2632694"/>
                    <a:pt x="1200668" y="2632694"/>
                  </a:cubicBezTo>
                  <a:close/>
                  <a:moveTo>
                    <a:pt x="858247" y="2663425"/>
                  </a:moveTo>
                  <a:cubicBezTo>
                    <a:pt x="840687" y="2663425"/>
                    <a:pt x="825322" y="2648060"/>
                    <a:pt x="825322" y="2630500"/>
                  </a:cubicBezTo>
                  <a:cubicBezTo>
                    <a:pt x="825322" y="2612940"/>
                    <a:pt x="840687" y="2597575"/>
                    <a:pt x="858247" y="2597575"/>
                  </a:cubicBezTo>
                  <a:cubicBezTo>
                    <a:pt x="875807" y="2597575"/>
                    <a:pt x="891173" y="2612940"/>
                    <a:pt x="891173" y="2630500"/>
                  </a:cubicBezTo>
                  <a:cubicBezTo>
                    <a:pt x="891173" y="2648060"/>
                    <a:pt x="875807" y="2663425"/>
                    <a:pt x="858247" y="2663425"/>
                  </a:cubicBezTo>
                  <a:close/>
                  <a:moveTo>
                    <a:pt x="1417973" y="2665619"/>
                  </a:moveTo>
                  <a:cubicBezTo>
                    <a:pt x="1409193" y="2665619"/>
                    <a:pt x="1402608" y="2659034"/>
                    <a:pt x="1402608" y="2650254"/>
                  </a:cubicBezTo>
                  <a:cubicBezTo>
                    <a:pt x="1402608" y="2641474"/>
                    <a:pt x="1409193" y="2634889"/>
                    <a:pt x="1417973" y="2634889"/>
                  </a:cubicBezTo>
                  <a:cubicBezTo>
                    <a:pt x="1426753" y="2634889"/>
                    <a:pt x="1433338" y="2641474"/>
                    <a:pt x="1433338" y="2650254"/>
                  </a:cubicBezTo>
                  <a:cubicBezTo>
                    <a:pt x="1433338" y="2659034"/>
                    <a:pt x="1426753" y="2665619"/>
                    <a:pt x="1417973" y="2665619"/>
                  </a:cubicBezTo>
                  <a:close/>
                  <a:moveTo>
                    <a:pt x="2414506" y="2670010"/>
                  </a:moveTo>
                  <a:cubicBezTo>
                    <a:pt x="2414506" y="2670010"/>
                    <a:pt x="2412311" y="2670010"/>
                    <a:pt x="2412311" y="2667815"/>
                  </a:cubicBezTo>
                  <a:cubicBezTo>
                    <a:pt x="2412311" y="2667815"/>
                    <a:pt x="2412311" y="2665619"/>
                    <a:pt x="2414506" y="2665619"/>
                  </a:cubicBezTo>
                  <a:cubicBezTo>
                    <a:pt x="2414506" y="2665619"/>
                    <a:pt x="2416700" y="2665619"/>
                    <a:pt x="2416700" y="2667815"/>
                  </a:cubicBezTo>
                  <a:cubicBezTo>
                    <a:pt x="2416700" y="2667815"/>
                    <a:pt x="2416700" y="2670010"/>
                    <a:pt x="2414506" y="2670010"/>
                  </a:cubicBezTo>
                  <a:close/>
                  <a:moveTo>
                    <a:pt x="522412" y="2672205"/>
                  </a:moveTo>
                  <a:cubicBezTo>
                    <a:pt x="509241" y="2672205"/>
                    <a:pt x="496071" y="2659035"/>
                    <a:pt x="496071" y="2645865"/>
                  </a:cubicBezTo>
                  <a:cubicBezTo>
                    <a:pt x="496071" y="2632694"/>
                    <a:pt x="507047" y="2619524"/>
                    <a:pt x="522412" y="2619524"/>
                  </a:cubicBezTo>
                  <a:cubicBezTo>
                    <a:pt x="535582" y="2619524"/>
                    <a:pt x="548752" y="2630500"/>
                    <a:pt x="548752" y="2645865"/>
                  </a:cubicBezTo>
                  <a:cubicBezTo>
                    <a:pt x="548752" y="2659035"/>
                    <a:pt x="537776" y="2672205"/>
                    <a:pt x="522412" y="2672205"/>
                  </a:cubicBezTo>
                  <a:close/>
                  <a:moveTo>
                    <a:pt x="195356" y="2674399"/>
                  </a:moveTo>
                  <a:cubicBezTo>
                    <a:pt x="186576" y="2674399"/>
                    <a:pt x="175600" y="2665619"/>
                    <a:pt x="175600" y="2654644"/>
                  </a:cubicBezTo>
                  <a:cubicBezTo>
                    <a:pt x="175600" y="2643669"/>
                    <a:pt x="184380" y="2634889"/>
                    <a:pt x="195356" y="2634889"/>
                  </a:cubicBezTo>
                  <a:cubicBezTo>
                    <a:pt x="206330" y="2634889"/>
                    <a:pt x="215111" y="2643669"/>
                    <a:pt x="215111" y="2654644"/>
                  </a:cubicBezTo>
                  <a:cubicBezTo>
                    <a:pt x="215111" y="2665619"/>
                    <a:pt x="206330" y="2674399"/>
                    <a:pt x="195356" y="2674399"/>
                  </a:cubicBezTo>
                  <a:close/>
                  <a:moveTo>
                    <a:pt x="1648449" y="2691960"/>
                  </a:moveTo>
                  <a:cubicBezTo>
                    <a:pt x="1641864" y="2691960"/>
                    <a:pt x="1635279" y="2685375"/>
                    <a:pt x="1635279" y="2678790"/>
                  </a:cubicBezTo>
                  <a:cubicBezTo>
                    <a:pt x="1635279" y="2672205"/>
                    <a:pt x="1641864" y="2665619"/>
                    <a:pt x="1648449" y="2665619"/>
                  </a:cubicBezTo>
                  <a:cubicBezTo>
                    <a:pt x="1655034" y="2665619"/>
                    <a:pt x="1661619" y="2672205"/>
                    <a:pt x="1661619" y="2678790"/>
                  </a:cubicBezTo>
                  <a:cubicBezTo>
                    <a:pt x="1661619" y="2685375"/>
                    <a:pt x="1655034" y="2691960"/>
                    <a:pt x="1648449" y="2691960"/>
                  </a:cubicBezTo>
                  <a:close/>
                  <a:moveTo>
                    <a:pt x="2144518" y="2700740"/>
                  </a:moveTo>
                  <a:cubicBezTo>
                    <a:pt x="2142324" y="2700740"/>
                    <a:pt x="2137934" y="2698545"/>
                    <a:pt x="2137934" y="2694155"/>
                  </a:cubicBezTo>
                  <a:cubicBezTo>
                    <a:pt x="2137934" y="2689765"/>
                    <a:pt x="2140130" y="2687570"/>
                    <a:pt x="2144518" y="2687570"/>
                  </a:cubicBezTo>
                  <a:cubicBezTo>
                    <a:pt x="2148910" y="2687570"/>
                    <a:pt x="2151104" y="2689765"/>
                    <a:pt x="2151104" y="2694155"/>
                  </a:cubicBezTo>
                  <a:cubicBezTo>
                    <a:pt x="2151104" y="2698545"/>
                    <a:pt x="2148910" y="2700740"/>
                    <a:pt x="2144518" y="2700740"/>
                  </a:cubicBezTo>
                  <a:close/>
                  <a:moveTo>
                    <a:pt x="1889899" y="2705129"/>
                  </a:moveTo>
                  <a:cubicBezTo>
                    <a:pt x="1883314" y="2705129"/>
                    <a:pt x="1878924" y="2700739"/>
                    <a:pt x="1878924" y="2694154"/>
                  </a:cubicBezTo>
                  <a:cubicBezTo>
                    <a:pt x="1878924" y="2687569"/>
                    <a:pt x="1883314" y="2683179"/>
                    <a:pt x="1889899" y="2683179"/>
                  </a:cubicBezTo>
                  <a:cubicBezTo>
                    <a:pt x="1896484" y="2683179"/>
                    <a:pt x="1900874" y="2687569"/>
                    <a:pt x="1900874" y="2694154"/>
                  </a:cubicBezTo>
                  <a:cubicBezTo>
                    <a:pt x="1900874" y="2700739"/>
                    <a:pt x="1896484" y="2705129"/>
                    <a:pt x="1889899" y="2705129"/>
                  </a:cubicBezTo>
                  <a:close/>
                  <a:moveTo>
                    <a:pt x="1064577" y="2711715"/>
                  </a:moveTo>
                  <a:cubicBezTo>
                    <a:pt x="1047017" y="2711715"/>
                    <a:pt x="1029457" y="2696350"/>
                    <a:pt x="1029457" y="2676595"/>
                  </a:cubicBezTo>
                  <a:cubicBezTo>
                    <a:pt x="1029457" y="2656840"/>
                    <a:pt x="1044822" y="2641475"/>
                    <a:pt x="1064577" y="2641475"/>
                  </a:cubicBezTo>
                  <a:cubicBezTo>
                    <a:pt x="1084333" y="2641475"/>
                    <a:pt x="1099698" y="2656840"/>
                    <a:pt x="1099698" y="2676595"/>
                  </a:cubicBezTo>
                  <a:cubicBezTo>
                    <a:pt x="1099698" y="2696350"/>
                    <a:pt x="1084333" y="2711715"/>
                    <a:pt x="1064577" y="2711715"/>
                  </a:cubicBezTo>
                  <a:close/>
                  <a:moveTo>
                    <a:pt x="2539620" y="2716105"/>
                  </a:moveTo>
                  <a:cubicBezTo>
                    <a:pt x="2538522" y="2715008"/>
                    <a:pt x="2538522" y="2713910"/>
                    <a:pt x="2538797" y="2713362"/>
                  </a:cubicBezTo>
                  <a:cubicBezTo>
                    <a:pt x="2539072" y="2712813"/>
                    <a:pt x="2539620" y="2712813"/>
                    <a:pt x="2539620" y="2713910"/>
                  </a:cubicBezTo>
                  <a:cubicBezTo>
                    <a:pt x="2539620" y="2713910"/>
                    <a:pt x="2541816" y="2713910"/>
                    <a:pt x="2539620" y="2716105"/>
                  </a:cubicBezTo>
                  <a:close/>
                  <a:moveTo>
                    <a:pt x="722156" y="2733665"/>
                  </a:moveTo>
                  <a:cubicBezTo>
                    <a:pt x="702402" y="2733665"/>
                    <a:pt x="684841" y="2716104"/>
                    <a:pt x="682647" y="2694155"/>
                  </a:cubicBezTo>
                  <a:cubicBezTo>
                    <a:pt x="682647" y="2672205"/>
                    <a:pt x="700207" y="2654645"/>
                    <a:pt x="722156" y="2654645"/>
                  </a:cubicBezTo>
                  <a:cubicBezTo>
                    <a:pt x="744107" y="2654645"/>
                    <a:pt x="761667" y="2672205"/>
                    <a:pt x="761667" y="2694155"/>
                  </a:cubicBezTo>
                  <a:cubicBezTo>
                    <a:pt x="761667" y="2716104"/>
                    <a:pt x="744107" y="2733665"/>
                    <a:pt x="722156" y="2733665"/>
                  </a:cubicBezTo>
                  <a:close/>
                  <a:moveTo>
                    <a:pt x="390711" y="2740250"/>
                  </a:moveTo>
                  <a:cubicBezTo>
                    <a:pt x="373151" y="2740250"/>
                    <a:pt x="357786" y="2727079"/>
                    <a:pt x="359981" y="2709519"/>
                  </a:cubicBezTo>
                  <a:cubicBezTo>
                    <a:pt x="359981" y="2691959"/>
                    <a:pt x="373151" y="2678789"/>
                    <a:pt x="390711" y="2678789"/>
                  </a:cubicBezTo>
                  <a:cubicBezTo>
                    <a:pt x="408271" y="2678789"/>
                    <a:pt x="421441" y="2691959"/>
                    <a:pt x="421441" y="2709519"/>
                  </a:cubicBezTo>
                  <a:cubicBezTo>
                    <a:pt x="421441" y="2727079"/>
                    <a:pt x="408271" y="2740250"/>
                    <a:pt x="390711" y="2740250"/>
                  </a:cubicBezTo>
                  <a:close/>
                  <a:moveTo>
                    <a:pt x="1281883" y="2742444"/>
                  </a:moveTo>
                  <a:cubicBezTo>
                    <a:pt x="1266518" y="2742444"/>
                    <a:pt x="1255543" y="2731469"/>
                    <a:pt x="1255543" y="2716104"/>
                  </a:cubicBezTo>
                  <a:cubicBezTo>
                    <a:pt x="1255543" y="2700739"/>
                    <a:pt x="1266518" y="2689764"/>
                    <a:pt x="1281883" y="2689764"/>
                  </a:cubicBezTo>
                  <a:cubicBezTo>
                    <a:pt x="1297248" y="2689764"/>
                    <a:pt x="1308223" y="2700739"/>
                    <a:pt x="1308223" y="2716104"/>
                  </a:cubicBezTo>
                  <a:cubicBezTo>
                    <a:pt x="1308223" y="2731469"/>
                    <a:pt x="1297248" y="2742444"/>
                    <a:pt x="1281883" y="2742444"/>
                  </a:cubicBezTo>
                  <a:close/>
                  <a:moveTo>
                    <a:pt x="2260855" y="2764395"/>
                  </a:moveTo>
                  <a:cubicBezTo>
                    <a:pt x="2258659" y="2764395"/>
                    <a:pt x="2256465" y="2762199"/>
                    <a:pt x="2256465" y="2760004"/>
                  </a:cubicBezTo>
                  <a:cubicBezTo>
                    <a:pt x="2256465" y="2757809"/>
                    <a:pt x="2258659" y="2755614"/>
                    <a:pt x="2260855" y="2755614"/>
                  </a:cubicBezTo>
                  <a:cubicBezTo>
                    <a:pt x="2263051" y="2755614"/>
                    <a:pt x="2265245" y="2757809"/>
                    <a:pt x="2265245" y="2760004"/>
                  </a:cubicBezTo>
                  <a:cubicBezTo>
                    <a:pt x="2265245" y="2762199"/>
                    <a:pt x="2263051" y="2764395"/>
                    <a:pt x="2260855" y="2764395"/>
                  </a:cubicBezTo>
                  <a:close/>
                  <a:moveTo>
                    <a:pt x="1507968" y="2766589"/>
                  </a:moveTo>
                  <a:cubicBezTo>
                    <a:pt x="1496994" y="2766589"/>
                    <a:pt x="1490408" y="2757809"/>
                    <a:pt x="1488214" y="2746834"/>
                  </a:cubicBezTo>
                  <a:cubicBezTo>
                    <a:pt x="1488214" y="2735860"/>
                    <a:pt x="1496994" y="2727079"/>
                    <a:pt x="1507968" y="2727079"/>
                  </a:cubicBezTo>
                  <a:cubicBezTo>
                    <a:pt x="1518943" y="2727079"/>
                    <a:pt x="1527723" y="2735860"/>
                    <a:pt x="1527723" y="2746834"/>
                  </a:cubicBezTo>
                  <a:cubicBezTo>
                    <a:pt x="1527723" y="2757809"/>
                    <a:pt x="1518943" y="2766589"/>
                    <a:pt x="1507968" y="2766589"/>
                  </a:cubicBezTo>
                  <a:close/>
                  <a:moveTo>
                    <a:pt x="930682" y="2777565"/>
                  </a:moveTo>
                  <a:cubicBezTo>
                    <a:pt x="910927" y="2777565"/>
                    <a:pt x="893367" y="2762199"/>
                    <a:pt x="893367" y="2740250"/>
                  </a:cubicBezTo>
                  <a:cubicBezTo>
                    <a:pt x="893367" y="2718299"/>
                    <a:pt x="910927" y="2702934"/>
                    <a:pt x="930682" y="2702934"/>
                  </a:cubicBezTo>
                  <a:cubicBezTo>
                    <a:pt x="952633" y="2702934"/>
                    <a:pt x="967997" y="2720494"/>
                    <a:pt x="967997" y="2740250"/>
                  </a:cubicBezTo>
                  <a:cubicBezTo>
                    <a:pt x="967997" y="2762199"/>
                    <a:pt x="950437" y="2777565"/>
                    <a:pt x="930682" y="2777565"/>
                  </a:cubicBezTo>
                  <a:close/>
                  <a:moveTo>
                    <a:pt x="256816" y="2781955"/>
                  </a:moveTo>
                  <a:cubicBezTo>
                    <a:pt x="250230" y="2781955"/>
                    <a:pt x="248036" y="2777565"/>
                    <a:pt x="248036" y="2773175"/>
                  </a:cubicBezTo>
                  <a:cubicBezTo>
                    <a:pt x="248036" y="2768785"/>
                    <a:pt x="252426" y="2764395"/>
                    <a:pt x="256816" y="2764395"/>
                  </a:cubicBezTo>
                  <a:cubicBezTo>
                    <a:pt x="261206" y="2764395"/>
                    <a:pt x="265596" y="2768785"/>
                    <a:pt x="265596" y="2773175"/>
                  </a:cubicBezTo>
                  <a:cubicBezTo>
                    <a:pt x="265596" y="2777565"/>
                    <a:pt x="261206" y="2781955"/>
                    <a:pt x="256816" y="2781955"/>
                  </a:cubicBezTo>
                  <a:close/>
                  <a:moveTo>
                    <a:pt x="1745028" y="2781955"/>
                  </a:moveTo>
                  <a:cubicBezTo>
                    <a:pt x="1738444" y="2781955"/>
                    <a:pt x="1734053" y="2775369"/>
                    <a:pt x="1731859" y="2768785"/>
                  </a:cubicBezTo>
                  <a:cubicBezTo>
                    <a:pt x="1731859" y="2762199"/>
                    <a:pt x="1738444" y="2755614"/>
                    <a:pt x="1745028" y="2755614"/>
                  </a:cubicBezTo>
                  <a:cubicBezTo>
                    <a:pt x="1751614" y="2755614"/>
                    <a:pt x="1758198" y="2762199"/>
                    <a:pt x="1758198" y="2768785"/>
                  </a:cubicBezTo>
                  <a:cubicBezTo>
                    <a:pt x="1758198" y="2775369"/>
                    <a:pt x="1751614" y="2781955"/>
                    <a:pt x="1745028" y="2781955"/>
                  </a:cubicBezTo>
                  <a:close/>
                  <a:moveTo>
                    <a:pt x="1995259" y="2781955"/>
                  </a:moveTo>
                  <a:cubicBezTo>
                    <a:pt x="1990410" y="2781955"/>
                    <a:pt x="1986479" y="2778023"/>
                    <a:pt x="1986479" y="2773175"/>
                  </a:cubicBezTo>
                  <a:cubicBezTo>
                    <a:pt x="1986479" y="2768325"/>
                    <a:pt x="1990410" y="2764395"/>
                    <a:pt x="1995259" y="2764395"/>
                  </a:cubicBezTo>
                  <a:cubicBezTo>
                    <a:pt x="2000109" y="2764395"/>
                    <a:pt x="2004039" y="2768326"/>
                    <a:pt x="2004039" y="2773175"/>
                  </a:cubicBezTo>
                  <a:cubicBezTo>
                    <a:pt x="2004039" y="2778024"/>
                    <a:pt x="2000109" y="2781955"/>
                    <a:pt x="1995259" y="2781955"/>
                  </a:cubicBezTo>
                  <a:close/>
                  <a:moveTo>
                    <a:pt x="588261" y="2795125"/>
                  </a:moveTo>
                  <a:cubicBezTo>
                    <a:pt x="570701" y="2795125"/>
                    <a:pt x="555336" y="2779759"/>
                    <a:pt x="555336" y="2762199"/>
                  </a:cubicBezTo>
                  <a:cubicBezTo>
                    <a:pt x="555336" y="2744640"/>
                    <a:pt x="568506" y="2729274"/>
                    <a:pt x="588261" y="2729274"/>
                  </a:cubicBezTo>
                  <a:cubicBezTo>
                    <a:pt x="605821" y="2729274"/>
                    <a:pt x="621186" y="2742444"/>
                    <a:pt x="621186" y="2762199"/>
                  </a:cubicBezTo>
                  <a:cubicBezTo>
                    <a:pt x="621186" y="2779759"/>
                    <a:pt x="608016" y="2795125"/>
                    <a:pt x="588261" y="2795125"/>
                  </a:cubicBezTo>
                  <a:close/>
                  <a:moveTo>
                    <a:pt x="1145793" y="2817074"/>
                  </a:moveTo>
                  <a:cubicBezTo>
                    <a:pt x="1126038" y="2817074"/>
                    <a:pt x="1110672" y="2801710"/>
                    <a:pt x="1110672" y="2781955"/>
                  </a:cubicBezTo>
                  <a:cubicBezTo>
                    <a:pt x="1110672" y="2762199"/>
                    <a:pt x="1126038" y="2746834"/>
                    <a:pt x="1145793" y="2746834"/>
                  </a:cubicBezTo>
                  <a:cubicBezTo>
                    <a:pt x="1165548" y="2746834"/>
                    <a:pt x="1180912" y="2762199"/>
                    <a:pt x="1180912" y="2781955"/>
                  </a:cubicBezTo>
                  <a:cubicBezTo>
                    <a:pt x="1180912" y="2801710"/>
                    <a:pt x="1165548" y="2817074"/>
                    <a:pt x="1145793" y="2817074"/>
                  </a:cubicBezTo>
                  <a:close/>
                  <a:moveTo>
                    <a:pt x="2381579" y="2823660"/>
                  </a:moveTo>
                  <a:cubicBezTo>
                    <a:pt x="2377191" y="2823660"/>
                    <a:pt x="2372799" y="2819270"/>
                    <a:pt x="2372799" y="2814880"/>
                  </a:cubicBezTo>
                  <a:cubicBezTo>
                    <a:pt x="2372799" y="2810490"/>
                    <a:pt x="2377191" y="2806100"/>
                    <a:pt x="2381579" y="2806100"/>
                  </a:cubicBezTo>
                  <a:cubicBezTo>
                    <a:pt x="2385971" y="2806100"/>
                    <a:pt x="2390360" y="2810490"/>
                    <a:pt x="2390360" y="2814880"/>
                  </a:cubicBezTo>
                  <a:cubicBezTo>
                    <a:pt x="2390360" y="2819270"/>
                    <a:pt x="2385971" y="2823660"/>
                    <a:pt x="2381579" y="2823660"/>
                  </a:cubicBezTo>
                  <a:close/>
                  <a:moveTo>
                    <a:pt x="794592" y="2852195"/>
                  </a:moveTo>
                  <a:cubicBezTo>
                    <a:pt x="770447" y="2852195"/>
                    <a:pt x="748497" y="2832440"/>
                    <a:pt x="748497" y="2806100"/>
                  </a:cubicBezTo>
                  <a:cubicBezTo>
                    <a:pt x="748497" y="2779759"/>
                    <a:pt x="768252" y="2760004"/>
                    <a:pt x="794592" y="2760004"/>
                  </a:cubicBezTo>
                  <a:cubicBezTo>
                    <a:pt x="820932" y="2760004"/>
                    <a:pt x="840687" y="2779759"/>
                    <a:pt x="840687" y="2806100"/>
                  </a:cubicBezTo>
                  <a:cubicBezTo>
                    <a:pt x="840687" y="2832440"/>
                    <a:pt x="820932" y="2852195"/>
                    <a:pt x="794592" y="2852195"/>
                  </a:cubicBezTo>
                  <a:close/>
                  <a:moveTo>
                    <a:pt x="1369682" y="2852195"/>
                  </a:moveTo>
                  <a:cubicBezTo>
                    <a:pt x="1349928" y="2852195"/>
                    <a:pt x="1332367" y="2836830"/>
                    <a:pt x="1332367" y="2814880"/>
                  </a:cubicBezTo>
                  <a:cubicBezTo>
                    <a:pt x="1332367" y="2792929"/>
                    <a:pt x="1349928" y="2777565"/>
                    <a:pt x="1369682" y="2777565"/>
                  </a:cubicBezTo>
                  <a:cubicBezTo>
                    <a:pt x="1391633" y="2777565"/>
                    <a:pt x="1406998" y="2795125"/>
                    <a:pt x="1406998" y="2814880"/>
                  </a:cubicBezTo>
                  <a:cubicBezTo>
                    <a:pt x="1406998" y="2836830"/>
                    <a:pt x="1389438" y="2852195"/>
                    <a:pt x="1369682" y="2852195"/>
                  </a:cubicBezTo>
                  <a:close/>
                  <a:moveTo>
                    <a:pt x="2109399" y="2856585"/>
                  </a:moveTo>
                  <a:cubicBezTo>
                    <a:pt x="2102815" y="2856585"/>
                    <a:pt x="2096230" y="2852195"/>
                    <a:pt x="2096230" y="2843415"/>
                  </a:cubicBezTo>
                  <a:cubicBezTo>
                    <a:pt x="2096230" y="2836830"/>
                    <a:pt x="2102815" y="2830245"/>
                    <a:pt x="2109399" y="2830245"/>
                  </a:cubicBezTo>
                  <a:cubicBezTo>
                    <a:pt x="2115984" y="2830245"/>
                    <a:pt x="2122570" y="2836830"/>
                    <a:pt x="2122570" y="2843415"/>
                  </a:cubicBezTo>
                  <a:cubicBezTo>
                    <a:pt x="2122570" y="2849999"/>
                    <a:pt x="2115984" y="2856585"/>
                    <a:pt x="2109399" y="2856585"/>
                  </a:cubicBezTo>
                  <a:close/>
                  <a:moveTo>
                    <a:pt x="454366" y="2858780"/>
                  </a:moveTo>
                  <a:cubicBezTo>
                    <a:pt x="436806" y="2858780"/>
                    <a:pt x="419246" y="2843415"/>
                    <a:pt x="419246" y="2823660"/>
                  </a:cubicBezTo>
                  <a:cubicBezTo>
                    <a:pt x="419246" y="2803904"/>
                    <a:pt x="434611" y="2788539"/>
                    <a:pt x="454366" y="2788539"/>
                  </a:cubicBezTo>
                  <a:cubicBezTo>
                    <a:pt x="474122" y="2788539"/>
                    <a:pt x="489487" y="2803904"/>
                    <a:pt x="489487" y="2823660"/>
                  </a:cubicBezTo>
                  <a:cubicBezTo>
                    <a:pt x="489487" y="2843415"/>
                    <a:pt x="474122" y="2858780"/>
                    <a:pt x="454366" y="2858780"/>
                  </a:cubicBezTo>
                  <a:close/>
                  <a:moveTo>
                    <a:pt x="2506696" y="2867560"/>
                  </a:moveTo>
                  <a:cubicBezTo>
                    <a:pt x="2502304" y="2867560"/>
                    <a:pt x="2497916" y="2863170"/>
                    <a:pt x="2497916" y="2858780"/>
                  </a:cubicBezTo>
                  <a:cubicBezTo>
                    <a:pt x="2497916" y="2854389"/>
                    <a:pt x="2502304" y="2849999"/>
                    <a:pt x="2506696" y="2849999"/>
                  </a:cubicBezTo>
                  <a:cubicBezTo>
                    <a:pt x="2511084" y="2849999"/>
                    <a:pt x="2515476" y="2854389"/>
                    <a:pt x="2515476" y="2858780"/>
                  </a:cubicBezTo>
                  <a:cubicBezTo>
                    <a:pt x="2515476" y="2863170"/>
                    <a:pt x="2511084" y="2867560"/>
                    <a:pt x="2506696" y="2867560"/>
                  </a:cubicBezTo>
                  <a:close/>
                  <a:moveTo>
                    <a:pt x="1604549" y="2869755"/>
                  </a:moveTo>
                  <a:cubicBezTo>
                    <a:pt x="1586989" y="2869755"/>
                    <a:pt x="1576014" y="2856585"/>
                    <a:pt x="1576014" y="2841220"/>
                  </a:cubicBezTo>
                  <a:cubicBezTo>
                    <a:pt x="1576014" y="2825855"/>
                    <a:pt x="1589184" y="2812684"/>
                    <a:pt x="1604549" y="2812684"/>
                  </a:cubicBezTo>
                  <a:cubicBezTo>
                    <a:pt x="1619914" y="2812684"/>
                    <a:pt x="1633084" y="2825855"/>
                    <a:pt x="1633084" y="2841220"/>
                  </a:cubicBezTo>
                  <a:cubicBezTo>
                    <a:pt x="1633084" y="2856585"/>
                    <a:pt x="1619914" y="2869755"/>
                    <a:pt x="1604549" y="2869755"/>
                  </a:cubicBezTo>
                  <a:close/>
                  <a:moveTo>
                    <a:pt x="1850389" y="2874144"/>
                  </a:moveTo>
                  <a:cubicBezTo>
                    <a:pt x="1837219" y="2874144"/>
                    <a:pt x="1826244" y="2865365"/>
                    <a:pt x="1826244" y="2849999"/>
                  </a:cubicBezTo>
                  <a:cubicBezTo>
                    <a:pt x="1826244" y="2836830"/>
                    <a:pt x="1837219" y="2825855"/>
                    <a:pt x="1850389" y="2825855"/>
                  </a:cubicBezTo>
                  <a:cubicBezTo>
                    <a:pt x="1863559" y="2825855"/>
                    <a:pt x="1874534" y="2836830"/>
                    <a:pt x="1874534" y="2849999"/>
                  </a:cubicBezTo>
                  <a:cubicBezTo>
                    <a:pt x="1874534" y="2863170"/>
                    <a:pt x="1863559" y="2874144"/>
                    <a:pt x="1850389" y="2874144"/>
                  </a:cubicBezTo>
                  <a:close/>
                  <a:moveTo>
                    <a:pt x="1009702" y="2891704"/>
                  </a:moveTo>
                  <a:cubicBezTo>
                    <a:pt x="985557" y="2891704"/>
                    <a:pt x="967997" y="2871950"/>
                    <a:pt x="967997" y="2849999"/>
                  </a:cubicBezTo>
                  <a:cubicBezTo>
                    <a:pt x="967997" y="2828050"/>
                    <a:pt x="985557" y="2808294"/>
                    <a:pt x="1009702" y="2808294"/>
                  </a:cubicBezTo>
                  <a:cubicBezTo>
                    <a:pt x="1031652" y="2808294"/>
                    <a:pt x="1051407" y="2825855"/>
                    <a:pt x="1051407" y="2849999"/>
                  </a:cubicBezTo>
                  <a:cubicBezTo>
                    <a:pt x="1051407" y="2871950"/>
                    <a:pt x="1033847" y="2891704"/>
                    <a:pt x="1009702" y="2891704"/>
                  </a:cubicBezTo>
                  <a:close/>
                  <a:moveTo>
                    <a:pt x="2225735" y="2915850"/>
                  </a:moveTo>
                  <a:cubicBezTo>
                    <a:pt x="2221344" y="2915850"/>
                    <a:pt x="2216954" y="2911460"/>
                    <a:pt x="2216954" y="2907069"/>
                  </a:cubicBezTo>
                  <a:cubicBezTo>
                    <a:pt x="2216954" y="2902680"/>
                    <a:pt x="2221344" y="2898290"/>
                    <a:pt x="2225735" y="2898290"/>
                  </a:cubicBezTo>
                  <a:cubicBezTo>
                    <a:pt x="2230124" y="2898290"/>
                    <a:pt x="2234515" y="2902680"/>
                    <a:pt x="2234515" y="2907069"/>
                  </a:cubicBezTo>
                  <a:cubicBezTo>
                    <a:pt x="2234515" y="2911460"/>
                    <a:pt x="2230124" y="2915850"/>
                    <a:pt x="2225735" y="2915850"/>
                  </a:cubicBezTo>
                  <a:close/>
                  <a:moveTo>
                    <a:pt x="320471" y="2918045"/>
                  </a:moveTo>
                  <a:cubicBezTo>
                    <a:pt x="305106" y="2918045"/>
                    <a:pt x="291936" y="2904875"/>
                    <a:pt x="291936" y="2889510"/>
                  </a:cubicBezTo>
                  <a:cubicBezTo>
                    <a:pt x="291936" y="2874144"/>
                    <a:pt x="305106" y="2860975"/>
                    <a:pt x="320471" y="2860975"/>
                  </a:cubicBezTo>
                  <a:cubicBezTo>
                    <a:pt x="335836" y="2860975"/>
                    <a:pt x="349006" y="2874144"/>
                    <a:pt x="349006" y="2889510"/>
                  </a:cubicBezTo>
                  <a:cubicBezTo>
                    <a:pt x="349006" y="2904875"/>
                    <a:pt x="335836" y="2918045"/>
                    <a:pt x="320471" y="2918045"/>
                  </a:cubicBezTo>
                  <a:close/>
                  <a:moveTo>
                    <a:pt x="660696" y="2918045"/>
                  </a:moveTo>
                  <a:cubicBezTo>
                    <a:pt x="634356" y="2918045"/>
                    <a:pt x="614601" y="2898290"/>
                    <a:pt x="614601" y="2871950"/>
                  </a:cubicBezTo>
                  <a:cubicBezTo>
                    <a:pt x="614601" y="2845609"/>
                    <a:pt x="634356" y="2825855"/>
                    <a:pt x="660696" y="2825855"/>
                  </a:cubicBezTo>
                  <a:cubicBezTo>
                    <a:pt x="687037" y="2825855"/>
                    <a:pt x="706792" y="2845609"/>
                    <a:pt x="706792" y="2871950"/>
                  </a:cubicBezTo>
                  <a:cubicBezTo>
                    <a:pt x="706792" y="2898290"/>
                    <a:pt x="687037" y="2918045"/>
                    <a:pt x="660696" y="2918045"/>
                  </a:cubicBezTo>
                  <a:close/>
                  <a:moveTo>
                    <a:pt x="1231398" y="2924630"/>
                  </a:moveTo>
                  <a:cubicBezTo>
                    <a:pt x="1207253" y="2924630"/>
                    <a:pt x="1189693" y="2907069"/>
                    <a:pt x="1189693" y="2882925"/>
                  </a:cubicBezTo>
                  <a:cubicBezTo>
                    <a:pt x="1189693" y="2858780"/>
                    <a:pt x="1209448" y="2841220"/>
                    <a:pt x="1231398" y="2841220"/>
                  </a:cubicBezTo>
                  <a:cubicBezTo>
                    <a:pt x="1255543" y="2841220"/>
                    <a:pt x="1273103" y="2860975"/>
                    <a:pt x="1273103" y="2882925"/>
                  </a:cubicBezTo>
                  <a:cubicBezTo>
                    <a:pt x="1273103" y="2907069"/>
                    <a:pt x="1253348" y="2924630"/>
                    <a:pt x="1231398" y="2924630"/>
                  </a:cubicBezTo>
                  <a:close/>
                  <a:moveTo>
                    <a:pt x="1960140" y="2946580"/>
                  </a:moveTo>
                  <a:cubicBezTo>
                    <a:pt x="1949164" y="2946580"/>
                    <a:pt x="1940384" y="2937800"/>
                    <a:pt x="1940384" y="2926825"/>
                  </a:cubicBezTo>
                  <a:cubicBezTo>
                    <a:pt x="1940384" y="2915850"/>
                    <a:pt x="1949164" y="2907069"/>
                    <a:pt x="1960140" y="2907069"/>
                  </a:cubicBezTo>
                  <a:cubicBezTo>
                    <a:pt x="1971114" y="2907069"/>
                    <a:pt x="1979894" y="2915850"/>
                    <a:pt x="1979894" y="2926825"/>
                  </a:cubicBezTo>
                  <a:cubicBezTo>
                    <a:pt x="1979894" y="2937800"/>
                    <a:pt x="1971114" y="2946580"/>
                    <a:pt x="1960140" y="2946580"/>
                  </a:cubicBezTo>
                  <a:close/>
                  <a:moveTo>
                    <a:pt x="1461873" y="2948775"/>
                  </a:moveTo>
                  <a:cubicBezTo>
                    <a:pt x="1442118" y="2948775"/>
                    <a:pt x="1426753" y="2931215"/>
                    <a:pt x="1424558" y="2911460"/>
                  </a:cubicBezTo>
                  <a:cubicBezTo>
                    <a:pt x="1424558" y="2889510"/>
                    <a:pt x="1442118" y="2874144"/>
                    <a:pt x="1461873" y="2874144"/>
                  </a:cubicBezTo>
                  <a:cubicBezTo>
                    <a:pt x="1483823" y="2874144"/>
                    <a:pt x="1499188" y="2891705"/>
                    <a:pt x="1499188" y="2911460"/>
                  </a:cubicBezTo>
                  <a:cubicBezTo>
                    <a:pt x="1499188" y="2933410"/>
                    <a:pt x="1481628" y="2948775"/>
                    <a:pt x="1461873" y="2948775"/>
                  </a:cubicBezTo>
                  <a:close/>
                  <a:moveTo>
                    <a:pt x="1705519" y="2953165"/>
                  </a:moveTo>
                  <a:cubicBezTo>
                    <a:pt x="1690154" y="2953165"/>
                    <a:pt x="1676983" y="2942190"/>
                    <a:pt x="1679178" y="2926825"/>
                  </a:cubicBezTo>
                  <a:cubicBezTo>
                    <a:pt x="1679178" y="2913655"/>
                    <a:pt x="1690154" y="2900485"/>
                    <a:pt x="1705519" y="2900485"/>
                  </a:cubicBezTo>
                  <a:cubicBezTo>
                    <a:pt x="1718689" y="2900485"/>
                    <a:pt x="1731859" y="2911460"/>
                    <a:pt x="1731859" y="2926825"/>
                  </a:cubicBezTo>
                  <a:cubicBezTo>
                    <a:pt x="1731859" y="2939995"/>
                    <a:pt x="1720883" y="2953165"/>
                    <a:pt x="1705519" y="2953165"/>
                  </a:cubicBezTo>
                  <a:close/>
                  <a:moveTo>
                    <a:pt x="873612" y="2961945"/>
                  </a:moveTo>
                  <a:cubicBezTo>
                    <a:pt x="847272" y="2961945"/>
                    <a:pt x="827517" y="2939995"/>
                    <a:pt x="827517" y="2915850"/>
                  </a:cubicBezTo>
                  <a:cubicBezTo>
                    <a:pt x="827517" y="2889510"/>
                    <a:pt x="847272" y="2869755"/>
                    <a:pt x="873612" y="2869755"/>
                  </a:cubicBezTo>
                  <a:cubicBezTo>
                    <a:pt x="899953" y="2869755"/>
                    <a:pt x="919708" y="2889510"/>
                    <a:pt x="919708" y="2915850"/>
                  </a:cubicBezTo>
                  <a:cubicBezTo>
                    <a:pt x="919708" y="2942190"/>
                    <a:pt x="899953" y="2961945"/>
                    <a:pt x="873612" y="2961945"/>
                  </a:cubicBezTo>
                  <a:close/>
                  <a:moveTo>
                    <a:pt x="526802" y="2972920"/>
                  </a:moveTo>
                  <a:cubicBezTo>
                    <a:pt x="507047" y="2972920"/>
                    <a:pt x="491681" y="2957555"/>
                    <a:pt x="491681" y="2937800"/>
                  </a:cubicBezTo>
                  <a:cubicBezTo>
                    <a:pt x="491681" y="2918045"/>
                    <a:pt x="507047" y="2902680"/>
                    <a:pt x="526802" y="2902680"/>
                  </a:cubicBezTo>
                  <a:cubicBezTo>
                    <a:pt x="546556" y="2902680"/>
                    <a:pt x="561922" y="2918045"/>
                    <a:pt x="561922" y="2937800"/>
                  </a:cubicBezTo>
                  <a:cubicBezTo>
                    <a:pt x="561922" y="2957555"/>
                    <a:pt x="546556" y="2972920"/>
                    <a:pt x="526802" y="2972920"/>
                  </a:cubicBezTo>
                  <a:close/>
                  <a:moveTo>
                    <a:pt x="2348655" y="2972920"/>
                  </a:moveTo>
                  <a:cubicBezTo>
                    <a:pt x="2342071" y="2972920"/>
                    <a:pt x="2335485" y="2966335"/>
                    <a:pt x="2335485" y="2959750"/>
                  </a:cubicBezTo>
                  <a:cubicBezTo>
                    <a:pt x="2335485" y="2953165"/>
                    <a:pt x="2342071" y="2946580"/>
                    <a:pt x="2348655" y="2946580"/>
                  </a:cubicBezTo>
                  <a:cubicBezTo>
                    <a:pt x="2355239" y="2946580"/>
                    <a:pt x="2361825" y="2953165"/>
                    <a:pt x="2361825" y="2959750"/>
                  </a:cubicBezTo>
                  <a:cubicBezTo>
                    <a:pt x="2361825" y="2966335"/>
                    <a:pt x="2355239" y="2972920"/>
                    <a:pt x="2348655" y="2972920"/>
                  </a:cubicBezTo>
                  <a:close/>
                  <a:moveTo>
                    <a:pt x="1093112" y="2990480"/>
                  </a:moveTo>
                  <a:cubicBezTo>
                    <a:pt x="1071162" y="2990480"/>
                    <a:pt x="1055797" y="2972920"/>
                    <a:pt x="1055797" y="2953165"/>
                  </a:cubicBezTo>
                  <a:cubicBezTo>
                    <a:pt x="1055797" y="2933410"/>
                    <a:pt x="1071162" y="2915850"/>
                    <a:pt x="1093112" y="2915850"/>
                  </a:cubicBezTo>
                  <a:cubicBezTo>
                    <a:pt x="1112868" y="2915850"/>
                    <a:pt x="1130428" y="2931215"/>
                    <a:pt x="1130428" y="2953165"/>
                  </a:cubicBezTo>
                  <a:cubicBezTo>
                    <a:pt x="1130428" y="2972920"/>
                    <a:pt x="1115062" y="2990480"/>
                    <a:pt x="1093112" y="2990480"/>
                  </a:cubicBezTo>
                  <a:close/>
                  <a:moveTo>
                    <a:pt x="2074279" y="3012430"/>
                  </a:moveTo>
                  <a:cubicBezTo>
                    <a:pt x="2063304" y="3012430"/>
                    <a:pt x="2056718" y="3003650"/>
                    <a:pt x="2056718" y="2994870"/>
                  </a:cubicBezTo>
                  <a:cubicBezTo>
                    <a:pt x="2056718" y="2986090"/>
                    <a:pt x="2065498" y="2977311"/>
                    <a:pt x="2074279" y="2977311"/>
                  </a:cubicBezTo>
                  <a:cubicBezTo>
                    <a:pt x="2083059" y="2977311"/>
                    <a:pt x="2091839" y="2986090"/>
                    <a:pt x="2091839" y="2994870"/>
                  </a:cubicBezTo>
                  <a:cubicBezTo>
                    <a:pt x="2091839" y="3003650"/>
                    <a:pt x="2083059" y="3012430"/>
                    <a:pt x="2074279" y="3012430"/>
                  </a:cubicBezTo>
                  <a:close/>
                  <a:moveTo>
                    <a:pt x="2473770" y="3016820"/>
                  </a:moveTo>
                  <a:cubicBezTo>
                    <a:pt x="2467184" y="3016820"/>
                    <a:pt x="2460600" y="3010235"/>
                    <a:pt x="2460600" y="3003649"/>
                  </a:cubicBezTo>
                  <a:cubicBezTo>
                    <a:pt x="2460600" y="2997064"/>
                    <a:pt x="2467184" y="2990480"/>
                    <a:pt x="2473770" y="2990480"/>
                  </a:cubicBezTo>
                  <a:cubicBezTo>
                    <a:pt x="2480356" y="2990480"/>
                    <a:pt x="2486940" y="2997064"/>
                    <a:pt x="2486940" y="3003649"/>
                  </a:cubicBezTo>
                  <a:cubicBezTo>
                    <a:pt x="2486940" y="3010235"/>
                    <a:pt x="2480356" y="3016820"/>
                    <a:pt x="2473770" y="3016820"/>
                  </a:cubicBezTo>
                  <a:close/>
                  <a:moveTo>
                    <a:pt x="390711" y="3021210"/>
                  </a:moveTo>
                  <a:cubicBezTo>
                    <a:pt x="381931" y="3021210"/>
                    <a:pt x="373151" y="3012430"/>
                    <a:pt x="370956" y="3001455"/>
                  </a:cubicBezTo>
                  <a:cubicBezTo>
                    <a:pt x="370956" y="2990480"/>
                    <a:pt x="379736" y="2981700"/>
                    <a:pt x="390711" y="2981700"/>
                  </a:cubicBezTo>
                  <a:cubicBezTo>
                    <a:pt x="401686" y="2981700"/>
                    <a:pt x="410466" y="2990480"/>
                    <a:pt x="410466" y="3001455"/>
                  </a:cubicBezTo>
                  <a:cubicBezTo>
                    <a:pt x="410466" y="3012430"/>
                    <a:pt x="401686" y="3021210"/>
                    <a:pt x="390711" y="3021210"/>
                  </a:cubicBezTo>
                  <a:close/>
                  <a:moveTo>
                    <a:pt x="1321393" y="3023405"/>
                  </a:moveTo>
                  <a:cubicBezTo>
                    <a:pt x="1299443" y="3023405"/>
                    <a:pt x="1279688" y="3003650"/>
                    <a:pt x="1279688" y="2981700"/>
                  </a:cubicBezTo>
                  <a:cubicBezTo>
                    <a:pt x="1279688" y="2959750"/>
                    <a:pt x="1297248" y="2939995"/>
                    <a:pt x="1321393" y="2939995"/>
                  </a:cubicBezTo>
                  <a:cubicBezTo>
                    <a:pt x="1343343" y="2939995"/>
                    <a:pt x="1363099" y="2959750"/>
                    <a:pt x="1363099" y="2981700"/>
                  </a:cubicBezTo>
                  <a:cubicBezTo>
                    <a:pt x="1363099" y="3003650"/>
                    <a:pt x="1345539" y="3023405"/>
                    <a:pt x="1321393" y="3023405"/>
                  </a:cubicBezTo>
                  <a:close/>
                  <a:moveTo>
                    <a:pt x="737522" y="3029990"/>
                  </a:moveTo>
                  <a:cubicBezTo>
                    <a:pt x="708987" y="3029990"/>
                    <a:pt x="687037" y="3008040"/>
                    <a:pt x="689232" y="2981700"/>
                  </a:cubicBezTo>
                  <a:cubicBezTo>
                    <a:pt x="689232" y="2955360"/>
                    <a:pt x="711182" y="2933410"/>
                    <a:pt x="737522" y="2933410"/>
                  </a:cubicBezTo>
                  <a:cubicBezTo>
                    <a:pt x="763861" y="2933410"/>
                    <a:pt x="785812" y="2955360"/>
                    <a:pt x="785812" y="2981700"/>
                  </a:cubicBezTo>
                  <a:cubicBezTo>
                    <a:pt x="785812" y="3008040"/>
                    <a:pt x="763861" y="3029990"/>
                    <a:pt x="737522" y="3029990"/>
                  </a:cubicBezTo>
                  <a:close/>
                  <a:moveTo>
                    <a:pt x="1810879" y="3036575"/>
                  </a:moveTo>
                  <a:cubicBezTo>
                    <a:pt x="1793319" y="3036575"/>
                    <a:pt x="1780149" y="3023405"/>
                    <a:pt x="1780149" y="3005846"/>
                  </a:cubicBezTo>
                  <a:cubicBezTo>
                    <a:pt x="1780149" y="2988285"/>
                    <a:pt x="1793319" y="2975115"/>
                    <a:pt x="1810879" y="2975115"/>
                  </a:cubicBezTo>
                  <a:cubicBezTo>
                    <a:pt x="1828439" y="2975115"/>
                    <a:pt x="1841609" y="2988285"/>
                    <a:pt x="1841609" y="3005846"/>
                  </a:cubicBezTo>
                  <a:cubicBezTo>
                    <a:pt x="1841609" y="3023405"/>
                    <a:pt x="1828439" y="3036575"/>
                    <a:pt x="1810879" y="3036575"/>
                  </a:cubicBezTo>
                  <a:close/>
                  <a:moveTo>
                    <a:pt x="1560648" y="3040965"/>
                  </a:moveTo>
                  <a:cubicBezTo>
                    <a:pt x="1538699" y="3040965"/>
                    <a:pt x="1521139" y="3021210"/>
                    <a:pt x="1521139" y="3001455"/>
                  </a:cubicBezTo>
                  <a:cubicBezTo>
                    <a:pt x="1521139" y="2979505"/>
                    <a:pt x="1538699" y="2961945"/>
                    <a:pt x="1560648" y="2961945"/>
                  </a:cubicBezTo>
                  <a:cubicBezTo>
                    <a:pt x="1582598" y="2961945"/>
                    <a:pt x="1600159" y="2979505"/>
                    <a:pt x="1600159" y="3001455"/>
                  </a:cubicBezTo>
                  <a:cubicBezTo>
                    <a:pt x="1600159" y="3023405"/>
                    <a:pt x="1582598" y="3040965"/>
                    <a:pt x="1560648" y="3040965"/>
                  </a:cubicBezTo>
                  <a:close/>
                  <a:moveTo>
                    <a:pt x="2601080" y="3047550"/>
                  </a:moveTo>
                  <a:cubicBezTo>
                    <a:pt x="2596690" y="3047550"/>
                    <a:pt x="2592300" y="3043160"/>
                    <a:pt x="2592300" y="3038769"/>
                  </a:cubicBezTo>
                  <a:cubicBezTo>
                    <a:pt x="2592300" y="3034379"/>
                    <a:pt x="2596690" y="3029990"/>
                    <a:pt x="2601080" y="3029990"/>
                  </a:cubicBezTo>
                  <a:cubicBezTo>
                    <a:pt x="2605470" y="3029990"/>
                    <a:pt x="2609860" y="3034379"/>
                    <a:pt x="2609860" y="3038769"/>
                  </a:cubicBezTo>
                  <a:cubicBezTo>
                    <a:pt x="2609860" y="3043160"/>
                    <a:pt x="2605470" y="3047550"/>
                    <a:pt x="2601080" y="3047550"/>
                  </a:cubicBezTo>
                  <a:close/>
                  <a:moveTo>
                    <a:pt x="954827" y="3062915"/>
                  </a:moveTo>
                  <a:cubicBezTo>
                    <a:pt x="930682" y="3062915"/>
                    <a:pt x="910927" y="3043161"/>
                    <a:pt x="910927" y="3019016"/>
                  </a:cubicBezTo>
                  <a:cubicBezTo>
                    <a:pt x="910927" y="2994870"/>
                    <a:pt x="930682" y="2975115"/>
                    <a:pt x="954827" y="2975115"/>
                  </a:cubicBezTo>
                  <a:cubicBezTo>
                    <a:pt x="978973" y="2975115"/>
                    <a:pt x="998728" y="2994870"/>
                    <a:pt x="998728" y="3019016"/>
                  </a:cubicBezTo>
                  <a:cubicBezTo>
                    <a:pt x="998728" y="3043161"/>
                    <a:pt x="978973" y="3062915"/>
                    <a:pt x="954827" y="3062915"/>
                  </a:cubicBezTo>
                  <a:close/>
                  <a:moveTo>
                    <a:pt x="2192810" y="3071696"/>
                  </a:moveTo>
                  <a:cubicBezTo>
                    <a:pt x="2181835" y="3071696"/>
                    <a:pt x="2175250" y="3062915"/>
                    <a:pt x="2175250" y="3054135"/>
                  </a:cubicBezTo>
                  <a:cubicBezTo>
                    <a:pt x="2175250" y="3045355"/>
                    <a:pt x="2184030" y="3036575"/>
                    <a:pt x="2192810" y="3036575"/>
                  </a:cubicBezTo>
                  <a:cubicBezTo>
                    <a:pt x="2201591" y="3036575"/>
                    <a:pt x="2210370" y="3045355"/>
                    <a:pt x="2210370" y="3054135"/>
                  </a:cubicBezTo>
                  <a:cubicBezTo>
                    <a:pt x="2210370" y="3062915"/>
                    <a:pt x="2201591" y="3071696"/>
                    <a:pt x="2192810" y="3071696"/>
                  </a:cubicBezTo>
                  <a:close/>
                  <a:moveTo>
                    <a:pt x="1183108" y="3093646"/>
                  </a:moveTo>
                  <a:cubicBezTo>
                    <a:pt x="1158963" y="3093646"/>
                    <a:pt x="1139207" y="3073891"/>
                    <a:pt x="1141403" y="3051941"/>
                  </a:cubicBezTo>
                  <a:cubicBezTo>
                    <a:pt x="1141403" y="3029990"/>
                    <a:pt x="1158963" y="3010236"/>
                    <a:pt x="1183108" y="3010236"/>
                  </a:cubicBezTo>
                  <a:cubicBezTo>
                    <a:pt x="1205058" y="3010236"/>
                    <a:pt x="1224813" y="3027795"/>
                    <a:pt x="1224813" y="3051941"/>
                  </a:cubicBezTo>
                  <a:cubicBezTo>
                    <a:pt x="1224813" y="3073891"/>
                    <a:pt x="1207253" y="3093646"/>
                    <a:pt x="1183108" y="3093646"/>
                  </a:cubicBezTo>
                  <a:close/>
                  <a:moveTo>
                    <a:pt x="601432" y="3095840"/>
                  </a:moveTo>
                  <a:cubicBezTo>
                    <a:pt x="575091" y="3095840"/>
                    <a:pt x="553142" y="3073891"/>
                    <a:pt x="553142" y="3047551"/>
                  </a:cubicBezTo>
                  <a:cubicBezTo>
                    <a:pt x="553142" y="3021210"/>
                    <a:pt x="575091" y="2999260"/>
                    <a:pt x="601432" y="2999260"/>
                  </a:cubicBezTo>
                  <a:cubicBezTo>
                    <a:pt x="627772" y="2999260"/>
                    <a:pt x="649722" y="3021210"/>
                    <a:pt x="649722" y="3047551"/>
                  </a:cubicBezTo>
                  <a:cubicBezTo>
                    <a:pt x="649722" y="3073891"/>
                    <a:pt x="627772" y="3095840"/>
                    <a:pt x="601432" y="3095840"/>
                  </a:cubicBezTo>
                  <a:close/>
                  <a:moveTo>
                    <a:pt x="1922824" y="3109010"/>
                  </a:moveTo>
                  <a:cubicBezTo>
                    <a:pt x="1905264" y="3109010"/>
                    <a:pt x="1892094" y="3095840"/>
                    <a:pt x="1894289" y="3080475"/>
                  </a:cubicBezTo>
                  <a:cubicBezTo>
                    <a:pt x="1894289" y="3065110"/>
                    <a:pt x="1907459" y="3051940"/>
                    <a:pt x="1922824" y="3051940"/>
                  </a:cubicBezTo>
                  <a:cubicBezTo>
                    <a:pt x="1938189" y="3051940"/>
                    <a:pt x="1951360" y="3065110"/>
                    <a:pt x="1951360" y="3080475"/>
                  </a:cubicBezTo>
                  <a:cubicBezTo>
                    <a:pt x="1951360" y="3095840"/>
                    <a:pt x="1938189" y="3109010"/>
                    <a:pt x="1922824" y="3109010"/>
                  </a:cubicBezTo>
                  <a:close/>
                  <a:moveTo>
                    <a:pt x="1417973" y="3113401"/>
                  </a:moveTo>
                  <a:cubicBezTo>
                    <a:pt x="1394939" y="3113401"/>
                    <a:pt x="1376268" y="3094728"/>
                    <a:pt x="1376268" y="3071696"/>
                  </a:cubicBezTo>
                  <a:cubicBezTo>
                    <a:pt x="1376268" y="3048662"/>
                    <a:pt x="1394939" y="3029990"/>
                    <a:pt x="1417973" y="3029990"/>
                  </a:cubicBezTo>
                  <a:cubicBezTo>
                    <a:pt x="1441006" y="3029990"/>
                    <a:pt x="1459678" y="3048663"/>
                    <a:pt x="1459678" y="3071696"/>
                  </a:cubicBezTo>
                  <a:cubicBezTo>
                    <a:pt x="1459678" y="3094729"/>
                    <a:pt x="1441006" y="3113401"/>
                    <a:pt x="1417973" y="3113401"/>
                  </a:cubicBezTo>
                  <a:close/>
                  <a:moveTo>
                    <a:pt x="1666009" y="3115596"/>
                  </a:moveTo>
                  <a:cubicBezTo>
                    <a:pt x="1647825" y="3115596"/>
                    <a:pt x="1633084" y="3100855"/>
                    <a:pt x="1633084" y="3082670"/>
                  </a:cubicBezTo>
                  <a:cubicBezTo>
                    <a:pt x="1633084" y="3064486"/>
                    <a:pt x="1647825" y="3049745"/>
                    <a:pt x="1666009" y="3049745"/>
                  </a:cubicBezTo>
                  <a:cubicBezTo>
                    <a:pt x="1684193" y="3049745"/>
                    <a:pt x="1698934" y="3064486"/>
                    <a:pt x="1698934" y="3082670"/>
                  </a:cubicBezTo>
                  <a:cubicBezTo>
                    <a:pt x="1698934" y="3100855"/>
                    <a:pt x="1684193" y="3115596"/>
                    <a:pt x="1666009" y="3115596"/>
                  </a:cubicBezTo>
                  <a:close/>
                  <a:moveTo>
                    <a:pt x="2313535" y="3126571"/>
                  </a:moveTo>
                  <a:cubicBezTo>
                    <a:pt x="2302559" y="3126571"/>
                    <a:pt x="2291585" y="3117791"/>
                    <a:pt x="2291585" y="3104621"/>
                  </a:cubicBezTo>
                  <a:cubicBezTo>
                    <a:pt x="2291585" y="3091450"/>
                    <a:pt x="2302559" y="3082670"/>
                    <a:pt x="2313535" y="3082670"/>
                  </a:cubicBezTo>
                  <a:cubicBezTo>
                    <a:pt x="2326705" y="3082670"/>
                    <a:pt x="2335485" y="3091450"/>
                    <a:pt x="2335485" y="3104621"/>
                  </a:cubicBezTo>
                  <a:cubicBezTo>
                    <a:pt x="2335485" y="3117791"/>
                    <a:pt x="2324511" y="3126571"/>
                    <a:pt x="2313535" y="3126571"/>
                  </a:cubicBezTo>
                  <a:close/>
                  <a:moveTo>
                    <a:pt x="818737" y="3133156"/>
                  </a:moveTo>
                  <a:cubicBezTo>
                    <a:pt x="792067" y="3133156"/>
                    <a:pt x="770447" y="3111536"/>
                    <a:pt x="770447" y="3084866"/>
                  </a:cubicBezTo>
                  <a:cubicBezTo>
                    <a:pt x="770447" y="3058196"/>
                    <a:pt x="792067" y="3036575"/>
                    <a:pt x="818737" y="3036575"/>
                  </a:cubicBezTo>
                  <a:cubicBezTo>
                    <a:pt x="845407" y="3036575"/>
                    <a:pt x="867027" y="3058196"/>
                    <a:pt x="867027" y="3084866"/>
                  </a:cubicBezTo>
                  <a:cubicBezTo>
                    <a:pt x="867027" y="3111536"/>
                    <a:pt x="845407" y="3133156"/>
                    <a:pt x="818737" y="3133156"/>
                  </a:cubicBezTo>
                  <a:close/>
                  <a:moveTo>
                    <a:pt x="465342" y="3150716"/>
                  </a:moveTo>
                  <a:cubicBezTo>
                    <a:pt x="445586" y="3150716"/>
                    <a:pt x="428027" y="3133155"/>
                    <a:pt x="425831" y="3111206"/>
                  </a:cubicBezTo>
                  <a:cubicBezTo>
                    <a:pt x="425831" y="3089256"/>
                    <a:pt x="443391" y="3071696"/>
                    <a:pt x="465342" y="3071696"/>
                  </a:cubicBezTo>
                  <a:cubicBezTo>
                    <a:pt x="487291" y="3071696"/>
                    <a:pt x="504851" y="3089256"/>
                    <a:pt x="504851" y="3111206"/>
                  </a:cubicBezTo>
                  <a:cubicBezTo>
                    <a:pt x="504851" y="3133155"/>
                    <a:pt x="487291" y="3150716"/>
                    <a:pt x="465342" y="3150716"/>
                  </a:cubicBezTo>
                  <a:close/>
                  <a:moveTo>
                    <a:pt x="1042627" y="3161690"/>
                  </a:moveTo>
                  <a:cubicBezTo>
                    <a:pt x="1020677" y="3161690"/>
                    <a:pt x="1000922" y="3141935"/>
                    <a:pt x="1000922" y="3119985"/>
                  </a:cubicBezTo>
                  <a:cubicBezTo>
                    <a:pt x="1000922" y="3098035"/>
                    <a:pt x="1018482" y="3078280"/>
                    <a:pt x="1042627" y="3078280"/>
                  </a:cubicBezTo>
                  <a:cubicBezTo>
                    <a:pt x="1064577" y="3078280"/>
                    <a:pt x="1084333" y="3095840"/>
                    <a:pt x="1084333" y="3119985"/>
                  </a:cubicBezTo>
                  <a:cubicBezTo>
                    <a:pt x="1084333" y="3141935"/>
                    <a:pt x="1066773" y="3161690"/>
                    <a:pt x="1042627" y="3161690"/>
                  </a:cubicBezTo>
                  <a:close/>
                  <a:moveTo>
                    <a:pt x="2440845" y="3166081"/>
                  </a:moveTo>
                  <a:cubicBezTo>
                    <a:pt x="2429871" y="3166081"/>
                    <a:pt x="2423286" y="3157300"/>
                    <a:pt x="2423286" y="3148520"/>
                  </a:cubicBezTo>
                  <a:cubicBezTo>
                    <a:pt x="2423286" y="3139740"/>
                    <a:pt x="2432066" y="3130960"/>
                    <a:pt x="2440845" y="3130960"/>
                  </a:cubicBezTo>
                  <a:cubicBezTo>
                    <a:pt x="2449625" y="3130960"/>
                    <a:pt x="2458405" y="3139740"/>
                    <a:pt x="2458405" y="3148520"/>
                  </a:cubicBezTo>
                  <a:cubicBezTo>
                    <a:pt x="2458405" y="3157300"/>
                    <a:pt x="2449625" y="3166081"/>
                    <a:pt x="2440845" y="3166081"/>
                  </a:cubicBezTo>
                  <a:close/>
                  <a:moveTo>
                    <a:pt x="2039159" y="3177055"/>
                  </a:moveTo>
                  <a:cubicBezTo>
                    <a:pt x="2019404" y="3177055"/>
                    <a:pt x="2004039" y="3161690"/>
                    <a:pt x="2006235" y="3144130"/>
                  </a:cubicBezTo>
                  <a:cubicBezTo>
                    <a:pt x="2006235" y="3126570"/>
                    <a:pt x="2019404" y="3111205"/>
                    <a:pt x="2039159" y="3111205"/>
                  </a:cubicBezTo>
                  <a:cubicBezTo>
                    <a:pt x="2056718" y="3111205"/>
                    <a:pt x="2072084" y="3124375"/>
                    <a:pt x="2072084" y="3144130"/>
                  </a:cubicBezTo>
                  <a:cubicBezTo>
                    <a:pt x="2072084" y="3161690"/>
                    <a:pt x="2058914" y="3177055"/>
                    <a:pt x="2039159" y="3177055"/>
                  </a:cubicBezTo>
                  <a:close/>
                  <a:moveTo>
                    <a:pt x="331446" y="3181445"/>
                  </a:moveTo>
                  <a:cubicBezTo>
                    <a:pt x="329251" y="3181445"/>
                    <a:pt x="327056" y="3179250"/>
                    <a:pt x="327056" y="3177055"/>
                  </a:cubicBezTo>
                  <a:cubicBezTo>
                    <a:pt x="327056" y="3174860"/>
                    <a:pt x="329251" y="3172665"/>
                    <a:pt x="331446" y="3172665"/>
                  </a:cubicBezTo>
                  <a:cubicBezTo>
                    <a:pt x="333641" y="3172665"/>
                    <a:pt x="335836" y="3174860"/>
                    <a:pt x="335836" y="3177055"/>
                  </a:cubicBezTo>
                  <a:cubicBezTo>
                    <a:pt x="335836" y="3179250"/>
                    <a:pt x="333641" y="3181445"/>
                    <a:pt x="331446" y="3181445"/>
                  </a:cubicBezTo>
                  <a:close/>
                  <a:moveTo>
                    <a:pt x="1277493" y="3185835"/>
                  </a:moveTo>
                  <a:cubicBezTo>
                    <a:pt x="1253348" y="3185835"/>
                    <a:pt x="1235788" y="3166081"/>
                    <a:pt x="1235788" y="3144130"/>
                  </a:cubicBezTo>
                  <a:cubicBezTo>
                    <a:pt x="1235788" y="3122180"/>
                    <a:pt x="1255543" y="3102425"/>
                    <a:pt x="1277493" y="3102425"/>
                  </a:cubicBezTo>
                  <a:cubicBezTo>
                    <a:pt x="1299443" y="3102425"/>
                    <a:pt x="1319198" y="3119985"/>
                    <a:pt x="1319198" y="3144130"/>
                  </a:cubicBezTo>
                  <a:cubicBezTo>
                    <a:pt x="1319198" y="3166081"/>
                    <a:pt x="1301638" y="3185835"/>
                    <a:pt x="1277493" y="3185835"/>
                  </a:cubicBezTo>
                  <a:close/>
                  <a:moveTo>
                    <a:pt x="2568156" y="3192420"/>
                  </a:moveTo>
                  <a:cubicBezTo>
                    <a:pt x="2563765" y="3192420"/>
                    <a:pt x="2557181" y="3188030"/>
                    <a:pt x="2557181" y="3181445"/>
                  </a:cubicBezTo>
                  <a:cubicBezTo>
                    <a:pt x="2557181" y="3174860"/>
                    <a:pt x="2561570" y="3170470"/>
                    <a:pt x="2568156" y="3170470"/>
                  </a:cubicBezTo>
                  <a:cubicBezTo>
                    <a:pt x="2574741" y="3170470"/>
                    <a:pt x="2579131" y="3174860"/>
                    <a:pt x="2579131" y="3181445"/>
                  </a:cubicBezTo>
                  <a:cubicBezTo>
                    <a:pt x="2579131" y="3188030"/>
                    <a:pt x="2574741" y="3192420"/>
                    <a:pt x="2568156" y="3192420"/>
                  </a:cubicBezTo>
                  <a:close/>
                  <a:moveTo>
                    <a:pt x="1521139" y="3196810"/>
                  </a:moveTo>
                  <a:cubicBezTo>
                    <a:pt x="1499188" y="3196810"/>
                    <a:pt x="1481628" y="3179250"/>
                    <a:pt x="1481628" y="3157300"/>
                  </a:cubicBezTo>
                  <a:cubicBezTo>
                    <a:pt x="1481628" y="3135350"/>
                    <a:pt x="1499188" y="3117790"/>
                    <a:pt x="1521139" y="3117790"/>
                  </a:cubicBezTo>
                  <a:cubicBezTo>
                    <a:pt x="1543089" y="3117790"/>
                    <a:pt x="1560648" y="3135350"/>
                    <a:pt x="1560648" y="3157300"/>
                  </a:cubicBezTo>
                  <a:cubicBezTo>
                    <a:pt x="1560648" y="3179250"/>
                    <a:pt x="1543089" y="3196810"/>
                    <a:pt x="1521139" y="3196810"/>
                  </a:cubicBezTo>
                  <a:close/>
                  <a:moveTo>
                    <a:pt x="1773564" y="3196810"/>
                  </a:moveTo>
                  <a:cubicBezTo>
                    <a:pt x="1753808" y="3196810"/>
                    <a:pt x="1736249" y="3179250"/>
                    <a:pt x="1736249" y="3159495"/>
                  </a:cubicBezTo>
                  <a:cubicBezTo>
                    <a:pt x="1736249" y="3137545"/>
                    <a:pt x="1753808" y="3122180"/>
                    <a:pt x="1773564" y="3122180"/>
                  </a:cubicBezTo>
                  <a:cubicBezTo>
                    <a:pt x="1795514" y="3122180"/>
                    <a:pt x="1810879" y="3139740"/>
                    <a:pt x="1810879" y="3159495"/>
                  </a:cubicBezTo>
                  <a:cubicBezTo>
                    <a:pt x="1810879" y="3181445"/>
                    <a:pt x="1793319" y="3196810"/>
                    <a:pt x="1773564" y="3196810"/>
                  </a:cubicBezTo>
                  <a:close/>
                  <a:moveTo>
                    <a:pt x="682647" y="3201201"/>
                  </a:moveTo>
                  <a:cubicBezTo>
                    <a:pt x="656306" y="3201201"/>
                    <a:pt x="634356" y="3179251"/>
                    <a:pt x="634356" y="3152911"/>
                  </a:cubicBezTo>
                  <a:cubicBezTo>
                    <a:pt x="634356" y="3126571"/>
                    <a:pt x="656306" y="3104621"/>
                    <a:pt x="682647" y="3104621"/>
                  </a:cubicBezTo>
                  <a:cubicBezTo>
                    <a:pt x="708987" y="3104621"/>
                    <a:pt x="730936" y="3126571"/>
                    <a:pt x="730936" y="3152911"/>
                  </a:cubicBezTo>
                  <a:cubicBezTo>
                    <a:pt x="730936" y="3179251"/>
                    <a:pt x="708987" y="3201201"/>
                    <a:pt x="682647" y="3201201"/>
                  </a:cubicBezTo>
                  <a:close/>
                  <a:moveTo>
                    <a:pt x="2157690" y="3225345"/>
                  </a:moveTo>
                  <a:cubicBezTo>
                    <a:pt x="2144518" y="3225345"/>
                    <a:pt x="2135738" y="3214370"/>
                    <a:pt x="2133544" y="3201200"/>
                  </a:cubicBezTo>
                  <a:cubicBezTo>
                    <a:pt x="2133544" y="3188030"/>
                    <a:pt x="2144518" y="3177055"/>
                    <a:pt x="2157690" y="3177055"/>
                  </a:cubicBezTo>
                  <a:cubicBezTo>
                    <a:pt x="2170859" y="3177055"/>
                    <a:pt x="2181835" y="3188030"/>
                    <a:pt x="2181835" y="3201200"/>
                  </a:cubicBezTo>
                  <a:cubicBezTo>
                    <a:pt x="2181835" y="3214370"/>
                    <a:pt x="2170859" y="3225345"/>
                    <a:pt x="2157690" y="3225345"/>
                  </a:cubicBezTo>
                  <a:close/>
                  <a:moveTo>
                    <a:pt x="904342" y="3231931"/>
                  </a:moveTo>
                  <a:cubicBezTo>
                    <a:pt x="878884" y="3231931"/>
                    <a:pt x="858247" y="3211293"/>
                    <a:pt x="858247" y="3185835"/>
                  </a:cubicBezTo>
                  <a:cubicBezTo>
                    <a:pt x="858247" y="3160377"/>
                    <a:pt x="878884" y="3139740"/>
                    <a:pt x="904342" y="3139740"/>
                  </a:cubicBezTo>
                  <a:cubicBezTo>
                    <a:pt x="929799" y="3139740"/>
                    <a:pt x="950437" y="3160377"/>
                    <a:pt x="950437" y="3185835"/>
                  </a:cubicBezTo>
                  <a:cubicBezTo>
                    <a:pt x="950437" y="3211293"/>
                    <a:pt x="929799" y="3231931"/>
                    <a:pt x="904342" y="3231931"/>
                  </a:cubicBezTo>
                  <a:close/>
                  <a:moveTo>
                    <a:pt x="1137013" y="3256076"/>
                  </a:moveTo>
                  <a:cubicBezTo>
                    <a:pt x="1112868" y="3256076"/>
                    <a:pt x="1095307" y="3236321"/>
                    <a:pt x="1095307" y="3214370"/>
                  </a:cubicBezTo>
                  <a:cubicBezTo>
                    <a:pt x="1095307" y="3192420"/>
                    <a:pt x="1112868" y="3172665"/>
                    <a:pt x="1137013" y="3172665"/>
                  </a:cubicBezTo>
                  <a:cubicBezTo>
                    <a:pt x="1158963" y="3172665"/>
                    <a:pt x="1178718" y="3190225"/>
                    <a:pt x="1178718" y="3214370"/>
                  </a:cubicBezTo>
                  <a:cubicBezTo>
                    <a:pt x="1178718" y="3236321"/>
                    <a:pt x="1161157" y="3256076"/>
                    <a:pt x="1137013" y="3256076"/>
                  </a:cubicBezTo>
                  <a:close/>
                  <a:moveTo>
                    <a:pt x="546556" y="3258270"/>
                  </a:moveTo>
                  <a:cubicBezTo>
                    <a:pt x="524606" y="3258270"/>
                    <a:pt x="507047" y="3240711"/>
                    <a:pt x="507047" y="3218760"/>
                  </a:cubicBezTo>
                  <a:cubicBezTo>
                    <a:pt x="507047" y="3196810"/>
                    <a:pt x="524606" y="3179250"/>
                    <a:pt x="546556" y="3179250"/>
                  </a:cubicBezTo>
                  <a:cubicBezTo>
                    <a:pt x="568507" y="3179250"/>
                    <a:pt x="586067" y="3196810"/>
                    <a:pt x="586067" y="3218760"/>
                  </a:cubicBezTo>
                  <a:cubicBezTo>
                    <a:pt x="586067" y="3240711"/>
                    <a:pt x="568507" y="3258270"/>
                    <a:pt x="546556" y="3258270"/>
                  </a:cubicBezTo>
                  <a:close/>
                  <a:moveTo>
                    <a:pt x="1887704" y="3264856"/>
                  </a:moveTo>
                  <a:cubicBezTo>
                    <a:pt x="1867949" y="3264856"/>
                    <a:pt x="1852584" y="3249491"/>
                    <a:pt x="1852584" y="3229735"/>
                  </a:cubicBezTo>
                  <a:cubicBezTo>
                    <a:pt x="1852584" y="3209980"/>
                    <a:pt x="1867949" y="3194615"/>
                    <a:pt x="1887704" y="3194615"/>
                  </a:cubicBezTo>
                  <a:cubicBezTo>
                    <a:pt x="1907459" y="3194615"/>
                    <a:pt x="1922824" y="3209980"/>
                    <a:pt x="1922824" y="3229735"/>
                  </a:cubicBezTo>
                  <a:cubicBezTo>
                    <a:pt x="1922824" y="3249491"/>
                    <a:pt x="1907459" y="3264856"/>
                    <a:pt x="1887704" y="3264856"/>
                  </a:cubicBezTo>
                  <a:close/>
                  <a:moveTo>
                    <a:pt x="1376268" y="3271440"/>
                  </a:moveTo>
                  <a:cubicBezTo>
                    <a:pt x="1354318" y="3271440"/>
                    <a:pt x="1336757" y="3253880"/>
                    <a:pt x="1336757" y="3231931"/>
                  </a:cubicBezTo>
                  <a:cubicBezTo>
                    <a:pt x="1336757" y="3209980"/>
                    <a:pt x="1354318" y="3192420"/>
                    <a:pt x="1376268" y="3192420"/>
                  </a:cubicBezTo>
                  <a:cubicBezTo>
                    <a:pt x="1398218" y="3192420"/>
                    <a:pt x="1415778" y="3209980"/>
                    <a:pt x="1415778" y="3231931"/>
                  </a:cubicBezTo>
                  <a:cubicBezTo>
                    <a:pt x="1415778" y="3253880"/>
                    <a:pt x="1398218" y="3271440"/>
                    <a:pt x="1376268" y="3271440"/>
                  </a:cubicBezTo>
                  <a:close/>
                  <a:moveTo>
                    <a:pt x="1626499" y="3273635"/>
                  </a:moveTo>
                  <a:cubicBezTo>
                    <a:pt x="1606743" y="3273635"/>
                    <a:pt x="1589184" y="3258270"/>
                    <a:pt x="1589184" y="3236321"/>
                  </a:cubicBezTo>
                  <a:cubicBezTo>
                    <a:pt x="1589184" y="3214370"/>
                    <a:pt x="1606743" y="3199006"/>
                    <a:pt x="1626499" y="3199006"/>
                  </a:cubicBezTo>
                  <a:cubicBezTo>
                    <a:pt x="1648449" y="3199006"/>
                    <a:pt x="1663814" y="3216565"/>
                    <a:pt x="1663814" y="3236321"/>
                  </a:cubicBezTo>
                  <a:cubicBezTo>
                    <a:pt x="1663814" y="3258270"/>
                    <a:pt x="1646254" y="3273635"/>
                    <a:pt x="1626499" y="3273635"/>
                  </a:cubicBezTo>
                  <a:close/>
                  <a:moveTo>
                    <a:pt x="2280611" y="3280220"/>
                  </a:moveTo>
                  <a:cubicBezTo>
                    <a:pt x="2265245" y="3280220"/>
                    <a:pt x="2254271" y="3267050"/>
                    <a:pt x="2252075" y="3251686"/>
                  </a:cubicBezTo>
                  <a:cubicBezTo>
                    <a:pt x="2252075" y="3236321"/>
                    <a:pt x="2265245" y="3223151"/>
                    <a:pt x="2280611" y="3223151"/>
                  </a:cubicBezTo>
                  <a:cubicBezTo>
                    <a:pt x="2295975" y="3223151"/>
                    <a:pt x="2309145" y="3236321"/>
                    <a:pt x="2309145" y="3251686"/>
                  </a:cubicBezTo>
                  <a:cubicBezTo>
                    <a:pt x="2309145" y="3267050"/>
                    <a:pt x="2295975" y="3280220"/>
                    <a:pt x="2280611" y="3280220"/>
                  </a:cubicBezTo>
                  <a:close/>
                  <a:moveTo>
                    <a:pt x="768252" y="3302171"/>
                  </a:moveTo>
                  <a:cubicBezTo>
                    <a:pt x="739717" y="3302171"/>
                    <a:pt x="719962" y="3280220"/>
                    <a:pt x="719962" y="3253880"/>
                  </a:cubicBezTo>
                  <a:cubicBezTo>
                    <a:pt x="719962" y="3227540"/>
                    <a:pt x="741912" y="3205590"/>
                    <a:pt x="768252" y="3205590"/>
                  </a:cubicBezTo>
                  <a:cubicBezTo>
                    <a:pt x="794592" y="3205590"/>
                    <a:pt x="816542" y="3227540"/>
                    <a:pt x="816542" y="3253880"/>
                  </a:cubicBezTo>
                  <a:cubicBezTo>
                    <a:pt x="816542" y="3280220"/>
                    <a:pt x="794592" y="3302171"/>
                    <a:pt x="768252" y="3302171"/>
                  </a:cubicBezTo>
                  <a:close/>
                  <a:moveTo>
                    <a:pt x="2407920" y="3317536"/>
                  </a:moveTo>
                  <a:cubicBezTo>
                    <a:pt x="2394751" y="3317536"/>
                    <a:pt x="2383775" y="3306561"/>
                    <a:pt x="2383775" y="3293391"/>
                  </a:cubicBezTo>
                  <a:cubicBezTo>
                    <a:pt x="2383775" y="3280220"/>
                    <a:pt x="2394751" y="3269246"/>
                    <a:pt x="2407920" y="3269246"/>
                  </a:cubicBezTo>
                  <a:cubicBezTo>
                    <a:pt x="2421091" y="3269246"/>
                    <a:pt x="2432066" y="3280220"/>
                    <a:pt x="2432066" y="3293391"/>
                  </a:cubicBezTo>
                  <a:cubicBezTo>
                    <a:pt x="2432066" y="3306561"/>
                    <a:pt x="2421091" y="3317536"/>
                    <a:pt x="2407920" y="3317536"/>
                  </a:cubicBezTo>
                  <a:close/>
                  <a:moveTo>
                    <a:pt x="996532" y="3330706"/>
                  </a:moveTo>
                  <a:cubicBezTo>
                    <a:pt x="969862" y="3330706"/>
                    <a:pt x="948242" y="3309085"/>
                    <a:pt x="948242" y="3282415"/>
                  </a:cubicBezTo>
                  <a:cubicBezTo>
                    <a:pt x="948242" y="3255745"/>
                    <a:pt x="969862" y="3234125"/>
                    <a:pt x="996532" y="3234125"/>
                  </a:cubicBezTo>
                  <a:cubicBezTo>
                    <a:pt x="1023202" y="3234125"/>
                    <a:pt x="1044822" y="3255745"/>
                    <a:pt x="1044822" y="3282415"/>
                  </a:cubicBezTo>
                  <a:cubicBezTo>
                    <a:pt x="1044822" y="3309085"/>
                    <a:pt x="1023202" y="3330706"/>
                    <a:pt x="996532" y="3330706"/>
                  </a:cubicBezTo>
                  <a:close/>
                  <a:moveTo>
                    <a:pt x="2004039" y="3330706"/>
                  </a:moveTo>
                  <a:cubicBezTo>
                    <a:pt x="1982089" y="3330706"/>
                    <a:pt x="1964530" y="3313146"/>
                    <a:pt x="1964530" y="3291195"/>
                  </a:cubicBezTo>
                  <a:cubicBezTo>
                    <a:pt x="1964530" y="3269246"/>
                    <a:pt x="1982089" y="3251686"/>
                    <a:pt x="2004039" y="3251686"/>
                  </a:cubicBezTo>
                  <a:cubicBezTo>
                    <a:pt x="2025990" y="3251686"/>
                    <a:pt x="2043550" y="3269246"/>
                    <a:pt x="2043550" y="3291195"/>
                  </a:cubicBezTo>
                  <a:cubicBezTo>
                    <a:pt x="2043550" y="3313146"/>
                    <a:pt x="2025990" y="3330706"/>
                    <a:pt x="2004039" y="3330706"/>
                  </a:cubicBezTo>
                  <a:close/>
                  <a:moveTo>
                    <a:pt x="2535230" y="3346071"/>
                  </a:moveTo>
                  <a:cubicBezTo>
                    <a:pt x="2526450" y="3346071"/>
                    <a:pt x="2517670" y="3337290"/>
                    <a:pt x="2515476" y="3326316"/>
                  </a:cubicBezTo>
                  <a:cubicBezTo>
                    <a:pt x="2515476" y="3315341"/>
                    <a:pt x="2524256" y="3306561"/>
                    <a:pt x="2535230" y="3306561"/>
                  </a:cubicBezTo>
                  <a:cubicBezTo>
                    <a:pt x="2546205" y="3306561"/>
                    <a:pt x="2554985" y="3315341"/>
                    <a:pt x="2554985" y="3326316"/>
                  </a:cubicBezTo>
                  <a:cubicBezTo>
                    <a:pt x="2554985" y="3337290"/>
                    <a:pt x="2546205" y="3346071"/>
                    <a:pt x="2535230" y="3346071"/>
                  </a:cubicBezTo>
                  <a:close/>
                  <a:moveTo>
                    <a:pt x="1233593" y="3350461"/>
                  </a:moveTo>
                  <a:cubicBezTo>
                    <a:pt x="1209448" y="3350461"/>
                    <a:pt x="1187498" y="3328510"/>
                    <a:pt x="1187498" y="3304365"/>
                  </a:cubicBezTo>
                  <a:cubicBezTo>
                    <a:pt x="1187498" y="3278025"/>
                    <a:pt x="1207253" y="3258270"/>
                    <a:pt x="1233593" y="3258270"/>
                  </a:cubicBezTo>
                  <a:cubicBezTo>
                    <a:pt x="1259933" y="3258270"/>
                    <a:pt x="1279688" y="3280220"/>
                    <a:pt x="1279688" y="3304365"/>
                  </a:cubicBezTo>
                  <a:cubicBezTo>
                    <a:pt x="1279688" y="3330705"/>
                    <a:pt x="1257738" y="3350461"/>
                    <a:pt x="1233593" y="3350461"/>
                  </a:cubicBezTo>
                  <a:close/>
                  <a:moveTo>
                    <a:pt x="1736249" y="3352655"/>
                  </a:moveTo>
                  <a:cubicBezTo>
                    <a:pt x="1714299" y="3352655"/>
                    <a:pt x="1694544" y="3335096"/>
                    <a:pt x="1694544" y="3310951"/>
                  </a:cubicBezTo>
                  <a:cubicBezTo>
                    <a:pt x="1694544" y="3286805"/>
                    <a:pt x="1714299" y="3269246"/>
                    <a:pt x="1736249" y="3269246"/>
                  </a:cubicBezTo>
                  <a:cubicBezTo>
                    <a:pt x="1760394" y="3269246"/>
                    <a:pt x="1777954" y="3289001"/>
                    <a:pt x="1777954" y="3310951"/>
                  </a:cubicBezTo>
                  <a:cubicBezTo>
                    <a:pt x="1777954" y="3335096"/>
                    <a:pt x="1758198" y="3352655"/>
                    <a:pt x="1736249" y="3352655"/>
                  </a:cubicBezTo>
                  <a:close/>
                  <a:moveTo>
                    <a:pt x="1479433" y="3359241"/>
                  </a:moveTo>
                  <a:cubicBezTo>
                    <a:pt x="1455288" y="3359241"/>
                    <a:pt x="1435533" y="3339486"/>
                    <a:pt x="1435533" y="3315341"/>
                  </a:cubicBezTo>
                  <a:cubicBezTo>
                    <a:pt x="1435533" y="3291195"/>
                    <a:pt x="1455288" y="3271440"/>
                    <a:pt x="1479433" y="3271440"/>
                  </a:cubicBezTo>
                  <a:cubicBezTo>
                    <a:pt x="1503578" y="3271440"/>
                    <a:pt x="1523333" y="3291195"/>
                    <a:pt x="1523333" y="3315341"/>
                  </a:cubicBezTo>
                  <a:cubicBezTo>
                    <a:pt x="1523333" y="3339486"/>
                    <a:pt x="1503578" y="3359241"/>
                    <a:pt x="1479433" y="3359241"/>
                  </a:cubicBezTo>
                  <a:close/>
                  <a:moveTo>
                    <a:pt x="629966" y="3370215"/>
                  </a:moveTo>
                  <a:cubicBezTo>
                    <a:pt x="603626" y="3370215"/>
                    <a:pt x="581676" y="3348266"/>
                    <a:pt x="581676" y="3321926"/>
                  </a:cubicBezTo>
                  <a:cubicBezTo>
                    <a:pt x="581676" y="3295585"/>
                    <a:pt x="603626" y="3273635"/>
                    <a:pt x="629966" y="3273635"/>
                  </a:cubicBezTo>
                  <a:cubicBezTo>
                    <a:pt x="656306" y="3273635"/>
                    <a:pt x="678257" y="3295585"/>
                    <a:pt x="678257" y="3321926"/>
                  </a:cubicBezTo>
                  <a:cubicBezTo>
                    <a:pt x="678257" y="3348266"/>
                    <a:pt x="656306" y="3370215"/>
                    <a:pt x="629966" y="3370215"/>
                  </a:cubicBezTo>
                  <a:close/>
                  <a:moveTo>
                    <a:pt x="2124766" y="3381191"/>
                  </a:moveTo>
                  <a:cubicBezTo>
                    <a:pt x="2105010" y="3381191"/>
                    <a:pt x="2091840" y="3365825"/>
                    <a:pt x="2091840" y="3348266"/>
                  </a:cubicBezTo>
                  <a:cubicBezTo>
                    <a:pt x="2091840" y="3330706"/>
                    <a:pt x="2107206" y="3315341"/>
                    <a:pt x="2124766" y="3315341"/>
                  </a:cubicBezTo>
                  <a:cubicBezTo>
                    <a:pt x="2142326" y="3315341"/>
                    <a:pt x="2157690" y="3330706"/>
                    <a:pt x="2157690" y="3348266"/>
                  </a:cubicBezTo>
                  <a:cubicBezTo>
                    <a:pt x="2157690" y="3365825"/>
                    <a:pt x="2142326" y="3381191"/>
                    <a:pt x="2124766" y="3381191"/>
                  </a:cubicBezTo>
                  <a:close/>
                  <a:moveTo>
                    <a:pt x="856052" y="3400945"/>
                  </a:moveTo>
                  <a:cubicBezTo>
                    <a:pt x="829382" y="3400945"/>
                    <a:pt x="807762" y="3379326"/>
                    <a:pt x="807762" y="3352656"/>
                  </a:cubicBezTo>
                  <a:cubicBezTo>
                    <a:pt x="807762" y="3325986"/>
                    <a:pt x="829382" y="3304365"/>
                    <a:pt x="856052" y="3304365"/>
                  </a:cubicBezTo>
                  <a:cubicBezTo>
                    <a:pt x="882722" y="3304365"/>
                    <a:pt x="904342" y="3325986"/>
                    <a:pt x="904342" y="3352656"/>
                  </a:cubicBezTo>
                  <a:cubicBezTo>
                    <a:pt x="904342" y="3379326"/>
                    <a:pt x="882722" y="3400945"/>
                    <a:pt x="856052" y="3400945"/>
                  </a:cubicBezTo>
                  <a:close/>
                  <a:moveTo>
                    <a:pt x="491681" y="3405336"/>
                  </a:moveTo>
                  <a:cubicBezTo>
                    <a:pt x="482901" y="3405336"/>
                    <a:pt x="476316" y="3398751"/>
                    <a:pt x="474122" y="3387776"/>
                  </a:cubicBezTo>
                  <a:cubicBezTo>
                    <a:pt x="474122" y="3378996"/>
                    <a:pt x="482901" y="3370215"/>
                    <a:pt x="491681" y="3370215"/>
                  </a:cubicBezTo>
                  <a:cubicBezTo>
                    <a:pt x="500461" y="3370215"/>
                    <a:pt x="509241" y="3378996"/>
                    <a:pt x="509241" y="3387776"/>
                  </a:cubicBezTo>
                  <a:cubicBezTo>
                    <a:pt x="509241" y="3396556"/>
                    <a:pt x="500461" y="3405336"/>
                    <a:pt x="491681" y="3405336"/>
                  </a:cubicBezTo>
                  <a:close/>
                  <a:moveTo>
                    <a:pt x="1850389" y="3418506"/>
                  </a:moveTo>
                  <a:cubicBezTo>
                    <a:pt x="1830634" y="3418506"/>
                    <a:pt x="1813074" y="3400946"/>
                    <a:pt x="1810879" y="3378996"/>
                  </a:cubicBezTo>
                  <a:cubicBezTo>
                    <a:pt x="1810879" y="3357046"/>
                    <a:pt x="1828439" y="3339486"/>
                    <a:pt x="1850389" y="3339486"/>
                  </a:cubicBezTo>
                  <a:cubicBezTo>
                    <a:pt x="1870144" y="3339486"/>
                    <a:pt x="1887704" y="3357046"/>
                    <a:pt x="1887704" y="3378996"/>
                  </a:cubicBezTo>
                  <a:cubicBezTo>
                    <a:pt x="1887704" y="3400946"/>
                    <a:pt x="1872339" y="3418506"/>
                    <a:pt x="1850389" y="3418506"/>
                  </a:cubicBezTo>
                  <a:close/>
                  <a:moveTo>
                    <a:pt x="1090917" y="3422896"/>
                  </a:moveTo>
                  <a:cubicBezTo>
                    <a:pt x="1066773" y="3422896"/>
                    <a:pt x="1044822" y="3400946"/>
                    <a:pt x="1044822" y="3376801"/>
                  </a:cubicBezTo>
                  <a:cubicBezTo>
                    <a:pt x="1044822" y="3350461"/>
                    <a:pt x="1064577" y="3330706"/>
                    <a:pt x="1090917" y="3330706"/>
                  </a:cubicBezTo>
                  <a:cubicBezTo>
                    <a:pt x="1117258" y="3330706"/>
                    <a:pt x="1137013" y="3350461"/>
                    <a:pt x="1137013" y="3376801"/>
                  </a:cubicBezTo>
                  <a:cubicBezTo>
                    <a:pt x="1137013" y="3403141"/>
                    <a:pt x="1117258" y="3422896"/>
                    <a:pt x="1090917" y="3422896"/>
                  </a:cubicBezTo>
                  <a:close/>
                  <a:moveTo>
                    <a:pt x="2247685" y="3431676"/>
                  </a:moveTo>
                  <a:cubicBezTo>
                    <a:pt x="2227930" y="3431676"/>
                    <a:pt x="2212564" y="3416311"/>
                    <a:pt x="2212564" y="3396556"/>
                  </a:cubicBezTo>
                  <a:cubicBezTo>
                    <a:pt x="2212564" y="3376801"/>
                    <a:pt x="2227930" y="3361436"/>
                    <a:pt x="2247685" y="3361436"/>
                  </a:cubicBezTo>
                  <a:cubicBezTo>
                    <a:pt x="2267439" y="3361436"/>
                    <a:pt x="2282805" y="3376801"/>
                    <a:pt x="2282805" y="3396556"/>
                  </a:cubicBezTo>
                  <a:cubicBezTo>
                    <a:pt x="2282805" y="3416311"/>
                    <a:pt x="2267439" y="3431676"/>
                    <a:pt x="2247685" y="3431676"/>
                  </a:cubicBezTo>
                  <a:close/>
                  <a:moveTo>
                    <a:pt x="1334563" y="3433871"/>
                  </a:moveTo>
                  <a:cubicBezTo>
                    <a:pt x="1310418" y="3433871"/>
                    <a:pt x="1290663" y="3414116"/>
                    <a:pt x="1290663" y="3389971"/>
                  </a:cubicBezTo>
                  <a:cubicBezTo>
                    <a:pt x="1290663" y="3365825"/>
                    <a:pt x="1310418" y="3346071"/>
                    <a:pt x="1334563" y="3346071"/>
                  </a:cubicBezTo>
                  <a:cubicBezTo>
                    <a:pt x="1358709" y="3346071"/>
                    <a:pt x="1378464" y="3365825"/>
                    <a:pt x="1378464" y="3389971"/>
                  </a:cubicBezTo>
                  <a:cubicBezTo>
                    <a:pt x="1378464" y="3414116"/>
                    <a:pt x="1358709" y="3433871"/>
                    <a:pt x="1334563" y="3433871"/>
                  </a:cubicBezTo>
                  <a:close/>
                  <a:moveTo>
                    <a:pt x="1589184" y="3436066"/>
                  </a:moveTo>
                  <a:cubicBezTo>
                    <a:pt x="1565038" y="3436066"/>
                    <a:pt x="1545283" y="3416311"/>
                    <a:pt x="1545283" y="3392166"/>
                  </a:cubicBezTo>
                  <a:cubicBezTo>
                    <a:pt x="1545283" y="3368021"/>
                    <a:pt x="1565038" y="3348266"/>
                    <a:pt x="1589184" y="3348266"/>
                  </a:cubicBezTo>
                  <a:cubicBezTo>
                    <a:pt x="1613329" y="3348266"/>
                    <a:pt x="1633084" y="3368021"/>
                    <a:pt x="1633084" y="3392166"/>
                  </a:cubicBezTo>
                  <a:cubicBezTo>
                    <a:pt x="1633084" y="3416311"/>
                    <a:pt x="1613329" y="3436066"/>
                    <a:pt x="1589184" y="3436066"/>
                  </a:cubicBezTo>
                  <a:close/>
                  <a:moveTo>
                    <a:pt x="717766" y="3460211"/>
                  </a:moveTo>
                  <a:cubicBezTo>
                    <a:pt x="695817" y="3460211"/>
                    <a:pt x="680451" y="3442651"/>
                    <a:pt x="678257" y="3420701"/>
                  </a:cubicBezTo>
                  <a:cubicBezTo>
                    <a:pt x="678257" y="3398751"/>
                    <a:pt x="695817" y="3381191"/>
                    <a:pt x="717766" y="3381191"/>
                  </a:cubicBezTo>
                  <a:cubicBezTo>
                    <a:pt x="739717" y="3381191"/>
                    <a:pt x="757277" y="3398751"/>
                    <a:pt x="757277" y="3420701"/>
                  </a:cubicBezTo>
                  <a:cubicBezTo>
                    <a:pt x="757277" y="3442651"/>
                    <a:pt x="739717" y="3460211"/>
                    <a:pt x="717766" y="3460211"/>
                  </a:cubicBezTo>
                  <a:close/>
                  <a:moveTo>
                    <a:pt x="2374995" y="3468991"/>
                  </a:moveTo>
                  <a:cubicBezTo>
                    <a:pt x="2357435" y="3468991"/>
                    <a:pt x="2344265" y="3453626"/>
                    <a:pt x="2344265" y="3438260"/>
                  </a:cubicBezTo>
                  <a:cubicBezTo>
                    <a:pt x="2344265" y="3420700"/>
                    <a:pt x="2357435" y="3407531"/>
                    <a:pt x="2374995" y="3407531"/>
                  </a:cubicBezTo>
                  <a:cubicBezTo>
                    <a:pt x="2392555" y="3407531"/>
                    <a:pt x="2405726" y="3420700"/>
                    <a:pt x="2405726" y="3438260"/>
                  </a:cubicBezTo>
                  <a:cubicBezTo>
                    <a:pt x="2405726" y="3455820"/>
                    <a:pt x="2392555" y="3468991"/>
                    <a:pt x="2374995" y="3468991"/>
                  </a:cubicBezTo>
                  <a:close/>
                  <a:moveTo>
                    <a:pt x="1968920" y="3477771"/>
                  </a:moveTo>
                  <a:cubicBezTo>
                    <a:pt x="1949164" y="3477771"/>
                    <a:pt x="1931604" y="3462406"/>
                    <a:pt x="1929409" y="3438261"/>
                  </a:cubicBezTo>
                  <a:cubicBezTo>
                    <a:pt x="1929409" y="3416311"/>
                    <a:pt x="1946969" y="3398751"/>
                    <a:pt x="1968920" y="3398751"/>
                  </a:cubicBezTo>
                  <a:cubicBezTo>
                    <a:pt x="1990869" y="3398751"/>
                    <a:pt x="2008430" y="3416311"/>
                    <a:pt x="2008430" y="3438261"/>
                  </a:cubicBezTo>
                  <a:cubicBezTo>
                    <a:pt x="2008430" y="3460211"/>
                    <a:pt x="1990869" y="3477771"/>
                    <a:pt x="1968920" y="3477771"/>
                  </a:cubicBezTo>
                  <a:close/>
                  <a:moveTo>
                    <a:pt x="579481" y="3493135"/>
                  </a:moveTo>
                  <a:cubicBezTo>
                    <a:pt x="577286" y="3493135"/>
                    <a:pt x="575091" y="3490941"/>
                    <a:pt x="575091" y="3488745"/>
                  </a:cubicBezTo>
                  <a:cubicBezTo>
                    <a:pt x="575091" y="3486551"/>
                    <a:pt x="577286" y="3484355"/>
                    <a:pt x="579481" y="3484355"/>
                  </a:cubicBezTo>
                  <a:cubicBezTo>
                    <a:pt x="581676" y="3484355"/>
                    <a:pt x="583871" y="3486551"/>
                    <a:pt x="583871" y="3488745"/>
                  </a:cubicBezTo>
                  <a:cubicBezTo>
                    <a:pt x="583871" y="3490941"/>
                    <a:pt x="581676" y="3493135"/>
                    <a:pt x="579481" y="3493135"/>
                  </a:cubicBezTo>
                  <a:close/>
                  <a:moveTo>
                    <a:pt x="950437" y="3497526"/>
                  </a:moveTo>
                  <a:cubicBezTo>
                    <a:pt x="924098" y="3497526"/>
                    <a:pt x="899953" y="3473381"/>
                    <a:pt x="899953" y="3447040"/>
                  </a:cubicBezTo>
                  <a:cubicBezTo>
                    <a:pt x="899953" y="3418505"/>
                    <a:pt x="921902" y="3396555"/>
                    <a:pt x="950437" y="3396555"/>
                  </a:cubicBezTo>
                  <a:cubicBezTo>
                    <a:pt x="978973" y="3396555"/>
                    <a:pt x="1000922" y="3418505"/>
                    <a:pt x="1000922" y="3447040"/>
                  </a:cubicBezTo>
                  <a:cubicBezTo>
                    <a:pt x="1000922" y="3475575"/>
                    <a:pt x="978973" y="3497526"/>
                    <a:pt x="950437" y="3497526"/>
                  </a:cubicBezTo>
                  <a:close/>
                  <a:moveTo>
                    <a:pt x="2502304" y="3501916"/>
                  </a:moveTo>
                  <a:cubicBezTo>
                    <a:pt x="2486940" y="3501916"/>
                    <a:pt x="2471576" y="3488745"/>
                    <a:pt x="2471576" y="3471185"/>
                  </a:cubicBezTo>
                  <a:cubicBezTo>
                    <a:pt x="2471576" y="3453626"/>
                    <a:pt x="2484745" y="3440456"/>
                    <a:pt x="2502304" y="3440456"/>
                  </a:cubicBezTo>
                  <a:cubicBezTo>
                    <a:pt x="2519864" y="3440456"/>
                    <a:pt x="2533036" y="3453626"/>
                    <a:pt x="2533036" y="3471185"/>
                  </a:cubicBezTo>
                  <a:cubicBezTo>
                    <a:pt x="2533036" y="3488745"/>
                    <a:pt x="2519864" y="3501916"/>
                    <a:pt x="2502304" y="3501916"/>
                  </a:cubicBezTo>
                  <a:close/>
                  <a:moveTo>
                    <a:pt x="1191888" y="3510696"/>
                  </a:moveTo>
                  <a:cubicBezTo>
                    <a:pt x="1165548" y="3510696"/>
                    <a:pt x="1145793" y="3488745"/>
                    <a:pt x="1145793" y="3464600"/>
                  </a:cubicBezTo>
                  <a:cubicBezTo>
                    <a:pt x="1145793" y="3440456"/>
                    <a:pt x="1165548" y="3418505"/>
                    <a:pt x="1191888" y="3418505"/>
                  </a:cubicBezTo>
                  <a:cubicBezTo>
                    <a:pt x="1216033" y="3418505"/>
                    <a:pt x="1237983" y="3438260"/>
                    <a:pt x="1237983" y="3464600"/>
                  </a:cubicBezTo>
                  <a:cubicBezTo>
                    <a:pt x="1237983" y="3488745"/>
                    <a:pt x="1218228" y="3510696"/>
                    <a:pt x="1191888" y="3510696"/>
                  </a:cubicBezTo>
                  <a:close/>
                  <a:moveTo>
                    <a:pt x="1701129" y="3510696"/>
                  </a:moveTo>
                  <a:cubicBezTo>
                    <a:pt x="1674789" y="3510696"/>
                    <a:pt x="1652839" y="3488745"/>
                    <a:pt x="1652839" y="3462405"/>
                  </a:cubicBezTo>
                  <a:cubicBezTo>
                    <a:pt x="1652839" y="3436065"/>
                    <a:pt x="1674789" y="3414115"/>
                    <a:pt x="1701129" y="3414115"/>
                  </a:cubicBezTo>
                  <a:cubicBezTo>
                    <a:pt x="1727469" y="3414115"/>
                    <a:pt x="1749419" y="3436065"/>
                    <a:pt x="1749419" y="3462405"/>
                  </a:cubicBezTo>
                  <a:cubicBezTo>
                    <a:pt x="1749419" y="3488745"/>
                    <a:pt x="1727469" y="3510696"/>
                    <a:pt x="1701129" y="3510696"/>
                  </a:cubicBezTo>
                  <a:close/>
                  <a:moveTo>
                    <a:pt x="1442118" y="3515086"/>
                  </a:moveTo>
                  <a:cubicBezTo>
                    <a:pt x="1415778" y="3515086"/>
                    <a:pt x="1396023" y="3495331"/>
                    <a:pt x="1396023" y="3468991"/>
                  </a:cubicBezTo>
                  <a:cubicBezTo>
                    <a:pt x="1396023" y="3442651"/>
                    <a:pt x="1417973" y="3422896"/>
                    <a:pt x="1442118" y="3422896"/>
                  </a:cubicBezTo>
                  <a:cubicBezTo>
                    <a:pt x="1468458" y="3422896"/>
                    <a:pt x="1488214" y="3444846"/>
                    <a:pt x="1488214" y="3468991"/>
                  </a:cubicBezTo>
                  <a:cubicBezTo>
                    <a:pt x="1488214" y="3495331"/>
                    <a:pt x="1466263" y="3515086"/>
                    <a:pt x="1442118" y="3515086"/>
                  </a:cubicBezTo>
                  <a:close/>
                  <a:moveTo>
                    <a:pt x="2626806" y="3521105"/>
                  </a:moveTo>
                  <a:lnTo>
                    <a:pt x="2613976" y="3516184"/>
                  </a:lnTo>
                  <a:cubicBezTo>
                    <a:pt x="2608763" y="3511245"/>
                    <a:pt x="2605470" y="3504111"/>
                    <a:pt x="2605470" y="3495331"/>
                  </a:cubicBezTo>
                  <a:cubicBezTo>
                    <a:pt x="2605470" y="3487649"/>
                    <a:pt x="2608763" y="3480515"/>
                    <a:pt x="2613976" y="3475302"/>
                  </a:cubicBezTo>
                  <a:lnTo>
                    <a:pt x="2626806" y="3469853"/>
                  </a:lnTo>
                  <a:close/>
                  <a:moveTo>
                    <a:pt x="2089644" y="3530452"/>
                  </a:moveTo>
                  <a:cubicBezTo>
                    <a:pt x="2069890" y="3530452"/>
                    <a:pt x="2054524" y="3515086"/>
                    <a:pt x="2054524" y="3495331"/>
                  </a:cubicBezTo>
                  <a:cubicBezTo>
                    <a:pt x="2054524" y="3475576"/>
                    <a:pt x="2069890" y="3460211"/>
                    <a:pt x="2089644" y="3460211"/>
                  </a:cubicBezTo>
                  <a:cubicBezTo>
                    <a:pt x="2109399" y="3460211"/>
                    <a:pt x="2124764" y="3475576"/>
                    <a:pt x="2124764" y="3495331"/>
                  </a:cubicBezTo>
                  <a:cubicBezTo>
                    <a:pt x="2124764" y="3515086"/>
                    <a:pt x="2109399" y="3530452"/>
                    <a:pt x="2089644" y="3530452"/>
                  </a:cubicBezTo>
                  <a:close/>
                  <a:moveTo>
                    <a:pt x="809957" y="3565571"/>
                  </a:moveTo>
                  <a:cubicBezTo>
                    <a:pt x="783617" y="3565571"/>
                    <a:pt x="759472" y="3543621"/>
                    <a:pt x="759472" y="3515086"/>
                  </a:cubicBezTo>
                  <a:cubicBezTo>
                    <a:pt x="759472" y="3486551"/>
                    <a:pt x="781422" y="3464600"/>
                    <a:pt x="809957" y="3464600"/>
                  </a:cubicBezTo>
                  <a:cubicBezTo>
                    <a:pt x="838492" y="3464600"/>
                    <a:pt x="860442" y="3486551"/>
                    <a:pt x="860442" y="3515086"/>
                  </a:cubicBezTo>
                  <a:cubicBezTo>
                    <a:pt x="860442" y="3543621"/>
                    <a:pt x="838492" y="3565571"/>
                    <a:pt x="809957" y="3565571"/>
                  </a:cubicBezTo>
                  <a:close/>
                  <a:moveTo>
                    <a:pt x="1815269" y="3569961"/>
                  </a:moveTo>
                  <a:cubicBezTo>
                    <a:pt x="1793319" y="3569961"/>
                    <a:pt x="1775758" y="3552401"/>
                    <a:pt x="1773564" y="3528256"/>
                  </a:cubicBezTo>
                  <a:cubicBezTo>
                    <a:pt x="1773564" y="3504110"/>
                    <a:pt x="1793319" y="3486551"/>
                    <a:pt x="1815269" y="3486551"/>
                  </a:cubicBezTo>
                  <a:cubicBezTo>
                    <a:pt x="1839414" y="3486551"/>
                    <a:pt x="1856974" y="3506306"/>
                    <a:pt x="1856974" y="3528256"/>
                  </a:cubicBezTo>
                  <a:cubicBezTo>
                    <a:pt x="1856974" y="3552401"/>
                    <a:pt x="1837219" y="3569961"/>
                    <a:pt x="1815269" y="3569961"/>
                  </a:cubicBezTo>
                  <a:close/>
                  <a:moveTo>
                    <a:pt x="2214759" y="3578741"/>
                  </a:moveTo>
                  <a:cubicBezTo>
                    <a:pt x="2195005" y="3578741"/>
                    <a:pt x="2179639" y="3561181"/>
                    <a:pt x="2179639" y="3543621"/>
                  </a:cubicBezTo>
                  <a:cubicBezTo>
                    <a:pt x="2179639" y="3523866"/>
                    <a:pt x="2195005" y="3508500"/>
                    <a:pt x="2214759" y="3508500"/>
                  </a:cubicBezTo>
                  <a:cubicBezTo>
                    <a:pt x="2234515" y="3508500"/>
                    <a:pt x="2249879" y="3523866"/>
                    <a:pt x="2249879" y="3543621"/>
                  </a:cubicBezTo>
                  <a:cubicBezTo>
                    <a:pt x="2249879" y="3563376"/>
                    <a:pt x="2234515" y="3578741"/>
                    <a:pt x="2214759" y="3578741"/>
                  </a:cubicBezTo>
                  <a:close/>
                  <a:moveTo>
                    <a:pt x="1049212" y="3585327"/>
                  </a:moveTo>
                  <a:cubicBezTo>
                    <a:pt x="1022872" y="3585327"/>
                    <a:pt x="1000922" y="3563377"/>
                    <a:pt x="1000922" y="3537036"/>
                  </a:cubicBezTo>
                  <a:cubicBezTo>
                    <a:pt x="1000922" y="3510696"/>
                    <a:pt x="1022872" y="3488746"/>
                    <a:pt x="1049212" y="3488746"/>
                  </a:cubicBezTo>
                  <a:cubicBezTo>
                    <a:pt x="1075553" y="3488746"/>
                    <a:pt x="1097502" y="3510696"/>
                    <a:pt x="1097502" y="3537036"/>
                  </a:cubicBezTo>
                  <a:cubicBezTo>
                    <a:pt x="1097502" y="3563377"/>
                    <a:pt x="1075553" y="3585327"/>
                    <a:pt x="1049212" y="3585327"/>
                  </a:cubicBezTo>
                  <a:close/>
                  <a:moveTo>
                    <a:pt x="1295053" y="3594106"/>
                  </a:moveTo>
                  <a:cubicBezTo>
                    <a:pt x="1268713" y="3594106"/>
                    <a:pt x="1248958" y="3572156"/>
                    <a:pt x="1246763" y="3545816"/>
                  </a:cubicBezTo>
                  <a:cubicBezTo>
                    <a:pt x="1246763" y="3519476"/>
                    <a:pt x="1268713" y="3497526"/>
                    <a:pt x="1295053" y="3497526"/>
                  </a:cubicBezTo>
                  <a:cubicBezTo>
                    <a:pt x="1321393" y="3497526"/>
                    <a:pt x="1343343" y="3519476"/>
                    <a:pt x="1343343" y="3545816"/>
                  </a:cubicBezTo>
                  <a:cubicBezTo>
                    <a:pt x="1343343" y="3572156"/>
                    <a:pt x="1321393" y="3594106"/>
                    <a:pt x="1295053" y="3594106"/>
                  </a:cubicBezTo>
                  <a:close/>
                  <a:moveTo>
                    <a:pt x="1551869" y="3594106"/>
                  </a:moveTo>
                  <a:cubicBezTo>
                    <a:pt x="1525528" y="3594106"/>
                    <a:pt x="1503578" y="3572156"/>
                    <a:pt x="1503578" y="3545816"/>
                  </a:cubicBezTo>
                  <a:cubicBezTo>
                    <a:pt x="1503578" y="3519476"/>
                    <a:pt x="1525528" y="3497526"/>
                    <a:pt x="1551869" y="3497526"/>
                  </a:cubicBezTo>
                  <a:cubicBezTo>
                    <a:pt x="1578209" y="3497526"/>
                    <a:pt x="1600159" y="3519476"/>
                    <a:pt x="1600159" y="3545816"/>
                  </a:cubicBezTo>
                  <a:cubicBezTo>
                    <a:pt x="1600159" y="3572156"/>
                    <a:pt x="1578209" y="3594106"/>
                    <a:pt x="1551869" y="3594106"/>
                  </a:cubicBezTo>
                  <a:close/>
                  <a:moveTo>
                    <a:pt x="671671" y="3596301"/>
                  </a:moveTo>
                  <a:cubicBezTo>
                    <a:pt x="665086" y="3596301"/>
                    <a:pt x="658502" y="3591911"/>
                    <a:pt x="660696" y="3585326"/>
                  </a:cubicBezTo>
                  <a:cubicBezTo>
                    <a:pt x="660696" y="3578741"/>
                    <a:pt x="665086" y="3574351"/>
                    <a:pt x="671671" y="3574351"/>
                  </a:cubicBezTo>
                  <a:cubicBezTo>
                    <a:pt x="678257" y="3574351"/>
                    <a:pt x="682647" y="3578741"/>
                    <a:pt x="682647" y="3585326"/>
                  </a:cubicBezTo>
                  <a:cubicBezTo>
                    <a:pt x="682647" y="3591911"/>
                    <a:pt x="678257" y="3596301"/>
                    <a:pt x="671671" y="3596301"/>
                  </a:cubicBezTo>
                  <a:close/>
                  <a:moveTo>
                    <a:pt x="2342071" y="3618251"/>
                  </a:moveTo>
                  <a:cubicBezTo>
                    <a:pt x="2320120" y="3618251"/>
                    <a:pt x="2304755" y="3602886"/>
                    <a:pt x="2304755" y="3580936"/>
                  </a:cubicBezTo>
                  <a:cubicBezTo>
                    <a:pt x="2304755" y="3561181"/>
                    <a:pt x="2322315" y="3543621"/>
                    <a:pt x="2342071" y="3543621"/>
                  </a:cubicBezTo>
                  <a:cubicBezTo>
                    <a:pt x="2361825" y="3543621"/>
                    <a:pt x="2379385" y="3561181"/>
                    <a:pt x="2379385" y="3580936"/>
                  </a:cubicBezTo>
                  <a:cubicBezTo>
                    <a:pt x="2379385" y="3600691"/>
                    <a:pt x="2361825" y="3618251"/>
                    <a:pt x="2342071" y="3618251"/>
                  </a:cubicBezTo>
                  <a:close/>
                  <a:moveTo>
                    <a:pt x="1935994" y="3629226"/>
                  </a:moveTo>
                  <a:cubicBezTo>
                    <a:pt x="1911849" y="3629226"/>
                    <a:pt x="1894289" y="3611666"/>
                    <a:pt x="1894289" y="3587521"/>
                  </a:cubicBezTo>
                  <a:cubicBezTo>
                    <a:pt x="1894289" y="3565571"/>
                    <a:pt x="1911849" y="3545816"/>
                    <a:pt x="1935994" y="3545816"/>
                  </a:cubicBezTo>
                  <a:cubicBezTo>
                    <a:pt x="1957944" y="3545816"/>
                    <a:pt x="1977700" y="3563376"/>
                    <a:pt x="1977700" y="3587521"/>
                  </a:cubicBezTo>
                  <a:cubicBezTo>
                    <a:pt x="1977700" y="3609471"/>
                    <a:pt x="1960140" y="3629226"/>
                    <a:pt x="1935994" y="3629226"/>
                  </a:cubicBezTo>
                  <a:close/>
                  <a:moveTo>
                    <a:pt x="2469380" y="3651176"/>
                  </a:moveTo>
                  <a:cubicBezTo>
                    <a:pt x="2449625" y="3651176"/>
                    <a:pt x="2434260" y="3635811"/>
                    <a:pt x="2434260" y="3616056"/>
                  </a:cubicBezTo>
                  <a:cubicBezTo>
                    <a:pt x="2434260" y="3596301"/>
                    <a:pt x="2449625" y="3580936"/>
                    <a:pt x="2469380" y="3580936"/>
                  </a:cubicBezTo>
                  <a:cubicBezTo>
                    <a:pt x="2489136" y="3580936"/>
                    <a:pt x="2504500" y="3596301"/>
                    <a:pt x="2504500" y="3616056"/>
                  </a:cubicBezTo>
                  <a:cubicBezTo>
                    <a:pt x="2504500" y="3635811"/>
                    <a:pt x="2489136" y="3651176"/>
                    <a:pt x="2469380" y="3651176"/>
                  </a:cubicBezTo>
                  <a:close/>
                  <a:moveTo>
                    <a:pt x="906537" y="3655566"/>
                  </a:moveTo>
                  <a:cubicBezTo>
                    <a:pt x="880197" y="3655566"/>
                    <a:pt x="858247" y="3633616"/>
                    <a:pt x="858247" y="3607276"/>
                  </a:cubicBezTo>
                  <a:cubicBezTo>
                    <a:pt x="858247" y="3580936"/>
                    <a:pt x="880197" y="3558986"/>
                    <a:pt x="906537" y="3558986"/>
                  </a:cubicBezTo>
                  <a:cubicBezTo>
                    <a:pt x="932878" y="3558986"/>
                    <a:pt x="954827" y="3580936"/>
                    <a:pt x="954827" y="3607276"/>
                  </a:cubicBezTo>
                  <a:cubicBezTo>
                    <a:pt x="954827" y="3633616"/>
                    <a:pt x="932878" y="3655566"/>
                    <a:pt x="906537" y="3655566"/>
                  </a:cubicBezTo>
                  <a:close/>
                  <a:moveTo>
                    <a:pt x="1663814" y="3662151"/>
                  </a:moveTo>
                  <a:cubicBezTo>
                    <a:pt x="1637474" y="3662151"/>
                    <a:pt x="1617719" y="3640201"/>
                    <a:pt x="1615523" y="3613861"/>
                  </a:cubicBezTo>
                  <a:cubicBezTo>
                    <a:pt x="1615523" y="3587521"/>
                    <a:pt x="1637474" y="3565571"/>
                    <a:pt x="1663814" y="3565571"/>
                  </a:cubicBezTo>
                  <a:cubicBezTo>
                    <a:pt x="1690154" y="3565571"/>
                    <a:pt x="1712104" y="3587521"/>
                    <a:pt x="1712104" y="3613861"/>
                  </a:cubicBezTo>
                  <a:cubicBezTo>
                    <a:pt x="1712104" y="3640201"/>
                    <a:pt x="1690154" y="3662151"/>
                    <a:pt x="1663814" y="3662151"/>
                  </a:cubicBezTo>
                  <a:close/>
                  <a:moveTo>
                    <a:pt x="1150183" y="3670931"/>
                  </a:moveTo>
                  <a:cubicBezTo>
                    <a:pt x="1123842" y="3670931"/>
                    <a:pt x="1101892" y="3648981"/>
                    <a:pt x="1101892" y="3622641"/>
                  </a:cubicBezTo>
                  <a:cubicBezTo>
                    <a:pt x="1101892" y="3596301"/>
                    <a:pt x="1123842" y="3574351"/>
                    <a:pt x="1150183" y="3574351"/>
                  </a:cubicBezTo>
                  <a:cubicBezTo>
                    <a:pt x="1176523" y="3574351"/>
                    <a:pt x="1198473" y="3596301"/>
                    <a:pt x="1198473" y="3622641"/>
                  </a:cubicBezTo>
                  <a:cubicBezTo>
                    <a:pt x="1198473" y="3648981"/>
                    <a:pt x="1176523" y="3670931"/>
                    <a:pt x="1150183" y="3670931"/>
                  </a:cubicBezTo>
                  <a:close/>
                  <a:moveTo>
                    <a:pt x="1402608" y="3670931"/>
                  </a:moveTo>
                  <a:cubicBezTo>
                    <a:pt x="1376268" y="3670931"/>
                    <a:pt x="1356513" y="3651176"/>
                    <a:pt x="1354318" y="3622641"/>
                  </a:cubicBezTo>
                  <a:cubicBezTo>
                    <a:pt x="1354318" y="3596301"/>
                    <a:pt x="1376268" y="3574351"/>
                    <a:pt x="1402608" y="3574351"/>
                  </a:cubicBezTo>
                  <a:cubicBezTo>
                    <a:pt x="1428948" y="3574351"/>
                    <a:pt x="1450898" y="3596301"/>
                    <a:pt x="1450898" y="3622641"/>
                  </a:cubicBezTo>
                  <a:cubicBezTo>
                    <a:pt x="1450898" y="3648981"/>
                    <a:pt x="1428948" y="3670931"/>
                    <a:pt x="1402608" y="3670931"/>
                  </a:cubicBezTo>
                  <a:close/>
                  <a:moveTo>
                    <a:pt x="2601080" y="3679711"/>
                  </a:moveTo>
                  <a:cubicBezTo>
                    <a:pt x="2579131" y="3679711"/>
                    <a:pt x="2561570" y="3662151"/>
                    <a:pt x="2561570" y="3640201"/>
                  </a:cubicBezTo>
                  <a:cubicBezTo>
                    <a:pt x="2561570" y="3618251"/>
                    <a:pt x="2579131" y="3600691"/>
                    <a:pt x="2601080" y="3600691"/>
                  </a:cubicBezTo>
                  <a:cubicBezTo>
                    <a:pt x="2606568" y="3600691"/>
                    <a:pt x="2611782" y="3601788"/>
                    <a:pt x="2616514" y="3603778"/>
                  </a:cubicBezTo>
                  <a:lnTo>
                    <a:pt x="2626806" y="3610695"/>
                  </a:lnTo>
                  <a:lnTo>
                    <a:pt x="2626806" y="3669707"/>
                  </a:lnTo>
                  <a:lnTo>
                    <a:pt x="2616514" y="3676625"/>
                  </a:lnTo>
                  <a:cubicBezTo>
                    <a:pt x="2611782" y="3678614"/>
                    <a:pt x="2606568" y="3679711"/>
                    <a:pt x="2601080" y="3679711"/>
                  </a:cubicBezTo>
                  <a:close/>
                  <a:moveTo>
                    <a:pt x="2056720" y="3681905"/>
                  </a:moveTo>
                  <a:cubicBezTo>
                    <a:pt x="2034770" y="3681905"/>
                    <a:pt x="2015015" y="3662151"/>
                    <a:pt x="2015015" y="3640201"/>
                  </a:cubicBezTo>
                  <a:cubicBezTo>
                    <a:pt x="2015015" y="3618251"/>
                    <a:pt x="2032574" y="3598496"/>
                    <a:pt x="2056720" y="3598496"/>
                  </a:cubicBezTo>
                  <a:cubicBezTo>
                    <a:pt x="2078669" y="3598496"/>
                    <a:pt x="2098425" y="3618251"/>
                    <a:pt x="2098425" y="3640201"/>
                  </a:cubicBezTo>
                  <a:cubicBezTo>
                    <a:pt x="2098425" y="3662151"/>
                    <a:pt x="2080865" y="3681905"/>
                    <a:pt x="2056720" y="3681905"/>
                  </a:cubicBezTo>
                  <a:close/>
                  <a:moveTo>
                    <a:pt x="766057" y="3721416"/>
                  </a:moveTo>
                  <a:cubicBezTo>
                    <a:pt x="741912" y="3721416"/>
                    <a:pt x="722156" y="3701661"/>
                    <a:pt x="722156" y="3677516"/>
                  </a:cubicBezTo>
                  <a:cubicBezTo>
                    <a:pt x="722156" y="3653371"/>
                    <a:pt x="741912" y="3633616"/>
                    <a:pt x="766057" y="3633616"/>
                  </a:cubicBezTo>
                  <a:cubicBezTo>
                    <a:pt x="790202" y="3633616"/>
                    <a:pt x="809957" y="3653371"/>
                    <a:pt x="809957" y="3677516"/>
                  </a:cubicBezTo>
                  <a:cubicBezTo>
                    <a:pt x="809957" y="3701661"/>
                    <a:pt x="790202" y="3721416"/>
                    <a:pt x="766057" y="3721416"/>
                  </a:cubicBezTo>
                  <a:close/>
                  <a:moveTo>
                    <a:pt x="1782344" y="3723612"/>
                  </a:moveTo>
                  <a:cubicBezTo>
                    <a:pt x="1756004" y="3723612"/>
                    <a:pt x="1736249" y="3701661"/>
                    <a:pt x="1736249" y="3677516"/>
                  </a:cubicBezTo>
                  <a:cubicBezTo>
                    <a:pt x="1736249" y="3651176"/>
                    <a:pt x="1758198" y="3631421"/>
                    <a:pt x="1782344" y="3631421"/>
                  </a:cubicBezTo>
                  <a:cubicBezTo>
                    <a:pt x="1808684" y="3631421"/>
                    <a:pt x="1828439" y="3653371"/>
                    <a:pt x="1828439" y="3677516"/>
                  </a:cubicBezTo>
                  <a:cubicBezTo>
                    <a:pt x="1828439" y="3703856"/>
                    <a:pt x="1806489" y="3723612"/>
                    <a:pt x="1782344" y="3723612"/>
                  </a:cubicBezTo>
                  <a:close/>
                  <a:moveTo>
                    <a:pt x="2181835" y="3730196"/>
                  </a:moveTo>
                  <a:cubicBezTo>
                    <a:pt x="2157690" y="3730196"/>
                    <a:pt x="2137934" y="3710442"/>
                    <a:pt x="2137934" y="3686297"/>
                  </a:cubicBezTo>
                  <a:cubicBezTo>
                    <a:pt x="2137934" y="3662151"/>
                    <a:pt x="2157690" y="3642396"/>
                    <a:pt x="2181835" y="3642396"/>
                  </a:cubicBezTo>
                  <a:cubicBezTo>
                    <a:pt x="2205979" y="3642396"/>
                    <a:pt x="2225735" y="3662151"/>
                    <a:pt x="2225735" y="3686297"/>
                  </a:cubicBezTo>
                  <a:cubicBezTo>
                    <a:pt x="2225735" y="3710442"/>
                    <a:pt x="2205979" y="3730196"/>
                    <a:pt x="2181835" y="3730196"/>
                  </a:cubicBezTo>
                  <a:close/>
                  <a:moveTo>
                    <a:pt x="1007507" y="3738977"/>
                  </a:moveTo>
                  <a:cubicBezTo>
                    <a:pt x="983362" y="3738977"/>
                    <a:pt x="963607" y="3719222"/>
                    <a:pt x="963607" y="3695076"/>
                  </a:cubicBezTo>
                  <a:cubicBezTo>
                    <a:pt x="963607" y="3670931"/>
                    <a:pt x="983362" y="3651176"/>
                    <a:pt x="1007507" y="3651176"/>
                  </a:cubicBezTo>
                  <a:cubicBezTo>
                    <a:pt x="1031652" y="3651176"/>
                    <a:pt x="1051407" y="3670931"/>
                    <a:pt x="1051407" y="3695076"/>
                  </a:cubicBezTo>
                  <a:cubicBezTo>
                    <a:pt x="1051407" y="3719222"/>
                    <a:pt x="1031652" y="3738977"/>
                    <a:pt x="1007507" y="3738977"/>
                  </a:cubicBezTo>
                  <a:close/>
                  <a:moveTo>
                    <a:pt x="1514553" y="3743367"/>
                  </a:moveTo>
                  <a:cubicBezTo>
                    <a:pt x="1488214" y="3743367"/>
                    <a:pt x="1468458" y="3721416"/>
                    <a:pt x="1468458" y="3697271"/>
                  </a:cubicBezTo>
                  <a:cubicBezTo>
                    <a:pt x="1468458" y="3670931"/>
                    <a:pt x="1488214" y="3651176"/>
                    <a:pt x="1514553" y="3651176"/>
                  </a:cubicBezTo>
                  <a:cubicBezTo>
                    <a:pt x="1540893" y="3651176"/>
                    <a:pt x="1560648" y="3670931"/>
                    <a:pt x="1560648" y="3697271"/>
                  </a:cubicBezTo>
                  <a:cubicBezTo>
                    <a:pt x="1560648" y="3723612"/>
                    <a:pt x="1540893" y="3743367"/>
                    <a:pt x="1514553" y="3743367"/>
                  </a:cubicBezTo>
                  <a:close/>
                  <a:moveTo>
                    <a:pt x="1257738" y="3749951"/>
                  </a:moveTo>
                  <a:cubicBezTo>
                    <a:pt x="1231398" y="3749951"/>
                    <a:pt x="1209448" y="3728002"/>
                    <a:pt x="1209448" y="3701661"/>
                  </a:cubicBezTo>
                  <a:cubicBezTo>
                    <a:pt x="1209448" y="3675321"/>
                    <a:pt x="1231398" y="3653371"/>
                    <a:pt x="1257738" y="3653371"/>
                  </a:cubicBezTo>
                  <a:cubicBezTo>
                    <a:pt x="1284078" y="3653371"/>
                    <a:pt x="1306028" y="3675321"/>
                    <a:pt x="1306028" y="3701661"/>
                  </a:cubicBezTo>
                  <a:cubicBezTo>
                    <a:pt x="1306028" y="3728002"/>
                    <a:pt x="1284078" y="3749951"/>
                    <a:pt x="1257738" y="3749951"/>
                  </a:cubicBezTo>
                  <a:close/>
                  <a:moveTo>
                    <a:pt x="2309145" y="3771902"/>
                  </a:moveTo>
                  <a:cubicBezTo>
                    <a:pt x="2282805" y="3771902"/>
                    <a:pt x="2263051" y="3752147"/>
                    <a:pt x="2263051" y="3725806"/>
                  </a:cubicBezTo>
                  <a:cubicBezTo>
                    <a:pt x="2263051" y="3699466"/>
                    <a:pt x="2282805" y="3679711"/>
                    <a:pt x="2309145" y="3679711"/>
                  </a:cubicBezTo>
                  <a:cubicBezTo>
                    <a:pt x="2335485" y="3679711"/>
                    <a:pt x="2355239" y="3699466"/>
                    <a:pt x="2355239" y="3725806"/>
                  </a:cubicBezTo>
                  <a:cubicBezTo>
                    <a:pt x="2355239" y="3752147"/>
                    <a:pt x="2335485" y="3771902"/>
                    <a:pt x="2309145" y="3771902"/>
                  </a:cubicBezTo>
                  <a:close/>
                  <a:moveTo>
                    <a:pt x="1900874" y="3782876"/>
                  </a:moveTo>
                  <a:cubicBezTo>
                    <a:pt x="1874534" y="3782876"/>
                    <a:pt x="1852584" y="3760927"/>
                    <a:pt x="1852584" y="3734586"/>
                  </a:cubicBezTo>
                  <a:cubicBezTo>
                    <a:pt x="1852584" y="3708246"/>
                    <a:pt x="1874534" y="3686297"/>
                    <a:pt x="1900874" y="3686297"/>
                  </a:cubicBezTo>
                  <a:cubicBezTo>
                    <a:pt x="1927215" y="3686297"/>
                    <a:pt x="1949164" y="3708246"/>
                    <a:pt x="1949164" y="3734586"/>
                  </a:cubicBezTo>
                  <a:cubicBezTo>
                    <a:pt x="1949164" y="3760927"/>
                    <a:pt x="1927215" y="3782876"/>
                    <a:pt x="1900874" y="3782876"/>
                  </a:cubicBezTo>
                  <a:close/>
                  <a:moveTo>
                    <a:pt x="864832" y="3798242"/>
                  </a:moveTo>
                  <a:cubicBezTo>
                    <a:pt x="847272" y="3798242"/>
                    <a:pt x="834102" y="3785072"/>
                    <a:pt x="834102" y="3767511"/>
                  </a:cubicBezTo>
                  <a:cubicBezTo>
                    <a:pt x="834102" y="3749951"/>
                    <a:pt x="847272" y="3736781"/>
                    <a:pt x="864832" y="3736781"/>
                  </a:cubicBezTo>
                  <a:cubicBezTo>
                    <a:pt x="882393" y="3736781"/>
                    <a:pt x="895563" y="3749951"/>
                    <a:pt x="895563" y="3767511"/>
                  </a:cubicBezTo>
                  <a:cubicBezTo>
                    <a:pt x="895563" y="3785072"/>
                    <a:pt x="882393" y="3798242"/>
                    <a:pt x="864832" y="3798242"/>
                  </a:cubicBezTo>
                  <a:close/>
                  <a:moveTo>
                    <a:pt x="2436456" y="3800437"/>
                  </a:moveTo>
                  <a:cubicBezTo>
                    <a:pt x="2414506" y="3800437"/>
                    <a:pt x="2396945" y="3782876"/>
                    <a:pt x="2394751" y="3758731"/>
                  </a:cubicBezTo>
                  <a:cubicBezTo>
                    <a:pt x="2394751" y="3734586"/>
                    <a:pt x="2414506" y="3717026"/>
                    <a:pt x="2436456" y="3717026"/>
                  </a:cubicBezTo>
                  <a:cubicBezTo>
                    <a:pt x="2460600" y="3717026"/>
                    <a:pt x="2478160" y="3736781"/>
                    <a:pt x="2478160" y="3758731"/>
                  </a:cubicBezTo>
                  <a:cubicBezTo>
                    <a:pt x="2478160" y="3782876"/>
                    <a:pt x="2458405" y="3800437"/>
                    <a:pt x="2436456" y="3800437"/>
                  </a:cubicBezTo>
                  <a:close/>
                  <a:moveTo>
                    <a:pt x="1628694" y="3811412"/>
                  </a:moveTo>
                  <a:cubicBezTo>
                    <a:pt x="1602354" y="3811412"/>
                    <a:pt x="1580404" y="3789462"/>
                    <a:pt x="1580404" y="3763121"/>
                  </a:cubicBezTo>
                  <a:cubicBezTo>
                    <a:pt x="1580404" y="3736781"/>
                    <a:pt x="1602354" y="3714832"/>
                    <a:pt x="1628694" y="3714832"/>
                  </a:cubicBezTo>
                  <a:cubicBezTo>
                    <a:pt x="1655034" y="3714832"/>
                    <a:pt x="1676984" y="3736781"/>
                    <a:pt x="1676984" y="3763121"/>
                  </a:cubicBezTo>
                  <a:cubicBezTo>
                    <a:pt x="1676984" y="3789462"/>
                    <a:pt x="1655034" y="3811412"/>
                    <a:pt x="1628694" y="3811412"/>
                  </a:cubicBezTo>
                  <a:close/>
                  <a:moveTo>
                    <a:pt x="2568156" y="3822387"/>
                  </a:moveTo>
                  <a:cubicBezTo>
                    <a:pt x="2546205" y="3822387"/>
                    <a:pt x="2530840" y="3807022"/>
                    <a:pt x="2530840" y="3785072"/>
                  </a:cubicBezTo>
                  <a:cubicBezTo>
                    <a:pt x="2530840" y="3765317"/>
                    <a:pt x="2548400" y="3747757"/>
                    <a:pt x="2568156" y="3747757"/>
                  </a:cubicBezTo>
                  <a:cubicBezTo>
                    <a:pt x="2587910" y="3747757"/>
                    <a:pt x="2605470" y="3765317"/>
                    <a:pt x="2605470" y="3785072"/>
                  </a:cubicBezTo>
                  <a:cubicBezTo>
                    <a:pt x="2605470" y="3804827"/>
                    <a:pt x="2587910" y="3822387"/>
                    <a:pt x="2568156" y="3822387"/>
                  </a:cubicBezTo>
                  <a:close/>
                  <a:moveTo>
                    <a:pt x="1365293" y="3824582"/>
                  </a:moveTo>
                  <a:cubicBezTo>
                    <a:pt x="1341148" y="3824582"/>
                    <a:pt x="1319198" y="3802632"/>
                    <a:pt x="1319198" y="3778487"/>
                  </a:cubicBezTo>
                  <a:cubicBezTo>
                    <a:pt x="1319198" y="3752147"/>
                    <a:pt x="1338953" y="3732392"/>
                    <a:pt x="1365293" y="3732392"/>
                  </a:cubicBezTo>
                  <a:cubicBezTo>
                    <a:pt x="1391633" y="3732392"/>
                    <a:pt x="1411388" y="3752147"/>
                    <a:pt x="1411388" y="3778487"/>
                  </a:cubicBezTo>
                  <a:cubicBezTo>
                    <a:pt x="1411388" y="3804827"/>
                    <a:pt x="1391633" y="3824582"/>
                    <a:pt x="1365293" y="3824582"/>
                  </a:cubicBezTo>
                  <a:close/>
                  <a:moveTo>
                    <a:pt x="1110672" y="3828971"/>
                  </a:moveTo>
                  <a:cubicBezTo>
                    <a:pt x="1082137" y="3828971"/>
                    <a:pt x="1060187" y="3807022"/>
                    <a:pt x="1057992" y="3776292"/>
                  </a:cubicBezTo>
                  <a:cubicBezTo>
                    <a:pt x="1057992" y="3747757"/>
                    <a:pt x="1082137" y="3723612"/>
                    <a:pt x="1110672" y="3723612"/>
                  </a:cubicBezTo>
                  <a:cubicBezTo>
                    <a:pt x="1139207" y="3723612"/>
                    <a:pt x="1163353" y="3747757"/>
                    <a:pt x="1163353" y="3776292"/>
                  </a:cubicBezTo>
                  <a:cubicBezTo>
                    <a:pt x="1163353" y="3804827"/>
                    <a:pt x="1139207" y="3828971"/>
                    <a:pt x="1110672" y="3828971"/>
                  </a:cubicBezTo>
                  <a:close/>
                  <a:moveTo>
                    <a:pt x="2023795" y="3833362"/>
                  </a:moveTo>
                  <a:cubicBezTo>
                    <a:pt x="1997455" y="3833362"/>
                    <a:pt x="1977700" y="3813606"/>
                    <a:pt x="1977700" y="3787266"/>
                  </a:cubicBezTo>
                  <a:cubicBezTo>
                    <a:pt x="1977700" y="3763121"/>
                    <a:pt x="1999649" y="3741171"/>
                    <a:pt x="2023795" y="3741171"/>
                  </a:cubicBezTo>
                  <a:cubicBezTo>
                    <a:pt x="2047940" y="3741171"/>
                    <a:pt x="2069890" y="3760927"/>
                    <a:pt x="2069890" y="3787266"/>
                  </a:cubicBezTo>
                  <a:cubicBezTo>
                    <a:pt x="2069890" y="3811412"/>
                    <a:pt x="2050134" y="3833362"/>
                    <a:pt x="2023795" y="3833362"/>
                  </a:cubicBezTo>
                  <a:close/>
                  <a:moveTo>
                    <a:pt x="1747224" y="3872872"/>
                  </a:moveTo>
                  <a:cubicBezTo>
                    <a:pt x="1720883" y="3872872"/>
                    <a:pt x="1698933" y="3850922"/>
                    <a:pt x="1698933" y="3824582"/>
                  </a:cubicBezTo>
                  <a:cubicBezTo>
                    <a:pt x="1698933" y="3798242"/>
                    <a:pt x="1720883" y="3776292"/>
                    <a:pt x="1747224" y="3776292"/>
                  </a:cubicBezTo>
                  <a:cubicBezTo>
                    <a:pt x="1773564" y="3776292"/>
                    <a:pt x="1795514" y="3798242"/>
                    <a:pt x="1795514" y="3824582"/>
                  </a:cubicBezTo>
                  <a:cubicBezTo>
                    <a:pt x="1795514" y="3850922"/>
                    <a:pt x="1773564" y="3872872"/>
                    <a:pt x="1747224" y="3872872"/>
                  </a:cubicBezTo>
                  <a:close/>
                  <a:moveTo>
                    <a:pt x="965802" y="3879457"/>
                  </a:moveTo>
                  <a:cubicBezTo>
                    <a:pt x="952632" y="3879457"/>
                    <a:pt x="939462" y="3866287"/>
                    <a:pt x="939462" y="3853117"/>
                  </a:cubicBezTo>
                  <a:cubicBezTo>
                    <a:pt x="939462" y="3837752"/>
                    <a:pt x="950437" y="3826777"/>
                    <a:pt x="965802" y="3826777"/>
                  </a:cubicBezTo>
                  <a:cubicBezTo>
                    <a:pt x="981167" y="3826777"/>
                    <a:pt x="992142" y="3837752"/>
                    <a:pt x="992142" y="3853117"/>
                  </a:cubicBezTo>
                  <a:cubicBezTo>
                    <a:pt x="992142" y="3868482"/>
                    <a:pt x="981167" y="3879457"/>
                    <a:pt x="965802" y="3879457"/>
                  </a:cubicBezTo>
                  <a:close/>
                  <a:moveTo>
                    <a:pt x="2148910" y="3879457"/>
                  </a:moveTo>
                  <a:cubicBezTo>
                    <a:pt x="2122570" y="3879457"/>
                    <a:pt x="2100620" y="3857507"/>
                    <a:pt x="2102815" y="3833362"/>
                  </a:cubicBezTo>
                  <a:cubicBezTo>
                    <a:pt x="2102815" y="3809217"/>
                    <a:pt x="2122570" y="3787266"/>
                    <a:pt x="2148910" y="3787266"/>
                  </a:cubicBezTo>
                  <a:cubicBezTo>
                    <a:pt x="2173054" y="3787266"/>
                    <a:pt x="2195006" y="3807022"/>
                    <a:pt x="2195006" y="3833362"/>
                  </a:cubicBezTo>
                  <a:cubicBezTo>
                    <a:pt x="2195006" y="3857507"/>
                    <a:pt x="2175250" y="3879457"/>
                    <a:pt x="2148910" y="3879457"/>
                  </a:cubicBezTo>
                  <a:close/>
                  <a:moveTo>
                    <a:pt x="1479433" y="3890431"/>
                  </a:moveTo>
                  <a:cubicBezTo>
                    <a:pt x="1455288" y="3890431"/>
                    <a:pt x="1435533" y="3870677"/>
                    <a:pt x="1435533" y="3846531"/>
                  </a:cubicBezTo>
                  <a:cubicBezTo>
                    <a:pt x="1435533" y="3822386"/>
                    <a:pt x="1455288" y="3802631"/>
                    <a:pt x="1479433" y="3802631"/>
                  </a:cubicBezTo>
                  <a:cubicBezTo>
                    <a:pt x="1503578" y="3802631"/>
                    <a:pt x="1523333" y="3822386"/>
                    <a:pt x="1523333" y="3846531"/>
                  </a:cubicBezTo>
                  <a:cubicBezTo>
                    <a:pt x="1523333" y="3870677"/>
                    <a:pt x="1503578" y="3890431"/>
                    <a:pt x="1479433" y="3890431"/>
                  </a:cubicBezTo>
                  <a:close/>
                  <a:moveTo>
                    <a:pt x="1106195" y="3905171"/>
                  </a:moveTo>
                  <a:lnTo>
                    <a:pt x="1034905" y="3905171"/>
                  </a:lnTo>
                  <a:lnTo>
                    <a:pt x="1039060" y="3899211"/>
                  </a:lnTo>
                  <a:cubicBezTo>
                    <a:pt x="1047566" y="3890980"/>
                    <a:pt x="1059090" y="3886041"/>
                    <a:pt x="1071162" y="3886041"/>
                  </a:cubicBezTo>
                  <a:cubicBezTo>
                    <a:pt x="1084332" y="3886041"/>
                    <a:pt x="1095856" y="3891529"/>
                    <a:pt x="1104087" y="3900035"/>
                  </a:cubicBezTo>
                  <a:close/>
                  <a:moveTo>
                    <a:pt x="1225200" y="3905171"/>
                  </a:moveTo>
                  <a:lnTo>
                    <a:pt x="1211629" y="3905171"/>
                  </a:lnTo>
                  <a:lnTo>
                    <a:pt x="1182285" y="3892627"/>
                  </a:lnTo>
                  <a:cubicBezTo>
                    <a:pt x="1173230" y="3883298"/>
                    <a:pt x="1167743" y="3870677"/>
                    <a:pt x="1167743" y="3857506"/>
                  </a:cubicBezTo>
                  <a:cubicBezTo>
                    <a:pt x="1167743" y="3828971"/>
                    <a:pt x="1189693" y="3807022"/>
                    <a:pt x="1218228" y="3807022"/>
                  </a:cubicBezTo>
                  <a:cubicBezTo>
                    <a:pt x="1246763" y="3807022"/>
                    <a:pt x="1268713" y="3828971"/>
                    <a:pt x="1268713" y="3857506"/>
                  </a:cubicBezTo>
                  <a:cubicBezTo>
                    <a:pt x="1268713" y="3871774"/>
                    <a:pt x="1263226" y="3884395"/>
                    <a:pt x="1254171" y="3893450"/>
                  </a:cubicBezTo>
                  <a:close/>
                  <a:moveTo>
                    <a:pt x="1371361" y="3905171"/>
                  </a:moveTo>
                  <a:lnTo>
                    <a:pt x="1284594" y="3905171"/>
                  </a:lnTo>
                  <a:lnTo>
                    <a:pt x="1292034" y="3893998"/>
                  </a:lnTo>
                  <a:cubicBezTo>
                    <a:pt x="1301088" y="3884944"/>
                    <a:pt x="1313710" y="3879456"/>
                    <a:pt x="1327977" y="3879456"/>
                  </a:cubicBezTo>
                  <a:cubicBezTo>
                    <a:pt x="1342245" y="3879456"/>
                    <a:pt x="1354866" y="3884944"/>
                    <a:pt x="1363920" y="3893998"/>
                  </a:cubicBezTo>
                  <a:close/>
                  <a:moveTo>
                    <a:pt x="1634475" y="3905171"/>
                  </a:moveTo>
                  <a:lnTo>
                    <a:pt x="1552672" y="3905171"/>
                  </a:lnTo>
                  <a:lnTo>
                    <a:pt x="1562569" y="3881377"/>
                  </a:lnTo>
                  <a:cubicBezTo>
                    <a:pt x="1570526" y="3873420"/>
                    <a:pt x="1581501" y="3868481"/>
                    <a:pt x="1593574" y="3868481"/>
                  </a:cubicBezTo>
                  <a:cubicBezTo>
                    <a:pt x="1605646" y="3868481"/>
                    <a:pt x="1616621" y="3873420"/>
                    <a:pt x="1624578" y="3881377"/>
                  </a:cubicBezTo>
                  <a:close/>
                  <a:moveTo>
                    <a:pt x="1909099" y="3905171"/>
                  </a:moveTo>
                  <a:lnTo>
                    <a:pt x="1824848" y="3905171"/>
                  </a:lnTo>
                  <a:lnTo>
                    <a:pt x="1822266" y="3901235"/>
                  </a:lnTo>
                  <a:cubicBezTo>
                    <a:pt x="1820071" y="3895371"/>
                    <a:pt x="1819111" y="3888786"/>
                    <a:pt x="1819659" y="3881652"/>
                  </a:cubicBezTo>
                  <a:cubicBezTo>
                    <a:pt x="1819659" y="3855312"/>
                    <a:pt x="1841609" y="3833362"/>
                    <a:pt x="1867949" y="3833362"/>
                  </a:cubicBezTo>
                  <a:cubicBezTo>
                    <a:pt x="1894289" y="3833362"/>
                    <a:pt x="1916239" y="3855312"/>
                    <a:pt x="1916239" y="3881652"/>
                  </a:cubicBezTo>
                  <a:cubicBezTo>
                    <a:pt x="1916239" y="3888237"/>
                    <a:pt x="1914867" y="3894548"/>
                    <a:pt x="1912398" y="3900310"/>
                  </a:cubicBezTo>
                  <a:close/>
                  <a:moveTo>
                    <a:pt x="2029680" y="3905171"/>
                  </a:moveTo>
                  <a:lnTo>
                    <a:pt x="1952059" y="3905171"/>
                  </a:lnTo>
                  <a:lnTo>
                    <a:pt x="1956847" y="3898115"/>
                  </a:lnTo>
                  <a:cubicBezTo>
                    <a:pt x="1965627" y="3889335"/>
                    <a:pt x="1977699" y="3883847"/>
                    <a:pt x="1990869" y="3883847"/>
                  </a:cubicBezTo>
                  <a:cubicBezTo>
                    <a:pt x="2004040" y="3883847"/>
                    <a:pt x="2016112" y="3889335"/>
                    <a:pt x="2024892" y="3898115"/>
                  </a:cubicBezTo>
                  <a:close/>
                  <a:moveTo>
                    <a:pt x="2304497" y="3905171"/>
                  </a:moveTo>
                  <a:lnTo>
                    <a:pt x="2247217" y="3905171"/>
                  </a:lnTo>
                  <a:lnTo>
                    <a:pt x="2243294" y="3903602"/>
                  </a:lnTo>
                  <a:cubicBezTo>
                    <a:pt x="2235063" y="3895370"/>
                    <a:pt x="2230124" y="3883847"/>
                    <a:pt x="2230124" y="3870677"/>
                  </a:cubicBezTo>
                  <a:cubicBezTo>
                    <a:pt x="2230124" y="3844336"/>
                    <a:pt x="2252075" y="3824581"/>
                    <a:pt x="2276219" y="3824581"/>
                  </a:cubicBezTo>
                  <a:cubicBezTo>
                    <a:pt x="2302559" y="3824581"/>
                    <a:pt x="2322315" y="3846531"/>
                    <a:pt x="2322315" y="3870677"/>
                  </a:cubicBezTo>
                  <a:cubicBezTo>
                    <a:pt x="2322315" y="3883847"/>
                    <a:pt x="2316828" y="3895370"/>
                    <a:pt x="2308322" y="3903602"/>
                  </a:cubicBezTo>
                  <a:close/>
                  <a:moveTo>
                    <a:pt x="2448998" y="3905171"/>
                  </a:moveTo>
                  <a:lnTo>
                    <a:pt x="2357761" y="3905171"/>
                  </a:lnTo>
                  <a:lnTo>
                    <a:pt x="2357435" y="3903602"/>
                  </a:lnTo>
                  <a:cubicBezTo>
                    <a:pt x="2357435" y="3877261"/>
                    <a:pt x="2377191" y="3857506"/>
                    <a:pt x="2403531" y="3857506"/>
                  </a:cubicBezTo>
                  <a:cubicBezTo>
                    <a:pt x="2429871" y="3857506"/>
                    <a:pt x="2449625" y="3877261"/>
                    <a:pt x="2449625" y="3903602"/>
                  </a:cubicBezTo>
                  <a:close/>
                  <a:moveTo>
                    <a:pt x="2565556" y="3905171"/>
                  </a:moveTo>
                  <a:lnTo>
                    <a:pt x="2504463" y="3905171"/>
                  </a:lnTo>
                  <a:lnTo>
                    <a:pt x="2505322" y="3903053"/>
                  </a:lnTo>
                  <a:cubicBezTo>
                    <a:pt x="2512731" y="3895370"/>
                    <a:pt x="2523157" y="3890431"/>
                    <a:pt x="2535230" y="3890431"/>
                  </a:cubicBezTo>
                  <a:cubicBezTo>
                    <a:pt x="2546205" y="3890431"/>
                    <a:pt x="2556632" y="3894821"/>
                    <a:pt x="2564315" y="3902230"/>
                  </a:cubicBezTo>
                  <a:close/>
                </a:path>
              </a:pathLst>
            </a:custGeom>
            <a:gradFill>
              <a:gsLst>
                <a:gs pos="0">
                  <a:schemeClr val="accent3">
                    <a:alpha val="0"/>
                  </a:schemeClr>
                </a:gs>
                <a:gs pos="93000">
                  <a:schemeClr val="accent1">
                    <a:lumMod val="75000"/>
                    <a:alpha val="17000"/>
                  </a:schemeClr>
                </a:gs>
              </a:gsLst>
              <a:lin ang="10800000" scaled="1"/>
            </a:gradFill>
            <a:ln w="315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1" name="Freeform: Shape 1160">
              <a:extLst>
                <a:ext uri="{FF2B5EF4-FFF2-40B4-BE49-F238E27FC236}">
                  <a16:creationId xmlns:a16="http://schemas.microsoft.com/office/drawing/2014/main" id="{86A9387A-2498-4DAB-8325-F95C0784F33B}"/>
                </a:ext>
                <a:ext uri="{C183D7F6-B498-43B3-948B-1728B52AA6E4}">
                  <adec:decorative xmlns:adec="http://schemas.microsoft.com/office/drawing/2017/decorative" val="1"/>
                </a:ext>
              </a:extLst>
            </p:cNvPr>
            <p:cNvSpPr/>
            <p:nvPr/>
          </p:nvSpPr>
          <p:spPr>
            <a:xfrm>
              <a:off x="8930686" y="1582126"/>
              <a:ext cx="2957919" cy="5314092"/>
            </a:xfrm>
            <a:custGeom>
              <a:avLst/>
              <a:gdLst>
                <a:gd name="connsiteX0" fmla="*/ 3030947 w 4016827"/>
                <a:gd name="connsiteY0" fmla="*/ 7203063 h 7216489"/>
                <a:gd name="connsiteX1" fmla="*/ 3037660 w 4016827"/>
                <a:gd name="connsiteY1" fmla="*/ 7209776 h 7216489"/>
                <a:gd name="connsiteX2" fmla="*/ 3030947 w 4016827"/>
                <a:gd name="connsiteY2" fmla="*/ 7216489 h 7216489"/>
                <a:gd name="connsiteX3" fmla="*/ 3024234 w 4016827"/>
                <a:gd name="connsiteY3" fmla="*/ 7209776 h 7216489"/>
                <a:gd name="connsiteX4" fmla="*/ 3030947 w 4016827"/>
                <a:gd name="connsiteY4" fmla="*/ 7203063 h 7216489"/>
                <a:gd name="connsiteX5" fmla="*/ 3873436 w 4016827"/>
                <a:gd name="connsiteY5" fmla="*/ 7149359 h 7216489"/>
                <a:gd name="connsiteX6" fmla="*/ 3893574 w 4016827"/>
                <a:gd name="connsiteY6" fmla="*/ 7169498 h 7216489"/>
                <a:gd name="connsiteX7" fmla="*/ 3873436 w 4016827"/>
                <a:gd name="connsiteY7" fmla="*/ 7189637 h 7216489"/>
                <a:gd name="connsiteX8" fmla="*/ 3853295 w 4016827"/>
                <a:gd name="connsiteY8" fmla="*/ 7169498 h 7216489"/>
                <a:gd name="connsiteX9" fmla="*/ 3873436 w 4016827"/>
                <a:gd name="connsiteY9" fmla="*/ 7149359 h 7216489"/>
                <a:gd name="connsiteX10" fmla="*/ 2839624 w 4016827"/>
                <a:gd name="connsiteY10" fmla="*/ 7142646 h 7216489"/>
                <a:gd name="connsiteX11" fmla="*/ 2839624 w 4016827"/>
                <a:gd name="connsiteY11" fmla="*/ 7146002 h 7216489"/>
                <a:gd name="connsiteX12" fmla="*/ 2839624 w 4016827"/>
                <a:gd name="connsiteY12" fmla="*/ 7142646 h 7216489"/>
                <a:gd name="connsiteX13" fmla="*/ 3675402 w 4016827"/>
                <a:gd name="connsiteY13" fmla="*/ 7109080 h 7216489"/>
                <a:gd name="connsiteX14" fmla="*/ 3702254 w 4016827"/>
                <a:gd name="connsiteY14" fmla="*/ 7135933 h 7216489"/>
                <a:gd name="connsiteX15" fmla="*/ 3675402 w 4016827"/>
                <a:gd name="connsiteY15" fmla="*/ 7162785 h 7216489"/>
                <a:gd name="connsiteX16" fmla="*/ 3648550 w 4016827"/>
                <a:gd name="connsiteY16" fmla="*/ 7135933 h 7216489"/>
                <a:gd name="connsiteX17" fmla="*/ 3675402 w 4016827"/>
                <a:gd name="connsiteY17" fmla="*/ 7109080 h 7216489"/>
                <a:gd name="connsiteX18" fmla="*/ 3474010 w 4016827"/>
                <a:gd name="connsiteY18" fmla="*/ 7055376 h 7216489"/>
                <a:gd name="connsiteX19" fmla="*/ 3510931 w 4016827"/>
                <a:gd name="connsiteY19" fmla="*/ 7092298 h 7216489"/>
                <a:gd name="connsiteX20" fmla="*/ 3474010 w 4016827"/>
                <a:gd name="connsiteY20" fmla="*/ 7129220 h 7216489"/>
                <a:gd name="connsiteX21" fmla="*/ 3437087 w 4016827"/>
                <a:gd name="connsiteY21" fmla="*/ 7092298 h 7216489"/>
                <a:gd name="connsiteX22" fmla="*/ 3474010 w 4016827"/>
                <a:gd name="connsiteY22" fmla="*/ 7055376 h 7216489"/>
                <a:gd name="connsiteX23" fmla="*/ 3279328 w 4016827"/>
                <a:gd name="connsiteY23" fmla="*/ 7021810 h 7216489"/>
                <a:gd name="connsiteX24" fmla="*/ 3302826 w 4016827"/>
                <a:gd name="connsiteY24" fmla="*/ 7045306 h 7216489"/>
                <a:gd name="connsiteX25" fmla="*/ 3279328 w 4016827"/>
                <a:gd name="connsiteY25" fmla="*/ 7068802 h 7216489"/>
                <a:gd name="connsiteX26" fmla="*/ 3255834 w 4016827"/>
                <a:gd name="connsiteY26" fmla="*/ 7045306 h 7216489"/>
                <a:gd name="connsiteX27" fmla="*/ 3279328 w 4016827"/>
                <a:gd name="connsiteY27" fmla="*/ 7021810 h 7216489"/>
                <a:gd name="connsiteX28" fmla="*/ 2463694 w 4016827"/>
                <a:gd name="connsiteY28" fmla="*/ 6984888 h 7216489"/>
                <a:gd name="connsiteX29" fmla="*/ 2470406 w 4016827"/>
                <a:gd name="connsiteY29" fmla="*/ 6991602 h 7216489"/>
                <a:gd name="connsiteX30" fmla="*/ 2463694 w 4016827"/>
                <a:gd name="connsiteY30" fmla="*/ 6998315 h 7216489"/>
                <a:gd name="connsiteX31" fmla="*/ 2456980 w 4016827"/>
                <a:gd name="connsiteY31" fmla="*/ 6991602 h 7216489"/>
                <a:gd name="connsiteX32" fmla="*/ 2463694 w 4016827"/>
                <a:gd name="connsiteY32" fmla="*/ 6984888 h 7216489"/>
                <a:gd name="connsiteX33" fmla="*/ 3081295 w 4016827"/>
                <a:gd name="connsiteY33" fmla="*/ 6911045 h 7216489"/>
                <a:gd name="connsiteX34" fmla="*/ 3158496 w 4016827"/>
                <a:gd name="connsiteY34" fmla="*/ 6988245 h 7216489"/>
                <a:gd name="connsiteX35" fmla="*/ 3081295 w 4016827"/>
                <a:gd name="connsiteY35" fmla="*/ 7065445 h 7216489"/>
                <a:gd name="connsiteX36" fmla="*/ 3004095 w 4016827"/>
                <a:gd name="connsiteY36" fmla="*/ 6988245 h 7216489"/>
                <a:gd name="connsiteX37" fmla="*/ 3081295 w 4016827"/>
                <a:gd name="connsiteY37" fmla="*/ 6911045 h 7216489"/>
                <a:gd name="connsiteX38" fmla="*/ 2279084 w 4016827"/>
                <a:gd name="connsiteY38" fmla="*/ 6897619 h 7216489"/>
                <a:gd name="connsiteX39" fmla="*/ 2285797 w 4016827"/>
                <a:gd name="connsiteY39" fmla="*/ 6904332 h 7216489"/>
                <a:gd name="connsiteX40" fmla="*/ 2279084 w 4016827"/>
                <a:gd name="connsiteY40" fmla="*/ 6911045 h 7216489"/>
                <a:gd name="connsiteX41" fmla="*/ 2272371 w 4016827"/>
                <a:gd name="connsiteY41" fmla="*/ 6904332 h 7216489"/>
                <a:gd name="connsiteX42" fmla="*/ 2279084 w 4016827"/>
                <a:gd name="connsiteY42" fmla="*/ 6897619 h 7216489"/>
                <a:gd name="connsiteX43" fmla="*/ 3923784 w 4016827"/>
                <a:gd name="connsiteY43" fmla="*/ 6877479 h 7216489"/>
                <a:gd name="connsiteX44" fmla="*/ 3994272 w 4016827"/>
                <a:gd name="connsiteY44" fmla="*/ 6947967 h 7216489"/>
                <a:gd name="connsiteX45" fmla="*/ 3923784 w 4016827"/>
                <a:gd name="connsiteY45" fmla="*/ 7018454 h 7216489"/>
                <a:gd name="connsiteX46" fmla="*/ 3853295 w 4016827"/>
                <a:gd name="connsiteY46" fmla="*/ 6947967 h 7216489"/>
                <a:gd name="connsiteX47" fmla="*/ 3923784 w 4016827"/>
                <a:gd name="connsiteY47" fmla="*/ 6877479 h 7216489"/>
                <a:gd name="connsiteX48" fmla="*/ 2889972 w 4016827"/>
                <a:gd name="connsiteY48" fmla="*/ 6860697 h 7216489"/>
                <a:gd name="connsiteX49" fmla="*/ 2950390 w 4016827"/>
                <a:gd name="connsiteY49" fmla="*/ 6921114 h 7216489"/>
                <a:gd name="connsiteX50" fmla="*/ 2889972 w 4016827"/>
                <a:gd name="connsiteY50" fmla="*/ 6981532 h 7216489"/>
                <a:gd name="connsiteX51" fmla="*/ 2829555 w 4016827"/>
                <a:gd name="connsiteY51" fmla="*/ 6921114 h 7216489"/>
                <a:gd name="connsiteX52" fmla="*/ 2889972 w 4016827"/>
                <a:gd name="connsiteY52" fmla="*/ 6860697 h 7216489"/>
                <a:gd name="connsiteX53" fmla="*/ 3725749 w 4016827"/>
                <a:gd name="connsiteY53" fmla="*/ 6840557 h 7216489"/>
                <a:gd name="connsiteX54" fmla="*/ 3796237 w 4016827"/>
                <a:gd name="connsiteY54" fmla="*/ 6911045 h 7216489"/>
                <a:gd name="connsiteX55" fmla="*/ 3725749 w 4016827"/>
                <a:gd name="connsiteY55" fmla="*/ 6981532 h 7216489"/>
                <a:gd name="connsiteX56" fmla="*/ 3655261 w 4016827"/>
                <a:gd name="connsiteY56" fmla="*/ 6911045 h 7216489"/>
                <a:gd name="connsiteX57" fmla="*/ 3725749 w 4016827"/>
                <a:gd name="connsiteY57" fmla="*/ 6840557 h 7216489"/>
                <a:gd name="connsiteX58" fmla="*/ 2702006 w 4016827"/>
                <a:gd name="connsiteY58" fmla="*/ 6817062 h 7216489"/>
                <a:gd name="connsiteX59" fmla="*/ 2732215 w 4016827"/>
                <a:gd name="connsiteY59" fmla="*/ 6847271 h 7216489"/>
                <a:gd name="connsiteX60" fmla="*/ 2702006 w 4016827"/>
                <a:gd name="connsiteY60" fmla="*/ 6877479 h 7216489"/>
                <a:gd name="connsiteX61" fmla="*/ 2671798 w 4016827"/>
                <a:gd name="connsiteY61" fmla="*/ 6847271 h 7216489"/>
                <a:gd name="connsiteX62" fmla="*/ 2702006 w 4016827"/>
                <a:gd name="connsiteY62" fmla="*/ 6817062 h 7216489"/>
                <a:gd name="connsiteX63" fmla="*/ 3524357 w 4016827"/>
                <a:gd name="connsiteY63" fmla="*/ 6793566 h 7216489"/>
                <a:gd name="connsiteX64" fmla="*/ 3601556 w 4016827"/>
                <a:gd name="connsiteY64" fmla="*/ 6870766 h 7216489"/>
                <a:gd name="connsiteX65" fmla="*/ 3524357 w 4016827"/>
                <a:gd name="connsiteY65" fmla="*/ 6947967 h 7216489"/>
                <a:gd name="connsiteX66" fmla="*/ 3447158 w 4016827"/>
                <a:gd name="connsiteY66" fmla="*/ 6870766 h 7216489"/>
                <a:gd name="connsiteX67" fmla="*/ 3524357 w 4016827"/>
                <a:gd name="connsiteY67" fmla="*/ 6793566 h 7216489"/>
                <a:gd name="connsiteX68" fmla="*/ 3329678 w 4016827"/>
                <a:gd name="connsiteY68" fmla="*/ 6743218 h 7216489"/>
                <a:gd name="connsiteX69" fmla="*/ 3406879 w 4016827"/>
                <a:gd name="connsiteY69" fmla="*/ 6820418 h 7216489"/>
                <a:gd name="connsiteX70" fmla="*/ 3329678 w 4016827"/>
                <a:gd name="connsiteY70" fmla="*/ 6897619 h 7216489"/>
                <a:gd name="connsiteX71" fmla="*/ 3252476 w 4016827"/>
                <a:gd name="connsiteY71" fmla="*/ 6820418 h 7216489"/>
                <a:gd name="connsiteX72" fmla="*/ 3329678 w 4016827"/>
                <a:gd name="connsiteY72" fmla="*/ 6743218 h 7216489"/>
                <a:gd name="connsiteX73" fmla="*/ 1919936 w 4016827"/>
                <a:gd name="connsiteY73" fmla="*/ 6709653 h 7216489"/>
                <a:gd name="connsiteX74" fmla="*/ 1923292 w 4016827"/>
                <a:gd name="connsiteY74" fmla="*/ 6713009 h 7216489"/>
                <a:gd name="connsiteX75" fmla="*/ 1919936 w 4016827"/>
                <a:gd name="connsiteY75" fmla="*/ 6716366 h 7216489"/>
                <a:gd name="connsiteX76" fmla="*/ 1916579 w 4016827"/>
                <a:gd name="connsiteY76" fmla="*/ 6713009 h 7216489"/>
                <a:gd name="connsiteX77" fmla="*/ 1919936 w 4016827"/>
                <a:gd name="connsiteY77" fmla="*/ 6709653 h 7216489"/>
                <a:gd name="connsiteX78" fmla="*/ 3131643 w 4016827"/>
                <a:gd name="connsiteY78" fmla="*/ 6696226 h 7216489"/>
                <a:gd name="connsiteX79" fmla="*/ 3202129 w 4016827"/>
                <a:gd name="connsiteY79" fmla="*/ 6766714 h 7216489"/>
                <a:gd name="connsiteX80" fmla="*/ 3131643 w 4016827"/>
                <a:gd name="connsiteY80" fmla="*/ 6837201 h 7216489"/>
                <a:gd name="connsiteX81" fmla="*/ 3061156 w 4016827"/>
                <a:gd name="connsiteY81" fmla="*/ 6766714 h 7216489"/>
                <a:gd name="connsiteX82" fmla="*/ 3131643 w 4016827"/>
                <a:gd name="connsiteY82" fmla="*/ 6696226 h 7216489"/>
                <a:gd name="connsiteX83" fmla="*/ 2514042 w 4016827"/>
                <a:gd name="connsiteY83" fmla="*/ 6686157 h 7216489"/>
                <a:gd name="connsiteX84" fmla="*/ 2594598 w 4016827"/>
                <a:gd name="connsiteY84" fmla="*/ 6766714 h 7216489"/>
                <a:gd name="connsiteX85" fmla="*/ 2514042 w 4016827"/>
                <a:gd name="connsiteY85" fmla="*/ 6847271 h 7216489"/>
                <a:gd name="connsiteX86" fmla="*/ 2433484 w 4016827"/>
                <a:gd name="connsiteY86" fmla="*/ 6766714 h 7216489"/>
                <a:gd name="connsiteX87" fmla="*/ 2514042 w 4016827"/>
                <a:gd name="connsiteY87" fmla="*/ 6686157 h 7216489"/>
                <a:gd name="connsiteX88" fmla="*/ 3974130 w 4016827"/>
                <a:gd name="connsiteY88" fmla="*/ 6662662 h 7216489"/>
                <a:gd name="connsiteX89" fmla="*/ 3997732 w 4016827"/>
                <a:gd name="connsiteY89" fmla="*/ 6667382 h 7216489"/>
                <a:gd name="connsiteX90" fmla="*/ 4016827 w 4016827"/>
                <a:gd name="connsiteY90" fmla="*/ 6680216 h 7216489"/>
                <a:gd name="connsiteX91" fmla="*/ 4016827 w 4016827"/>
                <a:gd name="connsiteY91" fmla="*/ 6765944 h 7216489"/>
                <a:gd name="connsiteX92" fmla="*/ 3997732 w 4016827"/>
                <a:gd name="connsiteY92" fmla="*/ 6778777 h 7216489"/>
                <a:gd name="connsiteX93" fmla="*/ 3974130 w 4016827"/>
                <a:gd name="connsiteY93" fmla="*/ 6783497 h 7216489"/>
                <a:gd name="connsiteX94" fmla="*/ 3913715 w 4016827"/>
                <a:gd name="connsiteY94" fmla="*/ 6723080 h 7216489"/>
                <a:gd name="connsiteX95" fmla="*/ 3974130 w 4016827"/>
                <a:gd name="connsiteY95" fmla="*/ 6662662 h 7216489"/>
                <a:gd name="connsiteX96" fmla="*/ 2940320 w 4016827"/>
                <a:gd name="connsiteY96" fmla="*/ 6629097 h 7216489"/>
                <a:gd name="connsiteX97" fmla="*/ 3010808 w 4016827"/>
                <a:gd name="connsiteY97" fmla="*/ 6699584 h 7216489"/>
                <a:gd name="connsiteX98" fmla="*/ 2940320 w 4016827"/>
                <a:gd name="connsiteY98" fmla="*/ 6770071 h 7216489"/>
                <a:gd name="connsiteX99" fmla="*/ 2869833 w 4016827"/>
                <a:gd name="connsiteY99" fmla="*/ 6699584 h 7216489"/>
                <a:gd name="connsiteX100" fmla="*/ 2940320 w 4016827"/>
                <a:gd name="connsiteY100" fmla="*/ 6629097 h 7216489"/>
                <a:gd name="connsiteX101" fmla="*/ 3776096 w 4016827"/>
                <a:gd name="connsiteY101" fmla="*/ 6619027 h 7216489"/>
                <a:gd name="connsiteX102" fmla="*/ 3849940 w 4016827"/>
                <a:gd name="connsiteY102" fmla="*/ 6692871 h 7216489"/>
                <a:gd name="connsiteX103" fmla="*/ 3776096 w 4016827"/>
                <a:gd name="connsiteY103" fmla="*/ 6766715 h 7216489"/>
                <a:gd name="connsiteX104" fmla="*/ 3702254 w 4016827"/>
                <a:gd name="connsiteY104" fmla="*/ 6692871 h 7216489"/>
                <a:gd name="connsiteX105" fmla="*/ 3776096 w 4016827"/>
                <a:gd name="connsiteY105" fmla="*/ 6619027 h 7216489"/>
                <a:gd name="connsiteX106" fmla="*/ 2329432 w 4016827"/>
                <a:gd name="connsiteY106" fmla="*/ 6612314 h 7216489"/>
                <a:gd name="connsiteX107" fmla="*/ 2396563 w 4016827"/>
                <a:gd name="connsiteY107" fmla="*/ 6679445 h 7216489"/>
                <a:gd name="connsiteX108" fmla="*/ 2329432 w 4016827"/>
                <a:gd name="connsiteY108" fmla="*/ 6746575 h 7216489"/>
                <a:gd name="connsiteX109" fmla="*/ 2262301 w 4016827"/>
                <a:gd name="connsiteY109" fmla="*/ 6679445 h 7216489"/>
                <a:gd name="connsiteX110" fmla="*/ 2329432 w 4016827"/>
                <a:gd name="connsiteY110" fmla="*/ 6612314 h 7216489"/>
                <a:gd name="connsiteX111" fmla="*/ 1747494 w 4016827"/>
                <a:gd name="connsiteY111" fmla="*/ 6604762 h 7216489"/>
                <a:gd name="connsiteX112" fmla="*/ 1748752 w 4016827"/>
                <a:gd name="connsiteY112" fmla="*/ 6605601 h 7216489"/>
                <a:gd name="connsiteX113" fmla="*/ 1748752 w 4016827"/>
                <a:gd name="connsiteY113" fmla="*/ 6608957 h 7216489"/>
                <a:gd name="connsiteX114" fmla="*/ 1747494 w 4016827"/>
                <a:gd name="connsiteY114" fmla="*/ 6604762 h 7216489"/>
                <a:gd name="connsiteX115" fmla="*/ 976750 w 4016827"/>
                <a:gd name="connsiteY115" fmla="*/ 6595531 h 7216489"/>
                <a:gd name="connsiteX116" fmla="*/ 976750 w 4016827"/>
                <a:gd name="connsiteY116" fmla="*/ 6602244 h 7216489"/>
                <a:gd name="connsiteX117" fmla="*/ 976750 w 4016827"/>
                <a:gd name="connsiteY117" fmla="*/ 6595531 h 7216489"/>
                <a:gd name="connsiteX118" fmla="*/ 3574704 w 4016827"/>
                <a:gd name="connsiteY118" fmla="*/ 6568679 h 7216489"/>
                <a:gd name="connsiteX119" fmla="*/ 3658618 w 4016827"/>
                <a:gd name="connsiteY119" fmla="*/ 6652592 h 7216489"/>
                <a:gd name="connsiteX120" fmla="*/ 3574704 w 4016827"/>
                <a:gd name="connsiteY120" fmla="*/ 6736506 h 7216489"/>
                <a:gd name="connsiteX121" fmla="*/ 3490792 w 4016827"/>
                <a:gd name="connsiteY121" fmla="*/ 6652592 h 7216489"/>
                <a:gd name="connsiteX122" fmla="*/ 3574704 w 4016827"/>
                <a:gd name="connsiteY122" fmla="*/ 6568679 h 7216489"/>
                <a:gd name="connsiteX123" fmla="*/ 2151536 w 4016827"/>
                <a:gd name="connsiteY123" fmla="*/ 6558609 h 7216489"/>
                <a:gd name="connsiteX124" fmla="*/ 2171675 w 4016827"/>
                <a:gd name="connsiteY124" fmla="*/ 6582105 h 7216489"/>
                <a:gd name="connsiteX125" fmla="*/ 2151536 w 4016827"/>
                <a:gd name="connsiteY125" fmla="*/ 6605601 h 7216489"/>
                <a:gd name="connsiteX126" fmla="*/ 2128040 w 4016827"/>
                <a:gd name="connsiteY126" fmla="*/ 6582105 h 7216489"/>
                <a:gd name="connsiteX127" fmla="*/ 2151536 w 4016827"/>
                <a:gd name="connsiteY127" fmla="*/ 6558609 h 7216489"/>
                <a:gd name="connsiteX128" fmla="*/ 2752354 w 4016827"/>
                <a:gd name="connsiteY128" fmla="*/ 6548540 h 7216489"/>
                <a:gd name="connsiteX129" fmla="*/ 2829555 w 4016827"/>
                <a:gd name="connsiteY129" fmla="*/ 6625739 h 7216489"/>
                <a:gd name="connsiteX130" fmla="*/ 2752354 w 4016827"/>
                <a:gd name="connsiteY130" fmla="*/ 6702939 h 7216489"/>
                <a:gd name="connsiteX131" fmla="*/ 2675154 w 4016827"/>
                <a:gd name="connsiteY131" fmla="*/ 6625739 h 7216489"/>
                <a:gd name="connsiteX132" fmla="*/ 2752354 w 4016827"/>
                <a:gd name="connsiteY132" fmla="*/ 6548540 h 7216489"/>
                <a:gd name="connsiteX133" fmla="*/ 3380027 w 4016827"/>
                <a:gd name="connsiteY133" fmla="*/ 6521688 h 7216489"/>
                <a:gd name="connsiteX134" fmla="*/ 3460584 w 4016827"/>
                <a:gd name="connsiteY134" fmla="*/ 6602244 h 7216489"/>
                <a:gd name="connsiteX135" fmla="*/ 3380027 w 4016827"/>
                <a:gd name="connsiteY135" fmla="*/ 6682801 h 7216489"/>
                <a:gd name="connsiteX136" fmla="*/ 3299470 w 4016827"/>
                <a:gd name="connsiteY136" fmla="*/ 6602244 h 7216489"/>
                <a:gd name="connsiteX137" fmla="*/ 3380027 w 4016827"/>
                <a:gd name="connsiteY137" fmla="*/ 6521688 h 7216489"/>
                <a:gd name="connsiteX138" fmla="*/ 1578408 w 4016827"/>
                <a:gd name="connsiteY138" fmla="*/ 6490640 h 7216489"/>
                <a:gd name="connsiteX139" fmla="*/ 1580925 w 4016827"/>
                <a:gd name="connsiteY139" fmla="*/ 6491479 h 7216489"/>
                <a:gd name="connsiteX140" fmla="*/ 1580925 w 4016827"/>
                <a:gd name="connsiteY140" fmla="*/ 6494835 h 7216489"/>
                <a:gd name="connsiteX141" fmla="*/ 1578408 w 4016827"/>
                <a:gd name="connsiteY141" fmla="*/ 6490640 h 7216489"/>
                <a:gd name="connsiteX142" fmla="*/ 2567746 w 4016827"/>
                <a:gd name="connsiteY142" fmla="*/ 6467983 h 7216489"/>
                <a:gd name="connsiteX143" fmla="*/ 2641590 w 4016827"/>
                <a:gd name="connsiteY143" fmla="*/ 6541827 h 7216489"/>
                <a:gd name="connsiteX144" fmla="*/ 2567746 w 4016827"/>
                <a:gd name="connsiteY144" fmla="*/ 6615671 h 7216489"/>
                <a:gd name="connsiteX145" fmla="*/ 2493902 w 4016827"/>
                <a:gd name="connsiteY145" fmla="*/ 6541827 h 7216489"/>
                <a:gd name="connsiteX146" fmla="*/ 2567746 w 4016827"/>
                <a:gd name="connsiteY146" fmla="*/ 6467983 h 7216489"/>
                <a:gd name="connsiteX147" fmla="*/ 3185348 w 4016827"/>
                <a:gd name="connsiteY147" fmla="*/ 6464626 h 7216489"/>
                <a:gd name="connsiteX148" fmla="*/ 3265904 w 4016827"/>
                <a:gd name="connsiteY148" fmla="*/ 6545183 h 7216489"/>
                <a:gd name="connsiteX149" fmla="*/ 3185348 w 4016827"/>
                <a:gd name="connsiteY149" fmla="*/ 6625740 h 7216489"/>
                <a:gd name="connsiteX150" fmla="*/ 3104791 w 4016827"/>
                <a:gd name="connsiteY150" fmla="*/ 6545183 h 7216489"/>
                <a:gd name="connsiteX151" fmla="*/ 3185348 w 4016827"/>
                <a:gd name="connsiteY151" fmla="*/ 6464626 h 7216489"/>
                <a:gd name="connsiteX152" fmla="*/ 4016827 w 4016827"/>
                <a:gd name="connsiteY152" fmla="*/ 6446018 h 7216489"/>
                <a:gd name="connsiteX153" fmla="*/ 4016827 w 4016827"/>
                <a:gd name="connsiteY153" fmla="*/ 6563792 h 7216489"/>
                <a:gd name="connsiteX154" fmla="*/ 4000879 w 4016827"/>
                <a:gd name="connsiteY154" fmla="*/ 6560603 h 7216489"/>
                <a:gd name="connsiteX155" fmla="*/ 3964062 w 4016827"/>
                <a:gd name="connsiteY155" fmla="*/ 6504905 h 7216489"/>
                <a:gd name="connsiteX156" fmla="*/ 4000879 w 4016827"/>
                <a:gd name="connsiteY156" fmla="*/ 6449207 h 7216489"/>
                <a:gd name="connsiteX157" fmla="*/ 1976996 w 4016827"/>
                <a:gd name="connsiteY157" fmla="*/ 6441131 h 7216489"/>
                <a:gd name="connsiteX158" fmla="*/ 2017274 w 4016827"/>
                <a:gd name="connsiteY158" fmla="*/ 6481409 h 7216489"/>
                <a:gd name="connsiteX159" fmla="*/ 1976996 w 4016827"/>
                <a:gd name="connsiteY159" fmla="*/ 6521688 h 7216489"/>
                <a:gd name="connsiteX160" fmla="*/ 1936717 w 4016827"/>
                <a:gd name="connsiteY160" fmla="*/ 6481409 h 7216489"/>
                <a:gd name="connsiteX161" fmla="*/ 1976996 w 4016827"/>
                <a:gd name="connsiteY161" fmla="*/ 6441131 h 7216489"/>
                <a:gd name="connsiteX162" fmla="*/ 2990668 w 4016827"/>
                <a:gd name="connsiteY162" fmla="*/ 6410922 h 7216489"/>
                <a:gd name="connsiteX163" fmla="*/ 3057799 w 4016827"/>
                <a:gd name="connsiteY163" fmla="*/ 6478053 h 7216489"/>
                <a:gd name="connsiteX164" fmla="*/ 2990668 w 4016827"/>
                <a:gd name="connsiteY164" fmla="*/ 6545183 h 7216489"/>
                <a:gd name="connsiteX165" fmla="*/ 2923538 w 4016827"/>
                <a:gd name="connsiteY165" fmla="*/ 6478053 h 7216489"/>
                <a:gd name="connsiteX166" fmla="*/ 2990668 w 4016827"/>
                <a:gd name="connsiteY166" fmla="*/ 6410922 h 7216489"/>
                <a:gd name="connsiteX167" fmla="*/ 3826443 w 4016827"/>
                <a:gd name="connsiteY167" fmla="*/ 6400852 h 7216489"/>
                <a:gd name="connsiteX168" fmla="*/ 3900289 w 4016827"/>
                <a:gd name="connsiteY168" fmla="*/ 6474696 h 7216489"/>
                <a:gd name="connsiteX169" fmla="*/ 3826443 w 4016827"/>
                <a:gd name="connsiteY169" fmla="*/ 6548540 h 7216489"/>
                <a:gd name="connsiteX170" fmla="*/ 3752601 w 4016827"/>
                <a:gd name="connsiteY170" fmla="*/ 6474696 h 7216489"/>
                <a:gd name="connsiteX171" fmla="*/ 3826443 w 4016827"/>
                <a:gd name="connsiteY171" fmla="*/ 6400852 h 7216489"/>
                <a:gd name="connsiteX172" fmla="*/ 2383136 w 4016827"/>
                <a:gd name="connsiteY172" fmla="*/ 6380713 h 7216489"/>
                <a:gd name="connsiteX173" fmla="*/ 2456980 w 4016827"/>
                <a:gd name="connsiteY173" fmla="*/ 6454557 h 7216489"/>
                <a:gd name="connsiteX174" fmla="*/ 2383136 w 4016827"/>
                <a:gd name="connsiteY174" fmla="*/ 6528401 h 7216489"/>
                <a:gd name="connsiteX175" fmla="*/ 2309293 w 4016827"/>
                <a:gd name="connsiteY175" fmla="*/ 6454557 h 7216489"/>
                <a:gd name="connsiteX176" fmla="*/ 2383136 w 4016827"/>
                <a:gd name="connsiteY176" fmla="*/ 6380713 h 7216489"/>
                <a:gd name="connsiteX177" fmla="*/ 1415197 w 4016827"/>
                <a:gd name="connsiteY177" fmla="*/ 6369805 h 7216489"/>
                <a:gd name="connsiteX178" fmla="*/ 1416455 w 4016827"/>
                <a:gd name="connsiteY178" fmla="*/ 6370643 h 7216489"/>
                <a:gd name="connsiteX179" fmla="*/ 1416455 w 4016827"/>
                <a:gd name="connsiteY179" fmla="*/ 6374000 h 7216489"/>
                <a:gd name="connsiteX180" fmla="*/ 1415197 w 4016827"/>
                <a:gd name="connsiteY180" fmla="*/ 6369805 h 7216489"/>
                <a:gd name="connsiteX181" fmla="*/ 1805813 w 4016827"/>
                <a:gd name="connsiteY181" fmla="*/ 6360574 h 7216489"/>
                <a:gd name="connsiteX182" fmla="*/ 1815883 w 4016827"/>
                <a:gd name="connsiteY182" fmla="*/ 6370643 h 7216489"/>
                <a:gd name="connsiteX183" fmla="*/ 1805813 w 4016827"/>
                <a:gd name="connsiteY183" fmla="*/ 6380713 h 7216489"/>
                <a:gd name="connsiteX184" fmla="*/ 1795744 w 4016827"/>
                <a:gd name="connsiteY184" fmla="*/ 6370643 h 7216489"/>
                <a:gd name="connsiteX185" fmla="*/ 1805813 w 4016827"/>
                <a:gd name="connsiteY185" fmla="*/ 6360574 h 7216489"/>
                <a:gd name="connsiteX186" fmla="*/ 3625053 w 4016827"/>
                <a:gd name="connsiteY186" fmla="*/ 6357217 h 7216489"/>
                <a:gd name="connsiteX187" fmla="*/ 3698897 w 4016827"/>
                <a:gd name="connsiteY187" fmla="*/ 6431061 h 7216489"/>
                <a:gd name="connsiteX188" fmla="*/ 3625053 w 4016827"/>
                <a:gd name="connsiteY188" fmla="*/ 6504905 h 7216489"/>
                <a:gd name="connsiteX189" fmla="*/ 3551209 w 4016827"/>
                <a:gd name="connsiteY189" fmla="*/ 6431061 h 7216489"/>
                <a:gd name="connsiteX190" fmla="*/ 3625053 w 4016827"/>
                <a:gd name="connsiteY190" fmla="*/ 6357217 h 7216489"/>
                <a:gd name="connsiteX191" fmla="*/ 2802702 w 4016827"/>
                <a:gd name="connsiteY191" fmla="*/ 6323652 h 7216489"/>
                <a:gd name="connsiteX192" fmla="*/ 2879903 w 4016827"/>
                <a:gd name="connsiteY192" fmla="*/ 6400852 h 7216489"/>
                <a:gd name="connsiteX193" fmla="*/ 2802702 w 4016827"/>
                <a:gd name="connsiteY193" fmla="*/ 6478053 h 7216489"/>
                <a:gd name="connsiteX194" fmla="*/ 2725502 w 4016827"/>
                <a:gd name="connsiteY194" fmla="*/ 6400852 h 7216489"/>
                <a:gd name="connsiteX195" fmla="*/ 2802702 w 4016827"/>
                <a:gd name="connsiteY195" fmla="*/ 6323652 h 7216489"/>
                <a:gd name="connsiteX196" fmla="*/ 3430374 w 4016827"/>
                <a:gd name="connsiteY196" fmla="*/ 6306869 h 7216489"/>
                <a:gd name="connsiteX197" fmla="*/ 3507573 w 4016827"/>
                <a:gd name="connsiteY197" fmla="*/ 6384070 h 7216489"/>
                <a:gd name="connsiteX198" fmla="*/ 3430374 w 4016827"/>
                <a:gd name="connsiteY198" fmla="*/ 6461270 h 7216489"/>
                <a:gd name="connsiteX199" fmla="*/ 3353174 w 4016827"/>
                <a:gd name="connsiteY199" fmla="*/ 6384070 h 7216489"/>
                <a:gd name="connsiteX200" fmla="*/ 3430374 w 4016827"/>
                <a:gd name="connsiteY200" fmla="*/ 6306869 h 7216489"/>
                <a:gd name="connsiteX201" fmla="*/ 2205240 w 4016827"/>
                <a:gd name="connsiteY201" fmla="*/ 6276660 h 7216489"/>
                <a:gd name="connsiteX202" fmla="*/ 2282440 w 4016827"/>
                <a:gd name="connsiteY202" fmla="*/ 6353861 h 7216489"/>
                <a:gd name="connsiteX203" fmla="*/ 2205240 w 4016827"/>
                <a:gd name="connsiteY203" fmla="*/ 6431061 h 7216489"/>
                <a:gd name="connsiteX204" fmla="*/ 2128040 w 4016827"/>
                <a:gd name="connsiteY204" fmla="*/ 6353861 h 7216489"/>
                <a:gd name="connsiteX205" fmla="*/ 2205240 w 4016827"/>
                <a:gd name="connsiteY205" fmla="*/ 6276660 h 7216489"/>
                <a:gd name="connsiteX206" fmla="*/ 3235697 w 4016827"/>
                <a:gd name="connsiteY206" fmla="*/ 6253165 h 7216489"/>
                <a:gd name="connsiteX207" fmla="*/ 3306183 w 4016827"/>
                <a:gd name="connsiteY207" fmla="*/ 6323652 h 7216489"/>
                <a:gd name="connsiteX208" fmla="*/ 3235697 w 4016827"/>
                <a:gd name="connsiteY208" fmla="*/ 6394139 h 7216489"/>
                <a:gd name="connsiteX209" fmla="*/ 3165208 w 4016827"/>
                <a:gd name="connsiteY209" fmla="*/ 6323652 h 7216489"/>
                <a:gd name="connsiteX210" fmla="*/ 3235697 w 4016827"/>
                <a:gd name="connsiteY210" fmla="*/ 6253165 h 7216489"/>
                <a:gd name="connsiteX211" fmla="*/ 4016827 w 4016827"/>
                <a:gd name="connsiteY211" fmla="*/ 6248280 h 7216489"/>
                <a:gd name="connsiteX212" fmla="*/ 4016827 w 4016827"/>
                <a:gd name="connsiteY212" fmla="*/ 6308840 h 7216489"/>
                <a:gd name="connsiteX213" fmla="*/ 4014883 w 4016827"/>
                <a:gd name="connsiteY213" fmla="*/ 6306082 h 7216489"/>
                <a:gd name="connsiteX214" fmla="*/ 4007698 w 4016827"/>
                <a:gd name="connsiteY214" fmla="*/ 6280017 h 7216489"/>
                <a:gd name="connsiteX215" fmla="*/ 4012995 w 4016827"/>
                <a:gd name="connsiteY215" fmla="*/ 6253951 h 7216489"/>
                <a:gd name="connsiteX216" fmla="*/ 2618094 w 4016827"/>
                <a:gd name="connsiteY216" fmla="*/ 6243095 h 7216489"/>
                <a:gd name="connsiteX217" fmla="*/ 2691938 w 4016827"/>
                <a:gd name="connsiteY217" fmla="*/ 6316939 h 7216489"/>
                <a:gd name="connsiteX218" fmla="*/ 2618094 w 4016827"/>
                <a:gd name="connsiteY218" fmla="*/ 6390783 h 7216489"/>
                <a:gd name="connsiteX219" fmla="*/ 2544250 w 4016827"/>
                <a:gd name="connsiteY219" fmla="*/ 6316939 h 7216489"/>
                <a:gd name="connsiteX220" fmla="*/ 2618094 w 4016827"/>
                <a:gd name="connsiteY220" fmla="*/ 6243095 h 7216489"/>
                <a:gd name="connsiteX221" fmla="*/ 1258699 w 4016827"/>
                <a:gd name="connsiteY221" fmla="*/ 6243095 h 7216489"/>
                <a:gd name="connsiteX222" fmla="*/ 1262056 w 4016827"/>
                <a:gd name="connsiteY222" fmla="*/ 6246452 h 7216489"/>
                <a:gd name="connsiteX223" fmla="*/ 1258699 w 4016827"/>
                <a:gd name="connsiteY223" fmla="*/ 6249808 h 7216489"/>
                <a:gd name="connsiteX224" fmla="*/ 1255342 w 4016827"/>
                <a:gd name="connsiteY224" fmla="*/ 6246452 h 7216489"/>
                <a:gd name="connsiteX225" fmla="*/ 1258699 w 4016827"/>
                <a:gd name="connsiteY225" fmla="*/ 6243095 h 7216489"/>
                <a:gd name="connsiteX226" fmla="*/ 3876792 w 4016827"/>
                <a:gd name="connsiteY226" fmla="*/ 6189390 h 7216489"/>
                <a:gd name="connsiteX227" fmla="*/ 3940567 w 4016827"/>
                <a:gd name="connsiteY227" fmla="*/ 6253165 h 7216489"/>
                <a:gd name="connsiteX228" fmla="*/ 3876792 w 4016827"/>
                <a:gd name="connsiteY228" fmla="*/ 6316939 h 7216489"/>
                <a:gd name="connsiteX229" fmla="*/ 3813017 w 4016827"/>
                <a:gd name="connsiteY229" fmla="*/ 6253165 h 7216489"/>
                <a:gd name="connsiteX230" fmla="*/ 3876792 w 4016827"/>
                <a:gd name="connsiteY230" fmla="*/ 6189390 h 7216489"/>
                <a:gd name="connsiteX231" fmla="*/ 1637986 w 4016827"/>
                <a:gd name="connsiteY231" fmla="*/ 6182677 h 7216489"/>
                <a:gd name="connsiteX232" fmla="*/ 1708474 w 4016827"/>
                <a:gd name="connsiteY232" fmla="*/ 6253165 h 7216489"/>
                <a:gd name="connsiteX233" fmla="*/ 1637986 w 4016827"/>
                <a:gd name="connsiteY233" fmla="*/ 6323652 h 7216489"/>
                <a:gd name="connsiteX234" fmla="*/ 1567499 w 4016827"/>
                <a:gd name="connsiteY234" fmla="*/ 6253165 h 7216489"/>
                <a:gd name="connsiteX235" fmla="*/ 1637986 w 4016827"/>
                <a:gd name="connsiteY235" fmla="*/ 6182677 h 7216489"/>
                <a:gd name="connsiteX236" fmla="*/ 3044373 w 4016827"/>
                <a:gd name="connsiteY236" fmla="*/ 6179322 h 7216489"/>
                <a:gd name="connsiteX237" fmla="*/ 3118217 w 4016827"/>
                <a:gd name="connsiteY237" fmla="*/ 6253166 h 7216489"/>
                <a:gd name="connsiteX238" fmla="*/ 3044373 w 4016827"/>
                <a:gd name="connsiteY238" fmla="*/ 6327009 h 7216489"/>
                <a:gd name="connsiteX239" fmla="*/ 2970529 w 4016827"/>
                <a:gd name="connsiteY239" fmla="*/ 6253166 h 7216489"/>
                <a:gd name="connsiteX240" fmla="*/ 3044373 w 4016827"/>
                <a:gd name="connsiteY240" fmla="*/ 6179322 h 7216489"/>
                <a:gd name="connsiteX241" fmla="*/ 2030700 w 4016827"/>
                <a:gd name="connsiteY241" fmla="*/ 6172608 h 7216489"/>
                <a:gd name="connsiteX242" fmla="*/ 2107900 w 4016827"/>
                <a:gd name="connsiteY242" fmla="*/ 6249808 h 7216489"/>
                <a:gd name="connsiteX243" fmla="*/ 2030700 w 4016827"/>
                <a:gd name="connsiteY243" fmla="*/ 6327008 h 7216489"/>
                <a:gd name="connsiteX244" fmla="*/ 1953500 w 4016827"/>
                <a:gd name="connsiteY244" fmla="*/ 6249808 h 7216489"/>
                <a:gd name="connsiteX245" fmla="*/ 2030700 w 4016827"/>
                <a:gd name="connsiteY245" fmla="*/ 6172608 h 7216489"/>
                <a:gd name="connsiteX246" fmla="*/ 2436841 w 4016827"/>
                <a:gd name="connsiteY246" fmla="*/ 6155825 h 7216489"/>
                <a:gd name="connsiteX247" fmla="*/ 2503972 w 4016827"/>
                <a:gd name="connsiteY247" fmla="*/ 6222956 h 7216489"/>
                <a:gd name="connsiteX248" fmla="*/ 2436841 w 4016827"/>
                <a:gd name="connsiteY248" fmla="*/ 6290087 h 7216489"/>
                <a:gd name="connsiteX249" fmla="*/ 2369710 w 4016827"/>
                <a:gd name="connsiteY249" fmla="*/ 6222956 h 7216489"/>
                <a:gd name="connsiteX250" fmla="*/ 2436841 w 4016827"/>
                <a:gd name="connsiteY250" fmla="*/ 6155825 h 7216489"/>
                <a:gd name="connsiteX251" fmla="*/ 3675402 w 4016827"/>
                <a:gd name="connsiteY251" fmla="*/ 6139042 h 7216489"/>
                <a:gd name="connsiteX252" fmla="*/ 3745888 w 4016827"/>
                <a:gd name="connsiteY252" fmla="*/ 6209530 h 7216489"/>
                <a:gd name="connsiteX253" fmla="*/ 3675402 w 4016827"/>
                <a:gd name="connsiteY253" fmla="*/ 6280017 h 7216489"/>
                <a:gd name="connsiteX254" fmla="*/ 3604914 w 4016827"/>
                <a:gd name="connsiteY254" fmla="*/ 6209530 h 7216489"/>
                <a:gd name="connsiteX255" fmla="*/ 3675402 w 4016827"/>
                <a:gd name="connsiteY255" fmla="*/ 6139042 h 7216489"/>
                <a:gd name="connsiteX256" fmla="*/ 2856407 w 4016827"/>
                <a:gd name="connsiteY256" fmla="*/ 6102122 h 7216489"/>
                <a:gd name="connsiteX257" fmla="*/ 2930251 w 4016827"/>
                <a:gd name="connsiteY257" fmla="*/ 6175965 h 7216489"/>
                <a:gd name="connsiteX258" fmla="*/ 2856407 w 4016827"/>
                <a:gd name="connsiteY258" fmla="*/ 6249809 h 7216489"/>
                <a:gd name="connsiteX259" fmla="*/ 2782564 w 4016827"/>
                <a:gd name="connsiteY259" fmla="*/ 6175965 h 7216489"/>
                <a:gd name="connsiteX260" fmla="*/ 2856407 w 4016827"/>
                <a:gd name="connsiteY260" fmla="*/ 6102122 h 7216489"/>
                <a:gd name="connsiteX261" fmla="*/ 1476873 w 4016827"/>
                <a:gd name="connsiteY261" fmla="*/ 6092052 h 7216489"/>
                <a:gd name="connsiteX262" fmla="*/ 1517151 w 4016827"/>
                <a:gd name="connsiteY262" fmla="*/ 6132330 h 7216489"/>
                <a:gd name="connsiteX263" fmla="*/ 1476873 w 4016827"/>
                <a:gd name="connsiteY263" fmla="*/ 6172609 h 7216489"/>
                <a:gd name="connsiteX264" fmla="*/ 1436594 w 4016827"/>
                <a:gd name="connsiteY264" fmla="*/ 6132330 h 7216489"/>
                <a:gd name="connsiteX265" fmla="*/ 1476873 w 4016827"/>
                <a:gd name="connsiteY265" fmla="*/ 6092052 h 7216489"/>
                <a:gd name="connsiteX266" fmla="*/ 3480721 w 4016827"/>
                <a:gd name="connsiteY266" fmla="*/ 6088694 h 7216489"/>
                <a:gd name="connsiteX267" fmla="*/ 3551209 w 4016827"/>
                <a:gd name="connsiteY267" fmla="*/ 6159182 h 7216489"/>
                <a:gd name="connsiteX268" fmla="*/ 3480721 w 4016827"/>
                <a:gd name="connsiteY268" fmla="*/ 6229669 h 7216489"/>
                <a:gd name="connsiteX269" fmla="*/ 3410234 w 4016827"/>
                <a:gd name="connsiteY269" fmla="*/ 6159182 h 7216489"/>
                <a:gd name="connsiteX270" fmla="*/ 3480721 w 4016827"/>
                <a:gd name="connsiteY270" fmla="*/ 6088694 h 7216489"/>
                <a:gd name="connsiteX271" fmla="*/ 1862874 w 4016827"/>
                <a:gd name="connsiteY271" fmla="*/ 6061843 h 7216489"/>
                <a:gd name="connsiteX272" fmla="*/ 1940075 w 4016827"/>
                <a:gd name="connsiteY272" fmla="*/ 6139042 h 7216489"/>
                <a:gd name="connsiteX273" fmla="*/ 1862874 w 4016827"/>
                <a:gd name="connsiteY273" fmla="*/ 6216243 h 7216489"/>
                <a:gd name="connsiteX274" fmla="*/ 1785674 w 4016827"/>
                <a:gd name="connsiteY274" fmla="*/ 6139042 h 7216489"/>
                <a:gd name="connsiteX275" fmla="*/ 1862874 w 4016827"/>
                <a:gd name="connsiteY275" fmla="*/ 6061843 h 7216489"/>
                <a:gd name="connsiteX276" fmla="*/ 2262301 w 4016827"/>
                <a:gd name="connsiteY276" fmla="*/ 6055129 h 7216489"/>
                <a:gd name="connsiteX277" fmla="*/ 2329432 w 4016827"/>
                <a:gd name="connsiteY277" fmla="*/ 6122260 h 7216489"/>
                <a:gd name="connsiteX278" fmla="*/ 2262301 w 4016827"/>
                <a:gd name="connsiteY278" fmla="*/ 6189390 h 7216489"/>
                <a:gd name="connsiteX279" fmla="*/ 2195170 w 4016827"/>
                <a:gd name="connsiteY279" fmla="*/ 6122260 h 7216489"/>
                <a:gd name="connsiteX280" fmla="*/ 2262301 w 4016827"/>
                <a:gd name="connsiteY280" fmla="*/ 6055129 h 7216489"/>
                <a:gd name="connsiteX281" fmla="*/ 3286044 w 4016827"/>
                <a:gd name="connsiteY281" fmla="*/ 6031634 h 7216489"/>
                <a:gd name="connsiteX282" fmla="*/ 3356532 w 4016827"/>
                <a:gd name="connsiteY282" fmla="*/ 6102122 h 7216489"/>
                <a:gd name="connsiteX283" fmla="*/ 3286044 w 4016827"/>
                <a:gd name="connsiteY283" fmla="*/ 6172609 h 7216489"/>
                <a:gd name="connsiteX284" fmla="*/ 3215556 w 4016827"/>
                <a:gd name="connsiteY284" fmla="*/ 6102122 h 7216489"/>
                <a:gd name="connsiteX285" fmla="*/ 3286044 w 4016827"/>
                <a:gd name="connsiteY285" fmla="*/ 6031634 h 7216489"/>
                <a:gd name="connsiteX286" fmla="*/ 2671798 w 4016827"/>
                <a:gd name="connsiteY286" fmla="*/ 6014852 h 7216489"/>
                <a:gd name="connsiteX287" fmla="*/ 2745642 w 4016827"/>
                <a:gd name="connsiteY287" fmla="*/ 6088695 h 7216489"/>
                <a:gd name="connsiteX288" fmla="*/ 2671798 w 4016827"/>
                <a:gd name="connsiteY288" fmla="*/ 6162539 h 7216489"/>
                <a:gd name="connsiteX289" fmla="*/ 2597954 w 4016827"/>
                <a:gd name="connsiteY289" fmla="*/ 6088695 h 7216489"/>
                <a:gd name="connsiteX290" fmla="*/ 2671798 w 4016827"/>
                <a:gd name="connsiteY290" fmla="*/ 6014852 h 7216489"/>
                <a:gd name="connsiteX291" fmla="*/ 3927141 w 4016827"/>
                <a:gd name="connsiteY291" fmla="*/ 5971217 h 7216489"/>
                <a:gd name="connsiteX292" fmla="*/ 3984201 w 4016827"/>
                <a:gd name="connsiteY292" fmla="*/ 6028278 h 7216489"/>
                <a:gd name="connsiteX293" fmla="*/ 3927141 w 4016827"/>
                <a:gd name="connsiteY293" fmla="*/ 6085339 h 7216489"/>
                <a:gd name="connsiteX294" fmla="*/ 3870079 w 4016827"/>
                <a:gd name="connsiteY294" fmla="*/ 6028278 h 7216489"/>
                <a:gd name="connsiteX295" fmla="*/ 3927141 w 4016827"/>
                <a:gd name="connsiteY295" fmla="*/ 5971217 h 7216489"/>
                <a:gd name="connsiteX296" fmla="*/ 3094721 w 4016827"/>
                <a:gd name="connsiteY296" fmla="*/ 5961147 h 7216489"/>
                <a:gd name="connsiteX297" fmla="*/ 3165208 w 4016827"/>
                <a:gd name="connsiteY297" fmla="*/ 6031634 h 7216489"/>
                <a:gd name="connsiteX298" fmla="*/ 3094721 w 4016827"/>
                <a:gd name="connsiteY298" fmla="*/ 6102122 h 7216489"/>
                <a:gd name="connsiteX299" fmla="*/ 3024234 w 4016827"/>
                <a:gd name="connsiteY299" fmla="*/ 6031634 h 7216489"/>
                <a:gd name="connsiteX300" fmla="*/ 3094721 w 4016827"/>
                <a:gd name="connsiteY300" fmla="*/ 5961147 h 7216489"/>
                <a:gd name="connsiteX301" fmla="*/ 1322473 w 4016827"/>
                <a:gd name="connsiteY301" fmla="*/ 5954434 h 7216489"/>
                <a:gd name="connsiteX302" fmla="*/ 1369465 w 4016827"/>
                <a:gd name="connsiteY302" fmla="*/ 6001425 h 7216489"/>
                <a:gd name="connsiteX303" fmla="*/ 1322473 w 4016827"/>
                <a:gd name="connsiteY303" fmla="*/ 6048417 h 7216489"/>
                <a:gd name="connsiteX304" fmla="*/ 1275482 w 4016827"/>
                <a:gd name="connsiteY304" fmla="*/ 6001425 h 7216489"/>
                <a:gd name="connsiteX305" fmla="*/ 1322473 w 4016827"/>
                <a:gd name="connsiteY305" fmla="*/ 5954434 h 7216489"/>
                <a:gd name="connsiteX306" fmla="*/ 2087761 w 4016827"/>
                <a:gd name="connsiteY306" fmla="*/ 5947721 h 7216489"/>
                <a:gd name="connsiteX307" fmla="*/ 2158248 w 4016827"/>
                <a:gd name="connsiteY307" fmla="*/ 6018208 h 7216489"/>
                <a:gd name="connsiteX308" fmla="*/ 2087761 w 4016827"/>
                <a:gd name="connsiteY308" fmla="*/ 6088695 h 7216489"/>
                <a:gd name="connsiteX309" fmla="*/ 2017274 w 4016827"/>
                <a:gd name="connsiteY309" fmla="*/ 6018208 h 7216489"/>
                <a:gd name="connsiteX310" fmla="*/ 2087761 w 4016827"/>
                <a:gd name="connsiteY310" fmla="*/ 5947721 h 7216489"/>
                <a:gd name="connsiteX311" fmla="*/ 1698404 w 4016827"/>
                <a:gd name="connsiteY311" fmla="*/ 5934295 h 7216489"/>
                <a:gd name="connsiteX312" fmla="*/ 1778961 w 4016827"/>
                <a:gd name="connsiteY312" fmla="*/ 6014852 h 7216489"/>
                <a:gd name="connsiteX313" fmla="*/ 1698404 w 4016827"/>
                <a:gd name="connsiteY313" fmla="*/ 6095408 h 7216489"/>
                <a:gd name="connsiteX314" fmla="*/ 1617847 w 4016827"/>
                <a:gd name="connsiteY314" fmla="*/ 6014852 h 7216489"/>
                <a:gd name="connsiteX315" fmla="*/ 1698404 w 4016827"/>
                <a:gd name="connsiteY315" fmla="*/ 5934295 h 7216489"/>
                <a:gd name="connsiteX316" fmla="*/ 3725749 w 4016827"/>
                <a:gd name="connsiteY316" fmla="*/ 5924225 h 7216489"/>
                <a:gd name="connsiteX317" fmla="*/ 3789522 w 4016827"/>
                <a:gd name="connsiteY317" fmla="*/ 5987999 h 7216489"/>
                <a:gd name="connsiteX318" fmla="*/ 3725749 w 4016827"/>
                <a:gd name="connsiteY318" fmla="*/ 6051774 h 7216489"/>
                <a:gd name="connsiteX319" fmla="*/ 3661976 w 4016827"/>
                <a:gd name="connsiteY319" fmla="*/ 5987999 h 7216489"/>
                <a:gd name="connsiteX320" fmla="*/ 3725749 w 4016827"/>
                <a:gd name="connsiteY320" fmla="*/ 5924225 h 7216489"/>
                <a:gd name="connsiteX321" fmla="*/ 2490546 w 4016827"/>
                <a:gd name="connsiteY321" fmla="*/ 5920869 h 7216489"/>
                <a:gd name="connsiteX322" fmla="*/ 2564390 w 4016827"/>
                <a:gd name="connsiteY322" fmla="*/ 5994712 h 7216489"/>
                <a:gd name="connsiteX323" fmla="*/ 2490546 w 4016827"/>
                <a:gd name="connsiteY323" fmla="*/ 6068556 h 7216489"/>
                <a:gd name="connsiteX324" fmla="*/ 2416702 w 4016827"/>
                <a:gd name="connsiteY324" fmla="*/ 5994712 h 7216489"/>
                <a:gd name="connsiteX325" fmla="*/ 2490546 w 4016827"/>
                <a:gd name="connsiteY325" fmla="*/ 5920869 h 7216489"/>
                <a:gd name="connsiteX326" fmla="*/ 2906755 w 4016827"/>
                <a:gd name="connsiteY326" fmla="*/ 5877234 h 7216489"/>
                <a:gd name="connsiteX327" fmla="*/ 2980599 w 4016827"/>
                <a:gd name="connsiteY327" fmla="*/ 5951077 h 7216489"/>
                <a:gd name="connsiteX328" fmla="*/ 2906755 w 4016827"/>
                <a:gd name="connsiteY328" fmla="*/ 6024921 h 7216489"/>
                <a:gd name="connsiteX329" fmla="*/ 2832911 w 4016827"/>
                <a:gd name="connsiteY329" fmla="*/ 5951077 h 7216489"/>
                <a:gd name="connsiteX330" fmla="*/ 2906755 w 4016827"/>
                <a:gd name="connsiteY330" fmla="*/ 5877234 h 7216489"/>
                <a:gd name="connsiteX331" fmla="*/ 3531070 w 4016827"/>
                <a:gd name="connsiteY331" fmla="*/ 5867164 h 7216489"/>
                <a:gd name="connsiteX332" fmla="*/ 3601556 w 4016827"/>
                <a:gd name="connsiteY332" fmla="*/ 5937651 h 7216489"/>
                <a:gd name="connsiteX333" fmla="*/ 3531070 w 4016827"/>
                <a:gd name="connsiteY333" fmla="*/ 6008139 h 7216489"/>
                <a:gd name="connsiteX334" fmla="*/ 3460584 w 4016827"/>
                <a:gd name="connsiteY334" fmla="*/ 5937651 h 7216489"/>
                <a:gd name="connsiteX335" fmla="*/ 3531070 w 4016827"/>
                <a:gd name="connsiteY335" fmla="*/ 5867164 h 7216489"/>
                <a:gd name="connsiteX336" fmla="*/ 1923292 w 4016827"/>
                <a:gd name="connsiteY336" fmla="*/ 5826886 h 7216489"/>
                <a:gd name="connsiteX337" fmla="*/ 1997136 w 4016827"/>
                <a:gd name="connsiteY337" fmla="*/ 5900729 h 7216489"/>
                <a:gd name="connsiteX338" fmla="*/ 1923292 w 4016827"/>
                <a:gd name="connsiteY338" fmla="*/ 5974573 h 7216489"/>
                <a:gd name="connsiteX339" fmla="*/ 1849448 w 4016827"/>
                <a:gd name="connsiteY339" fmla="*/ 5900729 h 7216489"/>
                <a:gd name="connsiteX340" fmla="*/ 1923292 w 4016827"/>
                <a:gd name="connsiteY340" fmla="*/ 5826886 h 7216489"/>
                <a:gd name="connsiteX341" fmla="*/ 2316006 w 4016827"/>
                <a:gd name="connsiteY341" fmla="*/ 5823529 h 7216489"/>
                <a:gd name="connsiteX342" fmla="*/ 2386493 w 4016827"/>
                <a:gd name="connsiteY342" fmla="*/ 5894016 h 7216489"/>
                <a:gd name="connsiteX343" fmla="*/ 2316006 w 4016827"/>
                <a:gd name="connsiteY343" fmla="*/ 5964504 h 7216489"/>
                <a:gd name="connsiteX344" fmla="*/ 2245518 w 4016827"/>
                <a:gd name="connsiteY344" fmla="*/ 5894016 h 7216489"/>
                <a:gd name="connsiteX345" fmla="*/ 2316006 w 4016827"/>
                <a:gd name="connsiteY345" fmla="*/ 5823529 h 7216489"/>
                <a:gd name="connsiteX346" fmla="*/ 1540647 w 4016827"/>
                <a:gd name="connsiteY346" fmla="*/ 5823529 h 7216489"/>
                <a:gd name="connsiteX347" fmla="*/ 1607778 w 4016827"/>
                <a:gd name="connsiteY347" fmla="*/ 5890660 h 7216489"/>
                <a:gd name="connsiteX348" fmla="*/ 1540647 w 4016827"/>
                <a:gd name="connsiteY348" fmla="*/ 5957791 h 7216489"/>
                <a:gd name="connsiteX349" fmla="*/ 1473516 w 4016827"/>
                <a:gd name="connsiteY349" fmla="*/ 5890660 h 7216489"/>
                <a:gd name="connsiteX350" fmla="*/ 1540647 w 4016827"/>
                <a:gd name="connsiteY350" fmla="*/ 5823529 h 7216489"/>
                <a:gd name="connsiteX351" fmla="*/ 3336391 w 4016827"/>
                <a:gd name="connsiteY351" fmla="*/ 5810103 h 7216489"/>
                <a:gd name="connsiteX352" fmla="*/ 3403522 w 4016827"/>
                <a:gd name="connsiteY352" fmla="*/ 5877234 h 7216489"/>
                <a:gd name="connsiteX353" fmla="*/ 3336391 w 4016827"/>
                <a:gd name="connsiteY353" fmla="*/ 5944364 h 7216489"/>
                <a:gd name="connsiteX354" fmla="*/ 3269260 w 4016827"/>
                <a:gd name="connsiteY354" fmla="*/ 5877234 h 7216489"/>
                <a:gd name="connsiteX355" fmla="*/ 3336391 w 4016827"/>
                <a:gd name="connsiteY355" fmla="*/ 5810103 h 7216489"/>
                <a:gd name="connsiteX356" fmla="*/ 1171429 w 4016827"/>
                <a:gd name="connsiteY356" fmla="*/ 5796677 h 7216489"/>
                <a:gd name="connsiteX357" fmla="*/ 1238560 w 4016827"/>
                <a:gd name="connsiteY357" fmla="*/ 5863807 h 7216489"/>
                <a:gd name="connsiteX358" fmla="*/ 1171429 w 4016827"/>
                <a:gd name="connsiteY358" fmla="*/ 5930938 h 7216489"/>
                <a:gd name="connsiteX359" fmla="*/ 1104298 w 4016827"/>
                <a:gd name="connsiteY359" fmla="*/ 5863807 h 7216489"/>
                <a:gd name="connsiteX360" fmla="*/ 1171429 w 4016827"/>
                <a:gd name="connsiteY360" fmla="*/ 5796677 h 7216489"/>
                <a:gd name="connsiteX361" fmla="*/ 2725502 w 4016827"/>
                <a:gd name="connsiteY361" fmla="*/ 5793320 h 7216489"/>
                <a:gd name="connsiteX362" fmla="*/ 2795990 w 4016827"/>
                <a:gd name="connsiteY362" fmla="*/ 5863807 h 7216489"/>
                <a:gd name="connsiteX363" fmla="*/ 2725502 w 4016827"/>
                <a:gd name="connsiteY363" fmla="*/ 5934295 h 7216489"/>
                <a:gd name="connsiteX364" fmla="*/ 2655015 w 4016827"/>
                <a:gd name="connsiteY364" fmla="*/ 5863807 h 7216489"/>
                <a:gd name="connsiteX365" fmla="*/ 2725502 w 4016827"/>
                <a:gd name="connsiteY365" fmla="*/ 5793320 h 7216489"/>
                <a:gd name="connsiteX366" fmla="*/ 3977488 w 4016827"/>
                <a:gd name="connsiteY366" fmla="*/ 5746329 h 7216489"/>
                <a:gd name="connsiteX367" fmla="*/ 4001089 w 4016827"/>
                <a:gd name="connsiteY367" fmla="*/ 5751049 h 7216489"/>
                <a:gd name="connsiteX368" fmla="*/ 4016827 w 4016827"/>
                <a:gd name="connsiteY368" fmla="*/ 5761627 h 7216489"/>
                <a:gd name="connsiteX369" fmla="*/ 4016827 w 4016827"/>
                <a:gd name="connsiteY369" fmla="*/ 5851866 h 7216489"/>
                <a:gd name="connsiteX370" fmla="*/ 4001089 w 4016827"/>
                <a:gd name="connsiteY370" fmla="*/ 5862444 h 7216489"/>
                <a:gd name="connsiteX371" fmla="*/ 3977488 w 4016827"/>
                <a:gd name="connsiteY371" fmla="*/ 5867164 h 7216489"/>
                <a:gd name="connsiteX372" fmla="*/ 3917070 w 4016827"/>
                <a:gd name="connsiteY372" fmla="*/ 5806746 h 7216489"/>
                <a:gd name="connsiteX373" fmla="*/ 3977488 w 4016827"/>
                <a:gd name="connsiteY373" fmla="*/ 5746329 h 7216489"/>
                <a:gd name="connsiteX374" fmla="*/ 3145069 w 4016827"/>
                <a:gd name="connsiteY374" fmla="*/ 5742972 h 7216489"/>
                <a:gd name="connsiteX375" fmla="*/ 3208844 w 4016827"/>
                <a:gd name="connsiteY375" fmla="*/ 5806746 h 7216489"/>
                <a:gd name="connsiteX376" fmla="*/ 3145069 w 4016827"/>
                <a:gd name="connsiteY376" fmla="*/ 5870519 h 7216489"/>
                <a:gd name="connsiteX377" fmla="*/ 3081295 w 4016827"/>
                <a:gd name="connsiteY377" fmla="*/ 5806746 h 7216489"/>
                <a:gd name="connsiteX378" fmla="*/ 3145069 w 4016827"/>
                <a:gd name="connsiteY378" fmla="*/ 5742972 h 7216489"/>
                <a:gd name="connsiteX379" fmla="*/ 3776096 w 4016827"/>
                <a:gd name="connsiteY379" fmla="*/ 5716120 h 7216489"/>
                <a:gd name="connsiteX380" fmla="*/ 3829800 w 4016827"/>
                <a:gd name="connsiteY380" fmla="*/ 5769824 h 7216489"/>
                <a:gd name="connsiteX381" fmla="*/ 3776096 w 4016827"/>
                <a:gd name="connsiteY381" fmla="*/ 5823529 h 7216489"/>
                <a:gd name="connsiteX382" fmla="*/ 3722391 w 4016827"/>
                <a:gd name="connsiteY382" fmla="*/ 5769824 h 7216489"/>
                <a:gd name="connsiteX383" fmla="*/ 3776096 w 4016827"/>
                <a:gd name="connsiteY383" fmla="*/ 5716120 h 7216489"/>
                <a:gd name="connsiteX384" fmla="*/ 2144822 w 4016827"/>
                <a:gd name="connsiteY384" fmla="*/ 5706050 h 7216489"/>
                <a:gd name="connsiteX385" fmla="*/ 2218666 w 4016827"/>
                <a:gd name="connsiteY385" fmla="*/ 5779894 h 7216489"/>
                <a:gd name="connsiteX386" fmla="*/ 2144822 w 4016827"/>
                <a:gd name="connsiteY386" fmla="*/ 5853738 h 7216489"/>
                <a:gd name="connsiteX387" fmla="*/ 2070979 w 4016827"/>
                <a:gd name="connsiteY387" fmla="*/ 5779894 h 7216489"/>
                <a:gd name="connsiteX388" fmla="*/ 2144822 w 4016827"/>
                <a:gd name="connsiteY388" fmla="*/ 5706050 h 7216489"/>
                <a:gd name="connsiteX389" fmla="*/ 1758822 w 4016827"/>
                <a:gd name="connsiteY389" fmla="*/ 5706050 h 7216489"/>
                <a:gd name="connsiteX390" fmla="*/ 1832666 w 4016827"/>
                <a:gd name="connsiteY390" fmla="*/ 5779894 h 7216489"/>
                <a:gd name="connsiteX391" fmla="*/ 1758822 w 4016827"/>
                <a:gd name="connsiteY391" fmla="*/ 5853738 h 7216489"/>
                <a:gd name="connsiteX392" fmla="*/ 1684978 w 4016827"/>
                <a:gd name="connsiteY392" fmla="*/ 5779894 h 7216489"/>
                <a:gd name="connsiteX393" fmla="*/ 1758822 w 4016827"/>
                <a:gd name="connsiteY393" fmla="*/ 5706050 h 7216489"/>
                <a:gd name="connsiteX394" fmla="*/ 1027098 w 4016827"/>
                <a:gd name="connsiteY394" fmla="*/ 5706050 h 7216489"/>
                <a:gd name="connsiteX395" fmla="*/ 1043881 w 4016827"/>
                <a:gd name="connsiteY395" fmla="*/ 5722833 h 7216489"/>
                <a:gd name="connsiteX396" fmla="*/ 1027098 w 4016827"/>
                <a:gd name="connsiteY396" fmla="*/ 5739616 h 7216489"/>
                <a:gd name="connsiteX397" fmla="*/ 1010315 w 4016827"/>
                <a:gd name="connsiteY397" fmla="*/ 5722833 h 7216489"/>
                <a:gd name="connsiteX398" fmla="*/ 1027098 w 4016827"/>
                <a:gd name="connsiteY398" fmla="*/ 5706050 h 7216489"/>
                <a:gd name="connsiteX399" fmla="*/ 2544250 w 4016827"/>
                <a:gd name="connsiteY399" fmla="*/ 5692624 h 7216489"/>
                <a:gd name="connsiteX400" fmla="*/ 2618094 w 4016827"/>
                <a:gd name="connsiteY400" fmla="*/ 5766468 h 7216489"/>
                <a:gd name="connsiteX401" fmla="*/ 2544250 w 4016827"/>
                <a:gd name="connsiteY401" fmla="*/ 5840312 h 7216489"/>
                <a:gd name="connsiteX402" fmla="*/ 2470406 w 4016827"/>
                <a:gd name="connsiteY402" fmla="*/ 5766468 h 7216489"/>
                <a:gd name="connsiteX403" fmla="*/ 2544250 w 4016827"/>
                <a:gd name="connsiteY403" fmla="*/ 5692624 h 7216489"/>
                <a:gd name="connsiteX404" fmla="*/ 1386247 w 4016827"/>
                <a:gd name="connsiteY404" fmla="*/ 5682555 h 7216489"/>
                <a:gd name="connsiteX405" fmla="*/ 1460091 w 4016827"/>
                <a:gd name="connsiteY405" fmla="*/ 5756398 h 7216489"/>
                <a:gd name="connsiteX406" fmla="*/ 1386247 w 4016827"/>
                <a:gd name="connsiteY406" fmla="*/ 5830242 h 7216489"/>
                <a:gd name="connsiteX407" fmla="*/ 1312404 w 4016827"/>
                <a:gd name="connsiteY407" fmla="*/ 5756398 h 7216489"/>
                <a:gd name="connsiteX408" fmla="*/ 1386247 w 4016827"/>
                <a:gd name="connsiteY408" fmla="*/ 5682555 h 7216489"/>
                <a:gd name="connsiteX409" fmla="*/ 2960460 w 4016827"/>
                <a:gd name="connsiteY409" fmla="*/ 5662415 h 7216489"/>
                <a:gd name="connsiteX410" fmla="*/ 3024234 w 4016827"/>
                <a:gd name="connsiteY410" fmla="*/ 5726189 h 7216489"/>
                <a:gd name="connsiteX411" fmla="*/ 2960460 w 4016827"/>
                <a:gd name="connsiteY411" fmla="*/ 5789964 h 7216489"/>
                <a:gd name="connsiteX412" fmla="*/ 2896686 w 4016827"/>
                <a:gd name="connsiteY412" fmla="*/ 5726189 h 7216489"/>
                <a:gd name="connsiteX413" fmla="*/ 2960460 w 4016827"/>
                <a:gd name="connsiteY413" fmla="*/ 5662415 h 7216489"/>
                <a:gd name="connsiteX414" fmla="*/ 3581419 w 4016827"/>
                <a:gd name="connsiteY414" fmla="*/ 5659059 h 7216489"/>
                <a:gd name="connsiteX415" fmla="*/ 3638479 w 4016827"/>
                <a:gd name="connsiteY415" fmla="*/ 5716120 h 7216489"/>
                <a:gd name="connsiteX416" fmla="*/ 3581419 w 4016827"/>
                <a:gd name="connsiteY416" fmla="*/ 5773181 h 7216489"/>
                <a:gd name="connsiteX417" fmla="*/ 3524357 w 4016827"/>
                <a:gd name="connsiteY417" fmla="*/ 5716120 h 7216489"/>
                <a:gd name="connsiteX418" fmla="*/ 3581419 w 4016827"/>
                <a:gd name="connsiteY418" fmla="*/ 5659059 h 7216489"/>
                <a:gd name="connsiteX419" fmla="*/ 3386738 w 4016827"/>
                <a:gd name="connsiteY419" fmla="*/ 5605354 h 7216489"/>
                <a:gd name="connsiteX420" fmla="*/ 3440442 w 4016827"/>
                <a:gd name="connsiteY420" fmla="*/ 5659059 h 7216489"/>
                <a:gd name="connsiteX421" fmla="*/ 3386738 w 4016827"/>
                <a:gd name="connsiteY421" fmla="*/ 5712763 h 7216489"/>
                <a:gd name="connsiteX422" fmla="*/ 3333033 w 4016827"/>
                <a:gd name="connsiteY422" fmla="*/ 5659059 h 7216489"/>
                <a:gd name="connsiteX423" fmla="*/ 3386738 w 4016827"/>
                <a:gd name="connsiteY423" fmla="*/ 5605354 h 7216489"/>
                <a:gd name="connsiteX424" fmla="*/ 2373067 w 4016827"/>
                <a:gd name="connsiteY424" fmla="*/ 5588572 h 7216489"/>
                <a:gd name="connsiteX425" fmla="*/ 2446911 w 4016827"/>
                <a:gd name="connsiteY425" fmla="*/ 5662415 h 7216489"/>
                <a:gd name="connsiteX426" fmla="*/ 2373067 w 4016827"/>
                <a:gd name="connsiteY426" fmla="*/ 5736259 h 7216489"/>
                <a:gd name="connsiteX427" fmla="*/ 2299223 w 4016827"/>
                <a:gd name="connsiteY427" fmla="*/ 5662415 h 7216489"/>
                <a:gd name="connsiteX428" fmla="*/ 2373067 w 4016827"/>
                <a:gd name="connsiteY428" fmla="*/ 5588572 h 7216489"/>
                <a:gd name="connsiteX429" fmla="*/ 1980353 w 4016827"/>
                <a:gd name="connsiteY429" fmla="*/ 5588572 h 7216489"/>
                <a:gd name="connsiteX430" fmla="*/ 2054197 w 4016827"/>
                <a:gd name="connsiteY430" fmla="*/ 5662415 h 7216489"/>
                <a:gd name="connsiteX431" fmla="*/ 1980353 w 4016827"/>
                <a:gd name="connsiteY431" fmla="*/ 5736259 h 7216489"/>
                <a:gd name="connsiteX432" fmla="*/ 1906510 w 4016827"/>
                <a:gd name="connsiteY432" fmla="*/ 5662415 h 7216489"/>
                <a:gd name="connsiteX433" fmla="*/ 1980353 w 4016827"/>
                <a:gd name="connsiteY433" fmla="*/ 5588572 h 7216489"/>
                <a:gd name="connsiteX434" fmla="*/ 1604421 w 4016827"/>
                <a:gd name="connsiteY434" fmla="*/ 5575146 h 7216489"/>
                <a:gd name="connsiteX435" fmla="*/ 1678265 w 4016827"/>
                <a:gd name="connsiteY435" fmla="*/ 5648990 h 7216489"/>
                <a:gd name="connsiteX436" fmla="*/ 1604421 w 4016827"/>
                <a:gd name="connsiteY436" fmla="*/ 5722834 h 7216489"/>
                <a:gd name="connsiteX437" fmla="*/ 1530577 w 4016827"/>
                <a:gd name="connsiteY437" fmla="*/ 5648990 h 7216489"/>
                <a:gd name="connsiteX438" fmla="*/ 1604421 w 4016827"/>
                <a:gd name="connsiteY438" fmla="*/ 5575146 h 7216489"/>
                <a:gd name="connsiteX439" fmla="*/ 2775850 w 4016827"/>
                <a:gd name="connsiteY439" fmla="*/ 5571789 h 7216489"/>
                <a:gd name="connsiteX440" fmla="*/ 2839624 w 4016827"/>
                <a:gd name="connsiteY440" fmla="*/ 5635563 h 7216489"/>
                <a:gd name="connsiteX441" fmla="*/ 2775850 w 4016827"/>
                <a:gd name="connsiteY441" fmla="*/ 5699337 h 7216489"/>
                <a:gd name="connsiteX442" fmla="*/ 2712076 w 4016827"/>
                <a:gd name="connsiteY442" fmla="*/ 5635563 h 7216489"/>
                <a:gd name="connsiteX443" fmla="*/ 2775850 w 4016827"/>
                <a:gd name="connsiteY443" fmla="*/ 5571789 h 7216489"/>
                <a:gd name="connsiteX444" fmla="*/ 886123 w 4016827"/>
                <a:gd name="connsiteY444" fmla="*/ 5568432 h 7216489"/>
                <a:gd name="connsiteX445" fmla="*/ 892837 w 4016827"/>
                <a:gd name="connsiteY445" fmla="*/ 5575145 h 7216489"/>
                <a:gd name="connsiteX446" fmla="*/ 886123 w 4016827"/>
                <a:gd name="connsiteY446" fmla="*/ 5581858 h 7216489"/>
                <a:gd name="connsiteX447" fmla="*/ 879410 w 4016827"/>
                <a:gd name="connsiteY447" fmla="*/ 5575145 h 7216489"/>
                <a:gd name="connsiteX448" fmla="*/ 886123 w 4016827"/>
                <a:gd name="connsiteY448" fmla="*/ 5568432 h 7216489"/>
                <a:gd name="connsiteX449" fmla="*/ 4016827 w 4016827"/>
                <a:gd name="connsiteY449" fmla="*/ 5546256 h 7216489"/>
                <a:gd name="connsiteX450" fmla="*/ 4016827 w 4016827"/>
                <a:gd name="connsiteY450" fmla="*/ 5624629 h 7216489"/>
                <a:gd name="connsiteX451" fmla="*/ 3997208 w 4016827"/>
                <a:gd name="connsiteY451" fmla="*/ 5617103 h 7216489"/>
                <a:gd name="connsiteX452" fmla="*/ 3984201 w 4016827"/>
                <a:gd name="connsiteY452" fmla="*/ 5585216 h 7216489"/>
                <a:gd name="connsiteX453" fmla="*/ 3997208 w 4016827"/>
                <a:gd name="connsiteY453" fmla="*/ 5554588 h 7216489"/>
                <a:gd name="connsiteX454" fmla="*/ 1238560 w 4016827"/>
                <a:gd name="connsiteY454" fmla="*/ 5538223 h 7216489"/>
                <a:gd name="connsiteX455" fmla="*/ 1315760 w 4016827"/>
                <a:gd name="connsiteY455" fmla="*/ 5615424 h 7216489"/>
                <a:gd name="connsiteX456" fmla="*/ 1238560 w 4016827"/>
                <a:gd name="connsiteY456" fmla="*/ 5692624 h 7216489"/>
                <a:gd name="connsiteX457" fmla="*/ 1161360 w 4016827"/>
                <a:gd name="connsiteY457" fmla="*/ 5615424 h 7216489"/>
                <a:gd name="connsiteX458" fmla="*/ 1238560 w 4016827"/>
                <a:gd name="connsiteY458" fmla="*/ 5538223 h 7216489"/>
                <a:gd name="connsiteX459" fmla="*/ 3195416 w 4016827"/>
                <a:gd name="connsiteY459" fmla="*/ 5531511 h 7216489"/>
                <a:gd name="connsiteX460" fmla="*/ 3249121 w 4016827"/>
                <a:gd name="connsiteY460" fmla="*/ 5585216 h 7216489"/>
                <a:gd name="connsiteX461" fmla="*/ 3195416 w 4016827"/>
                <a:gd name="connsiteY461" fmla="*/ 5638921 h 7216489"/>
                <a:gd name="connsiteX462" fmla="*/ 3141712 w 4016827"/>
                <a:gd name="connsiteY462" fmla="*/ 5585216 h 7216489"/>
                <a:gd name="connsiteX463" fmla="*/ 3195416 w 4016827"/>
                <a:gd name="connsiteY463" fmla="*/ 5531511 h 7216489"/>
                <a:gd name="connsiteX464" fmla="*/ 3826443 w 4016827"/>
                <a:gd name="connsiteY464" fmla="*/ 5501302 h 7216489"/>
                <a:gd name="connsiteX465" fmla="*/ 3873436 w 4016827"/>
                <a:gd name="connsiteY465" fmla="*/ 5548293 h 7216489"/>
                <a:gd name="connsiteX466" fmla="*/ 3826443 w 4016827"/>
                <a:gd name="connsiteY466" fmla="*/ 5595285 h 7216489"/>
                <a:gd name="connsiteX467" fmla="*/ 3779454 w 4016827"/>
                <a:gd name="connsiteY467" fmla="*/ 5548293 h 7216489"/>
                <a:gd name="connsiteX468" fmla="*/ 3826443 w 4016827"/>
                <a:gd name="connsiteY468" fmla="*/ 5501302 h 7216489"/>
                <a:gd name="connsiteX469" fmla="*/ 2205240 w 4016827"/>
                <a:gd name="connsiteY469" fmla="*/ 5474450 h 7216489"/>
                <a:gd name="connsiteX470" fmla="*/ 2275728 w 4016827"/>
                <a:gd name="connsiteY470" fmla="*/ 5544938 h 7216489"/>
                <a:gd name="connsiteX471" fmla="*/ 2205240 w 4016827"/>
                <a:gd name="connsiteY471" fmla="*/ 5615425 h 7216489"/>
                <a:gd name="connsiteX472" fmla="*/ 2134753 w 4016827"/>
                <a:gd name="connsiteY472" fmla="*/ 5544938 h 7216489"/>
                <a:gd name="connsiteX473" fmla="*/ 2205240 w 4016827"/>
                <a:gd name="connsiteY473" fmla="*/ 5474450 h 7216489"/>
                <a:gd name="connsiteX474" fmla="*/ 1822596 w 4016827"/>
                <a:gd name="connsiteY474" fmla="*/ 5467736 h 7216489"/>
                <a:gd name="connsiteX475" fmla="*/ 1893083 w 4016827"/>
                <a:gd name="connsiteY475" fmla="*/ 5538223 h 7216489"/>
                <a:gd name="connsiteX476" fmla="*/ 1822596 w 4016827"/>
                <a:gd name="connsiteY476" fmla="*/ 5608711 h 7216489"/>
                <a:gd name="connsiteX477" fmla="*/ 1752109 w 4016827"/>
                <a:gd name="connsiteY477" fmla="*/ 5538223 h 7216489"/>
                <a:gd name="connsiteX478" fmla="*/ 1822596 w 4016827"/>
                <a:gd name="connsiteY478" fmla="*/ 5467736 h 7216489"/>
                <a:gd name="connsiteX479" fmla="*/ 2601312 w 4016827"/>
                <a:gd name="connsiteY479" fmla="*/ 5461023 h 7216489"/>
                <a:gd name="connsiteX480" fmla="*/ 2675155 w 4016827"/>
                <a:gd name="connsiteY480" fmla="*/ 5534867 h 7216489"/>
                <a:gd name="connsiteX481" fmla="*/ 2601312 w 4016827"/>
                <a:gd name="connsiteY481" fmla="*/ 5608711 h 7216489"/>
                <a:gd name="connsiteX482" fmla="*/ 2527468 w 4016827"/>
                <a:gd name="connsiteY482" fmla="*/ 5534867 h 7216489"/>
                <a:gd name="connsiteX483" fmla="*/ 2601312 w 4016827"/>
                <a:gd name="connsiteY483" fmla="*/ 5461023 h 7216489"/>
                <a:gd name="connsiteX484" fmla="*/ 3631766 w 4016827"/>
                <a:gd name="connsiteY484" fmla="*/ 5450954 h 7216489"/>
                <a:gd name="connsiteX485" fmla="*/ 3678758 w 4016827"/>
                <a:gd name="connsiteY485" fmla="*/ 5497945 h 7216489"/>
                <a:gd name="connsiteX486" fmla="*/ 3631766 w 4016827"/>
                <a:gd name="connsiteY486" fmla="*/ 5544937 h 7216489"/>
                <a:gd name="connsiteX487" fmla="*/ 3584774 w 4016827"/>
                <a:gd name="connsiteY487" fmla="*/ 5497945 h 7216489"/>
                <a:gd name="connsiteX488" fmla="*/ 3631766 w 4016827"/>
                <a:gd name="connsiteY488" fmla="*/ 5450954 h 7216489"/>
                <a:gd name="connsiteX489" fmla="*/ 3010808 w 4016827"/>
                <a:gd name="connsiteY489" fmla="*/ 5437528 h 7216489"/>
                <a:gd name="connsiteX490" fmla="*/ 3071226 w 4016827"/>
                <a:gd name="connsiteY490" fmla="*/ 5497946 h 7216489"/>
                <a:gd name="connsiteX491" fmla="*/ 3010808 w 4016827"/>
                <a:gd name="connsiteY491" fmla="*/ 5558364 h 7216489"/>
                <a:gd name="connsiteX492" fmla="*/ 2950390 w 4016827"/>
                <a:gd name="connsiteY492" fmla="*/ 5497946 h 7216489"/>
                <a:gd name="connsiteX493" fmla="*/ 3010808 w 4016827"/>
                <a:gd name="connsiteY493" fmla="*/ 5437528 h 7216489"/>
                <a:gd name="connsiteX494" fmla="*/ 1453378 w 4016827"/>
                <a:gd name="connsiteY494" fmla="*/ 5434171 h 7216489"/>
                <a:gd name="connsiteX495" fmla="*/ 1530578 w 4016827"/>
                <a:gd name="connsiteY495" fmla="*/ 5511371 h 7216489"/>
                <a:gd name="connsiteX496" fmla="*/ 1453378 w 4016827"/>
                <a:gd name="connsiteY496" fmla="*/ 5588572 h 7216489"/>
                <a:gd name="connsiteX497" fmla="*/ 1376178 w 4016827"/>
                <a:gd name="connsiteY497" fmla="*/ 5511371 h 7216489"/>
                <a:gd name="connsiteX498" fmla="*/ 1453378 w 4016827"/>
                <a:gd name="connsiteY498" fmla="*/ 5434171 h 7216489"/>
                <a:gd name="connsiteX499" fmla="*/ 1097585 w 4016827"/>
                <a:gd name="connsiteY499" fmla="*/ 5410676 h 7216489"/>
                <a:gd name="connsiteX500" fmla="*/ 1158003 w 4016827"/>
                <a:gd name="connsiteY500" fmla="*/ 5471094 h 7216489"/>
                <a:gd name="connsiteX501" fmla="*/ 1097585 w 4016827"/>
                <a:gd name="connsiteY501" fmla="*/ 5531511 h 7216489"/>
                <a:gd name="connsiteX502" fmla="*/ 1037168 w 4016827"/>
                <a:gd name="connsiteY502" fmla="*/ 5471094 h 7216489"/>
                <a:gd name="connsiteX503" fmla="*/ 1097585 w 4016827"/>
                <a:gd name="connsiteY503" fmla="*/ 5410676 h 7216489"/>
                <a:gd name="connsiteX504" fmla="*/ 751863 w 4016827"/>
                <a:gd name="connsiteY504" fmla="*/ 5393893 h 7216489"/>
                <a:gd name="connsiteX505" fmla="*/ 778715 w 4016827"/>
                <a:gd name="connsiteY505" fmla="*/ 5420746 h 7216489"/>
                <a:gd name="connsiteX506" fmla="*/ 751863 w 4016827"/>
                <a:gd name="connsiteY506" fmla="*/ 5447598 h 7216489"/>
                <a:gd name="connsiteX507" fmla="*/ 725011 w 4016827"/>
                <a:gd name="connsiteY507" fmla="*/ 5420746 h 7216489"/>
                <a:gd name="connsiteX508" fmla="*/ 751863 w 4016827"/>
                <a:gd name="connsiteY508" fmla="*/ 5393893 h 7216489"/>
                <a:gd name="connsiteX509" fmla="*/ 3437087 w 4016827"/>
                <a:gd name="connsiteY509" fmla="*/ 5380467 h 7216489"/>
                <a:gd name="connsiteX510" fmla="*/ 3490792 w 4016827"/>
                <a:gd name="connsiteY510" fmla="*/ 5434172 h 7216489"/>
                <a:gd name="connsiteX511" fmla="*/ 3437087 w 4016827"/>
                <a:gd name="connsiteY511" fmla="*/ 5487876 h 7216489"/>
                <a:gd name="connsiteX512" fmla="*/ 3383382 w 4016827"/>
                <a:gd name="connsiteY512" fmla="*/ 5434172 h 7216489"/>
                <a:gd name="connsiteX513" fmla="*/ 3437087 w 4016827"/>
                <a:gd name="connsiteY513" fmla="*/ 5380467 h 7216489"/>
                <a:gd name="connsiteX514" fmla="*/ 2430128 w 4016827"/>
                <a:gd name="connsiteY514" fmla="*/ 5360328 h 7216489"/>
                <a:gd name="connsiteX515" fmla="*/ 2497259 w 4016827"/>
                <a:gd name="connsiteY515" fmla="*/ 5427459 h 7216489"/>
                <a:gd name="connsiteX516" fmla="*/ 2430128 w 4016827"/>
                <a:gd name="connsiteY516" fmla="*/ 5494590 h 7216489"/>
                <a:gd name="connsiteX517" fmla="*/ 2362997 w 4016827"/>
                <a:gd name="connsiteY517" fmla="*/ 5427459 h 7216489"/>
                <a:gd name="connsiteX518" fmla="*/ 2430128 w 4016827"/>
                <a:gd name="connsiteY518" fmla="*/ 5360328 h 7216489"/>
                <a:gd name="connsiteX519" fmla="*/ 2040771 w 4016827"/>
                <a:gd name="connsiteY519" fmla="*/ 5356972 h 7216489"/>
                <a:gd name="connsiteX520" fmla="*/ 2107902 w 4016827"/>
                <a:gd name="connsiteY520" fmla="*/ 5424102 h 7216489"/>
                <a:gd name="connsiteX521" fmla="*/ 2040771 w 4016827"/>
                <a:gd name="connsiteY521" fmla="*/ 5491233 h 7216489"/>
                <a:gd name="connsiteX522" fmla="*/ 1973640 w 4016827"/>
                <a:gd name="connsiteY522" fmla="*/ 5424102 h 7216489"/>
                <a:gd name="connsiteX523" fmla="*/ 2040771 w 4016827"/>
                <a:gd name="connsiteY523" fmla="*/ 5356972 h 7216489"/>
                <a:gd name="connsiteX524" fmla="*/ 2829555 w 4016827"/>
                <a:gd name="connsiteY524" fmla="*/ 5346902 h 7216489"/>
                <a:gd name="connsiteX525" fmla="*/ 2886616 w 4016827"/>
                <a:gd name="connsiteY525" fmla="*/ 5407320 h 7216489"/>
                <a:gd name="connsiteX526" fmla="*/ 2829555 w 4016827"/>
                <a:gd name="connsiteY526" fmla="*/ 5467737 h 7216489"/>
                <a:gd name="connsiteX527" fmla="*/ 2769137 w 4016827"/>
                <a:gd name="connsiteY527" fmla="*/ 5407320 h 7216489"/>
                <a:gd name="connsiteX528" fmla="*/ 2829555 w 4016827"/>
                <a:gd name="connsiteY528" fmla="*/ 5346902 h 7216489"/>
                <a:gd name="connsiteX529" fmla="*/ 1668195 w 4016827"/>
                <a:gd name="connsiteY529" fmla="*/ 5333476 h 7216489"/>
                <a:gd name="connsiteX530" fmla="*/ 1738683 w 4016827"/>
                <a:gd name="connsiteY530" fmla="*/ 5403963 h 7216489"/>
                <a:gd name="connsiteX531" fmla="*/ 1668195 w 4016827"/>
                <a:gd name="connsiteY531" fmla="*/ 5474450 h 7216489"/>
                <a:gd name="connsiteX532" fmla="*/ 1597708 w 4016827"/>
                <a:gd name="connsiteY532" fmla="*/ 5403963 h 7216489"/>
                <a:gd name="connsiteX533" fmla="*/ 1668195 w 4016827"/>
                <a:gd name="connsiteY533" fmla="*/ 5333476 h 7216489"/>
                <a:gd name="connsiteX534" fmla="*/ 3249123 w 4016827"/>
                <a:gd name="connsiteY534" fmla="*/ 5309980 h 7216489"/>
                <a:gd name="connsiteX535" fmla="*/ 3299470 w 4016827"/>
                <a:gd name="connsiteY535" fmla="*/ 5360328 h 7216489"/>
                <a:gd name="connsiteX536" fmla="*/ 3249123 w 4016827"/>
                <a:gd name="connsiteY536" fmla="*/ 5410676 h 7216489"/>
                <a:gd name="connsiteX537" fmla="*/ 3198774 w 4016827"/>
                <a:gd name="connsiteY537" fmla="*/ 5360328 h 7216489"/>
                <a:gd name="connsiteX538" fmla="*/ 3249123 w 4016827"/>
                <a:gd name="connsiteY538" fmla="*/ 5309980 h 7216489"/>
                <a:gd name="connsiteX539" fmla="*/ 3876792 w 4016827"/>
                <a:gd name="connsiteY539" fmla="*/ 5296554 h 7216489"/>
                <a:gd name="connsiteX540" fmla="*/ 3907000 w 4016827"/>
                <a:gd name="connsiteY540" fmla="*/ 5326763 h 7216489"/>
                <a:gd name="connsiteX541" fmla="*/ 3876792 w 4016827"/>
                <a:gd name="connsiteY541" fmla="*/ 5356972 h 7216489"/>
                <a:gd name="connsiteX542" fmla="*/ 3846584 w 4016827"/>
                <a:gd name="connsiteY542" fmla="*/ 5326763 h 7216489"/>
                <a:gd name="connsiteX543" fmla="*/ 3876792 w 4016827"/>
                <a:gd name="connsiteY543" fmla="*/ 5296554 h 7216489"/>
                <a:gd name="connsiteX544" fmla="*/ 1309047 w 4016827"/>
                <a:gd name="connsiteY544" fmla="*/ 5293197 h 7216489"/>
                <a:gd name="connsiteX545" fmla="*/ 1382891 w 4016827"/>
                <a:gd name="connsiteY545" fmla="*/ 5367041 h 7216489"/>
                <a:gd name="connsiteX546" fmla="*/ 1309047 w 4016827"/>
                <a:gd name="connsiteY546" fmla="*/ 5440884 h 7216489"/>
                <a:gd name="connsiteX547" fmla="*/ 1235203 w 4016827"/>
                <a:gd name="connsiteY547" fmla="*/ 5367041 h 7216489"/>
                <a:gd name="connsiteX548" fmla="*/ 1309047 w 4016827"/>
                <a:gd name="connsiteY548" fmla="*/ 5293197 h 7216489"/>
                <a:gd name="connsiteX549" fmla="*/ 963324 w 4016827"/>
                <a:gd name="connsiteY549" fmla="*/ 5246206 h 7216489"/>
                <a:gd name="connsiteX550" fmla="*/ 1037168 w 4016827"/>
                <a:gd name="connsiteY550" fmla="*/ 5320050 h 7216489"/>
                <a:gd name="connsiteX551" fmla="*/ 963324 w 4016827"/>
                <a:gd name="connsiteY551" fmla="*/ 5393893 h 7216489"/>
                <a:gd name="connsiteX552" fmla="*/ 889480 w 4016827"/>
                <a:gd name="connsiteY552" fmla="*/ 5320050 h 7216489"/>
                <a:gd name="connsiteX553" fmla="*/ 963324 w 4016827"/>
                <a:gd name="connsiteY553" fmla="*/ 5246206 h 7216489"/>
                <a:gd name="connsiteX554" fmla="*/ 2262301 w 4016827"/>
                <a:gd name="connsiteY554" fmla="*/ 5242849 h 7216489"/>
                <a:gd name="connsiteX555" fmla="*/ 2329432 w 4016827"/>
                <a:gd name="connsiteY555" fmla="*/ 5309980 h 7216489"/>
                <a:gd name="connsiteX556" fmla="*/ 2262301 w 4016827"/>
                <a:gd name="connsiteY556" fmla="*/ 5377111 h 7216489"/>
                <a:gd name="connsiteX557" fmla="*/ 2195170 w 4016827"/>
                <a:gd name="connsiteY557" fmla="*/ 5309980 h 7216489"/>
                <a:gd name="connsiteX558" fmla="*/ 2262301 w 4016827"/>
                <a:gd name="connsiteY558" fmla="*/ 5242849 h 7216489"/>
                <a:gd name="connsiteX559" fmla="*/ 3682113 w 4016827"/>
                <a:gd name="connsiteY559" fmla="*/ 5239493 h 7216489"/>
                <a:gd name="connsiteX560" fmla="*/ 3719036 w 4016827"/>
                <a:gd name="connsiteY560" fmla="*/ 5276415 h 7216489"/>
                <a:gd name="connsiteX561" fmla="*/ 3682113 w 4016827"/>
                <a:gd name="connsiteY561" fmla="*/ 5313337 h 7216489"/>
                <a:gd name="connsiteX562" fmla="*/ 3645192 w 4016827"/>
                <a:gd name="connsiteY562" fmla="*/ 5276415 h 7216489"/>
                <a:gd name="connsiteX563" fmla="*/ 3682113 w 4016827"/>
                <a:gd name="connsiteY563" fmla="*/ 5239493 h 7216489"/>
                <a:gd name="connsiteX564" fmla="*/ 2655015 w 4016827"/>
                <a:gd name="connsiteY564" fmla="*/ 5239493 h 7216489"/>
                <a:gd name="connsiteX565" fmla="*/ 2718789 w 4016827"/>
                <a:gd name="connsiteY565" fmla="*/ 5303267 h 7216489"/>
                <a:gd name="connsiteX566" fmla="*/ 2655015 w 4016827"/>
                <a:gd name="connsiteY566" fmla="*/ 5367040 h 7216489"/>
                <a:gd name="connsiteX567" fmla="*/ 2591241 w 4016827"/>
                <a:gd name="connsiteY567" fmla="*/ 5303267 h 7216489"/>
                <a:gd name="connsiteX568" fmla="*/ 2655015 w 4016827"/>
                <a:gd name="connsiteY568" fmla="*/ 5239493 h 7216489"/>
                <a:gd name="connsiteX569" fmla="*/ 1886370 w 4016827"/>
                <a:gd name="connsiteY569" fmla="*/ 5222710 h 7216489"/>
                <a:gd name="connsiteX570" fmla="*/ 1956858 w 4016827"/>
                <a:gd name="connsiteY570" fmla="*/ 5293197 h 7216489"/>
                <a:gd name="connsiteX571" fmla="*/ 1886370 w 4016827"/>
                <a:gd name="connsiteY571" fmla="*/ 5363685 h 7216489"/>
                <a:gd name="connsiteX572" fmla="*/ 1815883 w 4016827"/>
                <a:gd name="connsiteY572" fmla="*/ 5293197 h 7216489"/>
                <a:gd name="connsiteX573" fmla="*/ 1886370 w 4016827"/>
                <a:gd name="connsiteY573" fmla="*/ 5222710 h 7216489"/>
                <a:gd name="connsiteX574" fmla="*/ 3064512 w 4016827"/>
                <a:gd name="connsiteY574" fmla="*/ 5212641 h 7216489"/>
                <a:gd name="connsiteX575" fmla="*/ 3124930 w 4016827"/>
                <a:gd name="connsiteY575" fmla="*/ 5273058 h 7216489"/>
                <a:gd name="connsiteX576" fmla="*/ 3064512 w 4016827"/>
                <a:gd name="connsiteY576" fmla="*/ 5333476 h 7216489"/>
                <a:gd name="connsiteX577" fmla="*/ 3004095 w 4016827"/>
                <a:gd name="connsiteY577" fmla="*/ 5273058 h 7216489"/>
                <a:gd name="connsiteX578" fmla="*/ 3064512 w 4016827"/>
                <a:gd name="connsiteY578" fmla="*/ 5212641 h 7216489"/>
                <a:gd name="connsiteX579" fmla="*/ 1523864 w 4016827"/>
                <a:gd name="connsiteY579" fmla="*/ 5185788 h 7216489"/>
                <a:gd name="connsiteX580" fmla="*/ 1597708 w 4016827"/>
                <a:gd name="connsiteY580" fmla="*/ 5259632 h 7216489"/>
                <a:gd name="connsiteX581" fmla="*/ 1523864 w 4016827"/>
                <a:gd name="connsiteY581" fmla="*/ 5333476 h 7216489"/>
                <a:gd name="connsiteX582" fmla="*/ 1450020 w 4016827"/>
                <a:gd name="connsiteY582" fmla="*/ 5259632 h 7216489"/>
                <a:gd name="connsiteX583" fmla="*/ 1523864 w 4016827"/>
                <a:gd name="connsiteY583" fmla="*/ 5185788 h 7216489"/>
                <a:gd name="connsiteX584" fmla="*/ 3487436 w 4016827"/>
                <a:gd name="connsiteY584" fmla="*/ 5169006 h 7216489"/>
                <a:gd name="connsiteX585" fmla="*/ 3531070 w 4016827"/>
                <a:gd name="connsiteY585" fmla="*/ 5212641 h 7216489"/>
                <a:gd name="connsiteX586" fmla="*/ 3487436 w 4016827"/>
                <a:gd name="connsiteY586" fmla="*/ 5256275 h 7216489"/>
                <a:gd name="connsiteX587" fmla="*/ 3443800 w 4016827"/>
                <a:gd name="connsiteY587" fmla="*/ 5212641 h 7216489"/>
                <a:gd name="connsiteX588" fmla="*/ 3487436 w 4016827"/>
                <a:gd name="connsiteY588" fmla="*/ 5169006 h 7216489"/>
                <a:gd name="connsiteX589" fmla="*/ 1174786 w 4016827"/>
                <a:gd name="connsiteY589" fmla="*/ 5142153 h 7216489"/>
                <a:gd name="connsiteX590" fmla="*/ 1248629 w 4016827"/>
                <a:gd name="connsiteY590" fmla="*/ 5215997 h 7216489"/>
                <a:gd name="connsiteX591" fmla="*/ 1174786 w 4016827"/>
                <a:gd name="connsiteY591" fmla="*/ 5289841 h 7216489"/>
                <a:gd name="connsiteX592" fmla="*/ 1100942 w 4016827"/>
                <a:gd name="connsiteY592" fmla="*/ 5215997 h 7216489"/>
                <a:gd name="connsiteX593" fmla="*/ 1174786 w 4016827"/>
                <a:gd name="connsiteY593" fmla="*/ 5142153 h 7216489"/>
                <a:gd name="connsiteX594" fmla="*/ 2487189 w 4016827"/>
                <a:gd name="connsiteY594" fmla="*/ 5132084 h 7216489"/>
                <a:gd name="connsiteX595" fmla="*/ 2544250 w 4016827"/>
                <a:gd name="connsiteY595" fmla="*/ 5189145 h 7216489"/>
                <a:gd name="connsiteX596" fmla="*/ 2487189 w 4016827"/>
                <a:gd name="connsiteY596" fmla="*/ 5246206 h 7216489"/>
                <a:gd name="connsiteX597" fmla="*/ 2430128 w 4016827"/>
                <a:gd name="connsiteY597" fmla="*/ 5189145 h 7216489"/>
                <a:gd name="connsiteX598" fmla="*/ 2487189 w 4016827"/>
                <a:gd name="connsiteY598" fmla="*/ 5132084 h 7216489"/>
                <a:gd name="connsiteX599" fmla="*/ 2886616 w 4016827"/>
                <a:gd name="connsiteY599" fmla="*/ 5125371 h 7216489"/>
                <a:gd name="connsiteX600" fmla="*/ 2940320 w 4016827"/>
                <a:gd name="connsiteY600" fmla="*/ 5179075 h 7216489"/>
                <a:gd name="connsiteX601" fmla="*/ 2886616 w 4016827"/>
                <a:gd name="connsiteY601" fmla="*/ 5232780 h 7216489"/>
                <a:gd name="connsiteX602" fmla="*/ 2832911 w 4016827"/>
                <a:gd name="connsiteY602" fmla="*/ 5179075 h 7216489"/>
                <a:gd name="connsiteX603" fmla="*/ 2886616 w 4016827"/>
                <a:gd name="connsiteY603" fmla="*/ 5125371 h 7216489"/>
                <a:gd name="connsiteX604" fmla="*/ 2104544 w 4016827"/>
                <a:gd name="connsiteY604" fmla="*/ 5122014 h 7216489"/>
                <a:gd name="connsiteX605" fmla="*/ 2164962 w 4016827"/>
                <a:gd name="connsiteY605" fmla="*/ 5182432 h 7216489"/>
                <a:gd name="connsiteX606" fmla="*/ 2104544 w 4016827"/>
                <a:gd name="connsiteY606" fmla="*/ 5242849 h 7216489"/>
                <a:gd name="connsiteX607" fmla="*/ 2044126 w 4016827"/>
                <a:gd name="connsiteY607" fmla="*/ 5182432 h 7216489"/>
                <a:gd name="connsiteX608" fmla="*/ 2104544 w 4016827"/>
                <a:gd name="connsiteY608" fmla="*/ 5122014 h 7216489"/>
                <a:gd name="connsiteX609" fmla="*/ 835776 w 4016827"/>
                <a:gd name="connsiteY609" fmla="*/ 5101875 h 7216489"/>
                <a:gd name="connsiteX610" fmla="*/ 896194 w 4016827"/>
                <a:gd name="connsiteY610" fmla="*/ 5162292 h 7216489"/>
                <a:gd name="connsiteX611" fmla="*/ 835776 w 4016827"/>
                <a:gd name="connsiteY611" fmla="*/ 5222710 h 7216489"/>
                <a:gd name="connsiteX612" fmla="*/ 775359 w 4016827"/>
                <a:gd name="connsiteY612" fmla="*/ 5162292 h 7216489"/>
                <a:gd name="connsiteX613" fmla="*/ 835776 w 4016827"/>
                <a:gd name="connsiteY613" fmla="*/ 5101875 h 7216489"/>
                <a:gd name="connsiteX614" fmla="*/ 3299470 w 4016827"/>
                <a:gd name="connsiteY614" fmla="*/ 5098518 h 7216489"/>
                <a:gd name="connsiteX615" fmla="*/ 3336391 w 4016827"/>
                <a:gd name="connsiteY615" fmla="*/ 5135440 h 7216489"/>
                <a:gd name="connsiteX616" fmla="*/ 3299470 w 4016827"/>
                <a:gd name="connsiteY616" fmla="*/ 5172362 h 7216489"/>
                <a:gd name="connsiteX617" fmla="*/ 3262547 w 4016827"/>
                <a:gd name="connsiteY617" fmla="*/ 5135440 h 7216489"/>
                <a:gd name="connsiteX618" fmla="*/ 3299470 w 4016827"/>
                <a:gd name="connsiteY618" fmla="*/ 5098518 h 7216489"/>
                <a:gd name="connsiteX619" fmla="*/ 1738683 w 4016827"/>
                <a:gd name="connsiteY619" fmla="*/ 5091805 h 7216489"/>
                <a:gd name="connsiteX620" fmla="*/ 1802457 w 4016827"/>
                <a:gd name="connsiteY620" fmla="*/ 5155579 h 7216489"/>
                <a:gd name="connsiteX621" fmla="*/ 1738683 w 4016827"/>
                <a:gd name="connsiteY621" fmla="*/ 5219354 h 7216489"/>
                <a:gd name="connsiteX622" fmla="*/ 1674908 w 4016827"/>
                <a:gd name="connsiteY622" fmla="*/ 5155579 h 7216489"/>
                <a:gd name="connsiteX623" fmla="*/ 1738683 w 4016827"/>
                <a:gd name="connsiteY623" fmla="*/ 5091805 h 7216489"/>
                <a:gd name="connsiteX624" fmla="*/ 506836 w 4016827"/>
                <a:gd name="connsiteY624" fmla="*/ 5091805 h 7216489"/>
                <a:gd name="connsiteX625" fmla="*/ 513549 w 4016827"/>
                <a:gd name="connsiteY625" fmla="*/ 5098518 h 7216489"/>
                <a:gd name="connsiteX626" fmla="*/ 506836 w 4016827"/>
                <a:gd name="connsiteY626" fmla="*/ 5105231 h 7216489"/>
                <a:gd name="connsiteX627" fmla="*/ 500123 w 4016827"/>
                <a:gd name="connsiteY627" fmla="*/ 5098518 h 7216489"/>
                <a:gd name="connsiteX628" fmla="*/ 506836 w 4016827"/>
                <a:gd name="connsiteY628" fmla="*/ 5091805 h 7216489"/>
                <a:gd name="connsiteX629" fmla="*/ 3927141 w 4016827"/>
                <a:gd name="connsiteY629" fmla="*/ 5088449 h 7216489"/>
                <a:gd name="connsiteX630" fmla="*/ 3943923 w 4016827"/>
                <a:gd name="connsiteY630" fmla="*/ 5105231 h 7216489"/>
                <a:gd name="connsiteX631" fmla="*/ 3927141 w 4016827"/>
                <a:gd name="connsiteY631" fmla="*/ 5122014 h 7216489"/>
                <a:gd name="connsiteX632" fmla="*/ 3910358 w 4016827"/>
                <a:gd name="connsiteY632" fmla="*/ 5105231 h 7216489"/>
                <a:gd name="connsiteX633" fmla="*/ 3927141 w 4016827"/>
                <a:gd name="connsiteY633" fmla="*/ 5088449 h 7216489"/>
                <a:gd name="connsiteX634" fmla="*/ 1382891 w 4016827"/>
                <a:gd name="connsiteY634" fmla="*/ 5041457 h 7216489"/>
                <a:gd name="connsiteX635" fmla="*/ 1453378 w 4016827"/>
                <a:gd name="connsiteY635" fmla="*/ 5111944 h 7216489"/>
                <a:gd name="connsiteX636" fmla="*/ 1382891 w 4016827"/>
                <a:gd name="connsiteY636" fmla="*/ 5182432 h 7216489"/>
                <a:gd name="connsiteX637" fmla="*/ 1312404 w 4016827"/>
                <a:gd name="connsiteY637" fmla="*/ 5111944 h 7216489"/>
                <a:gd name="connsiteX638" fmla="*/ 1382891 w 4016827"/>
                <a:gd name="connsiteY638" fmla="*/ 5041457 h 7216489"/>
                <a:gd name="connsiteX639" fmla="*/ 3732462 w 4016827"/>
                <a:gd name="connsiteY639" fmla="*/ 5028031 h 7216489"/>
                <a:gd name="connsiteX640" fmla="*/ 3759314 w 4016827"/>
                <a:gd name="connsiteY640" fmla="*/ 5054883 h 7216489"/>
                <a:gd name="connsiteX641" fmla="*/ 3732462 w 4016827"/>
                <a:gd name="connsiteY641" fmla="*/ 5081736 h 7216489"/>
                <a:gd name="connsiteX642" fmla="*/ 3705610 w 4016827"/>
                <a:gd name="connsiteY642" fmla="*/ 5054883 h 7216489"/>
                <a:gd name="connsiteX643" fmla="*/ 3732462 w 4016827"/>
                <a:gd name="connsiteY643" fmla="*/ 5028031 h 7216489"/>
                <a:gd name="connsiteX644" fmla="*/ 2712076 w 4016827"/>
                <a:gd name="connsiteY644" fmla="*/ 5014605 h 7216489"/>
                <a:gd name="connsiteX645" fmla="*/ 2769137 w 4016827"/>
                <a:gd name="connsiteY645" fmla="*/ 5071666 h 7216489"/>
                <a:gd name="connsiteX646" fmla="*/ 2712076 w 4016827"/>
                <a:gd name="connsiteY646" fmla="*/ 5128727 h 7216489"/>
                <a:gd name="connsiteX647" fmla="*/ 2655015 w 4016827"/>
                <a:gd name="connsiteY647" fmla="*/ 5071666 h 7216489"/>
                <a:gd name="connsiteX648" fmla="*/ 2712076 w 4016827"/>
                <a:gd name="connsiteY648" fmla="*/ 5014605 h 7216489"/>
                <a:gd name="connsiteX649" fmla="*/ 2326076 w 4016827"/>
                <a:gd name="connsiteY649" fmla="*/ 5007892 h 7216489"/>
                <a:gd name="connsiteX650" fmla="*/ 2386493 w 4016827"/>
                <a:gd name="connsiteY650" fmla="*/ 5068309 h 7216489"/>
                <a:gd name="connsiteX651" fmla="*/ 2326076 w 4016827"/>
                <a:gd name="connsiteY651" fmla="*/ 5128727 h 7216489"/>
                <a:gd name="connsiteX652" fmla="*/ 2265658 w 4016827"/>
                <a:gd name="connsiteY652" fmla="*/ 5068309 h 7216489"/>
                <a:gd name="connsiteX653" fmla="*/ 2326076 w 4016827"/>
                <a:gd name="connsiteY653" fmla="*/ 5007892 h 7216489"/>
                <a:gd name="connsiteX654" fmla="*/ 3118216 w 4016827"/>
                <a:gd name="connsiteY654" fmla="*/ 4997822 h 7216489"/>
                <a:gd name="connsiteX655" fmla="*/ 3168564 w 4016827"/>
                <a:gd name="connsiteY655" fmla="*/ 5048170 h 7216489"/>
                <a:gd name="connsiteX656" fmla="*/ 3118216 w 4016827"/>
                <a:gd name="connsiteY656" fmla="*/ 5098518 h 7216489"/>
                <a:gd name="connsiteX657" fmla="*/ 3067869 w 4016827"/>
                <a:gd name="connsiteY657" fmla="*/ 5048170 h 7216489"/>
                <a:gd name="connsiteX658" fmla="*/ 3118216 w 4016827"/>
                <a:gd name="connsiteY658" fmla="*/ 4997822 h 7216489"/>
                <a:gd name="connsiteX659" fmla="*/ 1043881 w 4016827"/>
                <a:gd name="connsiteY659" fmla="*/ 4987754 h 7216489"/>
                <a:gd name="connsiteX660" fmla="*/ 1117724 w 4016827"/>
                <a:gd name="connsiteY660" fmla="*/ 5061597 h 7216489"/>
                <a:gd name="connsiteX661" fmla="*/ 1043881 w 4016827"/>
                <a:gd name="connsiteY661" fmla="*/ 5135441 h 7216489"/>
                <a:gd name="connsiteX662" fmla="*/ 970037 w 4016827"/>
                <a:gd name="connsiteY662" fmla="*/ 5061597 h 7216489"/>
                <a:gd name="connsiteX663" fmla="*/ 1043881 w 4016827"/>
                <a:gd name="connsiteY663" fmla="*/ 4987754 h 7216489"/>
                <a:gd name="connsiteX664" fmla="*/ 1953501 w 4016827"/>
                <a:gd name="connsiteY664" fmla="*/ 4984396 h 7216489"/>
                <a:gd name="connsiteX665" fmla="*/ 2017275 w 4016827"/>
                <a:gd name="connsiteY665" fmla="*/ 5048170 h 7216489"/>
                <a:gd name="connsiteX666" fmla="*/ 1953501 w 4016827"/>
                <a:gd name="connsiteY666" fmla="*/ 5111944 h 7216489"/>
                <a:gd name="connsiteX667" fmla="*/ 1889727 w 4016827"/>
                <a:gd name="connsiteY667" fmla="*/ 5048170 h 7216489"/>
                <a:gd name="connsiteX668" fmla="*/ 1953501 w 4016827"/>
                <a:gd name="connsiteY668" fmla="*/ 4984396 h 7216489"/>
                <a:gd name="connsiteX669" fmla="*/ 3537783 w 4016827"/>
                <a:gd name="connsiteY669" fmla="*/ 4954188 h 7216489"/>
                <a:gd name="connsiteX670" fmla="*/ 3571348 w 4016827"/>
                <a:gd name="connsiteY670" fmla="*/ 4987754 h 7216489"/>
                <a:gd name="connsiteX671" fmla="*/ 3537783 w 4016827"/>
                <a:gd name="connsiteY671" fmla="*/ 5021319 h 7216489"/>
                <a:gd name="connsiteX672" fmla="*/ 3504218 w 4016827"/>
                <a:gd name="connsiteY672" fmla="*/ 4987754 h 7216489"/>
                <a:gd name="connsiteX673" fmla="*/ 3537783 w 4016827"/>
                <a:gd name="connsiteY673" fmla="*/ 4954188 h 7216489"/>
                <a:gd name="connsiteX674" fmla="*/ 1594352 w 4016827"/>
                <a:gd name="connsiteY674" fmla="*/ 4947474 h 7216489"/>
                <a:gd name="connsiteX675" fmla="*/ 1658126 w 4016827"/>
                <a:gd name="connsiteY675" fmla="*/ 5011248 h 7216489"/>
                <a:gd name="connsiteX676" fmla="*/ 1594352 w 4016827"/>
                <a:gd name="connsiteY676" fmla="*/ 5075023 h 7216489"/>
                <a:gd name="connsiteX677" fmla="*/ 1530577 w 4016827"/>
                <a:gd name="connsiteY677" fmla="*/ 5011248 h 7216489"/>
                <a:gd name="connsiteX678" fmla="*/ 1594352 w 4016827"/>
                <a:gd name="connsiteY678" fmla="*/ 4947474 h 7216489"/>
                <a:gd name="connsiteX679" fmla="*/ 711585 w 4016827"/>
                <a:gd name="connsiteY679" fmla="*/ 4937406 h 7216489"/>
                <a:gd name="connsiteX680" fmla="*/ 772002 w 4016827"/>
                <a:gd name="connsiteY680" fmla="*/ 4997823 h 7216489"/>
                <a:gd name="connsiteX681" fmla="*/ 711585 w 4016827"/>
                <a:gd name="connsiteY681" fmla="*/ 5058241 h 7216489"/>
                <a:gd name="connsiteX682" fmla="*/ 651167 w 4016827"/>
                <a:gd name="connsiteY682" fmla="*/ 4997823 h 7216489"/>
                <a:gd name="connsiteX683" fmla="*/ 711585 w 4016827"/>
                <a:gd name="connsiteY683" fmla="*/ 4937406 h 7216489"/>
                <a:gd name="connsiteX684" fmla="*/ 392714 w 4016827"/>
                <a:gd name="connsiteY684" fmla="*/ 4930691 h 7216489"/>
                <a:gd name="connsiteX685" fmla="*/ 392714 w 4016827"/>
                <a:gd name="connsiteY685" fmla="*/ 4934048 h 7216489"/>
                <a:gd name="connsiteX686" fmla="*/ 392714 w 4016827"/>
                <a:gd name="connsiteY686" fmla="*/ 4930691 h 7216489"/>
                <a:gd name="connsiteX687" fmla="*/ 2940320 w 4016827"/>
                <a:gd name="connsiteY687" fmla="*/ 4907196 h 7216489"/>
                <a:gd name="connsiteX688" fmla="*/ 2983956 w 4016827"/>
                <a:gd name="connsiteY688" fmla="*/ 4950831 h 7216489"/>
                <a:gd name="connsiteX689" fmla="*/ 2940320 w 4016827"/>
                <a:gd name="connsiteY689" fmla="*/ 4994466 h 7216489"/>
                <a:gd name="connsiteX690" fmla="*/ 2896686 w 4016827"/>
                <a:gd name="connsiteY690" fmla="*/ 4950831 h 7216489"/>
                <a:gd name="connsiteX691" fmla="*/ 2940320 w 4016827"/>
                <a:gd name="connsiteY691" fmla="*/ 4907196 h 7216489"/>
                <a:gd name="connsiteX692" fmla="*/ 2547607 w 4016827"/>
                <a:gd name="connsiteY692" fmla="*/ 4903840 h 7216489"/>
                <a:gd name="connsiteX693" fmla="*/ 2597955 w 4016827"/>
                <a:gd name="connsiteY693" fmla="*/ 4954188 h 7216489"/>
                <a:gd name="connsiteX694" fmla="*/ 2547607 w 4016827"/>
                <a:gd name="connsiteY694" fmla="*/ 5004536 h 7216489"/>
                <a:gd name="connsiteX695" fmla="*/ 2497259 w 4016827"/>
                <a:gd name="connsiteY695" fmla="*/ 4954188 h 7216489"/>
                <a:gd name="connsiteX696" fmla="*/ 2547607 w 4016827"/>
                <a:gd name="connsiteY696" fmla="*/ 4903840 h 7216489"/>
                <a:gd name="connsiteX697" fmla="*/ 3353174 w 4016827"/>
                <a:gd name="connsiteY697" fmla="*/ 4883701 h 7216489"/>
                <a:gd name="connsiteX698" fmla="*/ 3380027 w 4016827"/>
                <a:gd name="connsiteY698" fmla="*/ 4910553 h 7216489"/>
                <a:gd name="connsiteX699" fmla="*/ 3353174 w 4016827"/>
                <a:gd name="connsiteY699" fmla="*/ 4937406 h 7216489"/>
                <a:gd name="connsiteX700" fmla="*/ 3326322 w 4016827"/>
                <a:gd name="connsiteY700" fmla="*/ 4910553 h 7216489"/>
                <a:gd name="connsiteX701" fmla="*/ 3353174 w 4016827"/>
                <a:gd name="connsiteY701" fmla="*/ 4883701 h 7216489"/>
                <a:gd name="connsiteX702" fmla="*/ 1251986 w 4016827"/>
                <a:gd name="connsiteY702" fmla="*/ 4883701 h 7216489"/>
                <a:gd name="connsiteX703" fmla="*/ 1325830 w 4016827"/>
                <a:gd name="connsiteY703" fmla="*/ 4957545 h 7216489"/>
                <a:gd name="connsiteX704" fmla="*/ 1251986 w 4016827"/>
                <a:gd name="connsiteY704" fmla="*/ 5031389 h 7216489"/>
                <a:gd name="connsiteX705" fmla="*/ 1178142 w 4016827"/>
                <a:gd name="connsiteY705" fmla="*/ 4957545 h 7216489"/>
                <a:gd name="connsiteX706" fmla="*/ 1251986 w 4016827"/>
                <a:gd name="connsiteY706" fmla="*/ 4883701 h 7216489"/>
                <a:gd name="connsiteX707" fmla="*/ 2168318 w 4016827"/>
                <a:gd name="connsiteY707" fmla="*/ 4873631 h 7216489"/>
                <a:gd name="connsiteX708" fmla="*/ 2232092 w 4016827"/>
                <a:gd name="connsiteY708" fmla="*/ 4937406 h 7216489"/>
                <a:gd name="connsiteX709" fmla="*/ 2168318 w 4016827"/>
                <a:gd name="connsiteY709" fmla="*/ 5001180 h 7216489"/>
                <a:gd name="connsiteX710" fmla="*/ 2104544 w 4016827"/>
                <a:gd name="connsiteY710" fmla="*/ 4937406 h 7216489"/>
                <a:gd name="connsiteX711" fmla="*/ 2168318 w 4016827"/>
                <a:gd name="connsiteY711" fmla="*/ 4873631 h 7216489"/>
                <a:gd name="connsiteX712" fmla="*/ 3977488 w 4016827"/>
                <a:gd name="connsiteY712" fmla="*/ 4873630 h 7216489"/>
                <a:gd name="connsiteX713" fmla="*/ 3990914 w 4016827"/>
                <a:gd name="connsiteY713" fmla="*/ 4887056 h 7216489"/>
                <a:gd name="connsiteX714" fmla="*/ 3977488 w 4016827"/>
                <a:gd name="connsiteY714" fmla="*/ 4900483 h 7216489"/>
                <a:gd name="connsiteX715" fmla="*/ 3964062 w 4016827"/>
                <a:gd name="connsiteY715" fmla="*/ 4887056 h 7216489"/>
                <a:gd name="connsiteX716" fmla="*/ 3977488 w 4016827"/>
                <a:gd name="connsiteY716" fmla="*/ 4873630 h 7216489"/>
                <a:gd name="connsiteX717" fmla="*/ 1809170 w 4016827"/>
                <a:gd name="connsiteY717" fmla="*/ 4843423 h 7216489"/>
                <a:gd name="connsiteX718" fmla="*/ 1872944 w 4016827"/>
                <a:gd name="connsiteY718" fmla="*/ 4907197 h 7216489"/>
                <a:gd name="connsiteX719" fmla="*/ 1809170 w 4016827"/>
                <a:gd name="connsiteY719" fmla="*/ 4970971 h 7216489"/>
                <a:gd name="connsiteX720" fmla="*/ 1745396 w 4016827"/>
                <a:gd name="connsiteY720" fmla="*/ 4907197 h 7216489"/>
                <a:gd name="connsiteX721" fmla="*/ 1809170 w 4016827"/>
                <a:gd name="connsiteY721" fmla="*/ 4843423 h 7216489"/>
                <a:gd name="connsiteX722" fmla="*/ 919690 w 4016827"/>
                <a:gd name="connsiteY722" fmla="*/ 4826640 h 7216489"/>
                <a:gd name="connsiteX723" fmla="*/ 993534 w 4016827"/>
                <a:gd name="connsiteY723" fmla="*/ 4900484 h 7216489"/>
                <a:gd name="connsiteX724" fmla="*/ 919690 w 4016827"/>
                <a:gd name="connsiteY724" fmla="*/ 4974327 h 7216489"/>
                <a:gd name="connsiteX725" fmla="*/ 845846 w 4016827"/>
                <a:gd name="connsiteY725" fmla="*/ 4900484 h 7216489"/>
                <a:gd name="connsiteX726" fmla="*/ 919690 w 4016827"/>
                <a:gd name="connsiteY726" fmla="*/ 4826640 h 7216489"/>
                <a:gd name="connsiteX727" fmla="*/ 3782809 w 4016827"/>
                <a:gd name="connsiteY727" fmla="*/ 4813213 h 7216489"/>
                <a:gd name="connsiteX728" fmla="*/ 3802948 w 4016827"/>
                <a:gd name="connsiteY728" fmla="*/ 4833352 h 7216489"/>
                <a:gd name="connsiteX729" fmla="*/ 3782809 w 4016827"/>
                <a:gd name="connsiteY729" fmla="*/ 4853491 h 7216489"/>
                <a:gd name="connsiteX730" fmla="*/ 3762670 w 4016827"/>
                <a:gd name="connsiteY730" fmla="*/ 4833352 h 7216489"/>
                <a:gd name="connsiteX731" fmla="*/ 3782809 w 4016827"/>
                <a:gd name="connsiteY731" fmla="*/ 4813213 h 7216489"/>
                <a:gd name="connsiteX732" fmla="*/ 597462 w 4016827"/>
                <a:gd name="connsiteY732" fmla="*/ 4799788 h 7216489"/>
                <a:gd name="connsiteX733" fmla="*/ 627671 w 4016827"/>
                <a:gd name="connsiteY733" fmla="*/ 4829996 h 7216489"/>
                <a:gd name="connsiteX734" fmla="*/ 597462 w 4016827"/>
                <a:gd name="connsiteY734" fmla="*/ 4860205 h 7216489"/>
                <a:gd name="connsiteX735" fmla="*/ 567254 w 4016827"/>
                <a:gd name="connsiteY735" fmla="*/ 4829996 h 7216489"/>
                <a:gd name="connsiteX736" fmla="*/ 597462 w 4016827"/>
                <a:gd name="connsiteY736" fmla="*/ 4799788 h 7216489"/>
                <a:gd name="connsiteX737" fmla="*/ 3171920 w 4016827"/>
                <a:gd name="connsiteY737" fmla="*/ 4793075 h 7216489"/>
                <a:gd name="connsiteX738" fmla="*/ 3198772 w 4016827"/>
                <a:gd name="connsiteY738" fmla="*/ 4819927 h 7216489"/>
                <a:gd name="connsiteX739" fmla="*/ 3171920 w 4016827"/>
                <a:gd name="connsiteY739" fmla="*/ 4846779 h 7216489"/>
                <a:gd name="connsiteX740" fmla="*/ 3145067 w 4016827"/>
                <a:gd name="connsiteY740" fmla="*/ 4819927 h 7216489"/>
                <a:gd name="connsiteX741" fmla="*/ 3171920 w 4016827"/>
                <a:gd name="connsiteY741" fmla="*/ 4793075 h 7216489"/>
                <a:gd name="connsiteX742" fmla="*/ 2769137 w 4016827"/>
                <a:gd name="connsiteY742" fmla="*/ 4789718 h 7216489"/>
                <a:gd name="connsiteX743" fmla="*/ 2816129 w 4016827"/>
                <a:gd name="connsiteY743" fmla="*/ 4836710 h 7216489"/>
                <a:gd name="connsiteX744" fmla="*/ 2769137 w 4016827"/>
                <a:gd name="connsiteY744" fmla="*/ 4883701 h 7216489"/>
                <a:gd name="connsiteX745" fmla="*/ 2722146 w 4016827"/>
                <a:gd name="connsiteY745" fmla="*/ 4836710 h 7216489"/>
                <a:gd name="connsiteX746" fmla="*/ 2769137 w 4016827"/>
                <a:gd name="connsiteY746" fmla="*/ 4789718 h 7216489"/>
                <a:gd name="connsiteX747" fmla="*/ 1460091 w 4016827"/>
                <a:gd name="connsiteY747" fmla="*/ 4789718 h 7216489"/>
                <a:gd name="connsiteX748" fmla="*/ 1527222 w 4016827"/>
                <a:gd name="connsiteY748" fmla="*/ 4856849 h 7216489"/>
                <a:gd name="connsiteX749" fmla="*/ 1460091 w 4016827"/>
                <a:gd name="connsiteY749" fmla="*/ 4923979 h 7216489"/>
                <a:gd name="connsiteX750" fmla="*/ 1392960 w 4016827"/>
                <a:gd name="connsiteY750" fmla="*/ 4856849 h 7216489"/>
                <a:gd name="connsiteX751" fmla="*/ 1460091 w 4016827"/>
                <a:gd name="connsiteY751" fmla="*/ 4789718 h 7216489"/>
                <a:gd name="connsiteX752" fmla="*/ 2386493 w 4016827"/>
                <a:gd name="connsiteY752" fmla="*/ 4769579 h 7216489"/>
                <a:gd name="connsiteX753" fmla="*/ 2446911 w 4016827"/>
                <a:gd name="connsiteY753" fmla="*/ 4829996 h 7216489"/>
                <a:gd name="connsiteX754" fmla="*/ 2386493 w 4016827"/>
                <a:gd name="connsiteY754" fmla="*/ 4890414 h 7216489"/>
                <a:gd name="connsiteX755" fmla="*/ 2326076 w 4016827"/>
                <a:gd name="connsiteY755" fmla="*/ 4829996 h 7216489"/>
                <a:gd name="connsiteX756" fmla="*/ 2386493 w 4016827"/>
                <a:gd name="connsiteY756" fmla="*/ 4769579 h 7216489"/>
                <a:gd name="connsiteX757" fmla="*/ 285305 w 4016827"/>
                <a:gd name="connsiteY757" fmla="*/ 4756153 h 7216489"/>
                <a:gd name="connsiteX758" fmla="*/ 285305 w 4016827"/>
                <a:gd name="connsiteY758" fmla="*/ 4759509 h 7216489"/>
                <a:gd name="connsiteX759" fmla="*/ 285305 w 4016827"/>
                <a:gd name="connsiteY759" fmla="*/ 4756153 h 7216489"/>
                <a:gd name="connsiteX760" fmla="*/ 3591488 w 4016827"/>
                <a:gd name="connsiteY760" fmla="*/ 4746083 h 7216489"/>
                <a:gd name="connsiteX761" fmla="*/ 3611627 w 4016827"/>
                <a:gd name="connsiteY761" fmla="*/ 4766222 h 7216489"/>
                <a:gd name="connsiteX762" fmla="*/ 3591488 w 4016827"/>
                <a:gd name="connsiteY762" fmla="*/ 4786361 h 7216489"/>
                <a:gd name="connsiteX763" fmla="*/ 3571348 w 4016827"/>
                <a:gd name="connsiteY763" fmla="*/ 4766222 h 7216489"/>
                <a:gd name="connsiteX764" fmla="*/ 3591488 w 4016827"/>
                <a:gd name="connsiteY764" fmla="*/ 4746083 h 7216489"/>
                <a:gd name="connsiteX765" fmla="*/ 2020632 w 4016827"/>
                <a:gd name="connsiteY765" fmla="*/ 4736013 h 7216489"/>
                <a:gd name="connsiteX766" fmla="*/ 2084406 w 4016827"/>
                <a:gd name="connsiteY766" fmla="*/ 4799788 h 7216489"/>
                <a:gd name="connsiteX767" fmla="*/ 2020632 w 4016827"/>
                <a:gd name="connsiteY767" fmla="*/ 4863561 h 7216489"/>
                <a:gd name="connsiteX768" fmla="*/ 1956858 w 4016827"/>
                <a:gd name="connsiteY768" fmla="*/ 4799788 h 7216489"/>
                <a:gd name="connsiteX769" fmla="*/ 2020632 w 4016827"/>
                <a:gd name="connsiteY769" fmla="*/ 4736013 h 7216489"/>
                <a:gd name="connsiteX770" fmla="*/ 1127794 w 4016827"/>
                <a:gd name="connsiteY770" fmla="*/ 4725944 h 7216489"/>
                <a:gd name="connsiteX771" fmla="*/ 1201638 w 4016827"/>
                <a:gd name="connsiteY771" fmla="*/ 4799788 h 7216489"/>
                <a:gd name="connsiteX772" fmla="*/ 1127794 w 4016827"/>
                <a:gd name="connsiteY772" fmla="*/ 4873631 h 7216489"/>
                <a:gd name="connsiteX773" fmla="*/ 1053951 w 4016827"/>
                <a:gd name="connsiteY773" fmla="*/ 4799788 h 7216489"/>
                <a:gd name="connsiteX774" fmla="*/ 1127794 w 4016827"/>
                <a:gd name="connsiteY774" fmla="*/ 4725944 h 7216489"/>
                <a:gd name="connsiteX775" fmla="*/ 1671552 w 4016827"/>
                <a:gd name="connsiteY775" fmla="*/ 4699092 h 7216489"/>
                <a:gd name="connsiteX776" fmla="*/ 1728613 w 4016827"/>
                <a:gd name="connsiteY776" fmla="*/ 4756153 h 7216489"/>
                <a:gd name="connsiteX777" fmla="*/ 1671552 w 4016827"/>
                <a:gd name="connsiteY777" fmla="*/ 4813214 h 7216489"/>
                <a:gd name="connsiteX778" fmla="*/ 1614491 w 4016827"/>
                <a:gd name="connsiteY778" fmla="*/ 4756153 h 7216489"/>
                <a:gd name="connsiteX779" fmla="*/ 1671552 w 4016827"/>
                <a:gd name="connsiteY779" fmla="*/ 4699092 h 7216489"/>
                <a:gd name="connsiteX780" fmla="*/ 2997382 w 4016827"/>
                <a:gd name="connsiteY780" fmla="*/ 4685665 h 7216489"/>
                <a:gd name="connsiteX781" fmla="*/ 3027590 w 4016827"/>
                <a:gd name="connsiteY781" fmla="*/ 4715874 h 7216489"/>
                <a:gd name="connsiteX782" fmla="*/ 2997382 w 4016827"/>
                <a:gd name="connsiteY782" fmla="*/ 4746083 h 7216489"/>
                <a:gd name="connsiteX783" fmla="*/ 2967173 w 4016827"/>
                <a:gd name="connsiteY783" fmla="*/ 4715874 h 7216489"/>
                <a:gd name="connsiteX784" fmla="*/ 2997382 w 4016827"/>
                <a:gd name="connsiteY784" fmla="*/ 4685665 h 7216489"/>
                <a:gd name="connsiteX785" fmla="*/ 805568 w 4016827"/>
                <a:gd name="connsiteY785" fmla="*/ 4678952 h 7216489"/>
                <a:gd name="connsiteX786" fmla="*/ 859272 w 4016827"/>
                <a:gd name="connsiteY786" fmla="*/ 4732657 h 7216489"/>
                <a:gd name="connsiteX787" fmla="*/ 805568 w 4016827"/>
                <a:gd name="connsiteY787" fmla="*/ 4786361 h 7216489"/>
                <a:gd name="connsiteX788" fmla="*/ 751863 w 4016827"/>
                <a:gd name="connsiteY788" fmla="*/ 4732657 h 7216489"/>
                <a:gd name="connsiteX789" fmla="*/ 805568 w 4016827"/>
                <a:gd name="connsiteY789" fmla="*/ 4678952 h 7216489"/>
                <a:gd name="connsiteX790" fmla="*/ 2608024 w 4016827"/>
                <a:gd name="connsiteY790" fmla="*/ 4675596 h 7216489"/>
                <a:gd name="connsiteX791" fmla="*/ 2648302 w 4016827"/>
                <a:gd name="connsiteY791" fmla="*/ 4715874 h 7216489"/>
                <a:gd name="connsiteX792" fmla="*/ 2608024 w 4016827"/>
                <a:gd name="connsiteY792" fmla="*/ 4756153 h 7216489"/>
                <a:gd name="connsiteX793" fmla="*/ 2567745 w 4016827"/>
                <a:gd name="connsiteY793" fmla="*/ 4715874 h 7216489"/>
                <a:gd name="connsiteX794" fmla="*/ 2608024 w 4016827"/>
                <a:gd name="connsiteY794" fmla="*/ 4675596 h 7216489"/>
                <a:gd name="connsiteX795" fmla="*/ 3403522 w 4016827"/>
                <a:gd name="connsiteY795" fmla="*/ 4672239 h 7216489"/>
                <a:gd name="connsiteX796" fmla="*/ 3416948 w 4016827"/>
                <a:gd name="connsiteY796" fmla="*/ 4685665 h 7216489"/>
                <a:gd name="connsiteX797" fmla="*/ 3403522 w 4016827"/>
                <a:gd name="connsiteY797" fmla="*/ 4699092 h 7216489"/>
                <a:gd name="connsiteX798" fmla="*/ 3390095 w 4016827"/>
                <a:gd name="connsiteY798" fmla="*/ 4685665 h 7216489"/>
                <a:gd name="connsiteX799" fmla="*/ 3403522 w 4016827"/>
                <a:gd name="connsiteY799" fmla="*/ 4672239 h 7216489"/>
                <a:gd name="connsiteX800" fmla="*/ 2235449 w 4016827"/>
                <a:gd name="connsiteY800" fmla="*/ 4635317 h 7216489"/>
                <a:gd name="connsiteX801" fmla="*/ 2292510 w 4016827"/>
                <a:gd name="connsiteY801" fmla="*/ 4692378 h 7216489"/>
                <a:gd name="connsiteX802" fmla="*/ 2235449 w 4016827"/>
                <a:gd name="connsiteY802" fmla="*/ 4749440 h 7216489"/>
                <a:gd name="connsiteX803" fmla="*/ 2178388 w 4016827"/>
                <a:gd name="connsiteY803" fmla="*/ 4692378 h 7216489"/>
                <a:gd name="connsiteX804" fmla="*/ 2235449 w 4016827"/>
                <a:gd name="connsiteY804" fmla="*/ 4635317 h 7216489"/>
                <a:gd name="connsiteX805" fmla="*/ 1335899 w 4016827"/>
                <a:gd name="connsiteY805" fmla="*/ 4628604 h 7216489"/>
                <a:gd name="connsiteX806" fmla="*/ 1406387 w 4016827"/>
                <a:gd name="connsiteY806" fmla="*/ 4699092 h 7216489"/>
                <a:gd name="connsiteX807" fmla="*/ 1335899 w 4016827"/>
                <a:gd name="connsiteY807" fmla="*/ 4769579 h 7216489"/>
                <a:gd name="connsiteX808" fmla="*/ 1265412 w 4016827"/>
                <a:gd name="connsiteY808" fmla="*/ 4699092 h 7216489"/>
                <a:gd name="connsiteX809" fmla="*/ 1335899 w 4016827"/>
                <a:gd name="connsiteY809" fmla="*/ 4628604 h 7216489"/>
                <a:gd name="connsiteX810" fmla="*/ 490053 w 4016827"/>
                <a:gd name="connsiteY810" fmla="*/ 4615178 h 7216489"/>
                <a:gd name="connsiteX811" fmla="*/ 533688 w 4016827"/>
                <a:gd name="connsiteY811" fmla="*/ 4658813 h 7216489"/>
                <a:gd name="connsiteX812" fmla="*/ 490053 w 4016827"/>
                <a:gd name="connsiteY812" fmla="*/ 4702448 h 7216489"/>
                <a:gd name="connsiteX813" fmla="*/ 446418 w 4016827"/>
                <a:gd name="connsiteY813" fmla="*/ 4658813 h 7216489"/>
                <a:gd name="connsiteX814" fmla="*/ 490053 w 4016827"/>
                <a:gd name="connsiteY814" fmla="*/ 4615178 h 7216489"/>
                <a:gd name="connsiteX815" fmla="*/ 3833158 w 4016827"/>
                <a:gd name="connsiteY815" fmla="*/ 4598395 h 7216489"/>
                <a:gd name="connsiteX816" fmla="*/ 3846584 w 4016827"/>
                <a:gd name="connsiteY816" fmla="*/ 4611822 h 7216489"/>
                <a:gd name="connsiteX817" fmla="*/ 3833158 w 4016827"/>
                <a:gd name="connsiteY817" fmla="*/ 4625248 h 7216489"/>
                <a:gd name="connsiteX818" fmla="*/ 3819732 w 4016827"/>
                <a:gd name="connsiteY818" fmla="*/ 4611822 h 7216489"/>
                <a:gd name="connsiteX819" fmla="*/ 3833158 w 4016827"/>
                <a:gd name="connsiteY819" fmla="*/ 4598395 h 7216489"/>
                <a:gd name="connsiteX820" fmla="*/ 1883014 w 4016827"/>
                <a:gd name="connsiteY820" fmla="*/ 4584969 h 7216489"/>
                <a:gd name="connsiteX821" fmla="*/ 1946788 w 4016827"/>
                <a:gd name="connsiteY821" fmla="*/ 4648743 h 7216489"/>
                <a:gd name="connsiteX822" fmla="*/ 1883014 w 4016827"/>
                <a:gd name="connsiteY822" fmla="*/ 4712517 h 7216489"/>
                <a:gd name="connsiteX823" fmla="*/ 1819240 w 4016827"/>
                <a:gd name="connsiteY823" fmla="*/ 4648743 h 7216489"/>
                <a:gd name="connsiteX824" fmla="*/ 1883014 w 4016827"/>
                <a:gd name="connsiteY824" fmla="*/ 4584969 h 7216489"/>
                <a:gd name="connsiteX825" fmla="*/ 3225624 w 4016827"/>
                <a:gd name="connsiteY825" fmla="*/ 4568187 h 7216489"/>
                <a:gd name="connsiteX826" fmla="*/ 3245765 w 4016827"/>
                <a:gd name="connsiteY826" fmla="*/ 4588326 h 7216489"/>
                <a:gd name="connsiteX827" fmla="*/ 3225624 w 4016827"/>
                <a:gd name="connsiteY827" fmla="*/ 4608465 h 7216489"/>
                <a:gd name="connsiteX828" fmla="*/ 3205487 w 4016827"/>
                <a:gd name="connsiteY828" fmla="*/ 4588326 h 7216489"/>
                <a:gd name="connsiteX829" fmla="*/ 3225624 w 4016827"/>
                <a:gd name="connsiteY829" fmla="*/ 4568187 h 7216489"/>
                <a:gd name="connsiteX830" fmla="*/ 2829555 w 4016827"/>
                <a:gd name="connsiteY830" fmla="*/ 4561474 h 7216489"/>
                <a:gd name="connsiteX831" fmla="*/ 2866477 w 4016827"/>
                <a:gd name="connsiteY831" fmla="*/ 4598395 h 7216489"/>
                <a:gd name="connsiteX832" fmla="*/ 2829555 w 4016827"/>
                <a:gd name="connsiteY832" fmla="*/ 4635317 h 7216489"/>
                <a:gd name="connsiteX833" fmla="*/ 2792633 w 4016827"/>
                <a:gd name="connsiteY833" fmla="*/ 4598395 h 7216489"/>
                <a:gd name="connsiteX834" fmla="*/ 2829555 w 4016827"/>
                <a:gd name="connsiteY834" fmla="*/ 4561474 h 7216489"/>
                <a:gd name="connsiteX835" fmla="*/ 1010315 w 4016827"/>
                <a:gd name="connsiteY835" fmla="*/ 4561474 h 7216489"/>
                <a:gd name="connsiteX836" fmla="*/ 1080803 w 4016827"/>
                <a:gd name="connsiteY836" fmla="*/ 4631961 h 7216489"/>
                <a:gd name="connsiteX837" fmla="*/ 1010315 w 4016827"/>
                <a:gd name="connsiteY837" fmla="*/ 4702448 h 7216489"/>
                <a:gd name="connsiteX838" fmla="*/ 939828 w 4016827"/>
                <a:gd name="connsiteY838" fmla="*/ 4631961 h 7216489"/>
                <a:gd name="connsiteX839" fmla="*/ 1010315 w 4016827"/>
                <a:gd name="connsiteY839" fmla="*/ 4561474 h 7216489"/>
                <a:gd name="connsiteX840" fmla="*/ 2453624 w 4016827"/>
                <a:gd name="connsiteY840" fmla="*/ 4541334 h 7216489"/>
                <a:gd name="connsiteX841" fmla="*/ 2497259 w 4016827"/>
                <a:gd name="connsiteY841" fmla="*/ 4584969 h 7216489"/>
                <a:gd name="connsiteX842" fmla="*/ 2453624 w 4016827"/>
                <a:gd name="connsiteY842" fmla="*/ 4628604 h 7216489"/>
                <a:gd name="connsiteX843" fmla="*/ 2409989 w 4016827"/>
                <a:gd name="connsiteY843" fmla="*/ 4584969 h 7216489"/>
                <a:gd name="connsiteX844" fmla="*/ 2453624 w 4016827"/>
                <a:gd name="connsiteY844" fmla="*/ 4541334 h 7216489"/>
                <a:gd name="connsiteX845" fmla="*/ 1544004 w 4016827"/>
                <a:gd name="connsiteY845" fmla="*/ 4534621 h 7216489"/>
                <a:gd name="connsiteX846" fmla="*/ 1607778 w 4016827"/>
                <a:gd name="connsiteY846" fmla="*/ 4598395 h 7216489"/>
                <a:gd name="connsiteX847" fmla="*/ 1544004 w 4016827"/>
                <a:gd name="connsiteY847" fmla="*/ 4662169 h 7216489"/>
                <a:gd name="connsiteX848" fmla="*/ 1480229 w 4016827"/>
                <a:gd name="connsiteY848" fmla="*/ 4598395 h 7216489"/>
                <a:gd name="connsiteX849" fmla="*/ 1544004 w 4016827"/>
                <a:gd name="connsiteY849" fmla="*/ 4534621 h 7216489"/>
                <a:gd name="connsiteX850" fmla="*/ 3641834 w 4016827"/>
                <a:gd name="connsiteY850" fmla="*/ 4531265 h 7216489"/>
                <a:gd name="connsiteX851" fmla="*/ 3655261 w 4016827"/>
                <a:gd name="connsiteY851" fmla="*/ 4544691 h 7216489"/>
                <a:gd name="connsiteX852" fmla="*/ 3641834 w 4016827"/>
                <a:gd name="connsiteY852" fmla="*/ 4558117 h 7216489"/>
                <a:gd name="connsiteX853" fmla="*/ 3628408 w 4016827"/>
                <a:gd name="connsiteY853" fmla="*/ 4544691 h 7216489"/>
                <a:gd name="connsiteX854" fmla="*/ 3641834 w 4016827"/>
                <a:gd name="connsiteY854" fmla="*/ 4531265 h 7216489"/>
                <a:gd name="connsiteX855" fmla="*/ 694802 w 4016827"/>
                <a:gd name="connsiteY855" fmla="*/ 4504412 h 7216489"/>
                <a:gd name="connsiteX856" fmla="*/ 748507 w 4016827"/>
                <a:gd name="connsiteY856" fmla="*/ 4558117 h 7216489"/>
                <a:gd name="connsiteX857" fmla="*/ 694802 w 4016827"/>
                <a:gd name="connsiteY857" fmla="*/ 4611822 h 7216489"/>
                <a:gd name="connsiteX858" fmla="*/ 641097 w 4016827"/>
                <a:gd name="connsiteY858" fmla="*/ 4558117 h 7216489"/>
                <a:gd name="connsiteX859" fmla="*/ 694802 w 4016827"/>
                <a:gd name="connsiteY859" fmla="*/ 4504412 h 7216489"/>
                <a:gd name="connsiteX860" fmla="*/ 2094474 w 4016827"/>
                <a:gd name="connsiteY860" fmla="*/ 4487630 h 7216489"/>
                <a:gd name="connsiteX861" fmla="*/ 2151536 w 4016827"/>
                <a:gd name="connsiteY861" fmla="*/ 4544691 h 7216489"/>
                <a:gd name="connsiteX862" fmla="*/ 2094474 w 4016827"/>
                <a:gd name="connsiteY862" fmla="*/ 4601752 h 7216489"/>
                <a:gd name="connsiteX863" fmla="*/ 2037413 w 4016827"/>
                <a:gd name="connsiteY863" fmla="*/ 4544691 h 7216489"/>
                <a:gd name="connsiteX864" fmla="*/ 2094474 w 4016827"/>
                <a:gd name="connsiteY864" fmla="*/ 4487630 h 7216489"/>
                <a:gd name="connsiteX865" fmla="*/ 3051086 w 4016827"/>
                <a:gd name="connsiteY865" fmla="*/ 4467491 h 7216489"/>
                <a:gd name="connsiteX866" fmla="*/ 3064512 w 4016827"/>
                <a:gd name="connsiteY866" fmla="*/ 4480917 h 7216489"/>
                <a:gd name="connsiteX867" fmla="*/ 3051086 w 4016827"/>
                <a:gd name="connsiteY867" fmla="*/ 4494343 h 7216489"/>
                <a:gd name="connsiteX868" fmla="*/ 3037660 w 4016827"/>
                <a:gd name="connsiteY868" fmla="*/ 4480917 h 7216489"/>
                <a:gd name="connsiteX869" fmla="*/ 3051086 w 4016827"/>
                <a:gd name="connsiteY869" fmla="*/ 4467491 h 7216489"/>
                <a:gd name="connsiteX870" fmla="*/ 392714 w 4016827"/>
                <a:gd name="connsiteY870" fmla="*/ 4467491 h 7216489"/>
                <a:gd name="connsiteX871" fmla="*/ 406140 w 4016827"/>
                <a:gd name="connsiteY871" fmla="*/ 4480917 h 7216489"/>
                <a:gd name="connsiteX872" fmla="*/ 392714 w 4016827"/>
                <a:gd name="connsiteY872" fmla="*/ 4494343 h 7216489"/>
                <a:gd name="connsiteX873" fmla="*/ 379288 w 4016827"/>
                <a:gd name="connsiteY873" fmla="*/ 4480917 h 7216489"/>
                <a:gd name="connsiteX874" fmla="*/ 392714 w 4016827"/>
                <a:gd name="connsiteY874" fmla="*/ 4467491 h 7216489"/>
                <a:gd name="connsiteX875" fmla="*/ 1215064 w 4016827"/>
                <a:gd name="connsiteY875" fmla="*/ 4460777 h 7216489"/>
                <a:gd name="connsiteX876" fmla="*/ 1285551 w 4016827"/>
                <a:gd name="connsiteY876" fmla="*/ 4531265 h 7216489"/>
                <a:gd name="connsiteX877" fmla="*/ 1215064 w 4016827"/>
                <a:gd name="connsiteY877" fmla="*/ 4601752 h 7216489"/>
                <a:gd name="connsiteX878" fmla="*/ 1144577 w 4016827"/>
                <a:gd name="connsiteY878" fmla="*/ 4531265 h 7216489"/>
                <a:gd name="connsiteX879" fmla="*/ 1215064 w 4016827"/>
                <a:gd name="connsiteY879" fmla="*/ 4460777 h 7216489"/>
                <a:gd name="connsiteX880" fmla="*/ 3457226 w 4016827"/>
                <a:gd name="connsiteY880" fmla="*/ 4454064 h 7216489"/>
                <a:gd name="connsiteX881" fmla="*/ 3463939 w 4016827"/>
                <a:gd name="connsiteY881" fmla="*/ 4460777 h 7216489"/>
                <a:gd name="connsiteX882" fmla="*/ 3457226 w 4016827"/>
                <a:gd name="connsiteY882" fmla="*/ 4467491 h 7216489"/>
                <a:gd name="connsiteX883" fmla="*/ 3450513 w 4016827"/>
                <a:gd name="connsiteY883" fmla="*/ 4460777 h 7216489"/>
                <a:gd name="connsiteX884" fmla="*/ 3457226 w 4016827"/>
                <a:gd name="connsiteY884" fmla="*/ 4454064 h 7216489"/>
                <a:gd name="connsiteX885" fmla="*/ 2668441 w 4016827"/>
                <a:gd name="connsiteY885" fmla="*/ 4454064 h 7216489"/>
                <a:gd name="connsiteX886" fmla="*/ 2688580 w 4016827"/>
                <a:gd name="connsiteY886" fmla="*/ 4474204 h 7216489"/>
                <a:gd name="connsiteX887" fmla="*/ 2668441 w 4016827"/>
                <a:gd name="connsiteY887" fmla="*/ 4494343 h 7216489"/>
                <a:gd name="connsiteX888" fmla="*/ 2648302 w 4016827"/>
                <a:gd name="connsiteY888" fmla="*/ 4474204 h 7216489"/>
                <a:gd name="connsiteX889" fmla="*/ 2668441 w 4016827"/>
                <a:gd name="connsiteY889" fmla="*/ 4454064 h 7216489"/>
                <a:gd name="connsiteX890" fmla="*/ 1752109 w 4016827"/>
                <a:gd name="connsiteY890" fmla="*/ 4440638 h 7216489"/>
                <a:gd name="connsiteX891" fmla="*/ 1805813 w 4016827"/>
                <a:gd name="connsiteY891" fmla="*/ 4494343 h 7216489"/>
                <a:gd name="connsiteX892" fmla="*/ 1752109 w 4016827"/>
                <a:gd name="connsiteY892" fmla="*/ 4548047 h 7216489"/>
                <a:gd name="connsiteX893" fmla="*/ 1698404 w 4016827"/>
                <a:gd name="connsiteY893" fmla="*/ 4494343 h 7216489"/>
                <a:gd name="connsiteX894" fmla="*/ 1752109 w 4016827"/>
                <a:gd name="connsiteY894" fmla="*/ 4440638 h 7216489"/>
                <a:gd name="connsiteX895" fmla="*/ 899550 w 4016827"/>
                <a:gd name="connsiteY895" fmla="*/ 4413786 h 7216489"/>
                <a:gd name="connsiteX896" fmla="*/ 949898 w 4016827"/>
                <a:gd name="connsiteY896" fmla="*/ 4464134 h 7216489"/>
                <a:gd name="connsiteX897" fmla="*/ 899550 w 4016827"/>
                <a:gd name="connsiteY897" fmla="*/ 4514482 h 7216489"/>
                <a:gd name="connsiteX898" fmla="*/ 849202 w 4016827"/>
                <a:gd name="connsiteY898" fmla="*/ 4464134 h 7216489"/>
                <a:gd name="connsiteX899" fmla="*/ 899550 w 4016827"/>
                <a:gd name="connsiteY899" fmla="*/ 4413786 h 7216489"/>
                <a:gd name="connsiteX900" fmla="*/ 2305936 w 4016827"/>
                <a:gd name="connsiteY900" fmla="*/ 4410429 h 7216489"/>
                <a:gd name="connsiteX901" fmla="*/ 2336145 w 4016827"/>
                <a:gd name="connsiteY901" fmla="*/ 4440638 h 7216489"/>
                <a:gd name="connsiteX902" fmla="*/ 2305936 w 4016827"/>
                <a:gd name="connsiteY902" fmla="*/ 4470847 h 7216489"/>
                <a:gd name="connsiteX903" fmla="*/ 2275728 w 4016827"/>
                <a:gd name="connsiteY903" fmla="*/ 4440638 h 7216489"/>
                <a:gd name="connsiteX904" fmla="*/ 2305936 w 4016827"/>
                <a:gd name="connsiteY904" fmla="*/ 4410429 h 7216489"/>
                <a:gd name="connsiteX905" fmla="*/ 3882246 w 4016827"/>
                <a:gd name="connsiteY905" fmla="*/ 4389453 h 7216489"/>
                <a:gd name="connsiteX906" fmla="*/ 3883505 w 4016827"/>
                <a:gd name="connsiteY906" fmla="*/ 4390291 h 7216489"/>
                <a:gd name="connsiteX907" fmla="*/ 3883505 w 4016827"/>
                <a:gd name="connsiteY907" fmla="*/ 4393648 h 7216489"/>
                <a:gd name="connsiteX908" fmla="*/ 3882246 w 4016827"/>
                <a:gd name="connsiteY908" fmla="*/ 4389453 h 7216489"/>
                <a:gd name="connsiteX909" fmla="*/ 1423169 w 4016827"/>
                <a:gd name="connsiteY909" fmla="*/ 4373507 h 7216489"/>
                <a:gd name="connsiteX910" fmla="*/ 1480230 w 4016827"/>
                <a:gd name="connsiteY910" fmla="*/ 4430569 h 7216489"/>
                <a:gd name="connsiteX911" fmla="*/ 1423169 w 4016827"/>
                <a:gd name="connsiteY911" fmla="*/ 4487630 h 7216489"/>
                <a:gd name="connsiteX912" fmla="*/ 1366108 w 4016827"/>
                <a:gd name="connsiteY912" fmla="*/ 4430569 h 7216489"/>
                <a:gd name="connsiteX913" fmla="*/ 1423169 w 4016827"/>
                <a:gd name="connsiteY913" fmla="*/ 4373507 h 7216489"/>
                <a:gd name="connsiteX914" fmla="*/ 1960214 w 4016827"/>
                <a:gd name="connsiteY914" fmla="*/ 4353368 h 7216489"/>
                <a:gd name="connsiteX915" fmla="*/ 2000492 w 4016827"/>
                <a:gd name="connsiteY915" fmla="*/ 4393647 h 7216489"/>
                <a:gd name="connsiteX916" fmla="*/ 1960214 w 4016827"/>
                <a:gd name="connsiteY916" fmla="*/ 4433925 h 7216489"/>
                <a:gd name="connsiteX917" fmla="*/ 1919936 w 4016827"/>
                <a:gd name="connsiteY917" fmla="*/ 4393647 h 7216489"/>
                <a:gd name="connsiteX918" fmla="*/ 1960214 w 4016827"/>
                <a:gd name="connsiteY918" fmla="*/ 4353368 h 7216489"/>
                <a:gd name="connsiteX919" fmla="*/ 3279328 w 4016827"/>
                <a:gd name="connsiteY919" fmla="*/ 4350013 h 7216489"/>
                <a:gd name="connsiteX920" fmla="*/ 3289399 w 4016827"/>
                <a:gd name="connsiteY920" fmla="*/ 4360082 h 7216489"/>
                <a:gd name="connsiteX921" fmla="*/ 3279328 w 4016827"/>
                <a:gd name="connsiteY921" fmla="*/ 4370152 h 7216489"/>
                <a:gd name="connsiteX922" fmla="*/ 3269260 w 4016827"/>
                <a:gd name="connsiteY922" fmla="*/ 4360082 h 7216489"/>
                <a:gd name="connsiteX923" fmla="*/ 3279328 w 4016827"/>
                <a:gd name="connsiteY923" fmla="*/ 4350013 h 7216489"/>
                <a:gd name="connsiteX924" fmla="*/ 2889972 w 4016827"/>
                <a:gd name="connsiteY924" fmla="*/ 4343299 h 7216489"/>
                <a:gd name="connsiteX925" fmla="*/ 2906755 w 4016827"/>
                <a:gd name="connsiteY925" fmla="*/ 4360081 h 7216489"/>
                <a:gd name="connsiteX926" fmla="*/ 2889972 w 4016827"/>
                <a:gd name="connsiteY926" fmla="*/ 4376864 h 7216489"/>
                <a:gd name="connsiteX927" fmla="*/ 2873190 w 4016827"/>
                <a:gd name="connsiteY927" fmla="*/ 4360081 h 7216489"/>
                <a:gd name="connsiteX928" fmla="*/ 2889972 w 4016827"/>
                <a:gd name="connsiteY928" fmla="*/ 4343299 h 7216489"/>
                <a:gd name="connsiteX929" fmla="*/ 597462 w 4016827"/>
                <a:gd name="connsiteY929" fmla="*/ 4336586 h 7216489"/>
                <a:gd name="connsiteX930" fmla="*/ 644454 w 4016827"/>
                <a:gd name="connsiteY930" fmla="*/ 4383577 h 7216489"/>
                <a:gd name="connsiteX931" fmla="*/ 597462 w 4016827"/>
                <a:gd name="connsiteY931" fmla="*/ 4430569 h 7216489"/>
                <a:gd name="connsiteX932" fmla="*/ 550471 w 4016827"/>
                <a:gd name="connsiteY932" fmla="*/ 4383577 h 7216489"/>
                <a:gd name="connsiteX933" fmla="*/ 597462 w 4016827"/>
                <a:gd name="connsiteY933" fmla="*/ 4336586 h 7216489"/>
                <a:gd name="connsiteX934" fmla="*/ 3692184 w 4016827"/>
                <a:gd name="connsiteY934" fmla="*/ 4316447 h 7216489"/>
                <a:gd name="connsiteX935" fmla="*/ 3695539 w 4016827"/>
                <a:gd name="connsiteY935" fmla="*/ 4319804 h 7216489"/>
                <a:gd name="connsiteX936" fmla="*/ 3692184 w 4016827"/>
                <a:gd name="connsiteY936" fmla="*/ 4323161 h 7216489"/>
                <a:gd name="connsiteX937" fmla="*/ 3688828 w 4016827"/>
                <a:gd name="connsiteY937" fmla="*/ 4319804 h 7216489"/>
                <a:gd name="connsiteX938" fmla="*/ 3692184 w 4016827"/>
                <a:gd name="connsiteY938" fmla="*/ 4316447 h 7216489"/>
                <a:gd name="connsiteX939" fmla="*/ 2520754 w 4016827"/>
                <a:gd name="connsiteY939" fmla="*/ 4316447 h 7216489"/>
                <a:gd name="connsiteX940" fmla="*/ 2540894 w 4016827"/>
                <a:gd name="connsiteY940" fmla="*/ 4336587 h 7216489"/>
                <a:gd name="connsiteX941" fmla="*/ 2520754 w 4016827"/>
                <a:gd name="connsiteY941" fmla="*/ 4356726 h 7216489"/>
                <a:gd name="connsiteX942" fmla="*/ 2500615 w 4016827"/>
                <a:gd name="connsiteY942" fmla="*/ 4336587 h 7216489"/>
                <a:gd name="connsiteX943" fmla="*/ 2520754 w 4016827"/>
                <a:gd name="connsiteY943" fmla="*/ 4316447 h 7216489"/>
                <a:gd name="connsiteX944" fmla="*/ 1104298 w 4016827"/>
                <a:gd name="connsiteY944" fmla="*/ 4299665 h 7216489"/>
                <a:gd name="connsiteX945" fmla="*/ 1164716 w 4016827"/>
                <a:gd name="connsiteY945" fmla="*/ 4360082 h 7216489"/>
                <a:gd name="connsiteX946" fmla="*/ 1104298 w 4016827"/>
                <a:gd name="connsiteY946" fmla="*/ 4420500 h 7216489"/>
                <a:gd name="connsiteX947" fmla="*/ 1043881 w 4016827"/>
                <a:gd name="connsiteY947" fmla="*/ 4360082 h 7216489"/>
                <a:gd name="connsiteX948" fmla="*/ 1104298 w 4016827"/>
                <a:gd name="connsiteY948" fmla="*/ 4299665 h 7216489"/>
                <a:gd name="connsiteX949" fmla="*/ 1627917 w 4016827"/>
                <a:gd name="connsiteY949" fmla="*/ 4279526 h 7216489"/>
                <a:gd name="connsiteX950" fmla="*/ 1681622 w 4016827"/>
                <a:gd name="connsiteY950" fmla="*/ 4333230 h 7216489"/>
                <a:gd name="connsiteX951" fmla="*/ 1627917 w 4016827"/>
                <a:gd name="connsiteY951" fmla="*/ 4386935 h 7216489"/>
                <a:gd name="connsiteX952" fmla="*/ 1574212 w 4016827"/>
                <a:gd name="connsiteY952" fmla="*/ 4333230 h 7216489"/>
                <a:gd name="connsiteX953" fmla="*/ 1627917 w 4016827"/>
                <a:gd name="connsiteY953" fmla="*/ 4279526 h 7216489"/>
                <a:gd name="connsiteX954" fmla="*/ 2168318 w 4016827"/>
                <a:gd name="connsiteY954" fmla="*/ 4269455 h 7216489"/>
                <a:gd name="connsiteX955" fmla="*/ 2191814 w 4016827"/>
                <a:gd name="connsiteY955" fmla="*/ 4292951 h 7216489"/>
                <a:gd name="connsiteX956" fmla="*/ 2168318 w 4016827"/>
                <a:gd name="connsiteY956" fmla="*/ 4316446 h 7216489"/>
                <a:gd name="connsiteX957" fmla="*/ 2144822 w 4016827"/>
                <a:gd name="connsiteY957" fmla="*/ 4292951 h 7216489"/>
                <a:gd name="connsiteX958" fmla="*/ 2168318 w 4016827"/>
                <a:gd name="connsiteY958" fmla="*/ 4269455 h 7216489"/>
                <a:gd name="connsiteX959" fmla="*/ 298731 w 4016827"/>
                <a:gd name="connsiteY959" fmla="*/ 4269455 h 7216489"/>
                <a:gd name="connsiteX960" fmla="*/ 328940 w 4016827"/>
                <a:gd name="connsiteY960" fmla="*/ 4299664 h 7216489"/>
                <a:gd name="connsiteX961" fmla="*/ 298731 w 4016827"/>
                <a:gd name="connsiteY961" fmla="*/ 4329873 h 7216489"/>
                <a:gd name="connsiteX962" fmla="*/ 268522 w 4016827"/>
                <a:gd name="connsiteY962" fmla="*/ 4299664 h 7216489"/>
                <a:gd name="connsiteX963" fmla="*/ 298731 w 4016827"/>
                <a:gd name="connsiteY963" fmla="*/ 4269455 h 7216489"/>
                <a:gd name="connsiteX964" fmla="*/ 798855 w 4016827"/>
                <a:gd name="connsiteY964" fmla="*/ 4245960 h 7216489"/>
                <a:gd name="connsiteX965" fmla="*/ 839133 w 4016827"/>
                <a:gd name="connsiteY965" fmla="*/ 4286239 h 7216489"/>
                <a:gd name="connsiteX966" fmla="*/ 798855 w 4016827"/>
                <a:gd name="connsiteY966" fmla="*/ 4326517 h 7216489"/>
                <a:gd name="connsiteX967" fmla="*/ 758576 w 4016827"/>
                <a:gd name="connsiteY967" fmla="*/ 4286239 h 7216489"/>
                <a:gd name="connsiteX968" fmla="*/ 798855 w 4016827"/>
                <a:gd name="connsiteY968" fmla="*/ 4245960 h 7216489"/>
                <a:gd name="connsiteX969" fmla="*/ 3111504 w 4016827"/>
                <a:gd name="connsiteY969" fmla="*/ 4235891 h 7216489"/>
                <a:gd name="connsiteX970" fmla="*/ 3121574 w 4016827"/>
                <a:gd name="connsiteY970" fmla="*/ 4245960 h 7216489"/>
                <a:gd name="connsiteX971" fmla="*/ 3111504 w 4016827"/>
                <a:gd name="connsiteY971" fmla="*/ 4256030 h 7216489"/>
                <a:gd name="connsiteX972" fmla="*/ 3101434 w 4016827"/>
                <a:gd name="connsiteY972" fmla="*/ 4245960 h 7216489"/>
                <a:gd name="connsiteX973" fmla="*/ 3111504 w 4016827"/>
                <a:gd name="connsiteY973" fmla="*/ 4235891 h 7216489"/>
                <a:gd name="connsiteX974" fmla="*/ 3510931 w 4016827"/>
                <a:gd name="connsiteY974" fmla="*/ 4229177 h 7216489"/>
                <a:gd name="connsiteX975" fmla="*/ 3510931 w 4016827"/>
                <a:gd name="connsiteY975" fmla="*/ 4235891 h 7216489"/>
                <a:gd name="connsiteX976" fmla="*/ 3510931 w 4016827"/>
                <a:gd name="connsiteY976" fmla="*/ 4229177 h 7216489"/>
                <a:gd name="connsiteX977" fmla="*/ 2735572 w 4016827"/>
                <a:gd name="connsiteY977" fmla="*/ 4215751 h 7216489"/>
                <a:gd name="connsiteX978" fmla="*/ 2748998 w 4016827"/>
                <a:gd name="connsiteY978" fmla="*/ 4229177 h 7216489"/>
                <a:gd name="connsiteX979" fmla="*/ 2735572 w 4016827"/>
                <a:gd name="connsiteY979" fmla="*/ 4242604 h 7216489"/>
                <a:gd name="connsiteX980" fmla="*/ 2722146 w 4016827"/>
                <a:gd name="connsiteY980" fmla="*/ 4229177 h 7216489"/>
                <a:gd name="connsiteX981" fmla="*/ 2735572 w 4016827"/>
                <a:gd name="connsiteY981" fmla="*/ 4215751 h 7216489"/>
                <a:gd name="connsiteX982" fmla="*/ 1312404 w 4016827"/>
                <a:gd name="connsiteY982" fmla="*/ 4212395 h 7216489"/>
                <a:gd name="connsiteX983" fmla="*/ 1362752 w 4016827"/>
                <a:gd name="connsiteY983" fmla="*/ 4262743 h 7216489"/>
                <a:gd name="connsiteX984" fmla="*/ 1312404 w 4016827"/>
                <a:gd name="connsiteY984" fmla="*/ 4313091 h 7216489"/>
                <a:gd name="connsiteX985" fmla="*/ 1262056 w 4016827"/>
                <a:gd name="connsiteY985" fmla="*/ 4262743 h 7216489"/>
                <a:gd name="connsiteX986" fmla="*/ 1312404 w 4016827"/>
                <a:gd name="connsiteY986" fmla="*/ 4212395 h 7216489"/>
                <a:gd name="connsiteX987" fmla="*/ 1836022 w 4016827"/>
                <a:gd name="connsiteY987" fmla="*/ 4198969 h 7216489"/>
                <a:gd name="connsiteX988" fmla="*/ 1869588 w 4016827"/>
                <a:gd name="connsiteY988" fmla="*/ 4232534 h 7216489"/>
                <a:gd name="connsiteX989" fmla="*/ 1836022 w 4016827"/>
                <a:gd name="connsiteY989" fmla="*/ 4266099 h 7216489"/>
                <a:gd name="connsiteX990" fmla="*/ 1802457 w 4016827"/>
                <a:gd name="connsiteY990" fmla="*/ 4232534 h 7216489"/>
                <a:gd name="connsiteX991" fmla="*/ 1836022 w 4016827"/>
                <a:gd name="connsiteY991" fmla="*/ 4198969 h 7216489"/>
                <a:gd name="connsiteX992" fmla="*/ 2379780 w 4016827"/>
                <a:gd name="connsiteY992" fmla="*/ 4172116 h 7216489"/>
                <a:gd name="connsiteX993" fmla="*/ 2396563 w 4016827"/>
                <a:gd name="connsiteY993" fmla="*/ 4188899 h 7216489"/>
                <a:gd name="connsiteX994" fmla="*/ 2379780 w 4016827"/>
                <a:gd name="connsiteY994" fmla="*/ 4205682 h 7216489"/>
                <a:gd name="connsiteX995" fmla="*/ 2362997 w 4016827"/>
                <a:gd name="connsiteY995" fmla="*/ 4188899 h 7216489"/>
                <a:gd name="connsiteX996" fmla="*/ 2379780 w 4016827"/>
                <a:gd name="connsiteY996" fmla="*/ 4172116 h 7216489"/>
                <a:gd name="connsiteX997" fmla="*/ 503479 w 4016827"/>
                <a:gd name="connsiteY997" fmla="*/ 4158690 h 7216489"/>
                <a:gd name="connsiteX998" fmla="*/ 547114 w 4016827"/>
                <a:gd name="connsiteY998" fmla="*/ 4202325 h 7216489"/>
                <a:gd name="connsiteX999" fmla="*/ 503479 w 4016827"/>
                <a:gd name="connsiteY999" fmla="*/ 4245960 h 7216489"/>
                <a:gd name="connsiteX1000" fmla="*/ 459844 w 4016827"/>
                <a:gd name="connsiteY1000" fmla="*/ 4202325 h 7216489"/>
                <a:gd name="connsiteX1001" fmla="*/ 503479 w 4016827"/>
                <a:gd name="connsiteY1001" fmla="*/ 4158690 h 7216489"/>
                <a:gd name="connsiteX1002" fmla="*/ 1003602 w 4016827"/>
                <a:gd name="connsiteY1002" fmla="*/ 4128481 h 7216489"/>
                <a:gd name="connsiteX1003" fmla="*/ 1060663 w 4016827"/>
                <a:gd name="connsiteY1003" fmla="*/ 4185542 h 7216489"/>
                <a:gd name="connsiteX1004" fmla="*/ 1003602 w 4016827"/>
                <a:gd name="connsiteY1004" fmla="*/ 4242604 h 7216489"/>
                <a:gd name="connsiteX1005" fmla="*/ 946541 w 4016827"/>
                <a:gd name="connsiteY1005" fmla="*/ 4185542 h 7216489"/>
                <a:gd name="connsiteX1006" fmla="*/ 1003602 w 4016827"/>
                <a:gd name="connsiteY1006" fmla="*/ 4128481 h 7216489"/>
                <a:gd name="connsiteX1007" fmla="*/ 3336391 w 4016827"/>
                <a:gd name="connsiteY1007" fmla="*/ 4125125 h 7216489"/>
                <a:gd name="connsiteX1008" fmla="*/ 3339748 w 4016827"/>
                <a:gd name="connsiteY1008" fmla="*/ 4128481 h 7216489"/>
                <a:gd name="connsiteX1009" fmla="*/ 3336391 w 4016827"/>
                <a:gd name="connsiteY1009" fmla="*/ 4131838 h 7216489"/>
                <a:gd name="connsiteX1010" fmla="*/ 3333033 w 4016827"/>
                <a:gd name="connsiteY1010" fmla="*/ 4128481 h 7216489"/>
                <a:gd name="connsiteX1011" fmla="*/ 3336391 w 4016827"/>
                <a:gd name="connsiteY1011" fmla="*/ 4125125 h 7216489"/>
                <a:gd name="connsiteX1012" fmla="*/ 2044126 w 4016827"/>
                <a:gd name="connsiteY1012" fmla="*/ 4111699 h 7216489"/>
                <a:gd name="connsiteX1013" fmla="*/ 2067622 w 4016827"/>
                <a:gd name="connsiteY1013" fmla="*/ 4135194 h 7216489"/>
                <a:gd name="connsiteX1014" fmla="*/ 2044126 w 4016827"/>
                <a:gd name="connsiteY1014" fmla="*/ 4158690 h 7216489"/>
                <a:gd name="connsiteX1015" fmla="*/ 2020631 w 4016827"/>
                <a:gd name="connsiteY1015" fmla="*/ 4135194 h 7216489"/>
                <a:gd name="connsiteX1016" fmla="*/ 2044126 w 4016827"/>
                <a:gd name="connsiteY1016" fmla="*/ 4111699 h 7216489"/>
                <a:gd name="connsiteX1017" fmla="*/ 1517151 w 4016827"/>
                <a:gd name="connsiteY1017" fmla="*/ 4111699 h 7216489"/>
                <a:gd name="connsiteX1018" fmla="*/ 1570856 w 4016827"/>
                <a:gd name="connsiteY1018" fmla="*/ 4165403 h 7216489"/>
                <a:gd name="connsiteX1019" fmla="*/ 1517151 w 4016827"/>
                <a:gd name="connsiteY1019" fmla="*/ 4219108 h 7216489"/>
                <a:gd name="connsiteX1020" fmla="*/ 1463447 w 4016827"/>
                <a:gd name="connsiteY1020" fmla="*/ 4165403 h 7216489"/>
                <a:gd name="connsiteX1021" fmla="*/ 1517151 w 4016827"/>
                <a:gd name="connsiteY1021" fmla="*/ 4111699 h 7216489"/>
                <a:gd name="connsiteX1022" fmla="*/ 2953747 w 4016827"/>
                <a:gd name="connsiteY1022" fmla="*/ 4108342 h 7216489"/>
                <a:gd name="connsiteX1023" fmla="*/ 2963816 w 4016827"/>
                <a:gd name="connsiteY1023" fmla="*/ 4118412 h 7216489"/>
                <a:gd name="connsiteX1024" fmla="*/ 2953747 w 4016827"/>
                <a:gd name="connsiteY1024" fmla="*/ 4128481 h 7216489"/>
                <a:gd name="connsiteX1025" fmla="*/ 2943677 w 4016827"/>
                <a:gd name="connsiteY1025" fmla="*/ 4118412 h 7216489"/>
                <a:gd name="connsiteX1026" fmla="*/ 2953747 w 4016827"/>
                <a:gd name="connsiteY1026" fmla="*/ 4108342 h 7216489"/>
                <a:gd name="connsiteX1027" fmla="*/ 2591242 w 4016827"/>
                <a:gd name="connsiteY1027" fmla="*/ 4071420 h 7216489"/>
                <a:gd name="connsiteX1028" fmla="*/ 2604668 w 4016827"/>
                <a:gd name="connsiteY1028" fmla="*/ 4084846 h 7216489"/>
                <a:gd name="connsiteX1029" fmla="*/ 2591242 w 4016827"/>
                <a:gd name="connsiteY1029" fmla="*/ 4098272 h 7216489"/>
                <a:gd name="connsiteX1030" fmla="*/ 2577816 w 4016827"/>
                <a:gd name="connsiteY1030" fmla="*/ 4084846 h 7216489"/>
                <a:gd name="connsiteX1031" fmla="*/ 2591242 w 4016827"/>
                <a:gd name="connsiteY1031" fmla="*/ 4071420 h 7216489"/>
                <a:gd name="connsiteX1032" fmla="*/ 708228 w 4016827"/>
                <a:gd name="connsiteY1032" fmla="*/ 4064707 h 7216489"/>
                <a:gd name="connsiteX1033" fmla="*/ 748507 w 4016827"/>
                <a:gd name="connsiteY1033" fmla="*/ 4104986 h 7216489"/>
                <a:gd name="connsiteX1034" fmla="*/ 708228 w 4016827"/>
                <a:gd name="connsiteY1034" fmla="*/ 4145264 h 7216489"/>
                <a:gd name="connsiteX1035" fmla="*/ 667950 w 4016827"/>
                <a:gd name="connsiteY1035" fmla="*/ 4104986 h 7216489"/>
                <a:gd name="connsiteX1036" fmla="*/ 708228 w 4016827"/>
                <a:gd name="connsiteY1036" fmla="*/ 4064707 h 7216489"/>
                <a:gd name="connsiteX1037" fmla="*/ 1208351 w 4016827"/>
                <a:gd name="connsiteY1037" fmla="*/ 4037855 h 7216489"/>
                <a:gd name="connsiteX1038" fmla="*/ 1258699 w 4016827"/>
                <a:gd name="connsiteY1038" fmla="*/ 4088203 h 7216489"/>
                <a:gd name="connsiteX1039" fmla="*/ 1208351 w 4016827"/>
                <a:gd name="connsiteY1039" fmla="*/ 4138551 h 7216489"/>
                <a:gd name="connsiteX1040" fmla="*/ 1158003 w 4016827"/>
                <a:gd name="connsiteY1040" fmla="*/ 4088203 h 7216489"/>
                <a:gd name="connsiteX1041" fmla="*/ 1208351 w 4016827"/>
                <a:gd name="connsiteY1041" fmla="*/ 4037855 h 7216489"/>
                <a:gd name="connsiteX1042" fmla="*/ 1721900 w 4016827"/>
                <a:gd name="connsiteY1042" fmla="*/ 4031142 h 7216489"/>
                <a:gd name="connsiteX1043" fmla="*/ 1755465 w 4016827"/>
                <a:gd name="connsiteY1043" fmla="*/ 4064707 h 7216489"/>
                <a:gd name="connsiteX1044" fmla="*/ 1721900 w 4016827"/>
                <a:gd name="connsiteY1044" fmla="*/ 4098272 h 7216489"/>
                <a:gd name="connsiteX1045" fmla="*/ 1688335 w 4016827"/>
                <a:gd name="connsiteY1045" fmla="*/ 4064707 h 7216489"/>
                <a:gd name="connsiteX1046" fmla="*/ 1721900 w 4016827"/>
                <a:gd name="connsiteY1046" fmla="*/ 4031142 h 7216489"/>
                <a:gd name="connsiteX1047" fmla="*/ 2252232 w 4016827"/>
                <a:gd name="connsiteY1047" fmla="*/ 4021072 h 7216489"/>
                <a:gd name="connsiteX1048" fmla="*/ 2265658 w 4016827"/>
                <a:gd name="connsiteY1048" fmla="*/ 4034498 h 7216489"/>
                <a:gd name="connsiteX1049" fmla="*/ 2252232 w 4016827"/>
                <a:gd name="connsiteY1049" fmla="*/ 4047924 h 7216489"/>
                <a:gd name="connsiteX1050" fmla="*/ 2238806 w 4016827"/>
                <a:gd name="connsiteY1050" fmla="*/ 4034498 h 7216489"/>
                <a:gd name="connsiteX1051" fmla="*/ 2252232 w 4016827"/>
                <a:gd name="connsiteY1051" fmla="*/ 4021072 h 7216489"/>
                <a:gd name="connsiteX1052" fmla="*/ 3170662 w 4016827"/>
                <a:gd name="connsiteY1052" fmla="*/ 4006807 h 7216489"/>
                <a:gd name="connsiteX1053" fmla="*/ 3171920 w 4016827"/>
                <a:gd name="connsiteY1053" fmla="*/ 4007646 h 7216489"/>
                <a:gd name="connsiteX1054" fmla="*/ 3171920 w 4016827"/>
                <a:gd name="connsiteY1054" fmla="*/ 4011003 h 7216489"/>
                <a:gd name="connsiteX1055" fmla="*/ 3170662 w 4016827"/>
                <a:gd name="connsiteY1055" fmla="*/ 4006807 h 7216489"/>
                <a:gd name="connsiteX1056" fmla="*/ 419566 w 4016827"/>
                <a:gd name="connsiteY1056" fmla="*/ 3980794 h 7216489"/>
                <a:gd name="connsiteX1057" fmla="*/ 456488 w 4016827"/>
                <a:gd name="connsiteY1057" fmla="*/ 4017716 h 7216489"/>
                <a:gd name="connsiteX1058" fmla="*/ 419566 w 4016827"/>
                <a:gd name="connsiteY1058" fmla="*/ 4054637 h 7216489"/>
                <a:gd name="connsiteX1059" fmla="*/ 382644 w 4016827"/>
                <a:gd name="connsiteY1059" fmla="*/ 4017716 h 7216489"/>
                <a:gd name="connsiteX1060" fmla="*/ 419566 w 4016827"/>
                <a:gd name="connsiteY1060" fmla="*/ 3980794 h 7216489"/>
                <a:gd name="connsiteX1061" fmla="*/ 912976 w 4016827"/>
                <a:gd name="connsiteY1061" fmla="*/ 3974081 h 7216489"/>
                <a:gd name="connsiteX1062" fmla="*/ 946541 w 4016827"/>
                <a:gd name="connsiteY1062" fmla="*/ 4007646 h 7216489"/>
                <a:gd name="connsiteX1063" fmla="*/ 912976 w 4016827"/>
                <a:gd name="connsiteY1063" fmla="*/ 4041211 h 7216489"/>
                <a:gd name="connsiteX1064" fmla="*/ 879410 w 4016827"/>
                <a:gd name="connsiteY1064" fmla="*/ 4007646 h 7216489"/>
                <a:gd name="connsiteX1065" fmla="*/ 912976 w 4016827"/>
                <a:gd name="connsiteY1065" fmla="*/ 3974081 h 7216489"/>
                <a:gd name="connsiteX1066" fmla="*/ 2802702 w 4016827"/>
                <a:gd name="connsiteY1066" fmla="*/ 3970724 h 7216489"/>
                <a:gd name="connsiteX1067" fmla="*/ 2812772 w 4016827"/>
                <a:gd name="connsiteY1067" fmla="*/ 3980794 h 7216489"/>
                <a:gd name="connsiteX1068" fmla="*/ 2802702 w 4016827"/>
                <a:gd name="connsiteY1068" fmla="*/ 3990863 h 7216489"/>
                <a:gd name="connsiteX1069" fmla="*/ 2792633 w 4016827"/>
                <a:gd name="connsiteY1069" fmla="*/ 3980794 h 7216489"/>
                <a:gd name="connsiteX1070" fmla="*/ 2802702 w 4016827"/>
                <a:gd name="connsiteY1070" fmla="*/ 3970724 h 7216489"/>
                <a:gd name="connsiteX1071" fmla="*/ 1413099 w 4016827"/>
                <a:gd name="connsiteY1071" fmla="*/ 3953941 h 7216489"/>
                <a:gd name="connsiteX1072" fmla="*/ 1450020 w 4016827"/>
                <a:gd name="connsiteY1072" fmla="*/ 3990863 h 7216489"/>
                <a:gd name="connsiteX1073" fmla="*/ 1413099 w 4016827"/>
                <a:gd name="connsiteY1073" fmla="*/ 4027785 h 7216489"/>
                <a:gd name="connsiteX1074" fmla="*/ 1376178 w 4016827"/>
                <a:gd name="connsiteY1074" fmla="*/ 3990863 h 7216489"/>
                <a:gd name="connsiteX1075" fmla="*/ 1413099 w 4016827"/>
                <a:gd name="connsiteY1075" fmla="*/ 3953941 h 7216489"/>
                <a:gd name="connsiteX1076" fmla="*/ 1926649 w 4016827"/>
                <a:gd name="connsiteY1076" fmla="*/ 3947228 h 7216489"/>
                <a:gd name="connsiteX1077" fmla="*/ 1946788 w 4016827"/>
                <a:gd name="connsiteY1077" fmla="*/ 3967368 h 7216489"/>
                <a:gd name="connsiteX1078" fmla="*/ 1926649 w 4016827"/>
                <a:gd name="connsiteY1078" fmla="*/ 3987507 h 7216489"/>
                <a:gd name="connsiteX1079" fmla="*/ 1906510 w 4016827"/>
                <a:gd name="connsiteY1079" fmla="*/ 3967368 h 7216489"/>
                <a:gd name="connsiteX1080" fmla="*/ 1926649 w 4016827"/>
                <a:gd name="connsiteY1080" fmla="*/ 3947228 h 7216489"/>
                <a:gd name="connsiteX1081" fmla="*/ 2460337 w 4016827"/>
                <a:gd name="connsiteY1081" fmla="*/ 3927089 h 7216489"/>
                <a:gd name="connsiteX1082" fmla="*/ 2467050 w 4016827"/>
                <a:gd name="connsiteY1082" fmla="*/ 3933802 h 7216489"/>
                <a:gd name="connsiteX1083" fmla="*/ 2460337 w 4016827"/>
                <a:gd name="connsiteY1083" fmla="*/ 3940515 h 7216489"/>
                <a:gd name="connsiteX1084" fmla="*/ 2453624 w 4016827"/>
                <a:gd name="connsiteY1084" fmla="*/ 3933802 h 7216489"/>
                <a:gd name="connsiteX1085" fmla="*/ 2460337 w 4016827"/>
                <a:gd name="connsiteY1085" fmla="*/ 3927089 h 7216489"/>
                <a:gd name="connsiteX1086" fmla="*/ 137618 w 4016827"/>
                <a:gd name="connsiteY1086" fmla="*/ 3927089 h 7216489"/>
                <a:gd name="connsiteX1087" fmla="*/ 137618 w 4016827"/>
                <a:gd name="connsiteY1087" fmla="*/ 3930446 h 7216489"/>
                <a:gd name="connsiteX1088" fmla="*/ 137618 w 4016827"/>
                <a:gd name="connsiteY1088" fmla="*/ 3929187 h 7216489"/>
                <a:gd name="connsiteX1089" fmla="*/ 624315 w 4016827"/>
                <a:gd name="connsiteY1089" fmla="*/ 3890167 h 7216489"/>
                <a:gd name="connsiteX1090" fmla="*/ 654524 w 4016827"/>
                <a:gd name="connsiteY1090" fmla="*/ 3920376 h 7216489"/>
                <a:gd name="connsiteX1091" fmla="*/ 624315 w 4016827"/>
                <a:gd name="connsiteY1091" fmla="*/ 3950585 h 7216489"/>
                <a:gd name="connsiteX1092" fmla="*/ 594106 w 4016827"/>
                <a:gd name="connsiteY1092" fmla="*/ 3920376 h 7216489"/>
                <a:gd name="connsiteX1093" fmla="*/ 624315 w 4016827"/>
                <a:gd name="connsiteY1093" fmla="*/ 3890167 h 7216489"/>
                <a:gd name="connsiteX1094" fmla="*/ 1114368 w 4016827"/>
                <a:gd name="connsiteY1094" fmla="*/ 3873385 h 7216489"/>
                <a:gd name="connsiteX1095" fmla="*/ 1147933 w 4016827"/>
                <a:gd name="connsiteY1095" fmla="*/ 3906950 h 7216489"/>
                <a:gd name="connsiteX1096" fmla="*/ 1114368 w 4016827"/>
                <a:gd name="connsiteY1096" fmla="*/ 3940515 h 7216489"/>
                <a:gd name="connsiteX1097" fmla="*/ 1080803 w 4016827"/>
                <a:gd name="connsiteY1097" fmla="*/ 3906950 h 7216489"/>
                <a:gd name="connsiteX1098" fmla="*/ 1114368 w 4016827"/>
                <a:gd name="connsiteY1098" fmla="*/ 3873385 h 7216489"/>
                <a:gd name="connsiteX1099" fmla="*/ 3017521 w 4016827"/>
                <a:gd name="connsiteY1099" fmla="*/ 3866671 h 7216489"/>
                <a:gd name="connsiteX1100" fmla="*/ 3024234 w 4016827"/>
                <a:gd name="connsiteY1100" fmla="*/ 3873385 h 7216489"/>
                <a:gd name="connsiteX1101" fmla="*/ 3017521 w 4016827"/>
                <a:gd name="connsiteY1101" fmla="*/ 3880098 h 7216489"/>
                <a:gd name="connsiteX1102" fmla="*/ 3010808 w 4016827"/>
                <a:gd name="connsiteY1102" fmla="*/ 3873385 h 7216489"/>
                <a:gd name="connsiteX1103" fmla="*/ 3017521 w 4016827"/>
                <a:gd name="connsiteY1103" fmla="*/ 3866671 h 7216489"/>
                <a:gd name="connsiteX1104" fmla="*/ 1617847 w 4016827"/>
                <a:gd name="connsiteY1104" fmla="*/ 3859958 h 7216489"/>
                <a:gd name="connsiteX1105" fmla="*/ 1651413 w 4016827"/>
                <a:gd name="connsiteY1105" fmla="*/ 3893524 h 7216489"/>
                <a:gd name="connsiteX1106" fmla="*/ 1617847 w 4016827"/>
                <a:gd name="connsiteY1106" fmla="*/ 3927089 h 7216489"/>
                <a:gd name="connsiteX1107" fmla="*/ 1584282 w 4016827"/>
                <a:gd name="connsiteY1107" fmla="*/ 3893524 h 7216489"/>
                <a:gd name="connsiteX1108" fmla="*/ 1617847 w 4016827"/>
                <a:gd name="connsiteY1108" fmla="*/ 3859958 h 7216489"/>
                <a:gd name="connsiteX1109" fmla="*/ 2131396 w 4016827"/>
                <a:gd name="connsiteY1109" fmla="*/ 3853245 h 7216489"/>
                <a:gd name="connsiteX1110" fmla="*/ 2144822 w 4016827"/>
                <a:gd name="connsiteY1110" fmla="*/ 3866671 h 7216489"/>
                <a:gd name="connsiteX1111" fmla="*/ 2131396 w 4016827"/>
                <a:gd name="connsiteY1111" fmla="*/ 3880098 h 7216489"/>
                <a:gd name="connsiteX1112" fmla="*/ 2117970 w 4016827"/>
                <a:gd name="connsiteY1112" fmla="*/ 3866671 h 7216489"/>
                <a:gd name="connsiteX1113" fmla="*/ 2131396 w 4016827"/>
                <a:gd name="connsiteY1113" fmla="*/ 3853245 h 7216489"/>
                <a:gd name="connsiteX1114" fmla="*/ 2668441 w 4016827"/>
                <a:gd name="connsiteY1114" fmla="*/ 3823036 h 7216489"/>
                <a:gd name="connsiteX1115" fmla="*/ 2675154 w 4016827"/>
                <a:gd name="connsiteY1115" fmla="*/ 3829750 h 7216489"/>
                <a:gd name="connsiteX1116" fmla="*/ 2668441 w 4016827"/>
                <a:gd name="connsiteY1116" fmla="*/ 3836463 h 7216489"/>
                <a:gd name="connsiteX1117" fmla="*/ 2661728 w 4016827"/>
                <a:gd name="connsiteY1117" fmla="*/ 3829750 h 7216489"/>
                <a:gd name="connsiteX1118" fmla="*/ 2668441 w 4016827"/>
                <a:gd name="connsiteY1118" fmla="*/ 3823036 h 7216489"/>
                <a:gd name="connsiteX1119" fmla="*/ 342366 w 4016827"/>
                <a:gd name="connsiteY1119" fmla="*/ 3792828 h 7216489"/>
                <a:gd name="connsiteX1120" fmla="*/ 379288 w 4016827"/>
                <a:gd name="connsiteY1120" fmla="*/ 3829750 h 7216489"/>
                <a:gd name="connsiteX1121" fmla="*/ 342366 w 4016827"/>
                <a:gd name="connsiteY1121" fmla="*/ 3866671 h 7216489"/>
                <a:gd name="connsiteX1122" fmla="*/ 305444 w 4016827"/>
                <a:gd name="connsiteY1122" fmla="*/ 3829750 h 7216489"/>
                <a:gd name="connsiteX1123" fmla="*/ 342366 w 4016827"/>
                <a:gd name="connsiteY1123" fmla="*/ 3792828 h 7216489"/>
                <a:gd name="connsiteX1124" fmla="*/ 829063 w 4016827"/>
                <a:gd name="connsiteY1124" fmla="*/ 3789471 h 7216489"/>
                <a:gd name="connsiteX1125" fmla="*/ 859272 w 4016827"/>
                <a:gd name="connsiteY1125" fmla="*/ 3819680 h 7216489"/>
                <a:gd name="connsiteX1126" fmla="*/ 829063 w 4016827"/>
                <a:gd name="connsiteY1126" fmla="*/ 3849889 h 7216489"/>
                <a:gd name="connsiteX1127" fmla="*/ 798855 w 4016827"/>
                <a:gd name="connsiteY1127" fmla="*/ 3819680 h 7216489"/>
                <a:gd name="connsiteX1128" fmla="*/ 829063 w 4016827"/>
                <a:gd name="connsiteY1128" fmla="*/ 3789471 h 7216489"/>
                <a:gd name="connsiteX1129" fmla="*/ 1822596 w 4016827"/>
                <a:gd name="connsiteY1129" fmla="*/ 3776045 h 7216489"/>
                <a:gd name="connsiteX1130" fmla="*/ 1839379 w 4016827"/>
                <a:gd name="connsiteY1130" fmla="*/ 3792828 h 7216489"/>
                <a:gd name="connsiteX1131" fmla="*/ 1822596 w 4016827"/>
                <a:gd name="connsiteY1131" fmla="*/ 3809610 h 7216489"/>
                <a:gd name="connsiteX1132" fmla="*/ 1805813 w 4016827"/>
                <a:gd name="connsiteY1132" fmla="*/ 3792828 h 7216489"/>
                <a:gd name="connsiteX1133" fmla="*/ 1822596 w 4016827"/>
                <a:gd name="connsiteY1133" fmla="*/ 3776045 h 7216489"/>
                <a:gd name="connsiteX1134" fmla="*/ 1319117 w 4016827"/>
                <a:gd name="connsiteY1134" fmla="*/ 3769333 h 7216489"/>
                <a:gd name="connsiteX1135" fmla="*/ 1359395 w 4016827"/>
                <a:gd name="connsiteY1135" fmla="*/ 3809611 h 7216489"/>
                <a:gd name="connsiteX1136" fmla="*/ 1319117 w 4016827"/>
                <a:gd name="connsiteY1136" fmla="*/ 3849890 h 7216489"/>
                <a:gd name="connsiteX1137" fmla="*/ 1278838 w 4016827"/>
                <a:gd name="connsiteY1137" fmla="*/ 3809611 h 7216489"/>
                <a:gd name="connsiteX1138" fmla="*/ 1319117 w 4016827"/>
                <a:gd name="connsiteY1138" fmla="*/ 3769333 h 7216489"/>
                <a:gd name="connsiteX1139" fmla="*/ 2339502 w 4016827"/>
                <a:gd name="connsiteY1139" fmla="*/ 3755906 h 7216489"/>
                <a:gd name="connsiteX1140" fmla="*/ 2349571 w 4016827"/>
                <a:gd name="connsiteY1140" fmla="*/ 3765975 h 7216489"/>
                <a:gd name="connsiteX1141" fmla="*/ 2339502 w 4016827"/>
                <a:gd name="connsiteY1141" fmla="*/ 3776045 h 7216489"/>
                <a:gd name="connsiteX1142" fmla="*/ 2329432 w 4016827"/>
                <a:gd name="connsiteY1142" fmla="*/ 3765975 h 7216489"/>
                <a:gd name="connsiteX1143" fmla="*/ 2339502 w 4016827"/>
                <a:gd name="connsiteY1143" fmla="*/ 3755906 h 7216489"/>
                <a:gd name="connsiteX1144" fmla="*/ 70487 w 4016827"/>
                <a:gd name="connsiteY1144" fmla="*/ 3732410 h 7216489"/>
                <a:gd name="connsiteX1145" fmla="*/ 73844 w 4016827"/>
                <a:gd name="connsiteY1145" fmla="*/ 3735767 h 7216489"/>
                <a:gd name="connsiteX1146" fmla="*/ 70487 w 4016827"/>
                <a:gd name="connsiteY1146" fmla="*/ 3739123 h 7216489"/>
                <a:gd name="connsiteX1147" fmla="*/ 67131 w 4016827"/>
                <a:gd name="connsiteY1147" fmla="*/ 3735767 h 7216489"/>
                <a:gd name="connsiteX1148" fmla="*/ 70487 w 4016827"/>
                <a:gd name="connsiteY1148" fmla="*/ 3732410 h 7216489"/>
                <a:gd name="connsiteX1149" fmla="*/ 2876546 w 4016827"/>
                <a:gd name="connsiteY1149" fmla="*/ 3718985 h 7216489"/>
                <a:gd name="connsiteX1150" fmla="*/ 2883260 w 4016827"/>
                <a:gd name="connsiteY1150" fmla="*/ 3725698 h 7216489"/>
                <a:gd name="connsiteX1151" fmla="*/ 2876546 w 4016827"/>
                <a:gd name="connsiteY1151" fmla="*/ 3732411 h 7216489"/>
                <a:gd name="connsiteX1152" fmla="*/ 2869833 w 4016827"/>
                <a:gd name="connsiteY1152" fmla="*/ 3725698 h 7216489"/>
                <a:gd name="connsiteX1153" fmla="*/ 2876546 w 4016827"/>
                <a:gd name="connsiteY1153" fmla="*/ 3718985 h 7216489"/>
                <a:gd name="connsiteX1154" fmla="*/ 550471 w 4016827"/>
                <a:gd name="connsiteY1154" fmla="*/ 3698845 h 7216489"/>
                <a:gd name="connsiteX1155" fmla="*/ 580680 w 4016827"/>
                <a:gd name="connsiteY1155" fmla="*/ 3729053 h 7216489"/>
                <a:gd name="connsiteX1156" fmla="*/ 550471 w 4016827"/>
                <a:gd name="connsiteY1156" fmla="*/ 3759262 h 7216489"/>
                <a:gd name="connsiteX1157" fmla="*/ 520262 w 4016827"/>
                <a:gd name="connsiteY1157" fmla="*/ 3729053 h 7216489"/>
                <a:gd name="connsiteX1158" fmla="*/ 550471 w 4016827"/>
                <a:gd name="connsiteY1158" fmla="*/ 3698845 h 7216489"/>
                <a:gd name="connsiteX1159" fmla="*/ 1033811 w 4016827"/>
                <a:gd name="connsiteY1159" fmla="*/ 3685420 h 7216489"/>
                <a:gd name="connsiteX1160" fmla="*/ 1070733 w 4016827"/>
                <a:gd name="connsiteY1160" fmla="*/ 3722341 h 7216489"/>
                <a:gd name="connsiteX1161" fmla="*/ 1033811 w 4016827"/>
                <a:gd name="connsiteY1161" fmla="*/ 3759263 h 7216489"/>
                <a:gd name="connsiteX1162" fmla="*/ 996889 w 4016827"/>
                <a:gd name="connsiteY1162" fmla="*/ 3722341 h 7216489"/>
                <a:gd name="connsiteX1163" fmla="*/ 1033811 w 4016827"/>
                <a:gd name="connsiteY1163" fmla="*/ 3685420 h 7216489"/>
                <a:gd name="connsiteX1164" fmla="*/ 2027345 w 4016827"/>
                <a:gd name="connsiteY1164" fmla="*/ 3678707 h 7216489"/>
                <a:gd name="connsiteX1165" fmla="*/ 2044128 w 4016827"/>
                <a:gd name="connsiteY1165" fmla="*/ 3695489 h 7216489"/>
                <a:gd name="connsiteX1166" fmla="*/ 2027345 w 4016827"/>
                <a:gd name="connsiteY1166" fmla="*/ 3712272 h 7216489"/>
                <a:gd name="connsiteX1167" fmla="*/ 2010562 w 4016827"/>
                <a:gd name="connsiteY1167" fmla="*/ 3695489 h 7216489"/>
                <a:gd name="connsiteX1168" fmla="*/ 2027345 w 4016827"/>
                <a:gd name="connsiteY1168" fmla="*/ 3678707 h 7216489"/>
                <a:gd name="connsiteX1169" fmla="*/ 1523864 w 4016827"/>
                <a:gd name="connsiteY1169" fmla="*/ 3678707 h 7216489"/>
                <a:gd name="connsiteX1170" fmla="*/ 1554073 w 4016827"/>
                <a:gd name="connsiteY1170" fmla="*/ 3708915 h 7216489"/>
                <a:gd name="connsiteX1171" fmla="*/ 1523864 w 4016827"/>
                <a:gd name="connsiteY1171" fmla="*/ 3739124 h 7216489"/>
                <a:gd name="connsiteX1172" fmla="*/ 1493656 w 4016827"/>
                <a:gd name="connsiteY1172" fmla="*/ 3708915 h 7216489"/>
                <a:gd name="connsiteX1173" fmla="*/ 1523864 w 4016827"/>
                <a:gd name="connsiteY1173" fmla="*/ 3678707 h 7216489"/>
                <a:gd name="connsiteX1174" fmla="*/ 2544250 w 4016827"/>
                <a:gd name="connsiteY1174" fmla="*/ 3661924 h 7216489"/>
                <a:gd name="connsiteX1175" fmla="*/ 2550963 w 4016827"/>
                <a:gd name="connsiteY1175" fmla="*/ 3668637 h 7216489"/>
                <a:gd name="connsiteX1176" fmla="*/ 2544250 w 4016827"/>
                <a:gd name="connsiteY1176" fmla="*/ 3675350 h 7216489"/>
                <a:gd name="connsiteX1177" fmla="*/ 2537537 w 4016827"/>
                <a:gd name="connsiteY1177" fmla="*/ 3668637 h 7216489"/>
                <a:gd name="connsiteX1178" fmla="*/ 2544250 w 4016827"/>
                <a:gd name="connsiteY1178" fmla="*/ 3661924 h 7216489"/>
                <a:gd name="connsiteX1179" fmla="*/ 755220 w 4016827"/>
                <a:gd name="connsiteY1179" fmla="*/ 3601509 h 7216489"/>
                <a:gd name="connsiteX1180" fmla="*/ 785428 w 4016827"/>
                <a:gd name="connsiteY1180" fmla="*/ 3631715 h 7216489"/>
                <a:gd name="connsiteX1181" fmla="*/ 755220 w 4016827"/>
                <a:gd name="connsiteY1181" fmla="*/ 3661924 h 7216489"/>
                <a:gd name="connsiteX1182" fmla="*/ 725011 w 4016827"/>
                <a:gd name="connsiteY1182" fmla="*/ 3631715 h 7216489"/>
                <a:gd name="connsiteX1183" fmla="*/ 755220 w 4016827"/>
                <a:gd name="connsiteY1183" fmla="*/ 3601509 h 7216489"/>
                <a:gd name="connsiteX1184" fmla="*/ 275236 w 4016827"/>
                <a:gd name="connsiteY1184" fmla="*/ 3601509 h 7216489"/>
                <a:gd name="connsiteX1185" fmla="*/ 312158 w 4016827"/>
                <a:gd name="connsiteY1185" fmla="*/ 3638428 h 7216489"/>
                <a:gd name="connsiteX1186" fmla="*/ 275236 w 4016827"/>
                <a:gd name="connsiteY1186" fmla="*/ 3675350 h 7216489"/>
                <a:gd name="connsiteX1187" fmla="*/ 238314 w 4016827"/>
                <a:gd name="connsiteY1187" fmla="*/ 3638428 h 7216489"/>
                <a:gd name="connsiteX1188" fmla="*/ 275236 w 4016827"/>
                <a:gd name="connsiteY1188" fmla="*/ 3601509 h 7216489"/>
                <a:gd name="connsiteX1189" fmla="*/ 2228736 w 4016827"/>
                <a:gd name="connsiteY1189" fmla="*/ 3591438 h 7216489"/>
                <a:gd name="connsiteX1190" fmla="*/ 2235449 w 4016827"/>
                <a:gd name="connsiteY1190" fmla="*/ 3598153 h 7216489"/>
                <a:gd name="connsiteX1191" fmla="*/ 2228736 w 4016827"/>
                <a:gd name="connsiteY1191" fmla="*/ 3604864 h 7216489"/>
                <a:gd name="connsiteX1192" fmla="*/ 2222023 w 4016827"/>
                <a:gd name="connsiteY1192" fmla="*/ 3598153 h 7216489"/>
                <a:gd name="connsiteX1193" fmla="*/ 2228736 w 4016827"/>
                <a:gd name="connsiteY1193" fmla="*/ 3591438 h 7216489"/>
                <a:gd name="connsiteX1194" fmla="*/ 1728613 w 4016827"/>
                <a:gd name="connsiteY1194" fmla="*/ 3591438 h 7216489"/>
                <a:gd name="connsiteX1195" fmla="*/ 1748752 w 4016827"/>
                <a:gd name="connsiteY1195" fmla="*/ 3611580 h 7216489"/>
                <a:gd name="connsiteX1196" fmla="*/ 1728613 w 4016827"/>
                <a:gd name="connsiteY1196" fmla="*/ 3631715 h 7216489"/>
                <a:gd name="connsiteX1197" fmla="*/ 1708474 w 4016827"/>
                <a:gd name="connsiteY1197" fmla="*/ 3611580 h 7216489"/>
                <a:gd name="connsiteX1198" fmla="*/ 1728613 w 4016827"/>
                <a:gd name="connsiteY1198" fmla="*/ 3591438 h 7216489"/>
                <a:gd name="connsiteX1199" fmla="*/ 1235203 w 4016827"/>
                <a:gd name="connsiteY1199" fmla="*/ 3584726 h 7216489"/>
                <a:gd name="connsiteX1200" fmla="*/ 1275482 w 4016827"/>
                <a:gd name="connsiteY1200" fmla="*/ 3625002 h 7216489"/>
                <a:gd name="connsiteX1201" fmla="*/ 1235203 w 4016827"/>
                <a:gd name="connsiteY1201" fmla="*/ 3665281 h 7216489"/>
                <a:gd name="connsiteX1202" fmla="*/ 1194925 w 4016827"/>
                <a:gd name="connsiteY1202" fmla="*/ 3625002 h 7216489"/>
                <a:gd name="connsiteX1203" fmla="*/ 1235203 w 4016827"/>
                <a:gd name="connsiteY1203" fmla="*/ 3584726 h 7216489"/>
                <a:gd name="connsiteX1204" fmla="*/ 2749837 w 4016827"/>
                <a:gd name="connsiteY1204" fmla="*/ 3567103 h 7216489"/>
                <a:gd name="connsiteX1205" fmla="*/ 2752354 w 4016827"/>
                <a:gd name="connsiteY1205" fmla="*/ 3567943 h 7216489"/>
                <a:gd name="connsiteX1206" fmla="*/ 2752354 w 4016827"/>
                <a:gd name="connsiteY1206" fmla="*/ 3570041 h 7216489"/>
                <a:gd name="connsiteX1207" fmla="*/ 2752354 w 4016827"/>
                <a:gd name="connsiteY1207" fmla="*/ 3571299 h 7216489"/>
                <a:gd name="connsiteX1208" fmla="*/ 2749837 w 4016827"/>
                <a:gd name="connsiteY1208" fmla="*/ 3567103 h 7216489"/>
                <a:gd name="connsiteX1209" fmla="*/ 10070 w 4016827"/>
                <a:gd name="connsiteY1209" fmla="*/ 3531021 h 7216489"/>
                <a:gd name="connsiteX1210" fmla="*/ 20139 w 4016827"/>
                <a:gd name="connsiteY1210" fmla="*/ 3541090 h 7216489"/>
                <a:gd name="connsiteX1211" fmla="*/ 10070 w 4016827"/>
                <a:gd name="connsiteY1211" fmla="*/ 3551160 h 7216489"/>
                <a:gd name="connsiteX1212" fmla="*/ 0 w 4016827"/>
                <a:gd name="connsiteY1212" fmla="*/ 3541090 h 7216489"/>
                <a:gd name="connsiteX1213" fmla="*/ 10070 w 4016827"/>
                <a:gd name="connsiteY1213" fmla="*/ 3531021 h 7216489"/>
                <a:gd name="connsiteX1214" fmla="*/ 483340 w 4016827"/>
                <a:gd name="connsiteY1214" fmla="*/ 3510884 h 7216489"/>
                <a:gd name="connsiteX1215" fmla="*/ 510192 w 4016827"/>
                <a:gd name="connsiteY1215" fmla="*/ 3537734 h 7216489"/>
                <a:gd name="connsiteX1216" fmla="*/ 483340 w 4016827"/>
                <a:gd name="connsiteY1216" fmla="*/ 3564584 h 7216489"/>
                <a:gd name="connsiteX1217" fmla="*/ 456488 w 4016827"/>
                <a:gd name="connsiteY1217" fmla="*/ 3537734 h 7216489"/>
                <a:gd name="connsiteX1218" fmla="*/ 483340 w 4016827"/>
                <a:gd name="connsiteY1218" fmla="*/ 3510884 h 7216489"/>
                <a:gd name="connsiteX1219" fmla="*/ 1930005 w 4016827"/>
                <a:gd name="connsiteY1219" fmla="*/ 3504169 h 7216489"/>
                <a:gd name="connsiteX1220" fmla="*/ 1940075 w 4016827"/>
                <a:gd name="connsiteY1220" fmla="*/ 3514242 h 7216489"/>
                <a:gd name="connsiteX1221" fmla="*/ 1930005 w 4016827"/>
                <a:gd name="connsiteY1221" fmla="*/ 3524310 h 7216489"/>
                <a:gd name="connsiteX1222" fmla="*/ 1919936 w 4016827"/>
                <a:gd name="connsiteY1222" fmla="*/ 3514242 h 7216489"/>
                <a:gd name="connsiteX1223" fmla="*/ 1930005 w 4016827"/>
                <a:gd name="connsiteY1223" fmla="*/ 3504169 h 7216489"/>
                <a:gd name="connsiteX1224" fmla="*/ 1439952 w 4016827"/>
                <a:gd name="connsiteY1224" fmla="*/ 3504169 h 7216489"/>
                <a:gd name="connsiteX1225" fmla="*/ 1463448 w 4016827"/>
                <a:gd name="connsiteY1225" fmla="*/ 3527666 h 7216489"/>
                <a:gd name="connsiteX1226" fmla="*/ 1439952 w 4016827"/>
                <a:gd name="connsiteY1226" fmla="*/ 3551160 h 7216489"/>
                <a:gd name="connsiteX1227" fmla="*/ 1416456 w 4016827"/>
                <a:gd name="connsiteY1227" fmla="*/ 3527666 h 7216489"/>
                <a:gd name="connsiteX1228" fmla="*/ 1439952 w 4016827"/>
                <a:gd name="connsiteY1228" fmla="*/ 3504169 h 7216489"/>
                <a:gd name="connsiteX1229" fmla="*/ 959967 w 4016827"/>
                <a:gd name="connsiteY1229" fmla="*/ 3500813 h 7216489"/>
                <a:gd name="connsiteX1230" fmla="*/ 990176 w 4016827"/>
                <a:gd name="connsiteY1230" fmla="*/ 3531021 h 7216489"/>
                <a:gd name="connsiteX1231" fmla="*/ 959967 w 4016827"/>
                <a:gd name="connsiteY1231" fmla="*/ 3561228 h 7216489"/>
                <a:gd name="connsiteX1232" fmla="*/ 929758 w 4016827"/>
                <a:gd name="connsiteY1232" fmla="*/ 3531021 h 7216489"/>
                <a:gd name="connsiteX1233" fmla="*/ 959967 w 4016827"/>
                <a:gd name="connsiteY1233" fmla="*/ 3500813 h 7216489"/>
                <a:gd name="connsiteX1234" fmla="*/ 2433484 w 4016827"/>
                <a:gd name="connsiteY1234" fmla="*/ 3487389 h 7216489"/>
                <a:gd name="connsiteX1235" fmla="*/ 2443554 w 4016827"/>
                <a:gd name="connsiteY1235" fmla="*/ 3497458 h 7216489"/>
                <a:gd name="connsiteX1236" fmla="*/ 2433484 w 4016827"/>
                <a:gd name="connsiteY1236" fmla="*/ 3507528 h 7216489"/>
                <a:gd name="connsiteX1237" fmla="*/ 2423415 w 4016827"/>
                <a:gd name="connsiteY1237" fmla="*/ 3497458 h 7216489"/>
                <a:gd name="connsiteX1238" fmla="*/ 2433484 w 4016827"/>
                <a:gd name="connsiteY1238" fmla="*/ 3487389 h 7216489"/>
                <a:gd name="connsiteX1239" fmla="*/ 218175 w 4016827"/>
                <a:gd name="connsiteY1239" fmla="*/ 3430330 h 7216489"/>
                <a:gd name="connsiteX1240" fmla="*/ 228244 w 4016827"/>
                <a:gd name="connsiteY1240" fmla="*/ 3440398 h 7216489"/>
                <a:gd name="connsiteX1241" fmla="*/ 218175 w 4016827"/>
                <a:gd name="connsiteY1241" fmla="*/ 3450468 h 7216489"/>
                <a:gd name="connsiteX1242" fmla="*/ 208105 w 4016827"/>
                <a:gd name="connsiteY1242" fmla="*/ 3440398 h 7216489"/>
                <a:gd name="connsiteX1243" fmla="*/ 218175 w 4016827"/>
                <a:gd name="connsiteY1243" fmla="*/ 3430330 h 7216489"/>
                <a:gd name="connsiteX1244" fmla="*/ 2134753 w 4016827"/>
                <a:gd name="connsiteY1244" fmla="*/ 3410193 h 7216489"/>
                <a:gd name="connsiteX1245" fmla="*/ 2141466 w 4016827"/>
                <a:gd name="connsiteY1245" fmla="*/ 3416903 h 7216489"/>
                <a:gd name="connsiteX1246" fmla="*/ 2134753 w 4016827"/>
                <a:gd name="connsiteY1246" fmla="*/ 3423617 h 7216489"/>
                <a:gd name="connsiteX1247" fmla="*/ 2128040 w 4016827"/>
                <a:gd name="connsiteY1247" fmla="*/ 3416903 h 7216489"/>
                <a:gd name="connsiteX1248" fmla="*/ 2134753 w 4016827"/>
                <a:gd name="connsiteY1248" fmla="*/ 3410193 h 7216489"/>
                <a:gd name="connsiteX1249" fmla="*/ 1644700 w 4016827"/>
                <a:gd name="connsiteY1249" fmla="*/ 3406837 h 7216489"/>
                <a:gd name="connsiteX1250" fmla="*/ 1664839 w 4016827"/>
                <a:gd name="connsiteY1250" fmla="*/ 3426974 h 7216489"/>
                <a:gd name="connsiteX1251" fmla="*/ 1644700 w 4016827"/>
                <a:gd name="connsiteY1251" fmla="*/ 3447112 h 7216489"/>
                <a:gd name="connsiteX1252" fmla="*/ 1624560 w 4016827"/>
                <a:gd name="connsiteY1252" fmla="*/ 3426974 h 7216489"/>
                <a:gd name="connsiteX1253" fmla="*/ 1644700 w 4016827"/>
                <a:gd name="connsiteY1253" fmla="*/ 3406837 h 7216489"/>
                <a:gd name="connsiteX1254" fmla="*/ 688089 w 4016827"/>
                <a:gd name="connsiteY1254" fmla="*/ 3406837 h 7216489"/>
                <a:gd name="connsiteX1255" fmla="*/ 718298 w 4016827"/>
                <a:gd name="connsiteY1255" fmla="*/ 3437045 h 7216489"/>
                <a:gd name="connsiteX1256" fmla="*/ 688089 w 4016827"/>
                <a:gd name="connsiteY1256" fmla="*/ 3467249 h 7216489"/>
                <a:gd name="connsiteX1257" fmla="*/ 657880 w 4016827"/>
                <a:gd name="connsiteY1257" fmla="*/ 3437045 h 7216489"/>
                <a:gd name="connsiteX1258" fmla="*/ 688089 w 4016827"/>
                <a:gd name="connsiteY1258" fmla="*/ 3406837 h 7216489"/>
                <a:gd name="connsiteX1259" fmla="*/ 1164716 w 4016827"/>
                <a:gd name="connsiteY1259" fmla="*/ 3400123 h 7216489"/>
                <a:gd name="connsiteX1260" fmla="*/ 1198281 w 4016827"/>
                <a:gd name="connsiteY1260" fmla="*/ 3433688 h 7216489"/>
                <a:gd name="connsiteX1261" fmla="*/ 1164716 w 4016827"/>
                <a:gd name="connsiteY1261" fmla="*/ 3467249 h 7216489"/>
                <a:gd name="connsiteX1262" fmla="*/ 1131151 w 4016827"/>
                <a:gd name="connsiteY1262" fmla="*/ 3433688 h 7216489"/>
                <a:gd name="connsiteX1263" fmla="*/ 1164716 w 4016827"/>
                <a:gd name="connsiteY1263" fmla="*/ 3400123 h 7216489"/>
                <a:gd name="connsiteX1264" fmla="*/ 2638232 w 4016827"/>
                <a:gd name="connsiteY1264" fmla="*/ 3390052 h 7216489"/>
                <a:gd name="connsiteX1265" fmla="*/ 2644945 w 4016827"/>
                <a:gd name="connsiteY1265" fmla="*/ 3396767 h 7216489"/>
                <a:gd name="connsiteX1266" fmla="*/ 2638232 w 4016827"/>
                <a:gd name="connsiteY1266" fmla="*/ 3403479 h 7216489"/>
                <a:gd name="connsiteX1267" fmla="*/ 2631519 w 4016827"/>
                <a:gd name="connsiteY1267" fmla="*/ 3396767 h 7216489"/>
                <a:gd name="connsiteX1268" fmla="*/ 2638232 w 4016827"/>
                <a:gd name="connsiteY1268" fmla="*/ 3390052 h 7216489"/>
                <a:gd name="connsiteX1269" fmla="*/ 1849448 w 4016827"/>
                <a:gd name="connsiteY1269" fmla="*/ 3322926 h 7216489"/>
                <a:gd name="connsiteX1270" fmla="*/ 1856161 w 4016827"/>
                <a:gd name="connsiteY1270" fmla="*/ 3329641 h 7216489"/>
                <a:gd name="connsiteX1271" fmla="*/ 1849448 w 4016827"/>
                <a:gd name="connsiteY1271" fmla="*/ 3336355 h 7216489"/>
                <a:gd name="connsiteX1272" fmla="*/ 1842735 w 4016827"/>
                <a:gd name="connsiteY1272" fmla="*/ 3329641 h 7216489"/>
                <a:gd name="connsiteX1273" fmla="*/ 1849448 w 4016827"/>
                <a:gd name="connsiteY1273" fmla="*/ 3322926 h 7216489"/>
                <a:gd name="connsiteX1274" fmla="*/ 1369465 w 4016827"/>
                <a:gd name="connsiteY1274" fmla="*/ 3316213 h 7216489"/>
                <a:gd name="connsiteX1275" fmla="*/ 1389604 w 4016827"/>
                <a:gd name="connsiteY1275" fmla="*/ 3336355 h 7216489"/>
                <a:gd name="connsiteX1276" fmla="*/ 1369465 w 4016827"/>
                <a:gd name="connsiteY1276" fmla="*/ 3356491 h 7216489"/>
                <a:gd name="connsiteX1277" fmla="*/ 1349326 w 4016827"/>
                <a:gd name="connsiteY1277" fmla="*/ 3336355 h 7216489"/>
                <a:gd name="connsiteX1278" fmla="*/ 1369465 w 4016827"/>
                <a:gd name="connsiteY1278" fmla="*/ 3316213 h 7216489"/>
                <a:gd name="connsiteX1279" fmla="*/ 896193 w 4016827"/>
                <a:gd name="connsiteY1279" fmla="*/ 3316213 h 7216489"/>
                <a:gd name="connsiteX1280" fmla="*/ 919689 w 4016827"/>
                <a:gd name="connsiteY1280" fmla="*/ 3339707 h 7216489"/>
                <a:gd name="connsiteX1281" fmla="*/ 896193 w 4016827"/>
                <a:gd name="connsiteY1281" fmla="*/ 3363206 h 7216489"/>
                <a:gd name="connsiteX1282" fmla="*/ 872697 w 4016827"/>
                <a:gd name="connsiteY1282" fmla="*/ 3339707 h 7216489"/>
                <a:gd name="connsiteX1283" fmla="*/ 896193 w 4016827"/>
                <a:gd name="connsiteY1283" fmla="*/ 3316213 h 7216489"/>
                <a:gd name="connsiteX1284" fmla="*/ 2339502 w 4016827"/>
                <a:gd name="connsiteY1284" fmla="*/ 3312859 h 7216489"/>
                <a:gd name="connsiteX1285" fmla="*/ 2346215 w 4016827"/>
                <a:gd name="connsiteY1285" fmla="*/ 3319570 h 7216489"/>
                <a:gd name="connsiteX1286" fmla="*/ 2339502 w 4016827"/>
                <a:gd name="connsiteY1286" fmla="*/ 3326282 h 7216489"/>
                <a:gd name="connsiteX1287" fmla="*/ 2332788 w 4016827"/>
                <a:gd name="connsiteY1287" fmla="*/ 3319570 h 7216489"/>
                <a:gd name="connsiteX1288" fmla="*/ 2339502 w 4016827"/>
                <a:gd name="connsiteY1288" fmla="*/ 3312859 h 7216489"/>
                <a:gd name="connsiteX1289" fmla="*/ 426279 w 4016827"/>
                <a:gd name="connsiteY1289" fmla="*/ 3309498 h 7216489"/>
                <a:gd name="connsiteX1290" fmla="*/ 456488 w 4016827"/>
                <a:gd name="connsiteY1290" fmla="*/ 3339707 h 7216489"/>
                <a:gd name="connsiteX1291" fmla="*/ 426279 w 4016827"/>
                <a:gd name="connsiteY1291" fmla="*/ 3369914 h 7216489"/>
                <a:gd name="connsiteX1292" fmla="*/ 396070 w 4016827"/>
                <a:gd name="connsiteY1292" fmla="*/ 3339707 h 7216489"/>
                <a:gd name="connsiteX1293" fmla="*/ 426279 w 4016827"/>
                <a:gd name="connsiteY1293" fmla="*/ 3309498 h 7216489"/>
                <a:gd name="connsiteX1294" fmla="*/ 167827 w 4016827"/>
                <a:gd name="connsiteY1294" fmla="*/ 3232301 h 7216489"/>
                <a:gd name="connsiteX1295" fmla="*/ 181253 w 4016827"/>
                <a:gd name="connsiteY1295" fmla="*/ 3245730 h 7216489"/>
                <a:gd name="connsiteX1296" fmla="*/ 167827 w 4016827"/>
                <a:gd name="connsiteY1296" fmla="*/ 3259154 h 7216489"/>
                <a:gd name="connsiteX1297" fmla="*/ 154401 w 4016827"/>
                <a:gd name="connsiteY1297" fmla="*/ 3245730 h 7216489"/>
                <a:gd name="connsiteX1298" fmla="*/ 167827 w 4016827"/>
                <a:gd name="connsiteY1298" fmla="*/ 3232301 h 7216489"/>
                <a:gd name="connsiteX1299" fmla="*/ 2054196 w 4016827"/>
                <a:gd name="connsiteY1299" fmla="*/ 3222236 h 7216489"/>
                <a:gd name="connsiteX1300" fmla="*/ 2060909 w 4016827"/>
                <a:gd name="connsiteY1300" fmla="*/ 3228948 h 7216489"/>
                <a:gd name="connsiteX1301" fmla="*/ 2054196 w 4016827"/>
                <a:gd name="connsiteY1301" fmla="*/ 3235663 h 7216489"/>
                <a:gd name="connsiteX1302" fmla="*/ 2047483 w 4016827"/>
                <a:gd name="connsiteY1302" fmla="*/ 3228948 h 7216489"/>
                <a:gd name="connsiteX1303" fmla="*/ 2054196 w 4016827"/>
                <a:gd name="connsiteY1303" fmla="*/ 3222236 h 7216489"/>
                <a:gd name="connsiteX1304" fmla="*/ 1574212 w 4016827"/>
                <a:gd name="connsiteY1304" fmla="*/ 3215524 h 7216489"/>
                <a:gd name="connsiteX1305" fmla="*/ 1594352 w 4016827"/>
                <a:gd name="connsiteY1305" fmla="*/ 3235663 h 7216489"/>
                <a:gd name="connsiteX1306" fmla="*/ 1574212 w 4016827"/>
                <a:gd name="connsiteY1306" fmla="*/ 3255801 h 7216489"/>
                <a:gd name="connsiteX1307" fmla="*/ 1554073 w 4016827"/>
                <a:gd name="connsiteY1307" fmla="*/ 3235663 h 7216489"/>
                <a:gd name="connsiteX1308" fmla="*/ 1574212 w 4016827"/>
                <a:gd name="connsiteY1308" fmla="*/ 3215524 h 7216489"/>
                <a:gd name="connsiteX1309" fmla="*/ 634384 w 4016827"/>
                <a:gd name="connsiteY1309" fmla="*/ 3215524 h 7216489"/>
                <a:gd name="connsiteX1310" fmla="*/ 661237 w 4016827"/>
                <a:gd name="connsiteY1310" fmla="*/ 3242373 h 7216489"/>
                <a:gd name="connsiteX1311" fmla="*/ 634384 w 4016827"/>
                <a:gd name="connsiteY1311" fmla="*/ 3269225 h 7216489"/>
                <a:gd name="connsiteX1312" fmla="*/ 607532 w 4016827"/>
                <a:gd name="connsiteY1312" fmla="*/ 3242373 h 7216489"/>
                <a:gd name="connsiteX1313" fmla="*/ 634384 w 4016827"/>
                <a:gd name="connsiteY1313" fmla="*/ 3215524 h 7216489"/>
                <a:gd name="connsiteX1314" fmla="*/ 1100942 w 4016827"/>
                <a:gd name="connsiteY1314" fmla="*/ 3202095 h 7216489"/>
                <a:gd name="connsiteX1315" fmla="*/ 1137864 w 4016827"/>
                <a:gd name="connsiteY1315" fmla="*/ 3239020 h 7216489"/>
                <a:gd name="connsiteX1316" fmla="*/ 1100942 w 4016827"/>
                <a:gd name="connsiteY1316" fmla="*/ 3275937 h 7216489"/>
                <a:gd name="connsiteX1317" fmla="*/ 1064020 w 4016827"/>
                <a:gd name="connsiteY1317" fmla="*/ 3239020 h 7216489"/>
                <a:gd name="connsiteX1318" fmla="*/ 1100942 w 4016827"/>
                <a:gd name="connsiteY1318" fmla="*/ 3202095 h 7216489"/>
                <a:gd name="connsiteX1319" fmla="*/ 2258945 w 4016827"/>
                <a:gd name="connsiteY1319" fmla="*/ 3124895 h 7216489"/>
                <a:gd name="connsiteX1320" fmla="*/ 2265658 w 4016827"/>
                <a:gd name="connsiteY1320" fmla="*/ 3131608 h 7216489"/>
                <a:gd name="connsiteX1321" fmla="*/ 2258945 w 4016827"/>
                <a:gd name="connsiteY1321" fmla="*/ 3138322 h 7216489"/>
                <a:gd name="connsiteX1322" fmla="*/ 2252232 w 4016827"/>
                <a:gd name="connsiteY1322" fmla="*/ 3131608 h 7216489"/>
                <a:gd name="connsiteX1323" fmla="*/ 2258945 w 4016827"/>
                <a:gd name="connsiteY1323" fmla="*/ 3124895 h 7216489"/>
                <a:gd name="connsiteX1324" fmla="*/ 1782318 w 4016827"/>
                <a:gd name="connsiteY1324" fmla="*/ 3124895 h 7216489"/>
                <a:gd name="connsiteX1325" fmla="*/ 1792387 w 4016827"/>
                <a:gd name="connsiteY1325" fmla="*/ 3134964 h 7216489"/>
                <a:gd name="connsiteX1326" fmla="*/ 1782318 w 4016827"/>
                <a:gd name="connsiteY1326" fmla="*/ 3145033 h 7216489"/>
                <a:gd name="connsiteX1327" fmla="*/ 1772248 w 4016827"/>
                <a:gd name="connsiteY1327" fmla="*/ 3134964 h 7216489"/>
                <a:gd name="connsiteX1328" fmla="*/ 1782318 w 4016827"/>
                <a:gd name="connsiteY1328" fmla="*/ 3124895 h 7216489"/>
                <a:gd name="connsiteX1329" fmla="*/ 842490 w 4016827"/>
                <a:gd name="connsiteY1329" fmla="*/ 3121541 h 7216489"/>
                <a:gd name="connsiteX1330" fmla="*/ 862629 w 4016827"/>
                <a:gd name="connsiteY1330" fmla="*/ 3141679 h 7216489"/>
                <a:gd name="connsiteX1331" fmla="*/ 842490 w 4016827"/>
                <a:gd name="connsiteY1331" fmla="*/ 3161818 h 7216489"/>
                <a:gd name="connsiteX1332" fmla="*/ 822350 w 4016827"/>
                <a:gd name="connsiteY1332" fmla="*/ 3141679 h 7216489"/>
                <a:gd name="connsiteX1333" fmla="*/ 842490 w 4016827"/>
                <a:gd name="connsiteY1333" fmla="*/ 3121541 h 7216489"/>
                <a:gd name="connsiteX1334" fmla="*/ 1309047 w 4016827"/>
                <a:gd name="connsiteY1334" fmla="*/ 3118183 h 7216489"/>
                <a:gd name="connsiteX1335" fmla="*/ 1332543 w 4016827"/>
                <a:gd name="connsiteY1335" fmla="*/ 3141679 h 7216489"/>
                <a:gd name="connsiteX1336" fmla="*/ 1309047 w 4016827"/>
                <a:gd name="connsiteY1336" fmla="*/ 3165175 h 7216489"/>
                <a:gd name="connsiteX1337" fmla="*/ 1285551 w 4016827"/>
                <a:gd name="connsiteY1337" fmla="*/ 3141679 h 7216489"/>
                <a:gd name="connsiteX1338" fmla="*/ 1309047 w 4016827"/>
                <a:gd name="connsiteY1338" fmla="*/ 3118183 h 7216489"/>
                <a:gd name="connsiteX1339" fmla="*/ 379288 w 4016827"/>
                <a:gd name="connsiteY1339" fmla="*/ 3118181 h 7216489"/>
                <a:gd name="connsiteX1340" fmla="*/ 406140 w 4016827"/>
                <a:gd name="connsiteY1340" fmla="*/ 3145033 h 7216489"/>
                <a:gd name="connsiteX1341" fmla="*/ 379288 w 4016827"/>
                <a:gd name="connsiteY1341" fmla="*/ 3171888 h 7216489"/>
                <a:gd name="connsiteX1342" fmla="*/ 352435 w 4016827"/>
                <a:gd name="connsiteY1342" fmla="*/ 3145033 h 7216489"/>
                <a:gd name="connsiteX1343" fmla="*/ 379288 w 4016827"/>
                <a:gd name="connsiteY1343" fmla="*/ 3118181 h 7216489"/>
                <a:gd name="connsiteX1344" fmla="*/ 127548 w 4016827"/>
                <a:gd name="connsiteY1344" fmla="*/ 3034265 h 7216489"/>
                <a:gd name="connsiteX1345" fmla="*/ 137618 w 4016827"/>
                <a:gd name="connsiteY1345" fmla="*/ 3044336 h 7216489"/>
                <a:gd name="connsiteX1346" fmla="*/ 127548 w 4016827"/>
                <a:gd name="connsiteY1346" fmla="*/ 3054407 h 7216489"/>
                <a:gd name="connsiteX1347" fmla="*/ 117479 w 4016827"/>
                <a:gd name="connsiteY1347" fmla="*/ 3044336 h 7216489"/>
                <a:gd name="connsiteX1348" fmla="*/ 127548 w 4016827"/>
                <a:gd name="connsiteY1348" fmla="*/ 3034265 h 7216489"/>
                <a:gd name="connsiteX1349" fmla="*/ 2463694 w 4016827"/>
                <a:gd name="connsiteY1349" fmla="*/ 3030915 h 7216489"/>
                <a:gd name="connsiteX1350" fmla="*/ 2467050 w 4016827"/>
                <a:gd name="connsiteY1350" fmla="*/ 3034273 h 7216489"/>
                <a:gd name="connsiteX1351" fmla="*/ 2463694 w 4016827"/>
                <a:gd name="connsiteY1351" fmla="*/ 3037628 h 7216489"/>
                <a:gd name="connsiteX1352" fmla="*/ 2460337 w 4016827"/>
                <a:gd name="connsiteY1352" fmla="*/ 3034273 h 7216489"/>
                <a:gd name="connsiteX1353" fmla="*/ 2463694 w 4016827"/>
                <a:gd name="connsiteY1353" fmla="*/ 3030915 h 7216489"/>
                <a:gd name="connsiteX1354" fmla="*/ 1987066 w 4016827"/>
                <a:gd name="connsiteY1354" fmla="*/ 3030915 h 7216489"/>
                <a:gd name="connsiteX1355" fmla="*/ 1993779 w 4016827"/>
                <a:gd name="connsiteY1355" fmla="*/ 3037628 h 7216489"/>
                <a:gd name="connsiteX1356" fmla="*/ 1987066 w 4016827"/>
                <a:gd name="connsiteY1356" fmla="*/ 3044345 h 7216489"/>
                <a:gd name="connsiteX1357" fmla="*/ 1980353 w 4016827"/>
                <a:gd name="connsiteY1357" fmla="*/ 3037628 h 7216489"/>
                <a:gd name="connsiteX1358" fmla="*/ 1987066 w 4016827"/>
                <a:gd name="connsiteY1358" fmla="*/ 3030915 h 7216489"/>
                <a:gd name="connsiteX1359" fmla="*/ 1517151 w 4016827"/>
                <a:gd name="connsiteY1359" fmla="*/ 3027560 h 7216489"/>
                <a:gd name="connsiteX1360" fmla="*/ 1530577 w 4016827"/>
                <a:gd name="connsiteY1360" fmla="*/ 3040986 h 7216489"/>
                <a:gd name="connsiteX1361" fmla="*/ 1517151 w 4016827"/>
                <a:gd name="connsiteY1361" fmla="*/ 3054413 h 7216489"/>
                <a:gd name="connsiteX1362" fmla="*/ 1503725 w 4016827"/>
                <a:gd name="connsiteY1362" fmla="*/ 3040986 h 7216489"/>
                <a:gd name="connsiteX1363" fmla="*/ 1517151 w 4016827"/>
                <a:gd name="connsiteY1363" fmla="*/ 3027560 h 7216489"/>
                <a:gd name="connsiteX1364" fmla="*/ 587393 w 4016827"/>
                <a:gd name="connsiteY1364" fmla="*/ 3020845 h 7216489"/>
                <a:gd name="connsiteX1365" fmla="*/ 610889 w 4016827"/>
                <a:gd name="connsiteY1365" fmla="*/ 3044341 h 7216489"/>
                <a:gd name="connsiteX1366" fmla="*/ 587393 w 4016827"/>
                <a:gd name="connsiteY1366" fmla="*/ 3067838 h 7216489"/>
                <a:gd name="connsiteX1367" fmla="*/ 563897 w 4016827"/>
                <a:gd name="connsiteY1367" fmla="*/ 3044341 h 7216489"/>
                <a:gd name="connsiteX1368" fmla="*/ 587393 w 4016827"/>
                <a:gd name="connsiteY1368" fmla="*/ 3020845 h 7216489"/>
                <a:gd name="connsiteX1369" fmla="*/ 1050594 w 4016827"/>
                <a:gd name="connsiteY1369" fmla="*/ 3017489 h 7216489"/>
                <a:gd name="connsiteX1370" fmla="*/ 1077446 w 4016827"/>
                <a:gd name="connsiteY1370" fmla="*/ 3044345 h 7216489"/>
                <a:gd name="connsiteX1371" fmla="*/ 1050594 w 4016827"/>
                <a:gd name="connsiteY1371" fmla="*/ 3071196 h 7216489"/>
                <a:gd name="connsiteX1372" fmla="*/ 1023741 w 4016827"/>
                <a:gd name="connsiteY1372" fmla="*/ 3044345 h 7216489"/>
                <a:gd name="connsiteX1373" fmla="*/ 1050594 w 4016827"/>
                <a:gd name="connsiteY1373" fmla="*/ 3017489 h 7216489"/>
                <a:gd name="connsiteX1374" fmla="*/ 2195170 w 4016827"/>
                <a:gd name="connsiteY1374" fmla="*/ 2930223 h 7216489"/>
                <a:gd name="connsiteX1375" fmla="*/ 2201884 w 4016827"/>
                <a:gd name="connsiteY1375" fmla="*/ 2936935 h 7216489"/>
                <a:gd name="connsiteX1376" fmla="*/ 2195170 w 4016827"/>
                <a:gd name="connsiteY1376" fmla="*/ 2943649 h 7216489"/>
                <a:gd name="connsiteX1377" fmla="*/ 2188458 w 4016827"/>
                <a:gd name="connsiteY1377" fmla="*/ 2936935 h 7216489"/>
                <a:gd name="connsiteX1378" fmla="*/ 2195170 w 4016827"/>
                <a:gd name="connsiteY1378" fmla="*/ 2930223 h 7216489"/>
                <a:gd name="connsiteX1379" fmla="*/ 1725256 w 4016827"/>
                <a:gd name="connsiteY1379" fmla="*/ 2930223 h 7216489"/>
                <a:gd name="connsiteX1380" fmla="*/ 1735326 w 4016827"/>
                <a:gd name="connsiteY1380" fmla="*/ 2940292 h 7216489"/>
                <a:gd name="connsiteX1381" fmla="*/ 1725256 w 4016827"/>
                <a:gd name="connsiteY1381" fmla="*/ 2950360 h 7216489"/>
                <a:gd name="connsiteX1382" fmla="*/ 1715187 w 4016827"/>
                <a:gd name="connsiteY1382" fmla="*/ 2940292 h 7216489"/>
                <a:gd name="connsiteX1383" fmla="*/ 1725256 w 4016827"/>
                <a:gd name="connsiteY1383" fmla="*/ 2930223 h 7216489"/>
                <a:gd name="connsiteX1384" fmla="*/ 1262056 w 4016827"/>
                <a:gd name="connsiteY1384" fmla="*/ 2926865 h 7216489"/>
                <a:gd name="connsiteX1385" fmla="*/ 1278838 w 4016827"/>
                <a:gd name="connsiteY1385" fmla="*/ 2943649 h 7216489"/>
                <a:gd name="connsiteX1386" fmla="*/ 1262056 w 4016827"/>
                <a:gd name="connsiteY1386" fmla="*/ 2960431 h 7216489"/>
                <a:gd name="connsiteX1387" fmla="*/ 1245273 w 4016827"/>
                <a:gd name="connsiteY1387" fmla="*/ 2943649 h 7216489"/>
                <a:gd name="connsiteX1388" fmla="*/ 1262056 w 4016827"/>
                <a:gd name="connsiteY1388" fmla="*/ 2926865 h 7216489"/>
                <a:gd name="connsiteX1389" fmla="*/ 798855 w 4016827"/>
                <a:gd name="connsiteY1389" fmla="*/ 2923508 h 7216489"/>
                <a:gd name="connsiteX1390" fmla="*/ 818994 w 4016827"/>
                <a:gd name="connsiteY1390" fmla="*/ 2943649 h 7216489"/>
                <a:gd name="connsiteX1391" fmla="*/ 798855 w 4016827"/>
                <a:gd name="connsiteY1391" fmla="*/ 2963787 h 7216489"/>
                <a:gd name="connsiteX1392" fmla="*/ 778715 w 4016827"/>
                <a:gd name="connsiteY1392" fmla="*/ 2943649 h 7216489"/>
                <a:gd name="connsiteX1393" fmla="*/ 798855 w 4016827"/>
                <a:gd name="connsiteY1393" fmla="*/ 2923508 h 7216489"/>
                <a:gd name="connsiteX1394" fmla="*/ 339009 w 4016827"/>
                <a:gd name="connsiteY1394" fmla="*/ 2916791 h 7216489"/>
                <a:gd name="connsiteX1395" fmla="*/ 365861 w 4016827"/>
                <a:gd name="connsiteY1395" fmla="*/ 2943643 h 7216489"/>
                <a:gd name="connsiteX1396" fmla="*/ 339009 w 4016827"/>
                <a:gd name="connsiteY1396" fmla="*/ 2970495 h 7216489"/>
                <a:gd name="connsiteX1397" fmla="*/ 312157 w 4016827"/>
                <a:gd name="connsiteY1397" fmla="*/ 2943643 h 7216489"/>
                <a:gd name="connsiteX1398" fmla="*/ 339009 w 4016827"/>
                <a:gd name="connsiteY1398" fmla="*/ 2916791 h 7216489"/>
                <a:gd name="connsiteX1399" fmla="*/ 97340 w 4016827"/>
                <a:gd name="connsiteY1399" fmla="*/ 2839587 h 7216489"/>
                <a:gd name="connsiteX1400" fmla="*/ 104053 w 4016827"/>
                <a:gd name="connsiteY1400" fmla="*/ 2846299 h 7216489"/>
                <a:gd name="connsiteX1401" fmla="*/ 97340 w 4016827"/>
                <a:gd name="connsiteY1401" fmla="*/ 2853013 h 7216489"/>
                <a:gd name="connsiteX1402" fmla="*/ 90626 w 4016827"/>
                <a:gd name="connsiteY1402" fmla="*/ 2846299 h 7216489"/>
                <a:gd name="connsiteX1403" fmla="*/ 97340 w 4016827"/>
                <a:gd name="connsiteY1403" fmla="*/ 2839587 h 7216489"/>
                <a:gd name="connsiteX1404" fmla="*/ 1933362 w 4016827"/>
                <a:gd name="connsiteY1404" fmla="*/ 2836241 h 7216489"/>
                <a:gd name="connsiteX1405" fmla="*/ 1940075 w 4016827"/>
                <a:gd name="connsiteY1405" fmla="*/ 2842956 h 7216489"/>
                <a:gd name="connsiteX1406" fmla="*/ 1933362 w 4016827"/>
                <a:gd name="connsiteY1406" fmla="*/ 2849666 h 7216489"/>
                <a:gd name="connsiteX1407" fmla="*/ 1926649 w 4016827"/>
                <a:gd name="connsiteY1407" fmla="*/ 2842956 h 7216489"/>
                <a:gd name="connsiteX1408" fmla="*/ 1933362 w 4016827"/>
                <a:gd name="connsiteY1408" fmla="*/ 2836241 h 7216489"/>
                <a:gd name="connsiteX1409" fmla="*/ 1473516 w 4016827"/>
                <a:gd name="connsiteY1409" fmla="*/ 2829530 h 7216489"/>
                <a:gd name="connsiteX1410" fmla="*/ 1486942 w 4016827"/>
                <a:gd name="connsiteY1410" fmla="*/ 2842956 h 7216489"/>
                <a:gd name="connsiteX1411" fmla="*/ 1473516 w 4016827"/>
                <a:gd name="connsiteY1411" fmla="*/ 2856382 h 7216489"/>
                <a:gd name="connsiteX1412" fmla="*/ 1460090 w 4016827"/>
                <a:gd name="connsiteY1412" fmla="*/ 2842956 h 7216489"/>
                <a:gd name="connsiteX1413" fmla="*/ 1473516 w 4016827"/>
                <a:gd name="connsiteY1413" fmla="*/ 2829530 h 7216489"/>
                <a:gd name="connsiteX1414" fmla="*/ 553827 w 4016827"/>
                <a:gd name="connsiteY1414" fmla="*/ 2829526 h 7216489"/>
                <a:gd name="connsiteX1415" fmla="*/ 570610 w 4016827"/>
                <a:gd name="connsiteY1415" fmla="*/ 2846311 h 7216489"/>
                <a:gd name="connsiteX1416" fmla="*/ 553827 w 4016827"/>
                <a:gd name="connsiteY1416" fmla="*/ 2863090 h 7216489"/>
                <a:gd name="connsiteX1417" fmla="*/ 537045 w 4016827"/>
                <a:gd name="connsiteY1417" fmla="*/ 2846311 h 7216489"/>
                <a:gd name="connsiteX1418" fmla="*/ 553827 w 4016827"/>
                <a:gd name="connsiteY1418" fmla="*/ 2829526 h 7216489"/>
                <a:gd name="connsiteX1419" fmla="*/ 1013672 w 4016827"/>
                <a:gd name="connsiteY1419" fmla="*/ 2822817 h 7216489"/>
                <a:gd name="connsiteX1420" fmla="*/ 1037168 w 4016827"/>
                <a:gd name="connsiteY1420" fmla="*/ 2846311 h 7216489"/>
                <a:gd name="connsiteX1421" fmla="*/ 1013672 w 4016827"/>
                <a:gd name="connsiteY1421" fmla="*/ 2869806 h 7216489"/>
                <a:gd name="connsiteX1422" fmla="*/ 990176 w 4016827"/>
                <a:gd name="connsiteY1422" fmla="*/ 2846311 h 7216489"/>
                <a:gd name="connsiteX1423" fmla="*/ 1013672 w 4016827"/>
                <a:gd name="connsiteY1423" fmla="*/ 2822817 h 7216489"/>
                <a:gd name="connsiteX1424" fmla="*/ 2144822 w 4016827"/>
                <a:gd name="connsiteY1424" fmla="*/ 2735548 h 7216489"/>
                <a:gd name="connsiteX1425" fmla="*/ 2151536 w 4016827"/>
                <a:gd name="connsiteY1425" fmla="*/ 2742260 h 7216489"/>
                <a:gd name="connsiteX1426" fmla="*/ 2144822 w 4016827"/>
                <a:gd name="connsiteY1426" fmla="*/ 2748973 h 7216489"/>
                <a:gd name="connsiteX1427" fmla="*/ 2138110 w 4016827"/>
                <a:gd name="connsiteY1427" fmla="*/ 2742260 h 7216489"/>
                <a:gd name="connsiteX1428" fmla="*/ 2144822 w 4016827"/>
                <a:gd name="connsiteY1428" fmla="*/ 2735548 h 7216489"/>
                <a:gd name="connsiteX1429" fmla="*/ 1684978 w 4016827"/>
                <a:gd name="connsiteY1429" fmla="*/ 2732191 h 7216489"/>
                <a:gd name="connsiteX1430" fmla="*/ 1695048 w 4016827"/>
                <a:gd name="connsiteY1430" fmla="*/ 2742260 h 7216489"/>
                <a:gd name="connsiteX1431" fmla="*/ 1684978 w 4016827"/>
                <a:gd name="connsiteY1431" fmla="*/ 2752334 h 7216489"/>
                <a:gd name="connsiteX1432" fmla="*/ 1674908 w 4016827"/>
                <a:gd name="connsiteY1432" fmla="*/ 2742260 h 7216489"/>
                <a:gd name="connsiteX1433" fmla="*/ 1684978 w 4016827"/>
                <a:gd name="connsiteY1433" fmla="*/ 2732191 h 7216489"/>
                <a:gd name="connsiteX1434" fmla="*/ 1225134 w 4016827"/>
                <a:gd name="connsiteY1434" fmla="*/ 2725478 h 7216489"/>
                <a:gd name="connsiteX1435" fmla="*/ 1241916 w 4016827"/>
                <a:gd name="connsiteY1435" fmla="*/ 2742260 h 7216489"/>
                <a:gd name="connsiteX1436" fmla="*/ 1225134 w 4016827"/>
                <a:gd name="connsiteY1436" fmla="*/ 2759042 h 7216489"/>
                <a:gd name="connsiteX1437" fmla="*/ 1208351 w 4016827"/>
                <a:gd name="connsiteY1437" fmla="*/ 2742260 h 7216489"/>
                <a:gd name="connsiteX1438" fmla="*/ 1225134 w 4016827"/>
                <a:gd name="connsiteY1438" fmla="*/ 2725478 h 7216489"/>
                <a:gd name="connsiteX1439" fmla="*/ 312157 w 4016827"/>
                <a:gd name="connsiteY1439" fmla="*/ 2722116 h 7216489"/>
                <a:gd name="connsiteX1440" fmla="*/ 335653 w 4016827"/>
                <a:gd name="connsiteY1440" fmla="*/ 2745613 h 7216489"/>
                <a:gd name="connsiteX1441" fmla="*/ 312157 w 4016827"/>
                <a:gd name="connsiteY1441" fmla="*/ 2769105 h 7216489"/>
                <a:gd name="connsiteX1442" fmla="*/ 288661 w 4016827"/>
                <a:gd name="connsiteY1442" fmla="*/ 2745613 h 7216489"/>
                <a:gd name="connsiteX1443" fmla="*/ 312157 w 4016827"/>
                <a:gd name="connsiteY1443" fmla="*/ 2722116 h 7216489"/>
                <a:gd name="connsiteX1444" fmla="*/ 768646 w 4016827"/>
                <a:gd name="connsiteY1444" fmla="*/ 2718764 h 7216489"/>
                <a:gd name="connsiteX1445" fmla="*/ 795498 w 4016827"/>
                <a:gd name="connsiteY1445" fmla="*/ 2742260 h 7216489"/>
                <a:gd name="connsiteX1446" fmla="*/ 768646 w 4016827"/>
                <a:gd name="connsiteY1446" fmla="*/ 2769113 h 7216489"/>
                <a:gd name="connsiteX1447" fmla="*/ 741793 w 4016827"/>
                <a:gd name="connsiteY1447" fmla="*/ 2745618 h 7216489"/>
                <a:gd name="connsiteX1448" fmla="*/ 768646 w 4016827"/>
                <a:gd name="connsiteY1448" fmla="*/ 2718764 h 7216489"/>
                <a:gd name="connsiteX1449" fmla="*/ 73844 w 4016827"/>
                <a:gd name="connsiteY1449" fmla="*/ 2641550 h 7216489"/>
                <a:gd name="connsiteX1450" fmla="*/ 77200 w 4016827"/>
                <a:gd name="connsiteY1450" fmla="*/ 2644906 h 7216489"/>
                <a:gd name="connsiteX1451" fmla="*/ 73844 w 4016827"/>
                <a:gd name="connsiteY1451" fmla="*/ 2648264 h 7216489"/>
                <a:gd name="connsiteX1452" fmla="*/ 70487 w 4016827"/>
                <a:gd name="connsiteY1452" fmla="*/ 2644906 h 7216489"/>
                <a:gd name="connsiteX1453" fmla="*/ 73844 w 4016827"/>
                <a:gd name="connsiteY1453" fmla="*/ 2641550 h 7216489"/>
                <a:gd name="connsiteX1454" fmla="*/ 1896440 w 4016827"/>
                <a:gd name="connsiteY1454" fmla="*/ 2634851 h 7216489"/>
                <a:gd name="connsiteX1455" fmla="*/ 1903153 w 4016827"/>
                <a:gd name="connsiteY1455" fmla="*/ 2641566 h 7216489"/>
                <a:gd name="connsiteX1456" fmla="*/ 1896440 w 4016827"/>
                <a:gd name="connsiteY1456" fmla="*/ 2648275 h 7216489"/>
                <a:gd name="connsiteX1457" fmla="*/ 1889727 w 4016827"/>
                <a:gd name="connsiteY1457" fmla="*/ 2641566 h 7216489"/>
                <a:gd name="connsiteX1458" fmla="*/ 1896440 w 4016827"/>
                <a:gd name="connsiteY1458" fmla="*/ 2634851 h 7216489"/>
                <a:gd name="connsiteX1459" fmla="*/ 1439952 w 4016827"/>
                <a:gd name="connsiteY1459" fmla="*/ 2624778 h 7216489"/>
                <a:gd name="connsiteX1460" fmla="*/ 1456735 w 4016827"/>
                <a:gd name="connsiteY1460" fmla="*/ 2641566 h 7216489"/>
                <a:gd name="connsiteX1461" fmla="*/ 1439952 w 4016827"/>
                <a:gd name="connsiteY1461" fmla="*/ 2658342 h 7216489"/>
                <a:gd name="connsiteX1462" fmla="*/ 1423169 w 4016827"/>
                <a:gd name="connsiteY1462" fmla="*/ 2641566 h 7216489"/>
                <a:gd name="connsiteX1463" fmla="*/ 1439952 w 4016827"/>
                <a:gd name="connsiteY1463" fmla="*/ 2624778 h 7216489"/>
                <a:gd name="connsiteX1464" fmla="*/ 983463 w 4016827"/>
                <a:gd name="connsiteY1464" fmla="*/ 2621425 h 7216489"/>
                <a:gd name="connsiteX1465" fmla="*/ 1006959 w 4016827"/>
                <a:gd name="connsiteY1465" fmla="*/ 2644917 h 7216489"/>
                <a:gd name="connsiteX1466" fmla="*/ 983463 w 4016827"/>
                <a:gd name="connsiteY1466" fmla="*/ 2668417 h 7216489"/>
                <a:gd name="connsiteX1467" fmla="*/ 959967 w 4016827"/>
                <a:gd name="connsiteY1467" fmla="*/ 2644917 h 7216489"/>
                <a:gd name="connsiteX1468" fmla="*/ 983463 w 4016827"/>
                <a:gd name="connsiteY1468" fmla="*/ 2621425 h 7216489"/>
                <a:gd name="connsiteX1469" fmla="*/ 526975 w 4016827"/>
                <a:gd name="connsiteY1469" fmla="*/ 2621421 h 7216489"/>
                <a:gd name="connsiteX1470" fmla="*/ 547114 w 4016827"/>
                <a:gd name="connsiteY1470" fmla="*/ 2641560 h 7216489"/>
                <a:gd name="connsiteX1471" fmla="*/ 526975 w 4016827"/>
                <a:gd name="connsiteY1471" fmla="*/ 2661700 h 7216489"/>
                <a:gd name="connsiteX1472" fmla="*/ 506836 w 4016827"/>
                <a:gd name="connsiteY1472" fmla="*/ 2641560 h 7216489"/>
                <a:gd name="connsiteX1473" fmla="*/ 526975 w 4016827"/>
                <a:gd name="connsiteY1473" fmla="*/ 2621421 h 7216489"/>
                <a:gd name="connsiteX1474" fmla="*/ 2111257 w 4016827"/>
                <a:gd name="connsiteY1474" fmla="*/ 2540868 h 7216489"/>
                <a:gd name="connsiteX1475" fmla="*/ 2114614 w 4016827"/>
                <a:gd name="connsiteY1475" fmla="*/ 2544225 h 7216489"/>
                <a:gd name="connsiteX1476" fmla="*/ 2111257 w 4016827"/>
                <a:gd name="connsiteY1476" fmla="*/ 2547584 h 7216489"/>
                <a:gd name="connsiteX1477" fmla="*/ 2107900 w 4016827"/>
                <a:gd name="connsiteY1477" fmla="*/ 2544225 h 7216489"/>
                <a:gd name="connsiteX1478" fmla="*/ 2111257 w 4016827"/>
                <a:gd name="connsiteY1478" fmla="*/ 2540868 h 7216489"/>
                <a:gd name="connsiteX1479" fmla="*/ 1654769 w 4016827"/>
                <a:gd name="connsiteY1479" fmla="*/ 2537512 h 7216489"/>
                <a:gd name="connsiteX1480" fmla="*/ 1661482 w 4016827"/>
                <a:gd name="connsiteY1480" fmla="*/ 2544225 h 7216489"/>
                <a:gd name="connsiteX1481" fmla="*/ 1654769 w 4016827"/>
                <a:gd name="connsiteY1481" fmla="*/ 2550939 h 7216489"/>
                <a:gd name="connsiteX1482" fmla="*/ 1648056 w 4016827"/>
                <a:gd name="connsiteY1482" fmla="*/ 2544225 h 7216489"/>
                <a:gd name="connsiteX1483" fmla="*/ 1654769 w 4016827"/>
                <a:gd name="connsiteY1483" fmla="*/ 2537512 h 7216489"/>
                <a:gd name="connsiteX1484" fmla="*/ 1201638 w 4016827"/>
                <a:gd name="connsiteY1484" fmla="*/ 2524085 h 7216489"/>
                <a:gd name="connsiteX1485" fmla="*/ 1218421 w 4016827"/>
                <a:gd name="connsiteY1485" fmla="*/ 2540868 h 7216489"/>
                <a:gd name="connsiteX1486" fmla="*/ 1201638 w 4016827"/>
                <a:gd name="connsiteY1486" fmla="*/ 2557650 h 7216489"/>
                <a:gd name="connsiteX1487" fmla="*/ 1184855 w 4016827"/>
                <a:gd name="connsiteY1487" fmla="*/ 2540868 h 7216489"/>
                <a:gd name="connsiteX1488" fmla="*/ 1201638 w 4016827"/>
                <a:gd name="connsiteY1488" fmla="*/ 2524085 h 7216489"/>
                <a:gd name="connsiteX1489" fmla="*/ 745150 w 4016827"/>
                <a:gd name="connsiteY1489" fmla="*/ 2524085 h 7216489"/>
                <a:gd name="connsiteX1490" fmla="*/ 765289 w 4016827"/>
                <a:gd name="connsiteY1490" fmla="*/ 2544223 h 7216489"/>
                <a:gd name="connsiteX1491" fmla="*/ 745150 w 4016827"/>
                <a:gd name="connsiteY1491" fmla="*/ 2564366 h 7216489"/>
                <a:gd name="connsiteX1492" fmla="*/ 725011 w 4016827"/>
                <a:gd name="connsiteY1492" fmla="*/ 2544223 h 7216489"/>
                <a:gd name="connsiteX1493" fmla="*/ 745150 w 4016827"/>
                <a:gd name="connsiteY1493" fmla="*/ 2524085 h 7216489"/>
                <a:gd name="connsiteX1494" fmla="*/ 292018 w 4016827"/>
                <a:gd name="connsiteY1494" fmla="*/ 2520725 h 7216489"/>
                <a:gd name="connsiteX1495" fmla="*/ 315513 w 4016827"/>
                <a:gd name="connsiteY1495" fmla="*/ 2544222 h 7216489"/>
                <a:gd name="connsiteX1496" fmla="*/ 292018 w 4016827"/>
                <a:gd name="connsiteY1496" fmla="*/ 2567717 h 7216489"/>
                <a:gd name="connsiteX1497" fmla="*/ 268522 w 4016827"/>
                <a:gd name="connsiteY1497" fmla="*/ 2544222 h 7216489"/>
                <a:gd name="connsiteX1498" fmla="*/ 292018 w 4016827"/>
                <a:gd name="connsiteY1498" fmla="*/ 2520725 h 7216489"/>
                <a:gd name="connsiteX1499" fmla="*/ 60418 w 4016827"/>
                <a:gd name="connsiteY1499" fmla="*/ 2440158 h 7216489"/>
                <a:gd name="connsiteX1500" fmla="*/ 60418 w 4016827"/>
                <a:gd name="connsiteY1500" fmla="*/ 2443514 h 7216489"/>
                <a:gd name="connsiteX1501" fmla="*/ 60418 w 4016827"/>
                <a:gd name="connsiteY1501" fmla="*/ 2440158 h 7216489"/>
                <a:gd name="connsiteX1502" fmla="*/ 1872944 w 4016827"/>
                <a:gd name="connsiteY1502" fmla="*/ 2433454 h 7216489"/>
                <a:gd name="connsiteX1503" fmla="*/ 1879657 w 4016827"/>
                <a:gd name="connsiteY1503" fmla="*/ 2440170 h 7216489"/>
                <a:gd name="connsiteX1504" fmla="*/ 1872944 w 4016827"/>
                <a:gd name="connsiteY1504" fmla="*/ 2446884 h 7216489"/>
                <a:gd name="connsiteX1505" fmla="*/ 1866231 w 4016827"/>
                <a:gd name="connsiteY1505" fmla="*/ 2440170 h 7216489"/>
                <a:gd name="connsiteX1506" fmla="*/ 1872944 w 4016827"/>
                <a:gd name="connsiteY1506" fmla="*/ 2433454 h 7216489"/>
                <a:gd name="connsiteX1507" fmla="*/ 1419813 w 4016827"/>
                <a:gd name="connsiteY1507" fmla="*/ 2426743 h 7216489"/>
                <a:gd name="connsiteX1508" fmla="*/ 1433239 w 4016827"/>
                <a:gd name="connsiteY1508" fmla="*/ 2440170 h 7216489"/>
                <a:gd name="connsiteX1509" fmla="*/ 1419813 w 4016827"/>
                <a:gd name="connsiteY1509" fmla="*/ 2453597 h 7216489"/>
                <a:gd name="connsiteX1510" fmla="*/ 1406387 w 4016827"/>
                <a:gd name="connsiteY1510" fmla="*/ 2440170 h 7216489"/>
                <a:gd name="connsiteX1511" fmla="*/ 1419813 w 4016827"/>
                <a:gd name="connsiteY1511" fmla="*/ 2426743 h 7216489"/>
                <a:gd name="connsiteX1512" fmla="*/ 513549 w 4016827"/>
                <a:gd name="connsiteY1512" fmla="*/ 2423383 h 7216489"/>
                <a:gd name="connsiteX1513" fmla="*/ 530332 w 4016827"/>
                <a:gd name="connsiteY1513" fmla="*/ 2440166 h 7216489"/>
                <a:gd name="connsiteX1514" fmla="*/ 513549 w 4016827"/>
                <a:gd name="connsiteY1514" fmla="*/ 2456950 h 7216489"/>
                <a:gd name="connsiteX1515" fmla="*/ 496766 w 4016827"/>
                <a:gd name="connsiteY1515" fmla="*/ 2440166 h 7216489"/>
                <a:gd name="connsiteX1516" fmla="*/ 513549 w 4016827"/>
                <a:gd name="connsiteY1516" fmla="*/ 2423383 h 7216489"/>
                <a:gd name="connsiteX1517" fmla="*/ 966680 w 4016827"/>
                <a:gd name="connsiteY1517" fmla="*/ 2416672 h 7216489"/>
                <a:gd name="connsiteX1518" fmla="*/ 990176 w 4016827"/>
                <a:gd name="connsiteY1518" fmla="*/ 2440170 h 7216489"/>
                <a:gd name="connsiteX1519" fmla="*/ 966680 w 4016827"/>
                <a:gd name="connsiteY1519" fmla="*/ 2463667 h 7216489"/>
                <a:gd name="connsiteX1520" fmla="*/ 943185 w 4016827"/>
                <a:gd name="connsiteY1520" fmla="*/ 2440170 h 7216489"/>
                <a:gd name="connsiteX1521" fmla="*/ 966680 w 4016827"/>
                <a:gd name="connsiteY1521" fmla="*/ 2416672 h 7216489"/>
                <a:gd name="connsiteX1522" fmla="*/ 2094474 w 4016827"/>
                <a:gd name="connsiteY1522" fmla="*/ 2336109 h 7216489"/>
                <a:gd name="connsiteX1523" fmla="*/ 2094474 w 4016827"/>
                <a:gd name="connsiteY1523" fmla="*/ 2342822 h 7216489"/>
                <a:gd name="connsiteX1524" fmla="*/ 2094474 w 4016827"/>
                <a:gd name="connsiteY1524" fmla="*/ 2336109 h 7216489"/>
                <a:gd name="connsiteX1525" fmla="*/ 1641343 w 4016827"/>
                <a:gd name="connsiteY1525" fmla="*/ 2336109 h 7216489"/>
                <a:gd name="connsiteX1526" fmla="*/ 1644700 w 4016827"/>
                <a:gd name="connsiteY1526" fmla="*/ 2339466 h 7216489"/>
                <a:gd name="connsiteX1527" fmla="*/ 1641343 w 4016827"/>
                <a:gd name="connsiteY1527" fmla="*/ 2342822 h 7216489"/>
                <a:gd name="connsiteX1528" fmla="*/ 1637986 w 4016827"/>
                <a:gd name="connsiteY1528" fmla="*/ 2339466 h 7216489"/>
                <a:gd name="connsiteX1529" fmla="*/ 1641343 w 4016827"/>
                <a:gd name="connsiteY1529" fmla="*/ 2336109 h 7216489"/>
                <a:gd name="connsiteX1530" fmla="*/ 1188212 w 4016827"/>
                <a:gd name="connsiteY1530" fmla="*/ 2322682 h 7216489"/>
                <a:gd name="connsiteX1531" fmla="*/ 1204994 w 4016827"/>
                <a:gd name="connsiteY1531" fmla="*/ 2339466 h 7216489"/>
                <a:gd name="connsiteX1532" fmla="*/ 1188212 w 4016827"/>
                <a:gd name="connsiteY1532" fmla="*/ 2356250 h 7216489"/>
                <a:gd name="connsiteX1533" fmla="*/ 1171429 w 4016827"/>
                <a:gd name="connsiteY1533" fmla="*/ 2339466 h 7216489"/>
                <a:gd name="connsiteX1534" fmla="*/ 1188212 w 4016827"/>
                <a:gd name="connsiteY1534" fmla="*/ 2322682 h 7216489"/>
                <a:gd name="connsiteX1535" fmla="*/ 281948 w 4016827"/>
                <a:gd name="connsiteY1535" fmla="*/ 2322679 h 7216489"/>
                <a:gd name="connsiteX1536" fmla="*/ 298731 w 4016827"/>
                <a:gd name="connsiteY1536" fmla="*/ 2339461 h 7216489"/>
                <a:gd name="connsiteX1537" fmla="*/ 281948 w 4016827"/>
                <a:gd name="connsiteY1537" fmla="*/ 2356245 h 7216489"/>
                <a:gd name="connsiteX1538" fmla="*/ 265165 w 4016827"/>
                <a:gd name="connsiteY1538" fmla="*/ 2339461 h 7216489"/>
                <a:gd name="connsiteX1539" fmla="*/ 281948 w 4016827"/>
                <a:gd name="connsiteY1539" fmla="*/ 2322679 h 7216489"/>
                <a:gd name="connsiteX1540" fmla="*/ 735080 w 4016827"/>
                <a:gd name="connsiteY1540" fmla="*/ 2319326 h 7216489"/>
                <a:gd name="connsiteX1541" fmla="*/ 755220 w 4016827"/>
                <a:gd name="connsiteY1541" fmla="*/ 2339466 h 7216489"/>
                <a:gd name="connsiteX1542" fmla="*/ 735080 w 4016827"/>
                <a:gd name="connsiteY1542" fmla="*/ 2359607 h 7216489"/>
                <a:gd name="connsiteX1543" fmla="*/ 714941 w 4016827"/>
                <a:gd name="connsiteY1543" fmla="*/ 2339466 h 7216489"/>
                <a:gd name="connsiteX1544" fmla="*/ 735080 w 4016827"/>
                <a:gd name="connsiteY1544" fmla="*/ 2319326 h 7216489"/>
                <a:gd name="connsiteX1545" fmla="*/ 1866231 w 4016827"/>
                <a:gd name="connsiteY1545" fmla="*/ 2235417 h 7216489"/>
                <a:gd name="connsiteX1546" fmla="*/ 1869588 w 4016827"/>
                <a:gd name="connsiteY1546" fmla="*/ 2238772 h 7216489"/>
                <a:gd name="connsiteX1547" fmla="*/ 1866231 w 4016827"/>
                <a:gd name="connsiteY1547" fmla="*/ 2242129 h 7216489"/>
                <a:gd name="connsiteX1548" fmla="*/ 1862874 w 4016827"/>
                <a:gd name="connsiteY1548" fmla="*/ 2238772 h 7216489"/>
                <a:gd name="connsiteX1549" fmla="*/ 1866231 w 4016827"/>
                <a:gd name="connsiteY1549" fmla="*/ 2235417 h 7216489"/>
                <a:gd name="connsiteX1550" fmla="*/ 1413099 w 4016827"/>
                <a:gd name="connsiteY1550" fmla="*/ 2228699 h 7216489"/>
                <a:gd name="connsiteX1551" fmla="*/ 1423168 w 4016827"/>
                <a:gd name="connsiteY1551" fmla="*/ 2238772 h 7216489"/>
                <a:gd name="connsiteX1552" fmla="*/ 1413099 w 4016827"/>
                <a:gd name="connsiteY1552" fmla="*/ 2248841 h 7216489"/>
                <a:gd name="connsiteX1553" fmla="*/ 1403029 w 4016827"/>
                <a:gd name="connsiteY1553" fmla="*/ 2238772 h 7216489"/>
                <a:gd name="connsiteX1554" fmla="*/ 1413099 w 4016827"/>
                <a:gd name="connsiteY1554" fmla="*/ 2228699 h 7216489"/>
                <a:gd name="connsiteX1555" fmla="*/ 506836 w 4016827"/>
                <a:gd name="connsiteY1555" fmla="*/ 2221987 h 7216489"/>
                <a:gd name="connsiteX1556" fmla="*/ 523619 w 4016827"/>
                <a:gd name="connsiteY1556" fmla="*/ 2238769 h 7216489"/>
                <a:gd name="connsiteX1557" fmla="*/ 506836 w 4016827"/>
                <a:gd name="connsiteY1557" fmla="*/ 2255551 h 7216489"/>
                <a:gd name="connsiteX1558" fmla="*/ 490053 w 4016827"/>
                <a:gd name="connsiteY1558" fmla="*/ 2238769 h 7216489"/>
                <a:gd name="connsiteX1559" fmla="*/ 506836 w 4016827"/>
                <a:gd name="connsiteY1559" fmla="*/ 2221987 h 7216489"/>
                <a:gd name="connsiteX1560" fmla="*/ 959967 w 4016827"/>
                <a:gd name="connsiteY1560" fmla="*/ 2215275 h 7216489"/>
                <a:gd name="connsiteX1561" fmla="*/ 983463 w 4016827"/>
                <a:gd name="connsiteY1561" fmla="*/ 2238772 h 7216489"/>
                <a:gd name="connsiteX1562" fmla="*/ 959967 w 4016827"/>
                <a:gd name="connsiteY1562" fmla="*/ 2262269 h 7216489"/>
                <a:gd name="connsiteX1563" fmla="*/ 936472 w 4016827"/>
                <a:gd name="connsiteY1563" fmla="*/ 2238772 h 7216489"/>
                <a:gd name="connsiteX1564" fmla="*/ 959967 w 4016827"/>
                <a:gd name="connsiteY1564" fmla="*/ 2215275 h 7216489"/>
                <a:gd name="connsiteX1565" fmla="*/ 1641343 w 4016827"/>
                <a:gd name="connsiteY1565" fmla="*/ 2128008 h 7216489"/>
                <a:gd name="connsiteX1566" fmla="*/ 1648056 w 4016827"/>
                <a:gd name="connsiteY1566" fmla="*/ 2134720 h 7216489"/>
                <a:gd name="connsiteX1567" fmla="*/ 1641343 w 4016827"/>
                <a:gd name="connsiteY1567" fmla="*/ 2141432 h 7216489"/>
                <a:gd name="connsiteX1568" fmla="*/ 1634630 w 4016827"/>
                <a:gd name="connsiteY1568" fmla="*/ 2134720 h 7216489"/>
                <a:gd name="connsiteX1569" fmla="*/ 1641343 w 4016827"/>
                <a:gd name="connsiteY1569" fmla="*/ 2128008 h 7216489"/>
                <a:gd name="connsiteX1570" fmla="*/ 1188212 w 4016827"/>
                <a:gd name="connsiteY1570" fmla="*/ 2124651 h 7216489"/>
                <a:gd name="connsiteX1571" fmla="*/ 1201638 w 4016827"/>
                <a:gd name="connsiteY1571" fmla="*/ 2138075 h 7216489"/>
                <a:gd name="connsiteX1572" fmla="*/ 1188212 w 4016827"/>
                <a:gd name="connsiteY1572" fmla="*/ 2151499 h 7216489"/>
                <a:gd name="connsiteX1573" fmla="*/ 1174786 w 4016827"/>
                <a:gd name="connsiteY1573" fmla="*/ 2138075 h 7216489"/>
                <a:gd name="connsiteX1574" fmla="*/ 1188212 w 4016827"/>
                <a:gd name="connsiteY1574" fmla="*/ 2124651 h 7216489"/>
                <a:gd name="connsiteX1575" fmla="*/ 281948 w 4016827"/>
                <a:gd name="connsiteY1575" fmla="*/ 2121290 h 7216489"/>
                <a:gd name="connsiteX1576" fmla="*/ 295374 w 4016827"/>
                <a:gd name="connsiteY1576" fmla="*/ 2134715 h 7216489"/>
                <a:gd name="connsiteX1577" fmla="*/ 281948 w 4016827"/>
                <a:gd name="connsiteY1577" fmla="*/ 2148141 h 7216489"/>
                <a:gd name="connsiteX1578" fmla="*/ 268522 w 4016827"/>
                <a:gd name="connsiteY1578" fmla="*/ 2134715 h 7216489"/>
                <a:gd name="connsiteX1579" fmla="*/ 281948 w 4016827"/>
                <a:gd name="connsiteY1579" fmla="*/ 2121290 h 7216489"/>
                <a:gd name="connsiteX1580" fmla="*/ 735080 w 4016827"/>
                <a:gd name="connsiteY1580" fmla="*/ 2114579 h 7216489"/>
                <a:gd name="connsiteX1581" fmla="*/ 755220 w 4016827"/>
                <a:gd name="connsiteY1581" fmla="*/ 2134720 h 7216489"/>
                <a:gd name="connsiteX1582" fmla="*/ 735080 w 4016827"/>
                <a:gd name="connsiteY1582" fmla="*/ 2154857 h 7216489"/>
                <a:gd name="connsiteX1583" fmla="*/ 714941 w 4016827"/>
                <a:gd name="connsiteY1583" fmla="*/ 2134720 h 7216489"/>
                <a:gd name="connsiteX1584" fmla="*/ 735080 w 4016827"/>
                <a:gd name="connsiteY1584" fmla="*/ 2114579 h 7216489"/>
                <a:gd name="connsiteX1585" fmla="*/ 1419813 w 4016827"/>
                <a:gd name="connsiteY1585" fmla="*/ 2023989 h 7216489"/>
                <a:gd name="connsiteX1586" fmla="*/ 1429882 w 4016827"/>
                <a:gd name="connsiteY1586" fmla="*/ 2034058 h 7216489"/>
                <a:gd name="connsiteX1587" fmla="*/ 1419813 w 4016827"/>
                <a:gd name="connsiteY1587" fmla="*/ 2044129 h 7216489"/>
                <a:gd name="connsiteX1588" fmla="*/ 1409743 w 4016827"/>
                <a:gd name="connsiteY1588" fmla="*/ 2034058 h 7216489"/>
                <a:gd name="connsiteX1589" fmla="*/ 1419813 w 4016827"/>
                <a:gd name="connsiteY1589" fmla="*/ 2023989 h 7216489"/>
                <a:gd name="connsiteX1590" fmla="*/ 513549 w 4016827"/>
                <a:gd name="connsiteY1590" fmla="*/ 2017249 h 7216489"/>
                <a:gd name="connsiteX1591" fmla="*/ 530332 w 4016827"/>
                <a:gd name="connsiteY1591" fmla="*/ 2034033 h 7216489"/>
                <a:gd name="connsiteX1592" fmla="*/ 513549 w 4016827"/>
                <a:gd name="connsiteY1592" fmla="*/ 2050813 h 7216489"/>
                <a:gd name="connsiteX1593" fmla="*/ 496766 w 4016827"/>
                <a:gd name="connsiteY1593" fmla="*/ 2034033 h 7216489"/>
                <a:gd name="connsiteX1594" fmla="*/ 513549 w 4016827"/>
                <a:gd name="connsiteY1594" fmla="*/ 2017249 h 7216489"/>
                <a:gd name="connsiteX1595" fmla="*/ 966680 w 4016827"/>
                <a:gd name="connsiteY1595" fmla="*/ 2013905 h 7216489"/>
                <a:gd name="connsiteX1596" fmla="*/ 986820 w 4016827"/>
                <a:gd name="connsiteY1596" fmla="*/ 2034043 h 7216489"/>
                <a:gd name="connsiteX1597" fmla="*/ 966680 w 4016827"/>
                <a:gd name="connsiteY1597" fmla="*/ 2054181 h 7216489"/>
                <a:gd name="connsiteX1598" fmla="*/ 946541 w 4016827"/>
                <a:gd name="connsiteY1598" fmla="*/ 2034043 h 7216489"/>
                <a:gd name="connsiteX1599" fmla="*/ 966680 w 4016827"/>
                <a:gd name="connsiteY1599" fmla="*/ 2013905 h 7216489"/>
                <a:gd name="connsiteX1600" fmla="*/ 1654769 w 4016827"/>
                <a:gd name="connsiteY1600" fmla="*/ 1926656 h 7216489"/>
                <a:gd name="connsiteX1601" fmla="*/ 1661482 w 4016827"/>
                <a:gd name="connsiteY1601" fmla="*/ 1933370 h 7216489"/>
                <a:gd name="connsiteX1602" fmla="*/ 1654769 w 4016827"/>
                <a:gd name="connsiteY1602" fmla="*/ 1940086 h 7216489"/>
                <a:gd name="connsiteX1603" fmla="*/ 1648056 w 4016827"/>
                <a:gd name="connsiteY1603" fmla="*/ 1933370 h 7216489"/>
                <a:gd name="connsiteX1604" fmla="*/ 1654769 w 4016827"/>
                <a:gd name="connsiteY1604" fmla="*/ 1926656 h 7216489"/>
                <a:gd name="connsiteX1605" fmla="*/ 292018 w 4016827"/>
                <a:gd name="connsiteY1605" fmla="*/ 1926618 h 7216489"/>
                <a:gd name="connsiteX1606" fmla="*/ 298731 w 4016827"/>
                <a:gd name="connsiteY1606" fmla="*/ 1933330 h 7216489"/>
                <a:gd name="connsiteX1607" fmla="*/ 292018 w 4016827"/>
                <a:gd name="connsiteY1607" fmla="*/ 1940042 h 7216489"/>
                <a:gd name="connsiteX1608" fmla="*/ 285305 w 4016827"/>
                <a:gd name="connsiteY1608" fmla="*/ 1933330 h 7216489"/>
                <a:gd name="connsiteX1609" fmla="*/ 292018 w 4016827"/>
                <a:gd name="connsiteY1609" fmla="*/ 1926618 h 7216489"/>
                <a:gd name="connsiteX1610" fmla="*/ 1201638 w 4016827"/>
                <a:gd name="connsiteY1610" fmla="*/ 1923286 h 7216489"/>
                <a:gd name="connsiteX1611" fmla="*/ 1211708 w 4016827"/>
                <a:gd name="connsiteY1611" fmla="*/ 1933354 h 7216489"/>
                <a:gd name="connsiteX1612" fmla="*/ 1201638 w 4016827"/>
                <a:gd name="connsiteY1612" fmla="*/ 1943424 h 7216489"/>
                <a:gd name="connsiteX1613" fmla="*/ 1191568 w 4016827"/>
                <a:gd name="connsiteY1613" fmla="*/ 1933354 h 7216489"/>
                <a:gd name="connsiteX1614" fmla="*/ 1201638 w 4016827"/>
                <a:gd name="connsiteY1614" fmla="*/ 1923286 h 7216489"/>
                <a:gd name="connsiteX1615" fmla="*/ 745150 w 4016827"/>
                <a:gd name="connsiteY1615" fmla="*/ 1916558 h 7216489"/>
                <a:gd name="connsiteX1616" fmla="*/ 761933 w 4016827"/>
                <a:gd name="connsiteY1616" fmla="*/ 1933342 h 7216489"/>
                <a:gd name="connsiteX1617" fmla="*/ 745150 w 4016827"/>
                <a:gd name="connsiteY1617" fmla="*/ 1950123 h 7216489"/>
                <a:gd name="connsiteX1618" fmla="*/ 728367 w 4016827"/>
                <a:gd name="connsiteY1618" fmla="*/ 1933342 h 7216489"/>
                <a:gd name="connsiteX1619" fmla="*/ 745150 w 4016827"/>
                <a:gd name="connsiteY1619" fmla="*/ 1916558 h 7216489"/>
                <a:gd name="connsiteX1620" fmla="*/ 1439951 w 4016827"/>
                <a:gd name="connsiteY1620" fmla="*/ 1822595 h 7216489"/>
                <a:gd name="connsiteX1621" fmla="*/ 1450020 w 4016827"/>
                <a:gd name="connsiteY1621" fmla="*/ 1832665 h 7216489"/>
                <a:gd name="connsiteX1622" fmla="*/ 1439951 w 4016827"/>
                <a:gd name="connsiteY1622" fmla="*/ 1842734 h 7216489"/>
                <a:gd name="connsiteX1623" fmla="*/ 1429881 w 4016827"/>
                <a:gd name="connsiteY1623" fmla="*/ 1832665 h 7216489"/>
                <a:gd name="connsiteX1624" fmla="*/ 1439951 w 4016827"/>
                <a:gd name="connsiteY1624" fmla="*/ 1822595 h 7216489"/>
                <a:gd name="connsiteX1625" fmla="*/ 526975 w 4016827"/>
                <a:gd name="connsiteY1625" fmla="*/ 1815858 h 7216489"/>
                <a:gd name="connsiteX1626" fmla="*/ 543758 w 4016827"/>
                <a:gd name="connsiteY1626" fmla="*/ 1832640 h 7216489"/>
                <a:gd name="connsiteX1627" fmla="*/ 526975 w 4016827"/>
                <a:gd name="connsiteY1627" fmla="*/ 1849423 h 7216489"/>
                <a:gd name="connsiteX1628" fmla="*/ 510192 w 4016827"/>
                <a:gd name="connsiteY1628" fmla="*/ 1832640 h 7216489"/>
                <a:gd name="connsiteX1629" fmla="*/ 526975 w 4016827"/>
                <a:gd name="connsiteY1629" fmla="*/ 1815858 h 7216489"/>
                <a:gd name="connsiteX1630" fmla="*/ 983463 w 4016827"/>
                <a:gd name="connsiteY1630" fmla="*/ 1812512 h 7216489"/>
                <a:gd name="connsiteX1631" fmla="*/ 1003602 w 4016827"/>
                <a:gd name="connsiteY1631" fmla="*/ 1829294 h 7216489"/>
                <a:gd name="connsiteX1632" fmla="*/ 983463 w 4016827"/>
                <a:gd name="connsiteY1632" fmla="*/ 1849434 h 7216489"/>
                <a:gd name="connsiteX1633" fmla="*/ 963324 w 4016827"/>
                <a:gd name="connsiteY1633" fmla="*/ 1832650 h 7216489"/>
                <a:gd name="connsiteX1634" fmla="*/ 983463 w 4016827"/>
                <a:gd name="connsiteY1634" fmla="*/ 1812512 h 7216489"/>
                <a:gd name="connsiteX1635" fmla="*/ 312157 w 4016827"/>
                <a:gd name="connsiteY1635" fmla="*/ 1728581 h 7216489"/>
                <a:gd name="connsiteX1636" fmla="*/ 312157 w 4016827"/>
                <a:gd name="connsiteY1636" fmla="*/ 1731938 h 7216489"/>
                <a:gd name="connsiteX1637" fmla="*/ 312157 w 4016827"/>
                <a:gd name="connsiteY1637" fmla="*/ 1728581 h 7216489"/>
                <a:gd name="connsiteX1638" fmla="*/ 1225134 w 4016827"/>
                <a:gd name="connsiteY1638" fmla="*/ 1715181 h 7216489"/>
                <a:gd name="connsiteX1639" fmla="*/ 1238560 w 4016827"/>
                <a:gd name="connsiteY1639" fmla="*/ 1728607 h 7216489"/>
                <a:gd name="connsiteX1640" fmla="*/ 1225134 w 4016827"/>
                <a:gd name="connsiteY1640" fmla="*/ 1742033 h 7216489"/>
                <a:gd name="connsiteX1641" fmla="*/ 1211708 w 4016827"/>
                <a:gd name="connsiteY1641" fmla="*/ 1728607 h 7216489"/>
                <a:gd name="connsiteX1642" fmla="*/ 1225134 w 4016827"/>
                <a:gd name="connsiteY1642" fmla="*/ 1715181 h 7216489"/>
                <a:gd name="connsiteX1643" fmla="*/ 768646 w 4016827"/>
                <a:gd name="connsiteY1643" fmla="*/ 1708456 h 7216489"/>
                <a:gd name="connsiteX1644" fmla="*/ 792142 w 4016827"/>
                <a:gd name="connsiteY1644" fmla="*/ 1731951 h 7216489"/>
                <a:gd name="connsiteX1645" fmla="*/ 768646 w 4016827"/>
                <a:gd name="connsiteY1645" fmla="*/ 1755446 h 7216489"/>
                <a:gd name="connsiteX1646" fmla="*/ 745150 w 4016827"/>
                <a:gd name="connsiteY1646" fmla="*/ 1731951 h 7216489"/>
                <a:gd name="connsiteX1647" fmla="*/ 768646 w 4016827"/>
                <a:gd name="connsiteY1647" fmla="*/ 1708456 h 7216489"/>
                <a:gd name="connsiteX1648" fmla="*/ 1473517 w 4016827"/>
                <a:gd name="connsiteY1648" fmla="*/ 1624561 h 7216489"/>
                <a:gd name="connsiteX1649" fmla="*/ 1480230 w 4016827"/>
                <a:gd name="connsiteY1649" fmla="*/ 1631275 h 7216489"/>
                <a:gd name="connsiteX1650" fmla="*/ 1473517 w 4016827"/>
                <a:gd name="connsiteY1650" fmla="*/ 1637987 h 7216489"/>
                <a:gd name="connsiteX1651" fmla="*/ 1466804 w 4016827"/>
                <a:gd name="connsiteY1651" fmla="*/ 1631275 h 7216489"/>
                <a:gd name="connsiteX1652" fmla="*/ 1473517 w 4016827"/>
                <a:gd name="connsiteY1652" fmla="*/ 1624561 h 7216489"/>
                <a:gd name="connsiteX1653" fmla="*/ 553827 w 4016827"/>
                <a:gd name="connsiteY1653" fmla="*/ 1617822 h 7216489"/>
                <a:gd name="connsiteX1654" fmla="*/ 567254 w 4016827"/>
                <a:gd name="connsiteY1654" fmla="*/ 1631249 h 7216489"/>
                <a:gd name="connsiteX1655" fmla="*/ 553827 w 4016827"/>
                <a:gd name="connsiteY1655" fmla="*/ 1644675 h 7216489"/>
                <a:gd name="connsiteX1656" fmla="*/ 540401 w 4016827"/>
                <a:gd name="connsiteY1656" fmla="*/ 1631249 h 7216489"/>
                <a:gd name="connsiteX1657" fmla="*/ 553827 w 4016827"/>
                <a:gd name="connsiteY1657" fmla="*/ 1617822 h 7216489"/>
                <a:gd name="connsiteX1658" fmla="*/ 1013672 w 4016827"/>
                <a:gd name="connsiteY1658" fmla="*/ 1611121 h 7216489"/>
                <a:gd name="connsiteX1659" fmla="*/ 1033811 w 4016827"/>
                <a:gd name="connsiteY1659" fmla="*/ 1631261 h 7216489"/>
                <a:gd name="connsiteX1660" fmla="*/ 1013672 w 4016827"/>
                <a:gd name="connsiteY1660" fmla="*/ 1651401 h 7216489"/>
                <a:gd name="connsiteX1661" fmla="*/ 993533 w 4016827"/>
                <a:gd name="connsiteY1661" fmla="*/ 1631261 h 7216489"/>
                <a:gd name="connsiteX1662" fmla="*/ 1013672 w 4016827"/>
                <a:gd name="connsiteY1662" fmla="*/ 1611121 h 7216489"/>
                <a:gd name="connsiteX1663" fmla="*/ 1725256 w 4016827"/>
                <a:gd name="connsiteY1663" fmla="*/ 1530583 h 7216489"/>
                <a:gd name="connsiteX1664" fmla="*/ 1728613 w 4016827"/>
                <a:gd name="connsiteY1664" fmla="*/ 1533939 h 7216489"/>
                <a:gd name="connsiteX1665" fmla="*/ 1725256 w 4016827"/>
                <a:gd name="connsiteY1665" fmla="*/ 1537296 h 7216489"/>
                <a:gd name="connsiteX1666" fmla="*/ 1721900 w 4016827"/>
                <a:gd name="connsiteY1666" fmla="*/ 1533939 h 7216489"/>
                <a:gd name="connsiteX1667" fmla="*/ 1725256 w 4016827"/>
                <a:gd name="connsiteY1667" fmla="*/ 1530583 h 7216489"/>
                <a:gd name="connsiteX1668" fmla="*/ 1262056 w 4016827"/>
                <a:gd name="connsiteY1668" fmla="*/ 1523856 h 7216489"/>
                <a:gd name="connsiteX1669" fmla="*/ 1272125 w 4016827"/>
                <a:gd name="connsiteY1669" fmla="*/ 1533926 h 7216489"/>
                <a:gd name="connsiteX1670" fmla="*/ 1262056 w 4016827"/>
                <a:gd name="connsiteY1670" fmla="*/ 1543996 h 7216489"/>
                <a:gd name="connsiteX1671" fmla="*/ 1251986 w 4016827"/>
                <a:gd name="connsiteY1671" fmla="*/ 1533926 h 7216489"/>
                <a:gd name="connsiteX1672" fmla="*/ 1262056 w 4016827"/>
                <a:gd name="connsiteY1672" fmla="*/ 1523856 h 7216489"/>
                <a:gd name="connsiteX1673" fmla="*/ 798855 w 4016827"/>
                <a:gd name="connsiteY1673" fmla="*/ 1513777 h 7216489"/>
                <a:gd name="connsiteX1674" fmla="*/ 815637 w 4016827"/>
                <a:gd name="connsiteY1674" fmla="*/ 1530558 h 7216489"/>
                <a:gd name="connsiteX1675" fmla="*/ 798855 w 4016827"/>
                <a:gd name="connsiteY1675" fmla="*/ 1547340 h 7216489"/>
                <a:gd name="connsiteX1676" fmla="*/ 782072 w 4016827"/>
                <a:gd name="connsiteY1676" fmla="*/ 1530558 h 7216489"/>
                <a:gd name="connsiteX1677" fmla="*/ 798855 w 4016827"/>
                <a:gd name="connsiteY1677" fmla="*/ 1513777 h 7216489"/>
                <a:gd name="connsiteX1678" fmla="*/ 1517151 w 4016827"/>
                <a:gd name="connsiteY1678" fmla="*/ 1433236 h 7216489"/>
                <a:gd name="connsiteX1679" fmla="*/ 1520508 w 4016827"/>
                <a:gd name="connsiteY1679" fmla="*/ 1436592 h 7216489"/>
                <a:gd name="connsiteX1680" fmla="*/ 1517151 w 4016827"/>
                <a:gd name="connsiteY1680" fmla="*/ 1439949 h 7216489"/>
                <a:gd name="connsiteX1681" fmla="*/ 1513795 w 4016827"/>
                <a:gd name="connsiteY1681" fmla="*/ 1436592 h 7216489"/>
                <a:gd name="connsiteX1682" fmla="*/ 1517151 w 4016827"/>
                <a:gd name="connsiteY1682" fmla="*/ 1433236 h 7216489"/>
                <a:gd name="connsiteX1683" fmla="*/ 587393 w 4016827"/>
                <a:gd name="connsiteY1683" fmla="*/ 1423142 h 7216489"/>
                <a:gd name="connsiteX1684" fmla="*/ 594106 w 4016827"/>
                <a:gd name="connsiteY1684" fmla="*/ 1429855 h 7216489"/>
                <a:gd name="connsiteX1685" fmla="*/ 587393 w 4016827"/>
                <a:gd name="connsiteY1685" fmla="*/ 1436568 h 7216489"/>
                <a:gd name="connsiteX1686" fmla="*/ 580680 w 4016827"/>
                <a:gd name="connsiteY1686" fmla="*/ 1429855 h 7216489"/>
                <a:gd name="connsiteX1687" fmla="*/ 587393 w 4016827"/>
                <a:gd name="connsiteY1687" fmla="*/ 1423142 h 7216489"/>
                <a:gd name="connsiteX1688" fmla="*/ 1050594 w 4016827"/>
                <a:gd name="connsiteY1688" fmla="*/ 1419798 h 7216489"/>
                <a:gd name="connsiteX1689" fmla="*/ 1064020 w 4016827"/>
                <a:gd name="connsiteY1689" fmla="*/ 1433224 h 7216489"/>
                <a:gd name="connsiteX1690" fmla="*/ 1050594 w 4016827"/>
                <a:gd name="connsiteY1690" fmla="*/ 1446650 h 7216489"/>
                <a:gd name="connsiteX1691" fmla="*/ 1037168 w 4016827"/>
                <a:gd name="connsiteY1691" fmla="*/ 1433224 h 7216489"/>
                <a:gd name="connsiteX1692" fmla="*/ 1050594 w 4016827"/>
                <a:gd name="connsiteY1692" fmla="*/ 1419798 h 7216489"/>
                <a:gd name="connsiteX1693" fmla="*/ 1782318 w 4016827"/>
                <a:gd name="connsiteY1693" fmla="*/ 1335905 h 7216489"/>
                <a:gd name="connsiteX1694" fmla="*/ 1782318 w 4016827"/>
                <a:gd name="connsiteY1694" fmla="*/ 1341359 h 7216489"/>
                <a:gd name="connsiteX1695" fmla="*/ 1782318 w 4016827"/>
                <a:gd name="connsiteY1695" fmla="*/ 1342618 h 7216489"/>
                <a:gd name="connsiteX1696" fmla="*/ 1782318 w 4016827"/>
                <a:gd name="connsiteY1696" fmla="*/ 1335905 h 7216489"/>
                <a:gd name="connsiteX1697" fmla="*/ 1309047 w 4016827"/>
                <a:gd name="connsiteY1697" fmla="*/ 1325824 h 7216489"/>
                <a:gd name="connsiteX1698" fmla="*/ 1319117 w 4016827"/>
                <a:gd name="connsiteY1698" fmla="*/ 1335892 h 7216489"/>
                <a:gd name="connsiteX1699" fmla="*/ 1309047 w 4016827"/>
                <a:gd name="connsiteY1699" fmla="*/ 1345962 h 7216489"/>
                <a:gd name="connsiteX1700" fmla="*/ 1298977 w 4016827"/>
                <a:gd name="connsiteY1700" fmla="*/ 1335892 h 7216489"/>
                <a:gd name="connsiteX1701" fmla="*/ 1309047 w 4016827"/>
                <a:gd name="connsiteY1701" fmla="*/ 1325824 h 7216489"/>
                <a:gd name="connsiteX1702" fmla="*/ 842488 w 4016827"/>
                <a:gd name="connsiteY1702" fmla="*/ 1322455 h 7216489"/>
                <a:gd name="connsiteX1703" fmla="*/ 852558 w 4016827"/>
                <a:gd name="connsiteY1703" fmla="*/ 1332525 h 7216489"/>
                <a:gd name="connsiteX1704" fmla="*/ 842488 w 4016827"/>
                <a:gd name="connsiteY1704" fmla="*/ 1342593 h 7216489"/>
                <a:gd name="connsiteX1705" fmla="*/ 832419 w 4016827"/>
                <a:gd name="connsiteY1705" fmla="*/ 1332525 h 7216489"/>
                <a:gd name="connsiteX1706" fmla="*/ 842488 w 4016827"/>
                <a:gd name="connsiteY1706" fmla="*/ 1322455 h 7216489"/>
                <a:gd name="connsiteX1707" fmla="*/ 1574212 w 4016827"/>
                <a:gd name="connsiteY1707" fmla="*/ 1231846 h 7216489"/>
                <a:gd name="connsiteX1708" fmla="*/ 1580925 w 4016827"/>
                <a:gd name="connsiteY1708" fmla="*/ 1238559 h 7216489"/>
                <a:gd name="connsiteX1709" fmla="*/ 1574212 w 4016827"/>
                <a:gd name="connsiteY1709" fmla="*/ 1245269 h 7216489"/>
                <a:gd name="connsiteX1710" fmla="*/ 1567499 w 4016827"/>
                <a:gd name="connsiteY1710" fmla="*/ 1238559 h 7216489"/>
                <a:gd name="connsiteX1711" fmla="*/ 1574212 w 4016827"/>
                <a:gd name="connsiteY1711" fmla="*/ 1231846 h 7216489"/>
                <a:gd name="connsiteX1712" fmla="*/ 1100942 w 4016827"/>
                <a:gd name="connsiteY1712" fmla="*/ 1218408 h 7216489"/>
                <a:gd name="connsiteX1713" fmla="*/ 1117724 w 4016827"/>
                <a:gd name="connsiteY1713" fmla="*/ 1235192 h 7216489"/>
                <a:gd name="connsiteX1714" fmla="*/ 1100942 w 4016827"/>
                <a:gd name="connsiteY1714" fmla="*/ 1251973 h 7216489"/>
                <a:gd name="connsiteX1715" fmla="*/ 1084159 w 4016827"/>
                <a:gd name="connsiteY1715" fmla="*/ 1235192 h 7216489"/>
                <a:gd name="connsiteX1716" fmla="*/ 1100942 w 4016827"/>
                <a:gd name="connsiteY1716" fmla="*/ 1218408 h 7216489"/>
                <a:gd name="connsiteX1717" fmla="*/ 1369465 w 4016827"/>
                <a:gd name="connsiteY1717" fmla="*/ 1134500 h 7216489"/>
                <a:gd name="connsiteX1718" fmla="*/ 1376178 w 4016827"/>
                <a:gd name="connsiteY1718" fmla="*/ 1141213 h 7216489"/>
                <a:gd name="connsiteX1719" fmla="*/ 1369465 w 4016827"/>
                <a:gd name="connsiteY1719" fmla="*/ 1147925 h 7216489"/>
                <a:gd name="connsiteX1720" fmla="*/ 1362752 w 4016827"/>
                <a:gd name="connsiteY1720" fmla="*/ 1141213 h 7216489"/>
                <a:gd name="connsiteX1721" fmla="*/ 1369465 w 4016827"/>
                <a:gd name="connsiteY1721" fmla="*/ 1134500 h 7216489"/>
                <a:gd name="connsiteX1722" fmla="*/ 896193 w 4016827"/>
                <a:gd name="connsiteY1722" fmla="*/ 1127776 h 7216489"/>
                <a:gd name="connsiteX1723" fmla="*/ 906263 w 4016827"/>
                <a:gd name="connsiteY1723" fmla="*/ 1137846 h 7216489"/>
                <a:gd name="connsiteX1724" fmla="*/ 896193 w 4016827"/>
                <a:gd name="connsiteY1724" fmla="*/ 1147915 h 7216489"/>
                <a:gd name="connsiteX1725" fmla="*/ 886123 w 4016827"/>
                <a:gd name="connsiteY1725" fmla="*/ 1137846 h 7216489"/>
                <a:gd name="connsiteX1726" fmla="*/ 896193 w 4016827"/>
                <a:gd name="connsiteY1726" fmla="*/ 1127776 h 7216489"/>
                <a:gd name="connsiteX1727" fmla="*/ 1644700 w 4016827"/>
                <a:gd name="connsiteY1727" fmla="*/ 1043878 h 7216489"/>
                <a:gd name="connsiteX1728" fmla="*/ 1644700 w 4016827"/>
                <a:gd name="connsiteY1728" fmla="*/ 1050591 h 7216489"/>
                <a:gd name="connsiteX1729" fmla="*/ 1644700 w 4016827"/>
                <a:gd name="connsiteY1729" fmla="*/ 1043878 h 7216489"/>
                <a:gd name="connsiteX1730" fmla="*/ 1164716 w 4016827"/>
                <a:gd name="connsiteY1730" fmla="*/ 1030441 h 7216489"/>
                <a:gd name="connsiteX1731" fmla="*/ 1174786 w 4016827"/>
                <a:gd name="connsiteY1731" fmla="*/ 1040512 h 7216489"/>
                <a:gd name="connsiteX1732" fmla="*/ 1164716 w 4016827"/>
                <a:gd name="connsiteY1732" fmla="*/ 1050581 h 7216489"/>
                <a:gd name="connsiteX1733" fmla="*/ 1154646 w 4016827"/>
                <a:gd name="connsiteY1733" fmla="*/ 1040512 h 7216489"/>
                <a:gd name="connsiteX1734" fmla="*/ 1164716 w 4016827"/>
                <a:gd name="connsiteY1734" fmla="*/ 1030441 h 7216489"/>
                <a:gd name="connsiteX1735" fmla="*/ 1439951 w 4016827"/>
                <a:gd name="connsiteY1735" fmla="*/ 939813 h 7216489"/>
                <a:gd name="connsiteX1736" fmla="*/ 1450020 w 4016827"/>
                <a:gd name="connsiteY1736" fmla="*/ 949882 h 7216489"/>
                <a:gd name="connsiteX1737" fmla="*/ 1439951 w 4016827"/>
                <a:gd name="connsiteY1737" fmla="*/ 959953 h 7216489"/>
                <a:gd name="connsiteX1738" fmla="*/ 1429881 w 4016827"/>
                <a:gd name="connsiteY1738" fmla="*/ 949882 h 7216489"/>
                <a:gd name="connsiteX1739" fmla="*/ 1439951 w 4016827"/>
                <a:gd name="connsiteY1739" fmla="*/ 939813 h 7216489"/>
                <a:gd name="connsiteX1740" fmla="*/ 959967 w 4016827"/>
                <a:gd name="connsiteY1740" fmla="*/ 933090 h 7216489"/>
                <a:gd name="connsiteX1741" fmla="*/ 970037 w 4016827"/>
                <a:gd name="connsiteY1741" fmla="*/ 943159 h 7216489"/>
                <a:gd name="connsiteX1742" fmla="*/ 959967 w 4016827"/>
                <a:gd name="connsiteY1742" fmla="*/ 953228 h 7216489"/>
                <a:gd name="connsiteX1743" fmla="*/ 949898 w 4016827"/>
                <a:gd name="connsiteY1743" fmla="*/ 943159 h 7216489"/>
                <a:gd name="connsiteX1744" fmla="*/ 959967 w 4016827"/>
                <a:gd name="connsiteY1744" fmla="*/ 933090 h 7216489"/>
                <a:gd name="connsiteX1745" fmla="*/ 1728613 w 4016827"/>
                <a:gd name="connsiteY1745" fmla="*/ 859262 h 7216489"/>
                <a:gd name="connsiteX1746" fmla="*/ 1731970 w 4016827"/>
                <a:gd name="connsiteY1746" fmla="*/ 862618 h 7216489"/>
                <a:gd name="connsiteX1747" fmla="*/ 1728613 w 4016827"/>
                <a:gd name="connsiteY1747" fmla="*/ 865975 h 7216489"/>
                <a:gd name="connsiteX1748" fmla="*/ 1725256 w 4016827"/>
                <a:gd name="connsiteY1748" fmla="*/ 862618 h 7216489"/>
                <a:gd name="connsiteX1749" fmla="*/ 1728613 w 4016827"/>
                <a:gd name="connsiteY1749" fmla="*/ 859262 h 7216489"/>
                <a:gd name="connsiteX1750" fmla="*/ 1235203 w 4016827"/>
                <a:gd name="connsiteY1750" fmla="*/ 845825 h 7216489"/>
                <a:gd name="connsiteX1751" fmla="*/ 1241916 w 4016827"/>
                <a:gd name="connsiteY1751" fmla="*/ 852538 h 7216489"/>
                <a:gd name="connsiteX1752" fmla="*/ 1235203 w 4016827"/>
                <a:gd name="connsiteY1752" fmla="*/ 859251 h 7216489"/>
                <a:gd name="connsiteX1753" fmla="*/ 1228490 w 4016827"/>
                <a:gd name="connsiteY1753" fmla="*/ 852538 h 7216489"/>
                <a:gd name="connsiteX1754" fmla="*/ 1235203 w 4016827"/>
                <a:gd name="connsiteY1754" fmla="*/ 845825 h 7216489"/>
                <a:gd name="connsiteX1755" fmla="*/ 2027344 w 4016827"/>
                <a:gd name="connsiteY1755" fmla="*/ 778710 h 7216489"/>
                <a:gd name="connsiteX1756" fmla="*/ 2027344 w 4016827"/>
                <a:gd name="connsiteY1756" fmla="*/ 782066 h 7216489"/>
                <a:gd name="connsiteX1757" fmla="*/ 2027344 w 4016827"/>
                <a:gd name="connsiteY1757" fmla="*/ 778710 h 7216489"/>
                <a:gd name="connsiteX1758" fmla="*/ 1523864 w 4016827"/>
                <a:gd name="connsiteY1758" fmla="*/ 751848 h 7216489"/>
                <a:gd name="connsiteX1759" fmla="*/ 1537290 w 4016827"/>
                <a:gd name="connsiteY1759" fmla="*/ 765275 h 7216489"/>
                <a:gd name="connsiteX1760" fmla="*/ 1523864 w 4016827"/>
                <a:gd name="connsiteY1760" fmla="*/ 778701 h 7216489"/>
                <a:gd name="connsiteX1761" fmla="*/ 1510438 w 4016827"/>
                <a:gd name="connsiteY1761" fmla="*/ 765275 h 7216489"/>
                <a:gd name="connsiteX1762" fmla="*/ 1523864 w 4016827"/>
                <a:gd name="connsiteY1762" fmla="*/ 751848 h 7216489"/>
                <a:gd name="connsiteX1763" fmla="*/ 1033811 w 4016827"/>
                <a:gd name="connsiteY1763" fmla="*/ 745126 h 7216489"/>
                <a:gd name="connsiteX1764" fmla="*/ 1040524 w 4016827"/>
                <a:gd name="connsiteY1764" fmla="*/ 751838 h 7216489"/>
                <a:gd name="connsiteX1765" fmla="*/ 1033811 w 4016827"/>
                <a:gd name="connsiteY1765" fmla="*/ 758551 h 7216489"/>
                <a:gd name="connsiteX1766" fmla="*/ 1027098 w 4016827"/>
                <a:gd name="connsiteY1766" fmla="*/ 751838 h 7216489"/>
                <a:gd name="connsiteX1767" fmla="*/ 1033811 w 4016827"/>
                <a:gd name="connsiteY1767" fmla="*/ 745126 h 7216489"/>
                <a:gd name="connsiteX1768" fmla="*/ 1822596 w 4016827"/>
                <a:gd name="connsiteY1768" fmla="*/ 681366 h 7216489"/>
                <a:gd name="connsiteX1769" fmla="*/ 1822596 w 4016827"/>
                <a:gd name="connsiteY1769" fmla="*/ 684723 h 7216489"/>
                <a:gd name="connsiteX1770" fmla="*/ 1822596 w 4016827"/>
                <a:gd name="connsiteY1770" fmla="*/ 681366 h 7216489"/>
                <a:gd name="connsiteX1771" fmla="*/ 1319117 w 4016827"/>
                <a:gd name="connsiteY1771" fmla="*/ 654504 h 7216489"/>
                <a:gd name="connsiteX1772" fmla="*/ 1329186 w 4016827"/>
                <a:gd name="connsiteY1772" fmla="*/ 664574 h 7216489"/>
                <a:gd name="connsiteX1773" fmla="*/ 1319117 w 4016827"/>
                <a:gd name="connsiteY1773" fmla="*/ 674643 h 7216489"/>
                <a:gd name="connsiteX1774" fmla="*/ 1309047 w 4016827"/>
                <a:gd name="connsiteY1774" fmla="*/ 664574 h 7216489"/>
                <a:gd name="connsiteX1775" fmla="*/ 1319117 w 4016827"/>
                <a:gd name="connsiteY1775" fmla="*/ 654504 h 7216489"/>
                <a:gd name="connsiteX1776" fmla="*/ 2131396 w 4016827"/>
                <a:gd name="connsiteY1776" fmla="*/ 607528 h 7216489"/>
                <a:gd name="connsiteX1777" fmla="*/ 2131396 w 4016827"/>
                <a:gd name="connsiteY1777" fmla="*/ 610885 h 7216489"/>
                <a:gd name="connsiteX1778" fmla="*/ 2131396 w 4016827"/>
                <a:gd name="connsiteY1778" fmla="*/ 609627 h 7216489"/>
                <a:gd name="connsiteX1779" fmla="*/ 1617847 w 4016827"/>
                <a:gd name="connsiteY1779" fmla="*/ 577309 h 7216489"/>
                <a:gd name="connsiteX1780" fmla="*/ 1624560 w 4016827"/>
                <a:gd name="connsiteY1780" fmla="*/ 584023 h 7216489"/>
                <a:gd name="connsiteX1781" fmla="*/ 1617847 w 4016827"/>
                <a:gd name="connsiteY1781" fmla="*/ 590735 h 7216489"/>
                <a:gd name="connsiteX1782" fmla="*/ 1611134 w 4016827"/>
                <a:gd name="connsiteY1782" fmla="*/ 584023 h 7216489"/>
                <a:gd name="connsiteX1783" fmla="*/ 1617847 w 4016827"/>
                <a:gd name="connsiteY1783" fmla="*/ 577309 h 7216489"/>
                <a:gd name="connsiteX1784" fmla="*/ 1926649 w 4016827"/>
                <a:gd name="connsiteY1784" fmla="*/ 506828 h 7216489"/>
                <a:gd name="connsiteX1785" fmla="*/ 1930005 w 4016827"/>
                <a:gd name="connsiteY1785" fmla="*/ 510184 h 7216489"/>
                <a:gd name="connsiteX1786" fmla="*/ 1926649 w 4016827"/>
                <a:gd name="connsiteY1786" fmla="*/ 513541 h 7216489"/>
                <a:gd name="connsiteX1787" fmla="*/ 1923292 w 4016827"/>
                <a:gd name="connsiteY1787" fmla="*/ 510184 h 7216489"/>
                <a:gd name="connsiteX1788" fmla="*/ 1926649 w 4016827"/>
                <a:gd name="connsiteY1788" fmla="*/ 506828 h 7216489"/>
                <a:gd name="connsiteX1789" fmla="*/ 1413099 w 4016827"/>
                <a:gd name="connsiteY1789" fmla="*/ 476608 h 7216489"/>
                <a:gd name="connsiteX1790" fmla="*/ 1423168 w 4016827"/>
                <a:gd name="connsiteY1790" fmla="*/ 486678 h 7216489"/>
                <a:gd name="connsiteX1791" fmla="*/ 1413099 w 4016827"/>
                <a:gd name="connsiteY1791" fmla="*/ 496747 h 7216489"/>
                <a:gd name="connsiteX1792" fmla="*/ 1403029 w 4016827"/>
                <a:gd name="connsiteY1792" fmla="*/ 486678 h 7216489"/>
                <a:gd name="connsiteX1793" fmla="*/ 1413099 w 4016827"/>
                <a:gd name="connsiteY1793" fmla="*/ 476608 h 7216489"/>
                <a:gd name="connsiteX1794" fmla="*/ 2252232 w 4016827"/>
                <a:gd name="connsiteY1794" fmla="*/ 439702 h 7216489"/>
                <a:gd name="connsiteX1795" fmla="*/ 2252232 w 4016827"/>
                <a:gd name="connsiteY1795" fmla="*/ 446415 h 7216489"/>
                <a:gd name="connsiteX1796" fmla="*/ 2252232 w 4016827"/>
                <a:gd name="connsiteY1796" fmla="*/ 439702 h 7216489"/>
                <a:gd name="connsiteX1797" fmla="*/ 1721900 w 4016827"/>
                <a:gd name="connsiteY1797" fmla="*/ 402770 h 7216489"/>
                <a:gd name="connsiteX1798" fmla="*/ 1728613 w 4016827"/>
                <a:gd name="connsiteY1798" fmla="*/ 409483 h 7216489"/>
                <a:gd name="connsiteX1799" fmla="*/ 1721900 w 4016827"/>
                <a:gd name="connsiteY1799" fmla="*/ 416196 h 7216489"/>
                <a:gd name="connsiteX1800" fmla="*/ 1715187 w 4016827"/>
                <a:gd name="connsiteY1800" fmla="*/ 409483 h 7216489"/>
                <a:gd name="connsiteX1801" fmla="*/ 1721900 w 4016827"/>
                <a:gd name="connsiteY1801" fmla="*/ 402770 h 7216489"/>
                <a:gd name="connsiteX1802" fmla="*/ 2044126 w 4016827"/>
                <a:gd name="connsiteY1802" fmla="*/ 339001 h 7216489"/>
                <a:gd name="connsiteX1803" fmla="*/ 2044126 w 4016827"/>
                <a:gd name="connsiteY1803" fmla="*/ 345715 h 7216489"/>
                <a:gd name="connsiteX1804" fmla="*/ 2044126 w 4016827"/>
                <a:gd name="connsiteY1804" fmla="*/ 339001 h 7216489"/>
                <a:gd name="connsiteX1805" fmla="*/ 1517151 w 4016827"/>
                <a:gd name="connsiteY1805" fmla="*/ 305426 h 7216489"/>
                <a:gd name="connsiteX1806" fmla="*/ 1517151 w 4016827"/>
                <a:gd name="connsiteY1806" fmla="*/ 312139 h 7216489"/>
                <a:gd name="connsiteX1807" fmla="*/ 1517151 w 4016827"/>
                <a:gd name="connsiteY1807" fmla="*/ 305426 h 7216489"/>
                <a:gd name="connsiteX1808" fmla="*/ 2379780 w 4016827"/>
                <a:gd name="connsiteY1808" fmla="*/ 285303 h 7216489"/>
                <a:gd name="connsiteX1809" fmla="*/ 2379780 w 4016827"/>
                <a:gd name="connsiteY1809" fmla="*/ 288659 h 7216489"/>
                <a:gd name="connsiteX1810" fmla="*/ 2379780 w 4016827"/>
                <a:gd name="connsiteY1810" fmla="*/ 285303 h 7216489"/>
                <a:gd name="connsiteX1811" fmla="*/ 1834762 w 4016827"/>
                <a:gd name="connsiteY1811" fmla="*/ 240820 h 7216489"/>
                <a:gd name="connsiteX1812" fmla="*/ 1836021 w 4016827"/>
                <a:gd name="connsiteY1812" fmla="*/ 241658 h 7216489"/>
                <a:gd name="connsiteX1813" fmla="*/ 1836021 w 4016827"/>
                <a:gd name="connsiteY1813" fmla="*/ 245015 h 7216489"/>
                <a:gd name="connsiteX1814" fmla="*/ 1834762 w 4016827"/>
                <a:gd name="connsiteY1814" fmla="*/ 240820 h 7216489"/>
                <a:gd name="connsiteX1815" fmla="*/ 2168318 w 4016827"/>
                <a:gd name="connsiteY1815" fmla="*/ 181245 h 7216489"/>
                <a:gd name="connsiteX1816" fmla="*/ 2168318 w 4016827"/>
                <a:gd name="connsiteY1816" fmla="*/ 184602 h 7216489"/>
                <a:gd name="connsiteX1817" fmla="*/ 2168318 w 4016827"/>
                <a:gd name="connsiteY1817" fmla="*/ 181245 h 7216489"/>
                <a:gd name="connsiteX1818" fmla="*/ 2520754 w 4016827"/>
                <a:gd name="connsiteY1818" fmla="*/ 137617 h 7216489"/>
                <a:gd name="connsiteX1819" fmla="*/ 2520754 w 4016827"/>
                <a:gd name="connsiteY1819" fmla="*/ 140974 h 7216489"/>
                <a:gd name="connsiteX1820" fmla="*/ 2520754 w 4016827"/>
                <a:gd name="connsiteY1820" fmla="*/ 137617 h 7216489"/>
                <a:gd name="connsiteX1821" fmla="*/ 1960213 w 4016827"/>
                <a:gd name="connsiteY1821" fmla="*/ 77189 h 7216489"/>
                <a:gd name="connsiteX1822" fmla="*/ 1960213 w 4016827"/>
                <a:gd name="connsiteY1822" fmla="*/ 83901 h 7216489"/>
                <a:gd name="connsiteX1823" fmla="*/ 1960213 w 4016827"/>
                <a:gd name="connsiteY1823" fmla="*/ 77189 h 7216489"/>
                <a:gd name="connsiteX1824" fmla="*/ 2305936 w 4016827"/>
                <a:gd name="connsiteY1824" fmla="*/ 30203 h 7216489"/>
                <a:gd name="connsiteX1825" fmla="*/ 2305936 w 4016827"/>
                <a:gd name="connsiteY1825" fmla="*/ 33559 h 7216489"/>
                <a:gd name="connsiteX1826" fmla="*/ 2305936 w 4016827"/>
                <a:gd name="connsiteY1826" fmla="*/ 30203 h 7216489"/>
                <a:gd name="connsiteX1827" fmla="*/ 2668441 w 4016827"/>
                <a:gd name="connsiteY1827" fmla="*/ 0 h 7216489"/>
                <a:gd name="connsiteX1828" fmla="*/ 2668441 w 4016827"/>
                <a:gd name="connsiteY1828" fmla="*/ 3357 h 7216489"/>
                <a:gd name="connsiteX1829" fmla="*/ 2668441 w 4016827"/>
                <a:gd name="connsiteY1829" fmla="*/ 0 h 721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Lst>
              <a:rect l="l" t="t" r="r" b="b"/>
              <a:pathLst>
                <a:path w="4016827" h="7216489">
                  <a:moveTo>
                    <a:pt x="3030947" y="7203063"/>
                  </a:moveTo>
                  <a:cubicBezTo>
                    <a:pt x="3034304" y="7203063"/>
                    <a:pt x="3037660" y="7206420"/>
                    <a:pt x="3037660" y="7209776"/>
                  </a:cubicBezTo>
                  <a:cubicBezTo>
                    <a:pt x="3037660" y="7213133"/>
                    <a:pt x="3034304" y="7216489"/>
                    <a:pt x="3030947" y="7216489"/>
                  </a:cubicBezTo>
                  <a:cubicBezTo>
                    <a:pt x="3027590" y="7216489"/>
                    <a:pt x="3024234" y="7213133"/>
                    <a:pt x="3024234" y="7209776"/>
                  </a:cubicBezTo>
                  <a:cubicBezTo>
                    <a:pt x="3024234" y="7206420"/>
                    <a:pt x="3027590" y="7203063"/>
                    <a:pt x="3030947" y="7203063"/>
                  </a:cubicBezTo>
                  <a:close/>
                  <a:moveTo>
                    <a:pt x="3873436" y="7149359"/>
                  </a:moveTo>
                  <a:cubicBezTo>
                    <a:pt x="3883505" y="7149359"/>
                    <a:pt x="3893574" y="7159428"/>
                    <a:pt x="3893574" y="7169498"/>
                  </a:cubicBezTo>
                  <a:cubicBezTo>
                    <a:pt x="3893574" y="7179568"/>
                    <a:pt x="3883505" y="7189637"/>
                    <a:pt x="3873436" y="7189637"/>
                  </a:cubicBezTo>
                  <a:cubicBezTo>
                    <a:pt x="3863366" y="7189637"/>
                    <a:pt x="3853295" y="7179568"/>
                    <a:pt x="3853295" y="7169498"/>
                  </a:cubicBezTo>
                  <a:cubicBezTo>
                    <a:pt x="3853295" y="7159428"/>
                    <a:pt x="3863366" y="7149359"/>
                    <a:pt x="3873436" y="7149359"/>
                  </a:cubicBezTo>
                  <a:close/>
                  <a:moveTo>
                    <a:pt x="2839624" y="7142646"/>
                  </a:moveTo>
                  <a:cubicBezTo>
                    <a:pt x="2839624" y="7142646"/>
                    <a:pt x="2842981" y="7142646"/>
                    <a:pt x="2839624" y="7146002"/>
                  </a:cubicBezTo>
                  <a:cubicBezTo>
                    <a:pt x="2836268" y="7142646"/>
                    <a:pt x="2839624" y="7142646"/>
                    <a:pt x="2839624" y="7142646"/>
                  </a:cubicBezTo>
                  <a:close/>
                  <a:moveTo>
                    <a:pt x="3675402" y="7109080"/>
                  </a:moveTo>
                  <a:cubicBezTo>
                    <a:pt x="3688828" y="7109080"/>
                    <a:pt x="3702254" y="7122506"/>
                    <a:pt x="3702254" y="7135933"/>
                  </a:cubicBezTo>
                  <a:cubicBezTo>
                    <a:pt x="3702254" y="7149359"/>
                    <a:pt x="3688828" y="7162785"/>
                    <a:pt x="3675402" y="7162785"/>
                  </a:cubicBezTo>
                  <a:cubicBezTo>
                    <a:pt x="3658618" y="7162785"/>
                    <a:pt x="3645192" y="7149359"/>
                    <a:pt x="3648550" y="7135933"/>
                  </a:cubicBezTo>
                  <a:cubicBezTo>
                    <a:pt x="3648550" y="7122506"/>
                    <a:pt x="3661976" y="7109080"/>
                    <a:pt x="3675402" y="7109080"/>
                  </a:cubicBezTo>
                  <a:close/>
                  <a:moveTo>
                    <a:pt x="3474010" y="7055376"/>
                  </a:moveTo>
                  <a:cubicBezTo>
                    <a:pt x="3494147" y="7055376"/>
                    <a:pt x="3510931" y="7072158"/>
                    <a:pt x="3510931" y="7092298"/>
                  </a:cubicBezTo>
                  <a:cubicBezTo>
                    <a:pt x="3510931" y="7112437"/>
                    <a:pt x="3494147" y="7129220"/>
                    <a:pt x="3474010" y="7129220"/>
                  </a:cubicBezTo>
                  <a:cubicBezTo>
                    <a:pt x="3453868" y="7129220"/>
                    <a:pt x="3437087" y="7112437"/>
                    <a:pt x="3437087" y="7092298"/>
                  </a:cubicBezTo>
                  <a:cubicBezTo>
                    <a:pt x="3437087" y="7072158"/>
                    <a:pt x="3453868" y="7055376"/>
                    <a:pt x="3474010" y="7055376"/>
                  </a:cubicBezTo>
                  <a:close/>
                  <a:moveTo>
                    <a:pt x="3279328" y="7021810"/>
                  </a:moveTo>
                  <a:cubicBezTo>
                    <a:pt x="3292755" y="7021810"/>
                    <a:pt x="3302826" y="7031880"/>
                    <a:pt x="3302826" y="7045306"/>
                  </a:cubicBezTo>
                  <a:cubicBezTo>
                    <a:pt x="3302826" y="7058732"/>
                    <a:pt x="3292755" y="7068802"/>
                    <a:pt x="3279328" y="7068802"/>
                  </a:cubicBezTo>
                  <a:cubicBezTo>
                    <a:pt x="3265902" y="7068802"/>
                    <a:pt x="3252476" y="7058732"/>
                    <a:pt x="3255834" y="7045306"/>
                  </a:cubicBezTo>
                  <a:cubicBezTo>
                    <a:pt x="3255834" y="7031880"/>
                    <a:pt x="3265902" y="7021810"/>
                    <a:pt x="3279328" y="7021810"/>
                  </a:cubicBezTo>
                  <a:close/>
                  <a:moveTo>
                    <a:pt x="2463694" y="6984888"/>
                  </a:moveTo>
                  <a:cubicBezTo>
                    <a:pt x="2467050" y="6984888"/>
                    <a:pt x="2470406" y="6988245"/>
                    <a:pt x="2470406" y="6991602"/>
                  </a:cubicBezTo>
                  <a:cubicBezTo>
                    <a:pt x="2470406" y="6994958"/>
                    <a:pt x="2467050" y="6998315"/>
                    <a:pt x="2463694" y="6998315"/>
                  </a:cubicBezTo>
                  <a:cubicBezTo>
                    <a:pt x="2460337" y="6998315"/>
                    <a:pt x="2456980" y="6994958"/>
                    <a:pt x="2456980" y="6991602"/>
                  </a:cubicBezTo>
                  <a:cubicBezTo>
                    <a:pt x="2456980" y="6988245"/>
                    <a:pt x="2460337" y="6984888"/>
                    <a:pt x="2463694" y="6984888"/>
                  </a:cubicBezTo>
                  <a:close/>
                  <a:moveTo>
                    <a:pt x="3081295" y="6911045"/>
                  </a:moveTo>
                  <a:cubicBezTo>
                    <a:pt x="3123931" y="6911045"/>
                    <a:pt x="3158496" y="6945608"/>
                    <a:pt x="3158496" y="6988245"/>
                  </a:cubicBezTo>
                  <a:cubicBezTo>
                    <a:pt x="3158496" y="7030881"/>
                    <a:pt x="3123931" y="7065445"/>
                    <a:pt x="3081295" y="7065445"/>
                  </a:cubicBezTo>
                  <a:cubicBezTo>
                    <a:pt x="3038658" y="7065445"/>
                    <a:pt x="3004095" y="7030882"/>
                    <a:pt x="3004095" y="6988245"/>
                  </a:cubicBezTo>
                  <a:cubicBezTo>
                    <a:pt x="3004095" y="6945609"/>
                    <a:pt x="3038658" y="6911045"/>
                    <a:pt x="3081295" y="6911045"/>
                  </a:cubicBezTo>
                  <a:close/>
                  <a:moveTo>
                    <a:pt x="2279084" y="6897619"/>
                  </a:moveTo>
                  <a:cubicBezTo>
                    <a:pt x="2282440" y="6897619"/>
                    <a:pt x="2285797" y="6900975"/>
                    <a:pt x="2285797" y="6904332"/>
                  </a:cubicBezTo>
                  <a:cubicBezTo>
                    <a:pt x="2285797" y="6907688"/>
                    <a:pt x="2282440" y="6911045"/>
                    <a:pt x="2279084" y="6911045"/>
                  </a:cubicBezTo>
                  <a:cubicBezTo>
                    <a:pt x="2275728" y="6911045"/>
                    <a:pt x="2272371" y="6911045"/>
                    <a:pt x="2272371" y="6904332"/>
                  </a:cubicBezTo>
                  <a:cubicBezTo>
                    <a:pt x="2272371" y="6900975"/>
                    <a:pt x="2275728" y="6897619"/>
                    <a:pt x="2279084" y="6897619"/>
                  </a:cubicBezTo>
                  <a:close/>
                  <a:moveTo>
                    <a:pt x="3923784" y="6877479"/>
                  </a:moveTo>
                  <a:cubicBezTo>
                    <a:pt x="3960704" y="6877479"/>
                    <a:pt x="3994272" y="6907688"/>
                    <a:pt x="3994272" y="6947967"/>
                  </a:cubicBezTo>
                  <a:cubicBezTo>
                    <a:pt x="3994272" y="6984888"/>
                    <a:pt x="3964062" y="7018454"/>
                    <a:pt x="3923784" y="7018454"/>
                  </a:cubicBezTo>
                  <a:cubicBezTo>
                    <a:pt x="3886863" y="7018454"/>
                    <a:pt x="3853295" y="6984888"/>
                    <a:pt x="3853295" y="6947967"/>
                  </a:cubicBezTo>
                  <a:cubicBezTo>
                    <a:pt x="3853295" y="6911045"/>
                    <a:pt x="3883505" y="6877479"/>
                    <a:pt x="3923784" y="6877479"/>
                  </a:cubicBezTo>
                  <a:close/>
                  <a:moveTo>
                    <a:pt x="2889972" y="6860697"/>
                  </a:moveTo>
                  <a:cubicBezTo>
                    <a:pt x="2923538" y="6860697"/>
                    <a:pt x="2950390" y="6887549"/>
                    <a:pt x="2950390" y="6921114"/>
                  </a:cubicBezTo>
                  <a:cubicBezTo>
                    <a:pt x="2950390" y="6954680"/>
                    <a:pt x="2923538" y="6981532"/>
                    <a:pt x="2889972" y="6981532"/>
                  </a:cubicBezTo>
                  <a:cubicBezTo>
                    <a:pt x="2856407" y="6981532"/>
                    <a:pt x="2829555" y="6954680"/>
                    <a:pt x="2829555" y="6921114"/>
                  </a:cubicBezTo>
                  <a:cubicBezTo>
                    <a:pt x="2829555" y="6887549"/>
                    <a:pt x="2856407" y="6860697"/>
                    <a:pt x="2889972" y="6860697"/>
                  </a:cubicBezTo>
                  <a:close/>
                  <a:moveTo>
                    <a:pt x="3725749" y="6840557"/>
                  </a:moveTo>
                  <a:cubicBezTo>
                    <a:pt x="3766028" y="6840557"/>
                    <a:pt x="3796237" y="6874123"/>
                    <a:pt x="3796237" y="6911045"/>
                  </a:cubicBezTo>
                  <a:cubicBezTo>
                    <a:pt x="3796237" y="6951323"/>
                    <a:pt x="3762670" y="6981532"/>
                    <a:pt x="3725749" y="6981532"/>
                  </a:cubicBezTo>
                  <a:cubicBezTo>
                    <a:pt x="3685470" y="6981532"/>
                    <a:pt x="3655261" y="6951323"/>
                    <a:pt x="3655261" y="6911045"/>
                  </a:cubicBezTo>
                  <a:cubicBezTo>
                    <a:pt x="3655261" y="6870766"/>
                    <a:pt x="3688828" y="6840557"/>
                    <a:pt x="3725749" y="6840557"/>
                  </a:cubicBezTo>
                  <a:close/>
                  <a:moveTo>
                    <a:pt x="2702006" y="6817062"/>
                  </a:moveTo>
                  <a:cubicBezTo>
                    <a:pt x="2718789" y="6817062"/>
                    <a:pt x="2732215" y="6830488"/>
                    <a:pt x="2732215" y="6847271"/>
                  </a:cubicBezTo>
                  <a:cubicBezTo>
                    <a:pt x="2732215" y="6864053"/>
                    <a:pt x="2718789" y="6877479"/>
                    <a:pt x="2702006" y="6877479"/>
                  </a:cubicBezTo>
                  <a:cubicBezTo>
                    <a:pt x="2685224" y="6877479"/>
                    <a:pt x="2671798" y="6864053"/>
                    <a:pt x="2671798" y="6847271"/>
                  </a:cubicBezTo>
                  <a:cubicBezTo>
                    <a:pt x="2671798" y="6830488"/>
                    <a:pt x="2685224" y="6817062"/>
                    <a:pt x="2702006" y="6817062"/>
                  </a:cubicBezTo>
                  <a:close/>
                  <a:moveTo>
                    <a:pt x="3524357" y="6793566"/>
                  </a:moveTo>
                  <a:cubicBezTo>
                    <a:pt x="3567993" y="6793566"/>
                    <a:pt x="3601556" y="6827131"/>
                    <a:pt x="3601556" y="6870766"/>
                  </a:cubicBezTo>
                  <a:cubicBezTo>
                    <a:pt x="3601556" y="6914401"/>
                    <a:pt x="3567993" y="6947967"/>
                    <a:pt x="3524357" y="6947967"/>
                  </a:cubicBezTo>
                  <a:cubicBezTo>
                    <a:pt x="3484078" y="6947967"/>
                    <a:pt x="3447158" y="6914401"/>
                    <a:pt x="3447158" y="6870766"/>
                  </a:cubicBezTo>
                  <a:cubicBezTo>
                    <a:pt x="3447158" y="6827131"/>
                    <a:pt x="3480721" y="6793566"/>
                    <a:pt x="3524357" y="6793566"/>
                  </a:cubicBezTo>
                  <a:close/>
                  <a:moveTo>
                    <a:pt x="3329678" y="6743218"/>
                  </a:moveTo>
                  <a:cubicBezTo>
                    <a:pt x="3373312" y="6743218"/>
                    <a:pt x="3406879" y="6776783"/>
                    <a:pt x="3406879" y="6820418"/>
                  </a:cubicBezTo>
                  <a:cubicBezTo>
                    <a:pt x="3406879" y="6864053"/>
                    <a:pt x="3373312" y="6897619"/>
                    <a:pt x="3329678" y="6897619"/>
                  </a:cubicBezTo>
                  <a:cubicBezTo>
                    <a:pt x="3286044" y="6897619"/>
                    <a:pt x="3252476" y="6864053"/>
                    <a:pt x="3252476" y="6820418"/>
                  </a:cubicBezTo>
                  <a:cubicBezTo>
                    <a:pt x="3252476" y="6776783"/>
                    <a:pt x="3286044" y="6743218"/>
                    <a:pt x="3329678" y="6743218"/>
                  </a:cubicBezTo>
                  <a:close/>
                  <a:moveTo>
                    <a:pt x="1919936" y="6709653"/>
                  </a:moveTo>
                  <a:cubicBezTo>
                    <a:pt x="1919936" y="6709653"/>
                    <a:pt x="1923292" y="6709653"/>
                    <a:pt x="1923292" y="6713009"/>
                  </a:cubicBezTo>
                  <a:cubicBezTo>
                    <a:pt x="1923292" y="6713009"/>
                    <a:pt x="1923292" y="6716366"/>
                    <a:pt x="1919936" y="6716366"/>
                  </a:cubicBezTo>
                  <a:cubicBezTo>
                    <a:pt x="1919936" y="6716366"/>
                    <a:pt x="1916579" y="6716366"/>
                    <a:pt x="1916579" y="6713009"/>
                  </a:cubicBezTo>
                  <a:cubicBezTo>
                    <a:pt x="1916579" y="6713009"/>
                    <a:pt x="1916579" y="6709653"/>
                    <a:pt x="1919936" y="6709653"/>
                  </a:cubicBezTo>
                  <a:close/>
                  <a:moveTo>
                    <a:pt x="3131643" y="6696226"/>
                  </a:moveTo>
                  <a:cubicBezTo>
                    <a:pt x="3168566" y="6696226"/>
                    <a:pt x="3202129" y="6726435"/>
                    <a:pt x="3202129" y="6766714"/>
                  </a:cubicBezTo>
                  <a:cubicBezTo>
                    <a:pt x="3202129" y="6803636"/>
                    <a:pt x="3171922" y="6837201"/>
                    <a:pt x="3131643" y="6837201"/>
                  </a:cubicBezTo>
                  <a:cubicBezTo>
                    <a:pt x="3094721" y="6837201"/>
                    <a:pt x="3061156" y="6803636"/>
                    <a:pt x="3061156" y="6766714"/>
                  </a:cubicBezTo>
                  <a:cubicBezTo>
                    <a:pt x="3061156" y="6729792"/>
                    <a:pt x="3091365" y="6696226"/>
                    <a:pt x="3131643" y="6696226"/>
                  </a:cubicBezTo>
                  <a:close/>
                  <a:moveTo>
                    <a:pt x="2514042" y="6686157"/>
                  </a:moveTo>
                  <a:cubicBezTo>
                    <a:pt x="2557676" y="6686157"/>
                    <a:pt x="2594598" y="6723079"/>
                    <a:pt x="2594598" y="6766714"/>
                  </a:cubicBezTo>
                  <a:cubicBezTo>
                    <a:pt x="2594598" y="6810349"/>
                    <a:pt x="2557676" y="6847271"/>
                    <a:pt x="2514042" y="6847271"/>
                  </a:cubicBezTo>
                  <a:cubicBezTo>
                    <a:pt x="2470406" y="6847271"/>
                    <a:pt x="2433484" y="6813705"/>
                    <a:pt x="2433484" y="6766714"/>
                  </a:cubicBezTo>
                  <a:cubicBezTo>
                    <a:pt x="2433484" y="6723079"/>
                    <a:pt x="2470406" y="6686157"/>
                    <a:pt x="2514042" y="6686157"/>
                  </a:cubicBezTo>
                  <a:close/>
                  <a:moveTo>
                    <a:pt x="3974130" y="6662662"/>
                  </a:moveTo>
                  <a:cubicBezTo>
                    <a:pt x="3982522" y="6662662"/>
                    <a:pt x="3990494" y="6664340"/>
                    <a:pt x="3997732" y="6667382"/>
                  </a:cubicBezTo>
                  <a:lnTo>
                    <a:pt x="4016827" y="6680216"/>
                  </a:lnTo>
                  <a:lnTo>
                    <a:pt x="4016827" y="6765944"/>
                  </a:lnTo>
                  <a:lnTo>
                    <a:pt x="3997732" y="6778777"/>
                  </a:lnTo>
                  <a:cubicBezTo>
                    <a:pt x="3990494" y="6781819"/>
                    <a:pt x="3982522" y="6783497"/>
                    <a:pt x="3974130" y="6783497"/>
                  </a:cubicBezTo>
                  <a:cubicBezTo>
                    <a:pt x="3943923" y="6783497"/>
                    <a:pt x="3917070" y="6756645"/>
                    <a:pt x="3913715" y="6723080"/>
                  </a:cubicBezTo>
                  <a:cubicBezTo>
                    <a:pt x="3913715" y="6689514"/>
                    <a:pt x="3940567" y="6662662"/>
                    <a:pt x="3974130" y="6662662"/>
                  </a:cubicBezTo>
                  <a:close/>
                  <a:moveTo>
                    <a:pt x="2940320" y="6629097"/>
                  </a:moveTo>
                  <a:cubicBezTo>
                    <a:pt x="2977242" y="6629097"/>
                    <a:pt x="3010808" y="6662662"/>
                    <a:pt x="3010808" y="6699584"/>
                  </a:cubicBezTo>
                  <a:cubicBezTo>
                    <a:pt x="3010808" y="6736506"/>
                    <a:pt x="2980599" y="6770071"/>
                    <a:pt x="2940320" y="6770071"/>
                  </a:cubicBezTo>
                  <a:cubicBezTo>
                    <a:pt x="2900042" y="6770071"/>
                    <a:pt x="2869833" y="6736506"/>
                    <a:pt x="2869833" y="6699584"/>
                  </a:cubicBezTo>
                  <a:cubicBezTo>
                    <a:pt x="2869833" y="6662662"/>
                    <a:pt x="2903398" y="6629097"/>
                    <a:pt x="2940320" y="6629097"/>
                  </a:cubicBezTo>
                  <a:close/>
                  <a:moveTo>
                    <a:pt x="3776096" y="6619027"/>
                  </a:moveTo>
                  <a:cubicBezTo>
                    <a:pt x="3816374" y="6619027"/>
                    <a:pt x="3849940" y="6652592"/>
                    <a:pt x="3849940" y="6692871"/>
                  </a:cubicBezTo>
                  <a:cubicBezTo>
                    <a:pt x="3849940" y="6733149"/>
                    <a:pt x="3816374" y="6766715"/>
                    <a:pt x="3776096" y="6766715"/>
                  </a:cubicBezTo>
                  <a:cubicBezTo>
                    <a:pt x="3732460" y="6766715"/>
                    <a:pt x="3698897" y="6733149"/>
                    <a:pt x="3702254" y="6692871"/>
                  </a:cubicBezTo>
                  <a:cubicBezTo>
                    <a:pt x="3702254" y="6652592"/>
                    <a:pt x="3735818" y="6619027"/>
                    <a:pt x="3776096" y="6619027"/>
                  </a:cubicBezTo>
                  <a:close/>
                  <a:moveTo>
                    <a:pt x="2329432" y="6612314"/>
                  </a:moveTo>
                  <a:cubicBezTo>
                    <a:pt x="2366354" y="6612314"/>
                    <a:pt x="2396563" y="6642523"/>
                    <a:pt x="2396563" y="6679445"/>
                  </a:cubicBezTo>
                  <a:cubicBezTo>
                    <a:pt x="2396563" y="6716367"/>
                    <a:pt x="2366354" y="6746575"/>
                    <a:pt x="2329432" y="6746575"/>
                  </a:cubicBezTo>
                  <a:cubicBezTo>
                    <a:pt x="2295866" y="6746575"/>
                    <a:pt x="2265658" y="6716367"/>
                    <a:pt x="2262301" y="6679445"/>
                  </a:cubicBezTo>
                  <a:cubicBezTo>
                    <a:pt x="2262301" y="6642523"/>
                    <a:pt x="2292510" y="6612314"/>
                    <a:pt x="2329432" y="6612314"/>
                  </a:cubicBezTo>
                  <a:close/>
                  <a:moveTo>
                    <a:pt x="1747494" y="6604762"/>
                  </a:moveTo>
                  <a:cubicBezTo>
                    <a:pt x="1747913" y="6603923"/>
                    <a:pt x="1748752" y="6603923"/>
                    <a:pt x="1748752" y="6605601"/>
                  </a:cubicBezTo>
                  <a:cubicBezTo>
                    <a:pt x="1748752" y="6605601"/>
                    <a:pt x="1752109" y="6605601"/>
                    <a:pt x="1748752" y="6608957"/>
                  </a:cubicBezTo>
                  <a:cubicBezTo>
                    <a:pt x="1747074" y="6607280"/>
                    <a:pt x="1747074" y="6605601"/>
                    <a:pt x="1747494" y="6604762"/>
                  </a:cubicBezTo>
                  <a:close/>
                  <a:moveTo>
                    <a:pt x="976750" y="6595531"/>
                  </a:moveTo>
                  <a:cubicBezTo>
                    <a:pt x="976750" y="6595531"/>
                    <a:pt x="980106" y="6598888"/>
                    <a:pt x="976750" y="6602244"/>
                  </a:cubicBezTo>
                  <a:cubicBezTo>
                    <a:pt x="973393" y="6595531"/>
                    <a:pt x="973393" y="6595531"/>
                    <a:pt x="976750" y="6595531"/>
                  </a:cubicBezTo>
                  <a:close/>
                  <a:moveTo>
                    <a:pt x="3574704" y="6568679"/>
                  </a:moveTo>
                  <a:cubicBezTo>
                    <a:pt x="3621698" y="6568679"/>
                    <a:pt x="3658618" y="6605601"/>
                    <a:pt x="3658618" y="6652592"/>
                  </a:cubicBezTo>
                  <a:cubicBezTo>
                    <a:pt x="3658618" y="6699584"/>
                    <a:pt x="3621698" y="6736506"/>
                    <a:pt x="3574704" y="6736506"/>
                  </a:cubicBezTo>
                  <a:cubicBezTo>
                    <a:pt x="3527714" y="6736506"/>
                    <a:pt x="3490792" y="6699584"/>
                    <a:pt x="3490792" y="6652592"/>
                  </a:cubicBezTo>
                  <a:cubicBezTo>
                    <a:pt x="3490792" y="6605601"/>
                    <a:pt x="3527714" y="6568679"/>
                    <a:pt x="3574704" y="6568679"/>
                  </a:cubicBezTo>
                  <a:close/>
                  <a:moveTo>
                    <a:pt x="2151536" y="6558609"/>
                  </a:moveTo>
                  <a:cubicBezTo>
                    <a:pt x="2161605" y="6558609"/>
                    <a:pt x="2171675" y="6568679"/>
                    <a:pt x="2171675" y="6582105"/>
                  </a:cubicBezTo>
                  <a:cubicBezTo>
                    <a:pt x="2171675" y="6595531"/>
                    <a:pt x="2164962" y="6605601"/>
                    <a:pt x="2151536" y="6605601"/>
                  </a:cubicBezTo>
                  <a:cubicBezTo>
                    <a:pt x="2138110" y="6605601"/>
                    <a:pt x="2131396" y="6595531"/>
                    <a:pt x="2128040" y="6582105"/>
                  </a:cubicBezTo>
                  <a:cubicBezTo>
                    <a:pt x="2128040" y="6568679"/>
                    <a:pt x="2138110" y="6558609"/>
                    <a:pt x="2151536" y="6558609"/>
                  </a:cubicBezTo>
                  <a:close/>
                  <a:moveTo>
                    <a:pt x="2752354" y="6548540"/>
                  </a:moveTo>
                  <a:cubicBezTo>
                    <a:pt x="2795990" y="6548540"/>
                    <a:pt x="2829555" y="6582105"/>
                    <a:pt x="2829555" y="6625739"/>
                  </a:cubicBezTo>
                  <a:cubicBezTo>
                    <a:pt x="2829555" y="6669375"/>
                    <a:pt x="2795990" y="6702939"/>
                    <a:pt x="2752354" y="6702939"/>
                  </a:cubicBezTo>
                  <a:cubicBezTo>
                    <a:pt x="2708720" y="6702939"/>
                    <a:pt x="2675154" y="6669375"/>
                    <a:pt x="2675154" y="6625739"/>
                  </a:cubicBezTo>
                  <a:cubicBezTo>
                    <a:pt x="2675154" y="6582105"/>
                    <a:pt x="2708720" y="6548540"/>
                    <a:pt x="2752354" y="6548540"/>
                  </a:cubicBezTo>
                  <a:close/>
                  <a:moveTo>
                    <a:pt x="3380027" y="6521688"/>
                  </a:moveTo>
                  <a:cubicBezTo>
                    <a:pt x="3423661" y="6521688"/>
                    <a:pt x="3460584" y="6558609"/>
                    <a:pt x="3460584" y="6602244"/>
                  </a:cubicBezTo>
                  <a:cubicBezTo>
                    <a:pt x="3460584" y="6645879"/>
                    <a:pt x="3423661" y="6682801"/>
                    <a:pt x="3380027" y="6682801"/>
                  </a:cubicBezTo>
                  <a:cubicBezTo>
                    <a:pt x="3336391" y="6682801"/>
                    <a:pt x="3299470" y="6645879"/>
                    <a:pt x="3299470" y="6602244"/>
                  </a:cubicBezTo>
                  <a:cubicBezTo>
                    <a:pt x="3299470" y="6558609"/>
                    <a:pt x="3336391" y="6521688"/>
                    <a:pt x="3380027" y="6521688"/>
                  </a:cubicBezTo>
                  <a:close/>
                  <a:moveTo>
                    <a:pt x="1578408" y="6490640"/>
                  </a:moveTo>
                  <a:cubicBezTo>
                    <a:pt x="1578408" y="6489801"/>
                    <a:pt x="1579248" y="6489801"/>
                    <a:pt x="1580925" y="6491479"/>
                  </a:cubicBezTo>
                  <a:cubicBezTo>
                    <a:pt x="1580925" y="6491479"/>
                    <a:pt x="1584282" y="6491479"/>
                    <a:pt x="1580925" y="6494835"/>
                  </a:cubicBezTo>
                  <a:cubicBezTo>
                    <a:pt x="1579248" y="6493158"/>
                    <a:pt x="1578408" y="6491479"/>
                    <a:pt x="1578408" y="6490640"/>
                  </a:cubicBezTo>
                  <a:close/>
                  <a:moveTo>
                    <a:pt x="2567746" y="6467983"/>
                  </a:moveTo>
                  <a:cubicBezTo>
                    <a:pt x="2608024" y="6467983"/>
                    <a:pt x="2641590" y="6501548"/>
                    <a:pt x="2641590" y="6541827"/>
                  </a:cubicBezTo>
                  <a:cubicBezTo>
                    <a:pt x="2641590" y="6582105"/>
                    <a:pt x="2608024" y="6615671"/>
                    <a:pt x="2567746" y="6615671"/>
                  </a:cubicBezTo>
                  <a:cubicBezTo>
                    <a:pt x="2527468" y="6615671"/>
                    <a:pt x="2493902" y="6582105"/>
                    <a:pt x="2493902" y="6541827"/>
                  </a:cubicBezTo>
                  <a:cubicBezTo>
                    <a:pt x="2493902" y="6501548"/>
                    <a:pt x="2527468" y="6467983"/>
                    <a:pt x="2567746" y="6467983"/>
                  </a:cubicBezTo>
                  <a:close/>
                  <a:moveTo>
                    <a:pt x="3185348" y="6464626"/>
                  </a:moveTo>
                  <a:cubicBezTo>
                    <a:pt x="3229837" y="6464626"/>
                    <a:pt x="3265904" y="6500693"/>
                    <a:pt x="3265904" y="6545183"/>
                  </a:cubicBezTo>
                  <a:cubicBezTo>
                    <a:pt x="3265904" y="6589674"/>
                    <a:pt x="3229837" y="6625740"/>
                    <a:pt x="3185348" y="6625740"/>
                  </a:cubicBezTo>
                  <a:cubicBezTo>
                    <a:pt x="3140858" y="6625740"/>
                    <a:pt x="3104791" y="6589673"/>
                    <a:pt x="3104791" y="6545183"/>
                  </a:cubicBezTo>
                  <a:cubicBezTo>
                    <a:pt x="3104791" y="6500693"/>
                    <a:pt x="3140858" y="6464626"/>
                    <a:pt x="3185348" y="6464626"/>
                  </a:cubicBezTo>
                  <a:close/>
                  <a:moveTo>
                    <a:pt x="4016827" y="6446018"/>
                  </a:moveTo>
                  <a:lnTo>
                    <a:pt x="4016827" y="6563792"/>
                  </a:lnTo>
                  <a:lnTo>
                    <a:pt x="4000879" y="6560603"/>
                  </a:lnTo>
                  <a:cubicBezTo>
                    <a:pt x="3979166" y="6551477"/>
                    <a:pt x="3964062" y="6530079"/>
                    <a:pt x="3964062" y="6504905"/>
                  </a:cubicBezTo>
                  <a:cubicBezTo>
                    <a:pt x="3964062" y="6479731"/>
                    <a:pt x="3979166" y="6458333"/>
                    <a:pt x="4000879" y="6449207"/>
                  </a:cubicBezTo>
                  <a:close/>
                  <a:moveTo>
                    <a:pt x="1976996" y="6441131"/>
                  </a:moveTo>
                  <a:cubicBezTo>
                    <a:pt x="1997135" y="6441131"/>
                    <a:pt x="2017274" y="6457913"/>
                    <a:pt x="2017274" y="6481409"/>
                  </a:cubicBezTo>
                  <a:cubicBezTo>
                    <a:pt x="2017274" y="6501548"/>
                    <a:pt x="2000491" y="6521688"/>
                    <a:pt x="1976996" y="6521688"/>
                  </a:cubicBezTo>
                  <a:cubicBezTo>
                    <a:pt x="1953500" y="6521688"/>
                    <a:pt x="1933361" y="6504905"/>
                    <a:pt x="1936717" y="6481409"/>
                  </a:cubicBezTo>
                  <a:cubicBezTo>
                    <a:pt x="1936717" y="6461270"/>
                    <a:pt x="1953500" y="6441131"/>
                    <a:pt x="1976996" y="6441131"/>
                  </a:cubicBezTo>
                  <a:close/>
                  <a:moveTo>
                    <a:pt x="2990668" y="6410922"/>
                  </a:moveTo>
                  <a:cubicBezTo>
                    <a:pt x="3027590" y="6410922"/>
                    <a:pt x="3057799" y="6441131"/>
                    <a:pt x="3057799" y="6478053"/>
                  </a:cubicBezTo>
                  <a:cubicBezTo>
                    <a:pt x="3057799" y="6514974"/>
                    <a:pt x="3027590" y="6545183"/>
                    <a:pt x="2990668" y="6545183"/>
                  </a:cubicBezTo>
                  <a:cubicBezTo>
                    <a:pt x="2953747" y="6545183"/>
                    <a:pt x="2923538" y="6514974"/>
                    <a:pt x="2923538" y="6478053"/>
                  </a:cubicBezTo>
                  <a:cubicBezTo>
                    <a:pt x="2923538" y="6441131"/>
                    <a:pt x="2953747" y="6410922"/>
                    <a:pt x="2990668" y="6410922"/>
                  </a:cubicBezTo>
                  <a:close/>
                  <a:moveTo>
                    <a:pt x="3826443" y="6400852"/>
                  </a:moveTo>
                  <a:cubicBezTo>
                    <a:pt x="3866721" y="6400852"/>
                    <a:pt x="3900289" y="6434418"/>
                    <a:pt x="3900289" y="6474696"/>
                  </a:cubicBezTo>
                  <a:cubicBezTo>
                    <a:pt x="3900289" y="6514974"/>
                    <a:pt x="3866721" y="6548540"/>
                    <a:pt x="3826443" y="6548540"/>
                  </a:cubicBezTo>
                  <a:cubicBezTo>
                    <a:pt x="3782809" y="6548540"/>
                    <a:pt x="3749244" y="6514974"/>
                    <a:pt x="3752601" y="6474696"/>
                  </a:cubicBezTo>
                  <a:cubicBezTo>
                    <a:pt x="3752601" y="6434418"/>
                    <a:pt x="3786166" y="6400852"/>
                    <a:pt x="3826443" y="6400852"/>
                  </a:cubicBezTo>
                  <a:close/>
                  <a:moveTo>
                    <a:pt x="2383136" y="6380713"/>
                  </a:moveTo>
                  <a:cubicBezTo>
                    <a:pt x="2423415" y="6380713"/>
                    <a:pt x="2456980" y="6414278"/>
                    <a:pt x="2456980" y="6454557"/>
                  </a:cubicBezTo>
                  <a:cubicBezTo>
                    <a:pt x="2456980" y="6494835"/>
                    <a:pt x="2423415" y="6528401"/>
                    <a:pt x="2383136" y="6528401"/>
                  </a:cubicBezTo>
                  <a:cubicBezTo>
                    <a:pt x="2342858" y="6528401"/>
                    <a:pt x="2309293" y="6494835"/>
                    <a:pt x="2309293" y="6454557"/>
                  </a:cubicBezTo>
                  <a:cubicBezTo>
                    <a:pt x="2309293" y="6414278"/>
                    <a:pt x="2342858" y="6380713"/>
                    <a:pt x="2383136" y="6380713"/>
                  </a:cubicBezTo>
                  <a:close/>
                  <a:moveTo>
                    <a:pt x="1415197" y="6369805"/>
                  </a:moveTo>
                  <a:cubicBezTo>
                    <a:pt x="1415616" y="6368966"/>
                    <a:pt x="1416455" y="6368966"/>
                    <a:pt x="1416455" y="6370643"/>
                  </a:cubicBezTo>
                  <a:cubicBezTo>
                    <a:pt x="1416455" y="6370643"/>
                    <a:pt x="1419812" y="6370643"/>
                    <a:pt x="1416455" y="6374000"/>
                  </a:cubicBezTo>
                  <a:cubicBezTo>
                    <a:pt x="1414777" y="6372322"/>
                    <a:pt x="1414777" y="6370643"/>
                    <a:pt x="1415197" y="6369805"/>
                  </a:cubicBezTo>
                  <a:close/>
                  <a:moveTo>
                    <a:pt x="1805813" y="6360574"/>
                  </a:moveTo>
                  <a:cubicBezTo>
                    <a:pt x="1812526" y="6360574"/>
                    <a:pt x="1815883" y="6363930"/>
                    <a:pt x="1815883" y="6370643"/>
                  </a:cubicBezTo>
                  <a:cubicBezTo>
                    <a:pt x="1815883" y="6377356"/>
                    <a:pt x="1812526" y="6380713"/>
                    <a:pt x="1805813" y="6380713"/>
                  </a:cubicBezTo>
                  <a:cubicBezTo>
                    <a:pt x="1799100" y="6380713"/>
                    <a:pt x="1795744" y="6377356"/>
                    <a:pt x="1795744" y="6370643"/>
                  </a:cubicBezTo>
                  <a:cubicBezTo>
                    <a:pt x="1795744" y="6363930"/>
                    <a:pt x="1799100" y="6360574"/>
                    <a:pt x="1805813" y="6360574"/>
                  </a:cubicBezTo>
                  <a:close/>
                  <a:moveTo>
                    <a:pt x="3625053" y="6357217"/>
                  </a:moveTo>
                  <a:cubicBezTo>
                    <a:pt x="3665331" y="6357217"/>
                    <a:pt x="3698897" y="6390783"/>
                    <a:pt x="3698897" y="6431061"/>
                  </a:cubicBezTo>
                  <a:cubicBezTo>
                    <a:pt x="3698897" y="6471339"/>
                    <a:pt x="3665331" y="6504905"/>
                    <a:pt x="3625053" y="6504905"/>
                  </a:cubicBezTo>
                  <a:cubicBezTo>
                    <a:pt x="3584774" y="6504905"/>
                    <a:pt x="3551209" y="6471339"/>
                    <a:pt x="3551209" y="6431061"/>
                  </a:cubicBezTo>
                  <a:cubicBezTo>
                    <a:pt x="3551209" y="6390783"/>
                    <a:pt x="3584774" y="6357217"/>
                    <a:pt x="3625053" y="6357217"/>
                  </a:cubicBezTo>
                  <a:close/>
                  <a:moveTo>
                    <a:pt x="2802702" y="6323652"/>
                  </a:moveTo>
                  <a:cubicBezTo>
                    <a:pt x="2845338" y="6323652"/>
                    <a:pt x="2879903" y="6358215"/>
                    <a:pt x="2879903" y="6400852"/>
                  </a:cubicBezTo>
                  <a:cubicBezTo>
                    <a:pt x="2879903" y="6443488"/>
                    <a:pt x="2845338" y="6478053"/>
                    <a:pt x="2802702" y="6478053"/>
                  </a:cubicBezTo>
                  <a:cubicBezTo>
                    <a:pt x="2760066" y="6478053"/>
                    <a:pt x="2725502" y="6443489"/>
                    <a:pt x="2725502" y="6400852"/>
                  </a:cubicBezTo>
                  <a:cubicBezTo>
                    <a:pt x="2725502" y="6358216"/>
                    <a:pt x="2760066" y="6323652"/>
                    <a:pt x="2802702" y="6323652"/>
                  </a:cubicBezTo>
                  <a:close/>
                  <a:moveTo>
                    <a:pt x="3430374" y="6306869"/>
                  </a:moveTo>
                  <a:cubicBezTo>
                    <a:pt x="3474010" y="6306869"/>
                    <a:pt x="3507573" y="6340435"/>
                    <a:pt x="3507573" y="6384070"/>
                  </a:cubicBezTo>
                  <a:cubicBezTo>
                    <a:pt x="3507573" y="6427705"/>
                    <a:pt x="3474010" y="6461270"/>
                    <a:pt x="3430374" y="6461270"/>
                  </a:cubicBezTo>
                  <a:cubicBezTo>
                    <a:pt x="3386738" y="6461270"/>
                    <a:pt x="3349817" y="6424348"/>
                    <a:pt x="3353174" y="6384070"/>
                  </a:cubicBezTo>
                  <a:cubicBezTo>
                    <a:pt x="3353174" y="6340435"/>
                    <a:pt x="3386738" y="6306869"/>
                    <a:pt x="3430374" y="6306869"/>
                  </a:cubicBezTo>
                  <a:close/>
                  <a:moveTo>
                    <a:pt x="2205240" y="6276660"/>
                  </a:moveTo>
                  <a:cubicBezTo>
                    <a:pt x="2248875" y="6276660"/>
                    <a:pt x="2282440" y="6310226"/>
                    <a:pt x="2282440" y="6353861"/>
                  </a:cubicBezTo>
                  <a:cubicBezTo>
                    <a:pt x="2282440" y="6397496"/>
                    <a:pt x="2248875" y="6431061"/>
                    <a:pt x="2205240" y="6431061"/>
                  </a:cubicBezTo>
                  <a:cubicBezTo>
                    <a:pt x="2164962" y="6431061"/>
                    <a:pt x="2131396" y="6397496"/>
                    <a:pt x="2128040" y="6353861"/>
                  </a:cubicBezTo>
                  <a:cubicBezTo>
                    <a:pt x="2128040" y="6310226"/>
                    <a:pt x="2161605" y="6276660"/>
                    <a:pt x="2205240" y="6276660"/>
                  </a:cubicBezTo>
                  <a:close/>
                  <a:moveTo>
                    <a:pt x="3235697" y="6253165"/>
                  </a:moveTo>
                  <a:cubicBezTo>
                    <a:pt x="3275975" y="6253165"/>
                    <a:pt x="3306183" y="6283373"/>
                    <a:pt x="3306183" y="6323652"/>
                  </a:cubicBezTo>
                  <a:cubicBezTo>
                    <a:pt x="3306183" y="6363930"/>
                    <a:pt x="3275975" y="6394139"/>
                    <a:pt x="3235697" y="6394139"/>
                  </a:cubicBezTo>
                  <a:cubicBezTo>
                    <a:pt x="3195418" y="6394139"/>
                    <a:pt x="3165208" y="6360574"/>
                    <a:pt x="3165208" y="6323652"/>
                  </a:cubicBezTo>
                  <a:cubicBezTo>
                    <a:pt x="3165208" y="6283373"/>
                    <a:pt x="3195418" y="6253165"/>
                    <a:pt x="3235697" y="6253165"/>
                  </a:cubicBezTo>
                  <a:close/>
                  <a:moveTo>
                    <a:pt x="4016827" y="6248280"/>
                  </a:moveTo>
                  <a:lnTo>
                    <a:pt x="4016827" y="6308840"/>
                  </a:lnTo>
                  <a:lnTo>
                    <a:pt x="4014883" y="6306082"/>
                  </a:lnTo>
                  <a:cubicBezTo>
                    <a:pt x="4011054" y="6298058"/>
                    <a:pt x="4008537" y="6289247"/>
                    <a:pt x="4007698" y="6280017"/>
                  </a:cubicBezTo>
                  <a:cubicBezTo>
                    <a:pt x="4007698" y="6270786"/>
                    <a:pt x="4009586" y="6261976"/>
                    <a:pt x="4012995" y="6253951"/>
                  </a:cubicBezTo>
                  <a:close/>
                  <a:moveTo>
                    <a:pt x="2618094" y="6243095"/>
                  </a:moveTo>
                  <a:cubicBezTo>
                    <a:pt x="2658372" y="6243095"/>
                    <a:pt x="2691938" y="6276660"/>
                    <a:pt x="2691938" y="6316939"/>
                  </a:cubicBezTo>
                  <a:cubicBezTo>
                    <a:pt x="2691938" y="6357217"/>
                    <a:pt x="2658372" y="6390783"/>
                    <a:pt x="2618094" y="6390783"/>
                  </a:cubicBezTo>
                  <a:cubicBezTo>
                    <a:pt x="2577816" y="6390783"/>
                    <a:pt x="2544250" y="6357217"/>
                    <a:pt x="2544250" y="6316939"/>
                  </a:cubicBezTo>
                  <a:cubicBezTo>
                    <a:pt x="2544250" y="6276660"/>
                    <a:pt x="2577816" y="6243095"/>
                    <a:pt x="2618094" y="6243095"/>
                  </a:cubicBezTo>
                  <a:close/>
                  <a:moveTo>
                    <a:pt x="1258699" y="6243095"/>
                  </a:moveTo>
                  <a:cubicBezTo>
                    <a:pt x="1258699" y="6243095"/>
                    <a:pt x="1262056" y="6243095"/>
                    <a:pt x="1262056" y="6246452"/>
                  </a:cubicBezTo>
                  <a:cubicBezTo>
                    <a:pt x="1262056" y="6246452"/>
                    <a:pt x="1262056" y="6249808"/>
                    <a:pt x="1258699" y="6249808"/>
                  </a:cubicBezTo>
                  <a:cubicBezTo>
                    <a:pt x="1255342" y="6249808"/>
                    <a:pt x="1251986" y="6246452"/>
                    <a:pt x="1255342" y="6246452"/>
                  </a:cubicBezTo>
                  <a:cubicBezTo>
                    <a:pt x="1255342" y="6246452"/>
                    <a:pt x="1255342" y="6243095"/>
                    <a:pt x="1258699" y="6243095"/>
                  </a:cubicBezTo>
                  <a:close/>
                  <a:moveTo>
                    <a:pt x="3876792" y="6189390"/>
                  </a:moveTo>
                  <a:cubicBezTo>
                    <a:pt x="3910358" y="6189390"/>
                    <a:pt x="3940567" y="6216243"/>
                    <a:pt x="3940567" y="6253165"/>
                  </a:cubicBezTo>
                  <a:cubicBezTo>
                    <a:pt x="3940567" y="6286730"/>
                    <a:pt x="3913715" y="6316939"/>
                    <a:pt x="3876792" y="6316939"/>
                  </a:cubicBezTo>
                  <a:cubicBezTo>
                    <a:pt x="3839869" y="6316939"/>
                    <a:pt x="3809661" y="6286730"/>
                    <a:pt x="3813017" y="6253165"/>
                  </a:cubicBezTo>
                  <a:cubicBezTo>
                    <a:pt x="3813017" y="6219599"/>
                    <a:pt x="3839869" y="6189390"/>
                    <a:pt x="3876792" y="6189390"/>
                  </a:cubicBezTo>
                  <a:close/>
                  <a:moveTo>
                    <a:pt x="1637986" y="6182677"/>
                  </a:moveTo>
                  <a:cubicBezTo>
                    <a:pt x="1678265" y="6182677"/>
                    <a:pt x="1708474" y="6216243"/>
                    <a:pt x="1708474" y="6253165"/>
                  </a:cubicBezTo>
                  <a:cubicBezTo>
                    <a:pt x="1708474" y="6293443"/>
                    <a:pt x="1674908" y="6323652"/>
                    <a:pt x="1637986" y="6323652"/>
                  </a:cubicBezTo>
                  <a:cubicBezTo>
                    <a:pt x="1601065" y="6323652"/>
                    <a:pt x="1570856" y="6293443"/>
                    <a:pt x="1567499" y="6253165"/>
                  </a:cubicBezTo>
                  <a:cubicBezTo>
                    <a:pt x="1567499" y="6212886"/>
                    <a:pt x="1601065" y="6182677"/>
                    <a:pt x="1637986" y="6182677"/>
                  </a:cubicBezTo>
                  <a:close/>
                  <a:moveTo>
                    <a:pt x="3044373" y="6179322"/>
                  </a:moveTo>
                  <a:cubicBezTo>
                    <a:pt x="3084652" y="6179322"/>
                    <a:pt x="3118217" y="6212887"/>
                    <a:pt x="3118217" y="6253166"/>
                  </a:cubicBezTo>
                  <a:cubicBezTo>
                    <a:pt x="3118217" y="6293444"/>
                    <a:pt x="3084652" y="6327009"/>
                    <a:pt x="3044373" y="6327009"/>
                  </a:cubicBezTo>
                  <a:cubicBezTo>
                    <a:pt x="3004095" y="6327009"/>
                    <a:pt x="2970529" y="6293444"/>
                    <a:pt x="2970529" y="6253166"/>
                  </a:cubicBezTo>
                  <a:cubicBezTo>
                    <a:pt x="2970529" y="6212887"/>
                    <a:pt x="3004095" y="6179322"/>
                    <a:pt x="3044373" y="6179322"/>
                  </a:cubicBezTo>
                  <a:close/>
                  <a:moveTo>
                    <a:pt x="2030700" y="6172608"/>
                  </a:moveTo>
                  <a:cubicBezTo>
                    <a:pt x="2074335" y="6172608"/>
                    <a:pt x="2107900" y="6206173"/>
                    <a:pt x="2107900" y="6249808"/>
                  </a:cubicBezTo>
                  <a:cubicBezTo>
                    <a:pt x="2107900" y="6293443"/>
                    <a:pt x="2074335" y="6327008"/>
                    <a:pt x="2030700" y="6327008"/>
                  </a:cubicBezTo>
                  <a:cubicBezTo>
                    <a:pt x="1990422" y="6327008"/>
                    <a:pt x="1953500" y="6293443"/>
                    <a:pt x="1953500" y="6249808"/>
                  </a:cubicBezTo>
                  <a:cubicBezTo>
                    <a:pt x="1953500" y="6206173"/>
                    <a:pt x="1987065" y="6172608"/>
                    <a:pt x="2030700" y="6172608"/>
                  </a:cubicBezTo>
                  <a:close/>
                  <a:moveTo>
                    <a:pt x="2436841" y="6155825"/>
                  </a:moveTo>
                  <a:cubicBezTo>
                    <a:pt x="2473763" y="6155825"/>
                    <a:pt x="2503972" y="6186034"/>
                    <a:pt x="2503972" y="6222956"/>
                  </a:cubicBezTo>
                  <a:cubicBezTo>
                    <a:pt x="2503972" y="6259878"/>
                    <a:pt x="2473763" y="6290087"/>
                    <a:pt x="2436841" y="6290087"/>
                  </a:cubicBezTo>
                  <a:cubicBezTo>
                    <a:pt x="2399919" y="6290087"/>
                    <a:pt x="2373067" y="6259878"/>
                    <a:pt x="2369710" y="6222956"/>
                  </a:cubicBezTo>
                  <a:cubicBezTo>
                    <a:pt x="2369710" y="6186034"/>
                    <a:pt x="2399919" y="6155825"/>
                    <a:pt x="2436841" y="6155825"/>
                  </a:cubicBezTo>
                  <a:close/>
                  <a:moveTo>
                    <a:pt x="3675402" y="6139042"/>
                  </a:moveTo>
                  <a:cubicBezTo>
                    <a:pt x="3715680" y="6139042"/>
                    <a:pt x="3745888" y="6169251"/>
                    <a:pt x="3745888" y="6209530"/>
                  </a:cubicBezTo>
                  <a:cubicBezTo>
                    <a:pt x="3745888" y="6249808"/>
                    <a:pt x="3715680" y="6280017"/>
                    <a:pt x="3675402" y="6280017"/>
                  </a:cubicBezTo>
                  <a:cubicBezTo>
                    <a:pt x="3638479" y="6280017"/>
                    <a:pt x="3604914" y="6249808"/>
                    <a:pt x="3604914" y="6209530"/>
                  </a:cubicBezTo>
                  <a:cubicBezTo>
                    <a:pt x="3604914" y="6169251"/>
                    <a:pt x="3635124" y="6139042"/>
                    <a:pt x="3675402" y="6139042"/>
                  </a:cubicBezTo>
                  <a:close/>
                  <a:moveTo>
                    <a:pt x="2856407" y="6102122"/>
                  </a:moveTo>
                  <a:cubicBezTo>
                    <a:pt x="2896686" y="6102122"/>
                    <a:pt x="2930251" y="6135687"/>
                    <a:pt x="2930251" y="6175965"/>
                  </a:cubicBezTo>
                  <a:cubicBezTo>
                    <a:pt x="2930251" y="6216244"/>
                    <a:pt x="2896686" y="6249809"/>
                    <a:pt x="2856407" y="6249809"/>
                  </a:cubicBezTo>
                  <a:cubicBezTo>
                    <a:pt x="2812773" y="6249809"/>
                    <a:pt x="2779208" y="6219600"/>
                    <a:pt x="2782564" y="6175965"/>
                  </a:cubicBezTo>
                  <a:cubicBezTo>
                    <a:pt x="2782564" y="6135687"/>
                    <a:pt x="2816129" y="6102122"/>
                    <a:pt x="2856407" y="6102122"/>
                  </a:cubicBezTo>
                  <a:close/>
                  <a:moveTo>
                    <a:pt x="1476873" y="6092052"/>
                  </a:moveTo>
                  <a:cubicBezTo>
                    <a:pt x="1500368" y="6092052"/>
                    <a:pt x="1517151" y="6108835"/>
                    <a:pt x="1517151" y="6132330"/>
                  </a:cubicBezTo>
                  <a:cubicBezTo>
                    <a:pt x="1517151" y="6155826"/>
                    <a:pt x="1500368" y="6172609"/>
                    <a:pt x="1476873" y="6172609"/>
                  </a:cubicBezTo>
                  <a:cubicBezTo>
                    <a:pt x="1456734" y="6172609"/>
                    <a:pt x="1436594" y="6152470"/>
                    <a:pt x="1436594" y="6132330"/>
                  </a:cubicBezTo>
                  <a:cubicBezTo>
                    <a:pt x="1436594" y="6108835"/>
                    <a:pt x="1453377" y="6092052"/>
                    <a:pt x="1476873" y="6092052"/>
                  </a:cubicBezTo>
                  <a:close/>
                  <a:moveTo>
                    <a:pt x="3480721" y="6088694"/>
                  </a:moveTo>
                  <a:cubicBezTo>
                    <a:pt x="3520999" y="6088694"/>
                    <a:pt x="3551209" y="6122260"/>
                    <a:pt x="3551209" y="6159182"/>
                  </a:cubicBezTo>
                  <a:cubicBezTo>
                    <a:pt x="3551209" y="6199460"/>
                    <a:pt x="3517644" y="6229669"/>
                    <a:pt x="3480721" y="6229669"/>
                  </a:cubicBezTo>
                  <a:cubicBezTo>
                    <a:pt x="3440442" y="6229669"/>
                    <a:pt x="3410234" y="6199460"/>
                    <a:pt x="3410234" y="6159182"/>
                  </a:cubicBezTo>
                  <a:cubicBezTo>
                    <a:pt x="3410234" y="6118903"/>
                    <a:pt x="3443800" y="6088694"/>
                    <a:pt x="3480721" y="6088694"/>
                  </a:cubicBezTo>
                  <a:close/>
                  <a:moveTo>
                    <a:pt x="1862874" y="6061843"/>
                  </a:moveTo>
                  <a:cubicBezTo>
                    <a:pt x="1906510" y="6061843"/>
                    <a:pt x="1940075" y="6095408"/>
                    <a:pt x="1940075" y="6139042"/>
                  </a:cubicBezTo>
                  <a:cubicBezTo>
                    <a:pt x="1940075" y="6182678"/>
                    <a:pt x="1906510" y="6216243"/>
                    <a:pt x="1862874" y="6216243"/>
                  </a:cubicBezTo>
                  <a:cubicBezTo>
                    <a:pt x="1819240" y="6216243"/>
                    <a:pt x="1785674" y="6179322"/>
                    <a:pt x="1785674" y="6139042"/>
                  </a:cubicBezTo>
                  <a:cubicBezTo>
                    <a:pt x="1785674" y="6095408"/>
                    <a:pt x="1819240" y="6061843"/>
                    <a:pt x="1862874" y="6061843"/>
                  </a:cubicBezTo>
                  <a:close/>
                  <a:moveTo>
                    <a:pt x="2262301" y="6055129"/>
                  </a:moveTo>
                  <a:cubicBezTo>
                    <a:pt x="2299223" y="6055129"/>
                    <a:pt x="2329432" y="6085338"/>
                    <a:pt x="2329432" y="6122260"/>
                  </a:cubicBezTo>
                  <a:cubicBezTo>
                    <a:pt x="2329432" y="6159182"/>
                    <a:pt x="2299223" y="6189390"/>
                    <a:pt x="2262301" y="6189390"/>
                  </a:cubicBezTo>
                  <a:cubicBezTo>
                    <a:pt x="2225379" y="6189390"/>
                    <a:pt x="2195170" y="6159182"/>
                    <a:pt x="2195170" y="6122260"/>
                  </a:cubicBezTo>
                  <a:cubicBezTo>
                    <a:pt x="2195170" y="6085338"/>
                    <a:pt x="2225379" y="6055129"/>
                    <a:pt x="2262301" y="6055129"/>
                  </a:cubicBezTo>
                  <a:close/>
                  <a:moveTo>
                    <a:pt x="3286044" y="6031634"/>
                  </a:moveTo>
                  <a:cubicBezTo>
                    <a:pt x="3322964" y="6031634"/>
                    <a:pt x="3356532" y="6061843"/>
                    <a:pt x="3356532" y="6102122"/>
                  </a:cubicBezTo>
                  <a:cubicBezTo>
                    <a:pt x="3356532" y="6139043"/>
                    <a:pt x="3326322" y="6172609"/>
                    <a:pt x="3286044" y="6172609"/>
                  </a:cubicBezTo>
                  <a:cubicBezTo>
                    <a:pt x="3245765" y="6172609"/>
                    <a:pt x="3212200" y="6139043"/>
                    <a:pt x="3215556" y="6102122"/>
                  </a:cubicBezTo>
                  <a:cubicBezTo>
                    <a:pt x="3215556" y="6065200"/>
                    <a:pt x="3245765" y="6031634"/>
                    <a:pt x="3286044" y="6031634"/>
                  </a:cubicBezTo>
                  <a:close/>
                  <a:moveTo>
                    <a:pt x="2671798" y="6014852"/>
                  </a:moveTo>
                  <a:cubicBezTo>
                    <a:pt x="2712076" y="6014852"/>
                    <a:pt x="2745642" y="6048417"/>
                    <a:pt x="2745642" y="6088695"/>
                  </a:cubicBezTo>
                  <a:cubicBezTo>
                    <a:pt x="2745642" y="6128974"/>
                    <a:pt x="2712076" y="6162539"/>
                    <a:pt x="2671798" y="6162539"/>
                  </a:cubicBezTo>
                  <a:cubicBezTo>
                    <a:pt x="2631519" y="6162539"/>
                    <a:pt x="2597954" y="6128974"/>
                    <a:pt x="2597954" y="6088695"/>
                  </a:cubicBezTo>
                  <a:cubicBezTo>
                    <a:pt x="2597954" y="6048417"/>
                    <a:pt x="2631519" y="6014852"/>
                    <a:pt x="2671798" y="6014852"/>
                  </a:cubicBezTo>
                  <a:close/>
                  <a:moveTo>
                    <a:pt x="3927141" y="5971217"/>
                  </a:moveTo>
                  <a:cubicBezTo>
                    <a:pt x="3957349" y="5971217"/>
                    <a:pt x="3984201" y="5998069"/>
                    <a:pt x="3984201" y="6028278"/>
                  </a:cubicBezTo>
                  <a:cubicBezTo>
                    <a:pt x="3984201" y="6058487"/>
                    <a:pt x="3957349" y="6085339"/>
                    <a:pt x="3927141" y="6085339"/>
                  </a:cubicBezTo>
                  <a:cubicBezTo>
                    <a:pt x="3893574" y="6085339"/>
                    <a:pt x="3870079" y="6061843"/>
                    <a:pt x="3870079" y="6028278"/>
                  </a:cubicBezTo>
                  <a:cubicBezTo>
                    <a:pt x="3870079" y="5998069"/>
                    <a:pt x="3896931" y="5971217"/>
                    <a:pt x="3927141" y="5971217"/>
                  </a:cubicBezTo>
                  <a:close/>
                  <a:moveTo>
                    <a:pt x="3094721" y="5961147"/>
                  </a:moveTo>
                  <a:cubicBezTo>
                    <a:pt x="3131643" y="5961147"/>
                    <a:pt x="3165208" y="5991356"/>
                    <a:pt x="3165208" y="6031634"/>
                  </a:cubicBezTo>
                  <a:cubicBezTo>
                    <a:pt x="3165208" y="6068556"/>
                    <a:pt x="3134998" y="6102122"/>
                    <a:pt x="3094721" y="6102122"/>
                  </a:cubicBezTo>
                  <a:cubicBezTo>
                    <a:pt x="3054443" y="6102122"/>
                    <a:pt x="3024234" y="6071912"/>
                    <a:pt x="3024234" y="6031634"/>
                  </a:cubicBezTo>
                  <a:cubicBezTo>
                    <a:pt x="3024234" y="5994712"/>
                    <a:pt x="3057799" y="5961147"/>
                    <a:pt x="3094721" y="5961147"/>
                  </a:cubicBezTo>
                  <a:close/>
                  <a:moveTo>
                    <a:pt x="1322473" y="5954434"/>
                  </a:moveTo>
                  <a:cubicBezTo>
                    <a:pt x="1349326" y="5954434"/>
                    <a:pt x="1369465" y="5974573"/>
                    <a:pt x="1369465" y="6001425"/>
                  </a:cubicBezTo>
                  <a:cubicBezTo>
                    <a:pt x="1369465" y="6028278"/>
                    <a:pt x="1349326" y="6048417"/>
                    <a:pt x="1322473" y="6048417"/>
                  </a:cubicBezTo>
                  <a:cubicBezTo>
                    <a:pt x="1295621" y="6048417"/>
                    <a:pt x="1275482" y="6028278"/>
                    <a:pt x="1275482" y="6001425"/>
                  </a:cubicBezTo>
                  <a:cubicBezTo>
                    <a:pt x="1275482" y="5974573"/>
                    <a:pt x="1295621" y="5954434"/>
                    <a:pt x="1322473" y="5954434"/>
                  </a:cubicBezTo>
                  <a:close/>
                  <a:moveTo>
                    <a:pt x="2087761" y="5947721"/>
                  </a:moveTo>
                  <a:cubicBezTo>
                    <a:pt x="2128040" y="5947721"/>
                    <a:pt x="2158248" y="5977930"/>
                    <a:pt x="2158248" y="6018208"/>
                  </a:cubicBezTo>
                  <a:cubicBezTo>
                    <a:pt x="2158248" y="6058487"/>
                    <a:pt x="2128040" y="6088695"/>
                    <a:pt x="2087761" y="6088695"/>
                  </a:cubicBezTo>
                  <a:cubicBezTo>
                    <a:pt x="2050840" y="6088695"/>
                    <a:pt x="2017274" y="6055130"/>
                    <a:pt x="2017274" y="6018208"/>
                  </a:cubicBezTo>
                  <a:cubicBezTo>
                    <a:pt x="2017274" y="5977930"/>
                    <a:pt x="2047483" y="5947721"/>
                    <a:pt x="2087761" y="5947721"/>
                  </a:cubicBezTo>
                  <a:close/>
                  <a:moveTo>
                    <a:pt x="1698404" y="5934295"/>
                  </a:moveTo>
                  <a:cubicBezTo>
                    <a:pt x="1742039" y="5934295"/>
                    <a:pt x="1778961" y="5971217"/>
                    <a:pt x="1778961" y="6014852"/>
                  </a:cubicBezTo>
                  <a:cubicBezTo>
                    <a:pt x="1778961" y="6058487"/>
                    <a:pt x="1742039" y="6095408"/>
                    <a:pt x="1698404" y="6095408"/>
                  </a:cubicBezTo>
                  <a:cubicBezTo>
                    <a:pt x="1654769" y="6095408"/>
                    <a:pt x="1621204" y="6061843"/>
                    <a:pt x="1617847" y="6014852"/>
                  </a:cubicBezTo>
                  <a:cubicBezTo>
                    <a:pt x="1617847" y="5971217"/>
                    <a:pt x="1654769" y="5934295"/>
                    <a:pt x="1698404" y="5934295"/>
                  </a:cubicBezTo>
                  <a:close/>
                  <a:moveTo>
                    <a:pt x="3725749" y="5924225"/>
                  </a:moveTo>
                  <a:cubicBezTo>
                    <a:pt x="3762670" y="5924225"/>
                    <a:pt x="3789522" y="5954434"/>
                    <a:pt x="3789522" y="5987999"/>
                  </a:cubicBezTo>
                  <a:cubicBezTo>
                    <a:pt x="3789522" y="6024921"/>
                    <a:pt x="3759314" y="6051774"/>
                    <a:pt x="3725749" y="6051774"/>
                  </a:cubicBezTo>
                  <a:cubicBezTo>
                    <a:pt x="3692184" y="6051774"/>
                    <a:pt x="3665331" y="6024921"/>
                    <a:pt x="3661976" y="5987999"/>
                  </a:cubicBezTo>
                  <a:cubicBezTo>
                    <a:pt x="3661976" y="5951077"/>
                    <a:pt x="3692184" y="5924225"/>
                    <a:pt x="3725749" y="5924225"/>
                  </a:cubicBezTo>
                  <a:close/>
                  <a:moveTo>
                    <a:pt x="2490546" y="5920869"/>
                  </a:moveTo>
                  <a:cubicBezTo>
                    <a:pt x="2530824" y="5920869"/>
                    <a:pt x="2564390" y="5954434"/>
                    <a:pt x="2564390" y="5994712"/>
                  </a:cubicBezTo>
                  <a:cubicBezTo>
                    <a:pt x="2564390" y="6034991"/>
                    <a:pt x="2530824" y="6068556"/>
                    <a:pt x="2490546" y="6068556"/>
                  </a:cubicBezTo>
                  <a:cubicBezTo>
                    <a:pt x="2450267" y="6068556"/>
                    <a:pt x="2416702" y="6034991"/>
                    <a:pt x="2416702" y="5994712"/>
                  </a:cubicBezTo>
                  <a:cubicBezTo>
                    <a:pt x="2416702" y="5954434"/>
                    <a:pt x="2450267" y="5920869"/>
                    <a:pt x="2490546" y="5920869"/>
                  </a:cubicBezTo>
                  <a:close/>
                  <a:moveTo>
                    <a:pt x="2906755" y="5877234"/>
                  </a:moveTo>
                  <a:cubicBezTo>
                    <a:pt x="2947034" y="5877234"/>
                    <a:pt x="2980599" y="5910799"/>
                    <a:pt x="2980599" y="5951077"/>
                  </a:cubicBezTo>
                  <a:cubicBezTo>
                    <a:pt x="2980599" y="5991356"/>
                    <a:pt x="2947034" y="6024921"/>
                    <a:pt x="2906755" y="6024921"/>
                  </a:cubicBezTo>
                  <a:cubicBezTo>
                    <a:pt x="2866477" y="6024921"/>
                    <a:pt x="2832911" y="5991356"/>
                    <a:pt x="2832911" y="5951077"/>
                  </a:cubicBezTo>
                  <a:cubicBezTo>
                    <a:pt x="2832911" y="5910799"/>
                    <a:pt x="2866477" y="5877234"/>
                    <a:pt x="2906755" y="5877234"/>
                  </a:cubicBezTo>
                  <a:close/>
                  <a:moveTo>
                    <a:pt x="3531070" y="5867164"/>
                  </a:moveTo>
                  <a:cubicBezTo>
                    <a:pt x="3571348" y="5867164"/>
                    <a:pt x="3601556" y="5897373"/>
                    <a:pt x="3601556" y="5937651"/>
                  </a:cubicBezTo>
                  <a:cubicBezTo>
                    <a:pt x="3601556" y="5977930"/>
                    <a:pt x="3571348" y="6008139"/>
                    <a:pt x="3531070" y="6008139"/>
                  </a:cubicBezTo>
                  <a:cubicBezTo>
                    <a:pt x="3490792" y="6008139"/>
                    <a:pt x="3460584" y="5977930"/>
                    <a:pt x="3460584" y="5937651"/>
                  </a:cubicBezTo>
                  <a:cubicBezTo>
                    <a:pt x="3460584" y="5897373"/>
                    <a:pt x="3490792" y="5867164"/>
                    <a:pt x="3531070" y="5867164"/>
                  </a:cubicBezTo>
                  <a:close/>
                  <a:moveTo>
                    <a:pt x="1923292" y="5826886"/>
                  </a:moveTo>
                  <a:cubicBezTo>
                    <a:pt x="1963571" y="5826886"/>
                    <a:pt x="1997136" y="5860451"/>
                    <a:pt x="1997136" y="5900729"/>
                  </a:cubicBezTo>
                  <a:cubicBezTo>
                    <a:pt x="1997136" y="5941008"/>
                    <a:pt x="1963571" y="5974573"/>
                    <a:pt x="1923292" y="5974573"/>
                  </a:cubicBezTo>
                  <a:cubicBezTo>
                    <a:pt x="1883014" y="5974573"/>
                    <a:pt x="1849448" y="5941008"/>
                    <a:pt x="1849448" y="5900729"/>
                  </a:cubicBezTo>
                  <a:cubicBezTo>
                    <a:pt x="1849448" y="5860451"/>
                    <a:pt x="1883014" y="5826886"/>
                    <a:pt x="1923292" y="5826886"/>
                  </a:cubicBezTo>
                  <a:close/>
                  <a:moveTo>
                    <a:pt x="2316006" y="5823529"/>
                  </a:moveTo>
                  <a:cubicBezTo>
                    <a:pt x="2356284" y="5823529"/>
                    <a:pt x="2386493" y="5853738"/>
                    <a:pt x="2386493" y="5894016"/>
                  </a:cubicBezTo>
                  <a:cubicBezTo>
                    <a:pt x="2386493" y="5934295"/>
                    <a:pt x="2356284" y="5964504"/>
                    <a:pt x="2316006" y="5964504"/>
                  </a:cubicBezTo>
                  <a:cubicBezTo>
                    <a:pt x="2275728" y="5964504"/>
                    <a:pt x="2245518" y="5930938"/>
                    <a:pt x="2245518" y="5894016"/>
                  </a:cubicBezTo>
                  <a:cubicBezTo>
                    <a:pt x="2245518" y="5853738"/>
                    <a:pt x="2275728" y="5823529"/>
                    <a:pt x="2316006" y="5823529"/>
                  </a:cubicBezTo>
                  <a:close/>
                  <a:moveTo>
                    <a:pt x="1540647" y="5823529"/>
                  </a:moveTo>
                  <a:cubicBezTo>
                    <a:pt x="1577569" y="5823529"/>
                    <a:pt x="1607778" y="5853738"/>
                    <a:pt x="1607778" y="5890660"/>
                  </a:cubicBezTo>
                  <a:cubicBezTo>
                    <a:pt x="1607778" y="5927582"/>
                    <a:pt x="1577569" y="5957791"/>
                    <a:pt x="1540647" y="5957791"/>
                  </a:cubicBezTo>
                  <a:cubicBezTo>
                    <a:pt x="1503725" y="5957791"/>
                    <a:pt x="1473516" y="5927582"/>
                    <a:pt x="1473516" y="5890660"/>
                  </a:cubicBezTo>
                  <a:cubicBezTo>
                    <a:pt x="1473516" y="5853738"/>
                    <a:pt x="1503725" y="5823529"/>
                    <a:pt x="1540647" y="5823529"/>
                  </a:cubicBezTo>
                  <a:close/>
                  <a:moveTo>
                    <a:pt x="3336391" y="5810103"/>
                  </a:moveTo>
                  <a:cubicBezTo>
                    <a:pt x="3373312" y="5810103"/>
                    <a:pt x="3403522" y="5840312"/>
                    <a:pt x="3403522" y="5877234"/>
                  </a:cubicBezTo>
                  <a:cubicBezTo>
                    <a:pt x="3403522" y="5914156"/>
                    <a:pt x="3373312" y="5944364"/>
                    <a:pt x="3336391" y="5944364"/>
                  </a:cubicBezTo>
                  <a:cubicBezTo>
                    <a:pt x="3299470" y="5944364"/>
                    <a:pt x="3269260" y="5914156"/>
                    <a:pt x="3269260" y="5877234"/>
                  </a:cubicBezTo>
                  <a:cubicBezTo>
                    <a:pt x="3269260" y="5840312"/>
                    <a:pt x="3299470" y="5810103"/>
                    <a:pt x="3336391" y="5810103"/>
                  </a:cubicBezTo>
                  <a:close/>
                  <a:moveTo>
                    <a:pt x="1171429" y="5796677"/>
                  </a:moveTo>
                  <a:cubicBezTo>
                    <a:pt x="1208351" y="5796677"/>
                    <a:pt x="1238560" y="5826886"/>
                    <a:pt x="1238560" y="5863807"/>
                  </a:cubicBezTo>
                  <a:cubicBezTo>
                    <a:pt x="1238560" y="5900729"/>
                    <a:pt x="1208351" y="5930938"/>
                    <a:pt x="1171429" y="5930938"/>
                  </a:cubicBezTo>
                  <a:cubicBezTo>
                    <a:pt x="1134507" y="5930938"/>
                    <a:pt x="1104298" y="5900729"/>
                    <a:pt x="1104298" y="5863807"/>
                  </a:cubicBezTo>
                  <a:cubicBezTo>
                    <a:pt x="1104298" y="5826886"/>
                    <a:pt x="1134507" y="5796677"/>
                    <a:pt x="1171429" y="5796677"/>
                  </a:cubicBezTo>
                  <a:close/>
                  <a:moveTo>
                    <a:pt x="2725502" y="5793320"/>
                  </a:moveTo>
                  <a:cubicBezTo>
                    <a:pt x="2765781" y="5793320"/>
                    <a:pt x="2795990" y="5826886"/>
                    <a:pt x="2795990" y="5863807"/>
                  </a:cubicBezTo>
                  <a:cubicBezTo>
                    <a:pt x="2795990" y="5904085"/>
                    <a:pt x="2762424" y="5934295"/>
                    <a:pt x="2725502" y="5934295"/>
                  </a:cubicBezTo>
                  <a:cubicBezTo>
                    <a:pt x="2685224" y="5934295"/>
                    <a:pt x="2655015" y="5900729"/>
                    <a:pt x="2655015" y="5863807"/>
                  </a:cubicBezTo>
                  <a:cubicBezTo>
                    <a:pt x="2655015" y="5823529"/>
                    <a:pt x="2688580" y="5793320"/>
                    <a:pt x="2725502" y="5793320"/>
                  </a:cubicBezTo>
                  <a:close/>
                  <a:moveTo>
                    <a:pt x="3977488" y="5746329"/>
                  </a:moveTo>
                  <a:cubicBezTo>
                    <a:pt x="3985880" y="5746329"/>
                    <a:pt x="3993852" y="5748007"/>
                    <a:pt x="4001089" y="5751049"/>
                  </a:cubicBezTo>
                  <a:lnTo>
                    <a:pt x="4016827" y="5761627"/>
                  </a:lnTo>
                  <a:lnTo>
                    <a:pt x="4016827" y="5851866"/>
                  </a:lnTo>
                  <a:lnTo>
                    <a:pt x="4001089" y="5862444"/>
                  </a:lnTo>
                  <a:cubicBezTo>
                    <a:pt x="3993852" y="5865486"/>
                    <a:pt x="3985880" y="5867164"/>
                    <a:pt x="3977488" y="5867164"/>
                  </a:cubicBezTo>
                  <a:cubicBezTo>
                    <a:pt x="3943923" y="5867164"/>
                    <a:pt x="3917070" y="5840312"/>
                    <a:pt x="3917070" y="5806746"/>
                  </a:cubicBezTo>
                  <a:cubicBezTo>
                    <a:pt x="3917070" y="5773181"/>
                    <a:pt x="3943923" y="5746329"/>
                    <a:pt x="3977488" y="5746329"/>
                  </a:cubicBezTo>
                  <a:close/>
                  <a:moveTo>
                    <a:pt x="3145069" y="5742972"/>
                  </a:moveTo>
                  <a:cubicBezTo>
                    <a:pt x="3178634" y="5742972"/>
                    <a:pt x="3208844" y="5773181"/>
                    <a:pt x="3208844" y="5806746"/>
                  </a:cubicBezTo>
                  <a:cubicBezTo>
                    <a:pt x="3208844" y="5840312"/>
                    <a:pt x="3181992" y="5870519"/>
                    <a:pt x="3145069" y="5870519"/>
                  </a:cubicBezTo>
                  <a:cubicBezTo>
                    <a:pt x="3111504" y="5870519"/>
                    <a:pt x="3081295" y="5840312"/>
                    <a:pt x="3081295" y="5806746"/>
                  </a:cubicBezTo>
                  <a:cubicBezTo>
                    <a:pt x="3081295" y="5773181"/>
                    <a:pt x="3108147" y="5742972"/>
                    <a:pt x="3145069" y="5742972"/>
                  </a:cubicBezTo>
                  <a:close/>
                  <a:moveTo>
                    <a:pt x="3776096" y="5716120"/>
                  </a:moveTo>
                  <a:cubicBezTo>
                    <a:pt x="3806306" y="5716120"/>
                    <a:pt x="3829800" y="5739616"/>
                    <a:pt x="3829800" y="5769824"/>
                  </a:cubicBezTo>
                  <a:cubicBezTo>
                    <a:pt x="3829800" y="5800033"/>
                    <a:pt x="3806306" y="5823529"/>
                    <a:pt x="3776096" y="5823529"/>
                  </a:cubicBezTo>
                  <a:cubicBezTo>
                    <a:pt x="3745888" y="5823529"/>
                    <a:pt x="3722391" y="5800033"/>
                    <a:pt x="3722391" y="5769824"/>
                  </a:cubicBezTo>
                  <a:cubicBezTo>
                    <a:pt x="3722391" y="5739616"/>
                    <a:pt x="3745888" y="5716120"/>
                    <a:pt x="3776096" y="5716120"/>
                  </a:cubicBezTo>
                  <a:close/>
                  <a:moveTo>
                    <a:pt x="2144822" y="5706050"/>
                  </a:moveTo>
                  <a:cubicBezTo>
                    <a:pt x="2185101" y="5706050"/>
                    <a:pt x="2218666" y="5739616"/>
                    <a:pt x="2218666" y="5779894"/>
                  </a:cubicBezTo>
                  <a:cubicBezTo>
                    <a:pt x="2218666" y="5820173"/>
                    <a:pt x="2185101" y="5853738"/>
                    <a:pt x="2144822" y="5853738"/>
                  </a:cubicBezTo>
                  <a:cubicBezTo>
                    <a:pt x="2104544" y="5853738"/>
                    <a:pt x="2074335" y="5823529"/>
                    <a:pt x="2070979" y="5779894"/>
                  </a:cubicBezTo>
                  <a:cubicBezTo>
                    <a:pt x="2070979" y="5739616"/>
                    <a:pt x="2104544" y="5706050"/>
                    <a:pt x="2144822" y="5706050"/>
                  </a:cubicBezTo>
                  <a:close/>
                  <a:moveTo>
                    <a:pt x="1758822" y="5706050"/>
                  </a:moveTo>
                  <a:cubicBezTo>
                    <a:pt x="1799100" y="5706050"/>
                    <a:pt x="1832666" y="5739616"/>
                    <a:pt x="1832666" y="5779894"/>
                  </a:cubicBezTo>
                  <a:cubicBezTo>
                    <a:pt x="1832666" y="5820173"/>
                    <a:pt x="1799100" y="5853738"/>
                    <a:pt x="1758822" y="5853738"/>
                  </a:cubicBezTo>
                  <a:cubicBezTo>
                    <a:pt x="1718543" y="5853738"/>
                    <a:pt x="1684978" y="5820173"/>
                    <a:pt x="1684978" y="5779894"/>
                  </a:cubicBezTo>
                  <a:cubicBezTo>
                    <a:pt x="1684978" y="5739616"/>
                    <a:pt x="1718543" y="5706050"/>
                    <a:pt x="1758822" y="5706050"/>
                  </a:cubicBezTo>
                  <a:close/>
                  <a:moveTo>
                    <a:pt x="1027098" y="5706050"/>
                  </a:moveTo>
                  <a:cubicBezTo>
                    <a:pt x="1037168" y="5706050"/>
                    <a:pt x="1043881" y="5712763"/>
                    <a:pt x="1043881" y="5722833"/>
                  </a:cubicBezTo>
                  <a:cubicBezTo>
                    <a:pt x="1043881" y="5732903"/>
                    <a:pt x="1037168" y="5739616"/>
                    <a:pt x="1027098" y="5739616"/>
                  </a:cubicBezTo>
                  <a:cubicBezTo>
                    <a:pt x="1017028" y="5739616"/>
                    <a:pt x="1006959" y="5732903"/>
                    <a:pt x="1010315" y="5722833"/>
                  </a:cubicBezTo>
                  <a:cubicBezTo>
                    <a:pt x="1010315" y="5712763"/>
                    <a:pt x="1017028" y="5706050"/>
                    <a:pt x="1027098" y="5706050"/>
                  </a:cubicBezTo>
                  <a:close/>
                  <a:moveTo>
                    <a:pt x="2544250" y="5692624"/>
                  </a:moveTo>
                  <a:cubicBezTo>
                    <a:pt x="2584529" y="5692624"/>
                    <a:pt x="2618094" y="5726189"/>
                    <a:pt x="2618094" y="5766468"/>
                  </a:cubicBezTo>
                  <a:cubicBezTo>
                    <a:pt x="2618094" y="5806746"/>
                    <a:pt x="2584529" y="5840312"/>
                    <a:pt x="2544250" y="5840312"/>
                  </a:cubicBezTo>
                  <a:cubicBezTo>
                    <a:pt x="2503972" y="5840312"/>
                    <a:pt x="2473763" y="5806746"/>
                    <a:pt x="2470406" y="5766468"/>
                  </a:cubicBezTo>
                  <a:cubicBezTo>
                    <a:pt x="2470406" y="5726189"/>
                    <a:pt x="2503972" y="5692624"/>
                    <a:pt x="2544250" y="5692624"/>
                  </a:cubicBezTo>
                  <a:close/>
                  <a:moveTo>
                    <a:pt x="1386247" y="5682555"/>
                  </a:moveTo>
                  <a:cubicBezTo>
                    <a:pt x="1426526" y="5682555"/>
                    <a:pt x="1460091" y="5716120"/>
                    <a:pt x="1460091" y="5756398"/>
                  </a:cubicBezTo>
                  <a:cubicBezTo>
                    <a:pt x="1460091" y="5796677"/>
                    <a:pt x="1426526" y="5830242"/>
                    <a:pt x="1386247" y="5830242"/>
                  </a:cubicBezTo>
                  <a:cubicBezTo>
                    <a:pt x="1345969" y="5830242"/>
                    <a:pt x="1312404" y="5796677"/>
                    <a:pt x="1312404" y="5756398"/>
                  </a:cubicBezTo>
                  <a:cubicBezTo>
                    <a:pt x="1312404" y="5716120"/>
                    <a:pt x="1345969" y="5682555"/>
                    <a:pt x="1386247" y="5682555"/>
                  </a:cubicBezTo>
                  <a:close/>
                  <a:moveTo>
                    <a:pt x="2960460" y="5662415"/>
                  </a:moveTo>
                  <a:cubicBezTo>
                    <a:pt x="2994025" y="5662415"/>
                    <a:pt x="3024234" y="5689268"/>
                    <a:pt x="3024234" y="5726189"/>
                  </a:cubicBezTo>
                  <a:cubicBezTo>
                    <a:pt x="3024234" y="5759755"/>
                    <a:pt x="2997382" y="5789964"/>
                    <a:pt x="2960460" y="5789964"/>
                  </a:cubicBezTo>
                  <a:cubicBezTo>
                    <a:pt x="2923538" y="5789964"/>
                    <a:pt x="2896686" y="5763111"/>
                    <a:pt x="2896686" y="5726189"/>
                  </a:cubicBezTo>
                  <a:cubicBezTo>
                    <a:pt x="2896686" y="5692624"/>
                    <a:pt x="2923538" y="5662415"/>
                    <a:pt x="2960460" y="5662415"/>
                  </a:cubicBezTo>
                  <a:close/>
                  <a:moveTo>
                    <a:pt x="3581419" y="5659059"/>
                  </a:moveTo>
                  <a:cubicBezTo>
                    <a:pt x="3611627" y="5659059"/>
                    <a:pt x="3638479" y="5685911"/>
                    <a:pt x="3638479" y="5716120"/>
                  </a:cubicBezTo>
                  <a:cubicBezTo>
                    <a:pt x="3638479" y="5746329"/>
                    <a:pt x="3611627" y="5773181"/>
                    <a:pt x="3581419" y="5773181"/>
                  </a:cubicBezTo>
                  <a:cubicBezTo>
                    <a:pt x="3547852" y="5773181"/>
                    <a:pt x="3524357" y="5749685"/>
                    <a:pt x="3524357" y="5716120"/>
                  </a:cubicBezTo>
                  <a:cubicBezTo>
                    <a:pt x="3524357" y="5685911"/>
                    <a:pt x="3551209" y="5659059"/>
                    <a:pt x="3581419" y="5659059"/>
                  </a:cubicBezTo>
                  <a:close/>
                  <a:moveTo>
                    <a:pt x="3386738" y="5605354"/>
                  </a:moveTo>
                  <a:cubicBezTo>
                    <a:pt x="3416948" y="5605354"/>
                    <a:pt x="3440442" y="5628850"/>
                    <a:pt x="3440442" y="5659059"/>
                  </a:cubicBezTo>
                  <a:cubicBezTo>
                    <a:pt x="3440442" y="5689268"/>
                    <a:pt x="3416948" y="5712763"/>
                    <a:pt x="3386738" y="5712763"/>
                  </a:cubicBezTo>
                  <a:cubicBezTo>
                    <a:pt x="3356530" y="5712763"/>
                    <a:pt x="3333033" y="5685911"/>
                    <a:pt x="3333033" y="5659059"/>
                  </a:cubicBezTo>
                  <a:cubicBezTo>
                    <a:pt x="3333033" y="5628850"/>
                    <a:pt x="3356530" y="5605354"/>
                    <a:pt x="3386738" y="5605354"/>
                  </a:cubicBezTo>
                  <a:close/>
                  <a:moveTo>
                    <a:pt x="2373067" y="5588572"/>
                  </a:moveTo>
                  <a:cubicBezTo>
                    <a:pt x="2413346" y="5588572"/>
                    <a:pt x="2446911" y="5622137"/>
                    <a:pt x="2446911" y="5662415"/>
                  </a:cubicBezTo>
                  <a:cubicBezTo>
                    <a:pt x="2446911" y="5702694"/>
                    <a:pt x="2413346" y="5736259"/>
                    <a:pt x="2373067" y="5736259"/>
                  </a:cubicBezTo>
                  <a:cubicBezTo>
                    <a:pt x="2332788" y="5736259"/>
                    <a:pt x="2299223" y="5702694"/>
                    <a:pt x="2299223" y="5662415"/>
                  </a:cubicBezTo>
                  <a:cubicBezTo>
                    <a:pt x="2299223" y="5622137"/>
                    <a:pt x="2332788" y="5588572"/>
                    <a:pt x="2373067" y="5588572"/>
                  </a:cubicBezTo>
                  <a:close/>
                  <a:moveTo>
                    <a:pt x="1980353" y="5588572"/>
                  </a:moveTo>
                  <a:cubicBezTo>
                    <a:pt x="2020632" y="5588572"/>
                    <a:pt x="2054197" y="5622137"/>
                    <a:pt x="2054197" y="5662415"/>
                  </a:cubicBezTo>
                  <a:cubicBezTo>
                    <a:pt x="2054197" y="5702694"/>
                    <a:pt x="2020632" y="5736259"/>
                    <a:pt x="1980353" y="5736259"/>
                  </a:cubicBezTo>
                  <a:cubicBezTo>
                    <a:pt x="1940075" y="5736259"/>
                    <a:pt x="1909866" y="5702694"/>
                    <a:pt x="1906510" y="5662415"/>
                  </a:cubicBezTo>
                  <a:cubicBezTo>
                    <a:pt x="1906510" y="5622137"/>
                    <a:pt x="1940075" y="5588572"/>
                    <a:pt x="1980353" y="5588572"/>
                  </a:cubicBezTo>
                  <a:close/>
                  <a:moveTo>
                    <a:pt x="1604421" y="5575146"/>
                  </a:moveTo>
                  <a:cubicBezTo>
                    <a:pt x="1644700" y="5575146"/>
                    <a:pt x="1678265" y="5608712"/>
                    <a:pt x="1678265" y="5648990"/>
                  </a:cubicBezTo>
                  <a:cubicBezTo>
                    <a:pt x="1678265" y="5689269"/>
                    <a:pt x="1644700" y="5722834"/>
                    <a:pt x="1604421" y="5722834"/>
                  </a:cubicBezTo>
                  <a:cubicBezTo>
                    <a:pt x="1564143" y="5722834"/>
                    <a:pt x="1530577" y="5689269"/>
                    <a:pt x="1530577" y="5648990"/>
                  </a:cubicBezTo>
                  <a:cubicBezTo>
                    <a:pt x="1530577" y="5608712"/>
                    <a:pt x="1564143" y="5575146"/>
                    <a:pt x="1604421" y="5575146"/>
                  </a:cubicBezTo>
                  <a:close/>
                  <a:moveTo>
                    <a:pt x="2775850" y="5571789"/>
                  </a:moveTo>
                  <a:cubicBezTo>
                    <a:pt x="2812772" y="5571789"/>
                    <a:pt x="2839624" y="5601998"/>
                    <a:pt x="2839624" y="5635563"/>
                  </a:cubicBezTo>
                  <a:cubicBezTo>
                    <a:pt x="2839624" y="5672485"/>
                    <a:pt x="2809416" y="5699337"/>
                    <a:pt x="2775850" y="5699337"/>
                  </a:cubicBezTo>
                  <a:cubicBezTo>
                    <a:pt x="2742285" y="5699337"/>
                    <a:pt x="2715432" y="5672485"/>
                    <a:pt x="2712076" y="5635563"/>
                  </a:cubicBezTo>
                  <a:cubicBezTo>
                    <a:pt x="2712076" y="5598641"/>
                    <a:pt x="2742285" y="5571789"/>
                    <a:pt x="2775850" y="5571789"/>
                  </a:cubicBezTo>
                  <a:close/>
                  <a:moveTo>
                    <a:pt x="886123" y="5568432"/>
                  </a:moveTo>
                  <a:cubicBezTo>
                    <a:pt x="889480" y="5568432"/>
                    <a:pt x="892837" y="5571789"/>
                    <a:pt x="892837" y="5575145"/>
                  </a:cubicBezTo>
                  <a:cubicBezTo>
                    <a:pt x="892837" y="5578502"/>
                    <a:pt x="889480" y="5581858"/>
                    <a:pt x="886123" y="5581858"/>
                  </a:cubicBezTo>
                  <a:cubicBezTo>
                    <a:pt x="882767" y="5581858"/>
                    <a:pt x="879410" y="5578502"/>
                    <a:pt x="879410" y="5575145"/>
                  </a:cubicBezTo>
                  <a:cubicBezTo>
                    <a:pt x="879410" y="5571789"/>
                    <a:pt x="882767" y="5568432"/>
                    <a:pt x="886123" y="5568432"/>
                  </a:cubicBezTo>
                  <a:close/>
                  <a:moveTo>
                    <a:pt x="4016827" y="5546256"/>
                  </a:moveTo>
                  <a:lnTo>
                    <a:pt x="4016827" y="5624629"/>
                  </a:lnTo>
                  <a:lnTo>
                    <a:pt x="3997208" y="5617103"/>
                  </a:lnTo>
                  <a:cubicBezTo>
                    <a:pt x="3989236" y="5609551"/>
                    <a:pt x="3984201" y="5598642"/>
                    <a:pt x="3984201" y="5585216"/>
                  </a:cubicBezTo>
                  <a:cubicBezTo>
                    <a:pt x="3984201" y="5573468"/>
                    <a:pt x="3989236" y="5562560"/>
                    <a:pt x="3997208" y="5554588"/>
                  </a:cubicBezTo>
                  <a:close/>
                  <a:moveTo>
                    <a:pt x="1238560" y="5538223"/>
                  </a:moveTo>
                  <a:cubicBezTo>
                    <a:pt x="1282195" y="5538223"/>
                    <a:pt x="1315760" y="5571789"/>
                    <a:pt x="1315760" y="5615424"/>
                  </a:cubicBezTo>
                  <a:cubicBezTo>
                    <a:pt x="1315760" y="5659059"/>
                    <a:pt x="1282195" y="5692624"/>
                    <a:pt x="1238560" y="5692624"/>
                  </a:cubicBezTo>
                  <a:cubicBezTo>
                    <a:pt x="1198281" y="5692624"/>
                    <a:pt x="1161360" y="5659059"/>
                    <a:pt x="1161360" y="5615424"/>
                  </a:cubicBezTo>
                  <a:cubicBezTo>
                    <a:pt x="1161360" y="5571789"/>
                    <a:pt x="1194925" y="5538223"/>
                    <a:pt x="1238560" y="5538223"/>
                  </a:cubicBezTo>
                  <a:close/>
                  <a:moveTo>
                    <a:pt x="3195416" y="5531511"/>
                  </a:moveTo>
                  <a:cubicBezTo>
                    <a:pt x="3225624" y="5531511"/>
                    <a:pt x="3249121" y="5555007"/>
                    <a:pt x="3249121" y="5585216"/>
                  </a:cubicBezTo>
                  <a:cubicBezTo>
                    <a:pt x="3249121" y="5615425"/>
                    <a:pt x="3225624" y="5638921"/>
                    <a:pt x="3195416" y="5638921"/>
                  </a:cubicBezTo>
                  <a:cubicBezTo>
                    <a:pt x="3165208" y="5638921"/>
                    <a:pt x="3141712" y="5615425"/>
                    <a:pt x="3141712" y="5585216"/>
                  </a:cubicBezTo>
                  <a:cubicBezTo>
                    <a:pt x="3141712" y="5555007"/>
                    <a:pt x="3165208" y="5531511"/>
                    <a:pt x="3195416" y="5531511"/>
                  </a:cubicBezTo>
                  <a:close/>
                  <a:moveTo>
                    <a:pt x="3826443" y="5501302"/>
                  </a:moveTo>
                  <a:cubicBezTo>
                    <a:pt x="3853295" y="5501302"/>
                    <a:pt x="3873436" y="5521441"/>
                    <a:pt x="3873436" y="5548293"/>
                  </a:cubicBezTo>
                  <a:cubicBezTo>
                    <a:pt x="3873436" y="5575145"/>
                    <a:pt x="3853295" y="5595285"/>
                    <a:pt x="3826443" y="5595285"/>
                  </a:cubicBezTo>
                  <a:cubicBezTo>
                    <a:pt x="3802948" y="5595285"/>
                    <a:pt x="3779454" y="5575145"/>
                    <a:pt x="3779454" y="5548293"/>
                  </a:cubicBezTo>
                  <a:cubicBezTo>
                    <a:pt x="3779454" y="5521441"/>
                    <a:pt x="3799591" y="5501302"/>
                    <a:pt x="3826443" y="5501302"/>
                  </a:cubicBezTo>
                  <a:close/>
                  <a:moveTo>
                    <a:pt x="2205240" y="5474450"/>
                  </a:moveTo>
                  <a:cubicBezTo>
                    <a:pt x="2245518" y="5474450"/>
                    <a:pt x="2275728" y="5508016"/>
                    <a:pt x="2275728" y="5544938"/>
                  </a:cubicBezTo>
                  <a:cubicBezTo>
                    <a:pt x="2275728" y="5585215"/>
                    <a:pt x="2242162" y="5615425"/>
                    <a:pt x="2205240" y="5615425"/>
                  </a:cubicBezTo>
                  <a:cubicBezTo>
                    <a:pt x="2164962" y="5615425"/>
                    <a:pt x="2134753" y="5585215"/>
                    <a:pt x="2134753" y="5544938"/>
                  </a:cubicBezTo>
                  <a:cubicBezTo>
                    <a:pt x="2134753" y="5504659"/>
                    <a:pt x="2168318" y="5474450"/>
                    <a:pt x="2205240" y="5474450"/>
                  </a:cubicBezTo>
                  <a:close/>
                  <a:moveTo>
                    <a:pt x="1822596" y="5467736"/>
                  </a:moveTo>
                  <a:cubicBezTo>
                    <a:pt x="1859518" y="5467736"/>
                    <a:pt x="1893083" y="5497945"/>
                    <a:pt x="1893083" y="5538223"/>
                  </a:cubicBezTo>
                  <a:cubicBezTo>
                    <a:pt x="1893083" y="5575145"/>
                    <a:pt x="1862874" y="5608711"/>
                    <a:pt x="1822596" y="5608711"/>
                  </a:cubicBezTo>
                  <a:cubicBezTo>
                    <a:pt x="1782318" y="5608711"/>
                    <a:pt x="1752109" y="5575145"/>
                    <a:pt x="1752109" y="5538223"/>
                  </a:cubicBezTo>
                  <a:cubicBezTo>
                    <a:pt x="1752109" y="5501302"/>
                    <a:pt x="1782318" y="5467736"/>
                    <a:pt x="1822596" y="5467736"/>
                  </a:cubicBezTo>
                  <a:close/>
                  <a:moveTo>
                    <a:pt x="2601312" y="5461023"/>
                  </a:moveTo>
                  <a:cubicBezTo>
                    <a:pt x="2641590" y="5461023"/>
                    <a:pt x="2675155" y="5494588"/>
                    <a:pt x="2675155" y="5534867"/>
                  </a:cubicBezTo>
                  <a:cubicBezTo>
                    <a:pt x="2675155" y="5575145"/>
                    <a:pt x="2641590" y="5608711"/>
                    <a:pt x="2601312" y="5608711"/>
                  </a:cubicBezTo>
                  <a:cubicBezTo>
                    <a:pt x="2561033" y="5608711"/>
                    <a:pt x="2527468" y="5575145"/>
                    <a:pt x="2527468" y="5534867"/>
                  </a:cubicBezTo>
                  <a:cubicBezTo>
                    <a:pt x="2527468" y="5494588"/>
                    <a:pt x="2561033" y="5461023"/>
                    <a:pt x="2601312" y="5461023"/>
                  </a:cubicBezTo>
                  <a:close/>
                  <a:moveTo>
                    <a:pt x="3631766" y="5450954"/>
                  </a:moveTo>
                  <a:cubicBezTo>
                    <a:pt x="3658618" y="5450954"/>
                    <a:pt x="3678758" y="5471093"/>
                    <a:pt x="3678758" y="5497945"/>
                  </a:cubicBezTo>
                  <a:cubicBezTo>
                    <a:pt x="3678758" y="5524797"/>
                    <a:pt x="3658618" y="5544937"/>
                    <a:pt x="3631766" y="5544937"/>
                  </a:cubicBezTo>
                  <a:cubicBezTo>
                    <a:pt x="3604914" y="5544937"/>
                    <a:pt x="3584774" y="5521441"/>
                    <a:pt x="3584774" y="5497945"/>
                  </a:cubicBezTo>
                  <a:cubicBezTo>
                    <a:pt x="3584774" y="5471093"/>
                    <a:pt x="3604914" y="5450954"/>
                    <a:pt x="3631766" y="5450954"/>
                  </a:cubicBezTo>
                  <a:close/>
                  <a:moveTo>
                    <a:pt x="3010808" y="5437528"/>
                  </a:moveTo>
                  <a:cubicBezTo>
                    <a:pt x="3044373" y="5437528"/>
                    <a:pt x="3071226" y="5464381"/>
                    <a:pt x="3071226" y="5497946"/>
                  </a:cubicBezTo>
                  <a:cubicBezTo>
                    <a:pt x="3071226" y="5531511"/>
                    <a:pt x="3044373" y="5558364"/>
                    <a:pt x="3010808" y="5558364"/>
                  </a:cubicBezTo>
                  <a:cubicBezTo>
                    <a:pt x="2980599" y="5558364"/>
                    <a:pt x="2953747" y="5534868"/>
                    <a:pt x="2950390" y="5497946"/>
                  </a:cubicBezTo>
                  <a:cubicBezTo>
                    <a:pt x="2950390" y="5464381"/>
                    <a:pt x="2977242" y="5437528"/>
                    <a:pt x="3010808" y="5437528"/>
                  </a:cubicBezTo>
                  <a:close/>
                  <a:moveTo>
                    <a:pt x="1453378" y="5434171"/>
                  </a:moveTo>
                  <a:cubicBezTo>
                    <a:pt x="1497013" y="5434171"/>
                    <a:pt x="1530578" y="5467736"/>
                    <a:pt x="1530578" y="5511371"/>
                  </a:cubicBezTo>
                  <a:cubicBezTo>
                    <a:pt x="1530578" y="5555006"/>
                    <a:pt x="1497013" y="5588572"/>
                    <a:pt x="1453378" y="5588572"/>
                  </a:cubicBezTo>
                  <a:cubicBezTo>
                    <a:pt x="1413100" y="5588572"/>
                    <a:pt x="1376178" y="5551650"/>
                    <a:pt x="1376178" y="5511371"/>
                  </a:cubicBezTo>
                  <a:cubicBezTo>
                    <a:pt x="1376178" y="5467736"/>
                    <a:pt x="1409743" y="5434171"/>
                    <a:pt x="1453378" y="5434171"/>
                  </a:cubicBezTo>
                  <a:close/>
                  <a:moveTo>
                    <a:pt x="1097585" y="5410676"/>
                  </a:moveTo>
                  <a:cubicBezTo>
                    <a:pt x="1131151" y="5410676"/>
                    <a:pt x="1158003" y="5437528"/>
                    <a:pt x="1158003" y="5471094"/>
                  </a:cubicBezTo>
                  <a:cubicBezTo>
                    <a:pt x="1158003" y="5504659"/>
                    <a:pt x="1131151" y="5531511"/>
                    <a:pt x="1097585" y="5531511"/>
                  </a:cubicBezTo>
                  <a:cubicBezTo>
                    <a:pt x="1064020" y="5531511"/>
                    <a:pt x="1040524" y="5504659"/>
                    <a:pt x="1037168" y="5471094"/>
                  </a:cubicBezTo>
                  <a:cubicBezTo>
                    <a:pt x="1037168" y="5437528"/>
                    <a:pt x="1064020" y="5410676"/>
                    <a:pt x="1097585" y="5410676"/>
                  </a:cubicBezTo>
                  <a:close/>
                  <a:moveTo>
                    <a:pt x="751863" y="5393893"/>
                  </a:moveTo>
                  <a:cubicBezTo>
                    <a:pt x="765289" y="5393893"/>
                    <a:pt x="778715" y="5407320"/>
                    <a:pt x="778715" y="5420746"/>
                  </a:cubicBezTo>
                  <a:cubicBezTo>
                    <a:pt x="778715" y="5434172"/>
                    <a:pt x="765289" y="5447598"/>
                    <a:pt x="751863" y="5447598"/>
                  </a:cubicBezTo>
                  <a:cubicBezTo>
                    <a:pt x="738437" y="5447598"/>
                    <a:pt x="728367" y="5437528"/>
                    <a:pt x="725011" y="5420746"/>
                  </a:cubicBezTo>
                  <a:cubicBezTo>
                    <a:pt x="725011" y="5407320"/>
                    <a:pt x="738437" y="5393893"/>
                    <a:pt x="751863" y="5393893"/>
                  </a:cubicBezTo>
                  <a:close/>
                  <a:moveTo>
                    <a:pt x="3437087" y="5380467"/>
                  </a:moveTo>
                  <a:cubicBezTo>
                    <a:pt x="3467294" y="5380467"/>
                    <a:pt x="3490792" y="5403963"/>
                    <a:pt x="3490792" y="5434172"/>
                  </a:cubicBezTo>
                  <a:cubicBezTo>
                    <a:pt x="3490792" y="5464381"/>
                    <a:pt x="3467294" y="5487876"/>
                    <a:pt x="3437087" y="5487876"/>
                  </a:cubicBezTo>
                  <a:cubicBezTo>
                    <a:pt x="3406879" y="5487876"/>
                    <a:pt x="3383382" y="5464381"/>
                    <a:pt x="3383382" y="5434172"/>
                  </a:cubicBezTo>
                  <a:cubicBezTo>
                    <a:pt x="3383382" y="5403963"/>
                    <a:pt x="3406879" y="5380467"/>
                    <a:pt x="3437087" y="5380467"/>
                  </a:cubicBezTo>
                  <a:close/>
                  <a:moveTo>
                    <a:pt x="2430128" y="5360328"/>
                  </a:moveTo>
                  <a:cubicBezTo>
                    <a:pt x="2467050" y="5360328"/>
                    <a:pt x="2497259" y="5390537"/>
                    <a:pt x="2497259" y="5427459"/>
                  </a:cubicBezTo>
                  <a:cubicBezTo>
                    <a:pt x="2497259" y="5464381"/>
                    <a:pt x="2467050" y="5494590"/>
                    <a:pt x="2430128" y="5494590"/>
                  </a:cubicBezTo>
                  <a:cubicBezTo>
                    <a:pt x="2393206" y="5494590"/>
                    <a:pt x="2362997" y="5464381"/>
                    <a:pt x="2362997" y="5427459"/>
                  </a:cubicBezTo>
                  <a:cubicBezTo>
                    <a:pt x="2362997" y="5390537"/>
                    <a:pt x="2393206" y="5360328"/>
                    <a:pt x="2430128" y="5360328"/>
                  </a:cubicBezTo>
                  <a:close/>
                  <a:moveTo>
                    <a:pt x="2040771" y="5356972"/>
                  </a:moveTo>
                  <a:cubicBezTo>
                    <a:pt x="2077693" y="5356972"/>
                    <a:pt x="2107902" y="5387180"/>
                    <a:pt x="2107902" y="5424102"/>
                  </a:cubicBezTo>
                  <a:cubicBezTo>
                    <a:pt x="2107902" y="5461024"/>
                    <a:pt x="2077693" y="5491233"/>
                    <a:pt x="2040771" y="5491233"/>
                  </a:cubicBezTo>
                  <a:cubicBezTo>
                    <a:pt x="2003849" y="5491233"/>
                    <a:pt x="1973640" y="5461024"/>
                    <a:pt x="1973640" y="5424102"/>
                  </a:cubicBezTo>
                  <a:cubicBezTo>
                    <a:pt x="1973640" y="5387180"/>
                    <a:pt x="2003849" y="5356972"/>
                    <a:pt x="2040771" y="5356972"/>
                  </a:cubicBezTo>
                  <a:close/>
                  <a:moveTo>
                    <a:pt x="2829555" y="5346902"/>
                  </a:moveTo>
                  <a:cubicBezTo>
                    <a:pt x="2859764" y="5346902"/>
                    <a:pt x="2886616" y="5373754"/>
                    <a:pt x="2886616" y="5407320"/>
                  </a:cubicBezTo>
                  <a:cubicBezTo>
                    <a:pt x="2886616" y="5440885"/>
                    <a:pt x="2863120" y="5467737"/>
                    <a:pt x="2829555" y="5467737"/>
                  </a:cubicBezTo>
                  <a:cubicBezTo>
                    <a:pt x="2799346" y="5467737"/>
                    <a:pt x="2772494" y="5440885"/>
                    <a:pt x="2769137" y="5407320"/>
                  </a:cubicBezTo>
                  <a:cubicBezTo>
                    <a:pt x="2769137" y="5373754"/>
                    <a:pt x="2795990" y="5346902"/>
                    <a:pt x="2829555" y="5346902"/>
                  </a:cubicBezTo>
                  <a:close/>
                  <a:moveTo>
                    <a:pt x="1668195" y="5333476"/>
                  </a:moveTo>
                  <a:cubicBezTo>
                    <a:pt x="1708474" y="5333476"/>
                    <a:pt x="1738683" y="5363685"/>
                    <a:pt x="1738683" y="5403963"/>
                  </a:cubicBezTo>
                  <a:cubicBezTo>
                    <a:pt x="1738683" y="5444242"/>
                    <a:pt x="1708474" y="5474450"/>
                    <a:pt x="1668195" y="5474450"/>
                  </a:cubicBezTo>
                  <a:cubicBezTo>
                    <a:pt x="1631274" y="5474450"/>
                    <a:pt x="1597708" y="5440885"/>
                    <a:pt x="1597708" y="5403963"/>
                  </a:cubicBezTo>
                  <a:cubicBezTo>
                    <a:pt x="1597708" y="5363685"/>
                    <a:pt x="1627917" y="5333476"/>
                    <a:pt x="1668195" y="5333476"/>
                  </a:cubicBezTo>
                  <a:close/>
                  <a:moveTo>
                    <a:pt x="3249123" y="5309980"/>
                  </a:moveTo>
                  <a:cubicBezTo>
                    <a:pt x="3275975" y="5309980"/>
                    <a:pt x="3299470" y="5333476"/>
                    <a:pt x="3299470" y="5360328"/>
                  </a:cubicBezTo>
                  <a:cubicBezTo>
                    <a:pt x="3299470" y="5387180"/>
                    <a:pt x="3275975" y="5410676"/>
                    <a:pt x="3249123" y="5410676"/>
                  </a:cubicBezTo>
                  <a:cubicBezTo>
                    <a:pt x="3218913" y="5410676"/>
                    <a:pt x="3198774" y="5387180"/>
                    <a:pt x="3198774" y="5360328"/>
                  </a:cubicBezTo>
                  <a:cubicBezTo>
                    <a:pt x="3198774" y="5333476"/>
                    <a:pt x="3222271" y="5309980"/>
                    <a:pt x="3249123" y="5309980"/>
                  </a:cubicBezTo>
                  <a:close/>
                  <a:moveTo>
                    <a:pt x="3876792" y="5296554"/>
                  </a:moveTo>
                  <a:cubicBezTo>
                    <a:pt x="3893574" y="5296554"/>
                    <a:pt x="3907000" y="5309980"/>
                    <a:pt x="3907000" y="5326763"/>
                  </a:cubicBezTo>
                  <a:cubicBezTo>
                    <a:pt x="3907000" y="5343545"/>
                    <a:pt x="3893574" y="5356972"/>
                    <a:pt x="3876792" y="5356972"/>
                  </a:cubicBezTo>
                  <a:cubicBezTo>
                    <a:pt x="3863366" y="5356972"/>
                    <a:pt x="3849940" y="5343545"/>
                    <a:pt x="3846584" y="5326763"/>
                  </a:cubicBezTo>
                  <a:cubicBezTo>
                    <a:pt x="3846584" y="5309980"/>
                    <a:pt x="3860010" y="5296554"/>
                    <a:pt x="3876792" y="5296554"/>
                  </a:cubicBezTo>
                  <a:close/>
                  <a:moveTo>
                    <a:pt x="1309047" y="5293197"/>
                  </a:moveTo>
                  <a:cubicBezTo>
                    <a:pt x="1349830" y="5293197"/>
                    <a:pt x="1382891" y="5326258"/>
                    <a:pt x="1382891" y="5367041"/>
                  </a:cubicBezTo>
                  <a:cubicBezTo>
                    <a:pt x="1382891" y="5407824"/>
                    <a:pt x="1349830" y="5440884"/>
                    <a:pt x="1309047" y="5440884"/>
                  </a:cubicBezTo>
                  <a:cubicBezTo>
                    <a:pt x="1268264" y="5440884"/>
                    <a:pt x="1235203" y="5407824"/>
                    <a:pt x="1235203" y="5367041"/>
                  </a:cubicBezTo>
                  <a:cubicBezTo>
                    <a:pt x="1235203" y="5326258"/>
                    <a:pt x="1268264" y="5293197"/>
                    <a:pt x="1309047" y="5293197"/>
                  </a:cubicBezTo>
                  <a:close/>
                  <a:moveTo>
                    <a:pt x="963324" y="5246206"/>
                  </a:moveTo>
                  <a:cubicBezTo>
                    <a:pt x="1003602" y="5246206"/>
                    <a:pt x="1037168" y="5279771"/>
                    <a:pt x="1037168" y="5320050"/>
                  </a:cubicBezTo>
                  <a:cubicBezTo>
                    <a:pt x="1037168" y="5360328"/>
                    <a:pt x="1003602" y="5393893"/>
                    <a:pt x="963324" y="5393893"/>
                  </a:cubicBezTo>
                  <a:cubicBezTo>
                    <a:pt x="923045" y="5393893"/>
                    <a:pt x="889480" y="5360328"/>
                    <a:pt x="889480" y="5320050"/>
                  </a:cubicBezTo>
                  <a:cubicBezTo>
                    <a:pt x="889480" y="5279771"/>
                    <a:pt x="923045" y="5246206"/>
                    <a:pt x="963324" y="5246206"/>
                  </a:cubicBezTo>
                  <a:close/>
                  <a:moveTo>
                    <a:pt x="2262301" y="5242849"/>
                  </a:moveTo>
                  <a:cubicBezTo>
                    <a:pt x="2299223" y="5242849"/>
                    <a:pt x="2329432" y="5273058"/>
                    <a:pt x="2329432" y="5309980"/>
                  </a:cubicBezTo>
                  <a:cubicBezTo>
                    <a:pt x="2329432" y="5346902"/>
                    <a:pt x="2299223" y="5377111"/>
                    <a:pt x="2262301" y="5377111"/>
                  </a:cubicBezTo>
                  <a:cubicBezTo>
                    <a:pt x="2225379" y="5377111"/>
                    <a:pt x="2195170" y="5346902"/>
                    <a:pt x="2195170" y="5309980"/>
                  </a:cubicBezTo>
                  <a:cubicBezTo>
                    <a:pt x="2195170" y="5273058"/>
                    <a:pt x="2225379" y="5242849"/>
                    <a:pt x="2262301" y="5242849"/>
                  </a:cubicBezTo>
                  <a:close/>
                  <a:moveTo>
                    <a:pt x="3682113" y="5239493"/>
                  </a:moveTo>
                  <a:cubicBezTo>
                    <a:pt x="3702254" y="5239493"/>
                    <a:pt x="3719036" y="5256275"/>
                    <a:pt x="3719036" y="5276415"/>
                  </a:cubicBezTo>
                  <a:cubicBezTo>
                    <a:pt x="3719036" y="5296554"/>
                    <a:pt x="3702254" y="5313337"/>
                    <a:pt x="3682113" y="5313337"/>
                  </a:cubicBezTo>
                  <a:cubicBezTo>
                    <a:pt x="3661976" y="5313337"/>
                    <a:pt x="3645192" y="5296554"/>
                    <a:pt x="3645192" y="5276415"/>
                  </a:cubicBezTo>
                  <a:cubicBezTo>
                    <a:pt x="3645192" y="5256275"/>
                    <a:pt x="3661976" y="5239493"/>
                    <a:pt x="3682113" y="5239493"/>
                  </a:cubicBezTo>
                  <a:close/>
                  <a:moveTo>
                    <a:pt x="2655015" y="5239493"/>
                  </a:moveTo>
                  <a:cubicBezTo>
                    <a:pt x="2691937" y="5239493"/>
                    <a:pt x="2718789" y="5269702"/>
                    <a:pt x="2718789" y="5303267"/>
                  </a:cubicBezTo>
                  <a:cubicBezTo>
                    <a:pt x="2718789" y="5340189"/>
                    <a:pt x="2688580" y="5367040"/>
                    <a:pt x="2655015" y="5367040"/>
                  </a:cubicBezTo>
                  <a:cubicBezTo>
                    <a:pt x="2621450" y="5367040"/>
                    <a:pt x="2591241" y="5340189"/>
                    <a:pt x="2591241" y="5303267"/>
                  </a:cubicBezTo>
                  <a:cubicBezTo>
                    <a:pt x="2591241" y="5266345"/>
                    <a:pt x="2621450" y="5239493"/>
                    <a:pt x="2655015" y="5239493"/>
                  </a:cubicBezTo>
                  <a:close/>
                  <a:moveTo>
                    <a:pt x="1886370" y="5222710"/>
                  </a:moveTo>
                  <a:cubicBezTo>
                    <a:pt x="1926649" y="5222710"/>
                    <a:pt x="1956858" y="5256275"/>
                    <a:pt x="1956858" y="5293197"/>
                  </a:cubicBezTo>
                  <a:cubicBezTo>
                    <a:pt x="1956858" y="5333475"/>
                    <a:pt x="1923292" y="5363685"/>
                    <a:pt x="1886370" y="5363685"/>
                  </a:cubicBezTo>
                  <a:cubicBezTo>
                    <a:pt x="1849448" y="5363685"/>
                    <a:pt x="1815883" y="5330119"/>
                    <a:pt x="1815883" y="5293197"/>
                  </a:cubicBezTo>
                  <a:cubicBezTo>
                    <a:pt x="1815883" y="5252919"/>
                    <a:pt x="1846092" y="5222710"/>
                    <a:pt x="1886370" y="5222710"/>
                  </a:cubicBezTo>
                  <a:close/>
                  <a:moveTo>
                    <a:pt x="3064512" y="5212641"/>
                  </a:moveTo>
                  <a:cubicBezTo>
                    <a:pt x="3098078" y="5212641"/>
                    <a:pt x="3124930" y="5239493"/>
                    <a:pt x="3124930" y="5273058"/>
                  </a:cubicBezTo>
                  <a:cubicBezTo>
                    <a:pt x="3124930" y="5306624"/>
                    <a:pt x="3098078" y="5333476"/>
                    <a:pt x="3064512" y="5333476"/>
                  </a:cubicBezTo>
                  <a:cubicBezTo>
                    <a:pt x="3030947" y="5333476"/>
                    <a:pt x="3004095" y="5306624"/>
                    <a:pt x="3004095" y="5273058"/>
                  </a:cubicBezTo>
                  <a:cubicBezTo>
                    <a:pt x="3004095" y="5239493"/>
                    <a:pt x="3030947" y="5212641"/>
                    <a:pt x="3064512" y="5212641"/>
                  </a:cubicBezTo>
                  <a:close/>
                  <a:moveTo>
                    <a:pt x="1523864" y="5185788"/>
                  </a:moveTo>
                  <a:cubicBezTo>
                    <a:pt x="1564647" y="5185788"/>
                    <a:pt x="1597708" y="5218849"/>
                    <a:pt x="1597708" y="5259632"/>
                  </a:cubicBezTo>
                  <a:cubicBezTo>
                    <a:pt x="1597708" y="5300415"/>
                    <a:pt x="1564647" y="5333476"/>
                    <a:pt x="1523864" y="5333476"/>
                  </a:cubicBezTo>
                  <a:cubicBezTo>
                    <a:pt x="1483082" y="5333476"/>
                    <a:pt x="1450020" y="5300415"/>
                    <a:pt x="1450020" y="5259632"/>
                  </a:cubicBezTo>
                  <a:cubicBezTo>
                    <a:pt x="1450020" y="5218849"/>
                    <a:pt x="1483082" y="5185788"/>
                    <a:pt x="1523864" y="5185788"/>
                  </a:cubicBezTo>
                  <a:close/>
                  <a:moveTo>
                    <a:pt x="3487436" y="5169006"/>
                  </a:moveTo>
                  <a:cubicBezTo>
                    <a:pt x="3510931" y="5169006"/>
                    <a:pt x="3531070" y="5189145"/>
                    <a:pt x="3531070" y="5212641"/>
                  </a:cubicBezTo>
                  <a:cubicBezTo>
                    <a:pt x="3531070" y="5236136"/>
                    <a:pt x="3510931" y="5256275"/>
                    <a:pt x="3487436" y="5256275"/>
                  </a:cubicBezTo>
                  <a:cubicBezTo>
                    <a:pt x="3463939" y="5256275"/>
                    <a:pt x="3447158" y="5236136"/>
                    <a:pt x="3443800" y="5212641"/>
                  </a:cubicBezTo>
                  <a:cubicBezTo>
                    <a:pt x="3443800" y="5189145"/>
                    <a:pt x="3463939" y="5169006"/>
                    <a:pt x="3487436" y="5169006"/>
                  </a:cubicBezTo>
                  <a:close/>
                  <a:moveTo>
                    <a:pt x="1174786" y="5142153"/>
                  </a:moveTo>
                  <a:cubicBezTo>
                    <a:pt x="1215064" y="5142153"/>
                    <a:pt x="1248629" y="5175719"/>
                    <a:pt x="1248629" y="5215997"/>
                  </a:cubicBezTo>
                  <a:cubicBezTo>
                    <a:pt x="1248629" y="5256275"/>
                    <a:pt x="1215064" y="5289841"/>
                    <a:pt x="1174786" y="5289841"/>
                  </a:cubicBezTo>
                  <a:cubicBezTo>
                    <a:pt x="1131151" y="5289841"/>
                    <a:pt x="1100942" y="5256275"/>
                    <a:pt x="1100942" y="5215997"/>
                  </a:cubicBezTo>
                  <a:cubicBezTo>
                    <a:pt x="1100942" y="5175719"/>
                    <a:pt x="1134507" y="5142153"/>
                    <a:pt x="1174786" y="5142153"/>
                  </a:cubicBezTo>
                  <a:close/>
                  <a:moveTo>
                    <a:pt x="2487189" y="5132084"/>
                  </a:moveTo>
                  <a:cubicBezTo>
                    <a:pt x="2520754" y="5132084"/>
                    <a:pt x="2544250" y="5158936"/>
                    <a:pt x="2544250" y="5189145"/>
                  </a:cubicBezTo>
                  <a:cubicBezTo>
                    <a:pt x="2544250" y="5222710"/>
                    <a:pt x="2517398" y="5246206"/>
                    <a:pt x="2487189" y="5246206"/>
                  </a:cubicBezTo>
                  <a:cubicBezTo>
                    <a:pt x="2456980" y="5246206"/>
                    <a:pt x="2430128" y="5222710"/>
                    <a:pt x="2430128" y="5189145"/>
                  </a:cubicBezTo>
                  <a:cubicBezTo>
                    <a:pt x="2430128" y="5155579"/>
                    <a:pt x="2456980" y="5132084"/>
                    <a:pt x="2487189" y="5132084"/>
                  </a:cubicBezTo>
                  <a:close/>
                  <a:moveTo>
                    <a:pt x="2886616" y="5125371"/>
                  </a:moveTo>
                  <a:cubicBezTo>
                    <a:pt x="2916825" y="5125371"/>
                    <a:pt x="2940320" y="5148866"/>
                    <a:pt x="2940320" y="5179075"/>
                  </a:cubicBezTo>
                  <a:cubicBezTo>
                    <a:pt x="2940320" y="5209284"/>
                    <a:pt x="2916825" y="5232780"/>
                    <a:pt x="2886616" y="5232780"/>
                  </a:cubicBezTo>
                  <a:cubicBezTo>
                    <a:pt x="2856407" y="5232780"/>
                    <a:pt x="2832911" y="5209284"/>
                    <a:pt x="2832911" y="5179075"/>
                  </a:cubicBezTo>
                  <a:cubicBezTo>
                    <a:pt x="2832911" y="5148866"/>
                    <a:pt x="2856407" y="5125371"/>
                    <a:pt x="2886616" y="5125371"/>
                  </a:cubicBezTo>
                  <a:close/>
                  <a:moveTo>
                    <a:pt x="2104544" y="5122014"/>
                  </a:moveTo>
                  <a:cubicBezTo>
                    <a:pt x="2138110" y="5122014"/>
                    <a:pt x="2164962" y="5148866"/>
                    <a:pt x="2164962" y="5182432"/>
                  </a:cubicBezTo>
                  <a:cubicBezTo>
                    <a:pt x="2164962" y="5215996"/>
                    <a:pt x="2138110" y="5242849"/>
                    <a:pt x="2104544" y="5242849"/>
                  </a:cubicBezTo>
                  <a:cubicBezTo>
                    <a:pt x="2070979" y="5242849"/>
                    <a:pt x="2044126" y="5215996"/>
                    <a:pt x="2044126" y="5182432"/>
                  </a:cubicBezTo>
                  <a:cubicBezTo>
                    <a:pt x="2044126" y="5148866"/>
                    <a:pt x="2070979" y="5122014"/>
                    <a:pt x="2104544" y="5122014"/>
                  </a:cubicBezTo>
                  <a:close/>
                  <a:moveTo>
                    <a:pt x="835776" y="5101875"/>
                  </a:moveTo>
                  <a:cubicBezTo>
                    <a:pt x="869342" y="5101875"/>
                    <a:pt x="896194" y="5128727"/>
                    <a:pt x="896194" y="5162292"/>
                  </a:cubicBezTo>
                  <a:cubicBezTo>
                    <a:pt x="896194" y="5195858"/>
                    <a:pt x="869342" y="5222710"/>
                    <a:pt x="835776" y="5222710"/>
                  </a:cubicBezTo>
                  <a:cubicBezTo>
                    <a:pt x="802211" y="5222710"/>
                    <a:pt x="775359" y="5195858"/>
                    <a:pt x="775359" y="5162292"/>
                  </a:cubicBezTo>
                  <a:cubicBezTo>
                    <a:pt x="775359" y="5128727"/>
                    <a:pt x="802211" y="5101875"/>
                    <a:pt x="835776" y="5101875"/>
                  </a:cubicBezTo>
                  <a:close/>
                  <a:moveTo>
                    <a:pt x="3299470" y="5098518"/>
                  </a:moveTo>
                  <a:cubicBezTo>
                    <a:pt x="3319607" y="5098518"/>
                    <a:pt x="3336391" y="5115301"/>
                    <a:pt x="3336391" y="5135440"/>
                  </a:cubicBezTo>
                  <a:cubicBezTo>
                    <a:pt x="3336391" y="5155579"/>
                    <a:pt x="3319607" y="5172362"/>
                    <a:pt x="3299470" y="5172362"/>
                  </a:cubicBezTo>
                  <a:cubicBezTo>
                    <a:pt x="3279328" y="5172362"/>
                    <a:pt x="3265902" y="5155579"/>
                    <a:pt x="3262547" y="5135440"/>
                  </a:cubicBezTo>
                  <a:cubicBezTo>
                    <a:pt x="3262547" y="5115301"/>
                    <a:pt x="3279328" y="5098518"/>
                    <a:pt x="3299470" y="5098518"/>
                  </a:cubicBezTo>
                  <a:close/>
                  <a:moveTo>
                    <a:pt x="1738683" y="5091805"/>
                  </a:moveTo>
                  <a:cubicBezTo>
                    <a:pt x="1772248" y="5091805"/>
                    <a:pt x="1802457" y="5118657"/>
                    <a:pt x="1802457" y="5155579"/>
                  </a:cubicBezTo>
                  <a:cubicBezTo>
                    <a:pt x="1802457" y="5189145"/>
                    <a:pt x="1775604" y="5219354"/>
                    <a:pt x="1738683" y="5219354"/>
                  </a:cubicBezTo>
                  <a:cubicBezTo>
                    <a:pt x="1701761" y="5219354"/>
                    <a:pt x="1674908" y="5189145"/>
                    <a:pt x="1674908" y="5155579"/>
                  </a:cubicBezTo>
                  <a:cubicBezTo>
                    <a:pt x="1674908" y="5122014"/>
                    <a:pt x="1701761" y="5091805"/>
                    <a:pt x="1738683" y="5091805"/>
                  </a:cubicBezTo>
                  <a:close/>
                  <a:moveTo>
                    <a:pt x="506836" y="5091805"/>
                  </a:moveTo>
                  <a:cubicBezTo>
                    <a:pt x="510192" y="5091805"/>
                    <a:pt x="513549" y="5095162"/>
                    <a:pt x="513549" y="5098518"/>
                  </a:cubicBezTo>
                  <a:cubicBezTo>
                    <a:pt x="513549" y="5101875"/>
                    <a:pt x="510192" y="5105231"/>
                    <a:pt x="506836" y="5105231"/>
                  </a:cubicBezTo>
                  <a:cubicBezTo>
                    <a:pt x="503479" y="5105231"/>
                    <a:pt x="500123" y="5101875"/>
                    <a:pt x="500123" y="5098518"/>
                  </a:cubicBezTo>
                  <a:cubicBezTo>
                    <a:pt x="500123" y="5095162"/>
                    <a:pt x="503479" y="5091805"/>
                    <a:pt x="506836" y="5091805"/>
                  </a:cubicBezTo>
                  <a:close/>
                  <a:moveTo>
                    <a:pt x="3927141" y="5088449"/>
                  </a:moveTo>
                  <a:cubicBezTo>
                    <a:pt x="3937210" y="5088449"/>
                    <a:pt x="3943923" y="5095162"/>
                    <a:pt x="3943923" y="5105231"/>
                  </a:cubicBezTo>
                  <a:cubicBezTo>
                    <a:pt x="3943923" y="5115301"/>
                    <a:pt x="3937210" y="5122014"/>
                    <a:pt x="3927141" y="5122014"/>
                  </a:cubicBezTo>
                  <a:cubicBezTo>
                    <a:pt x="3920426" y="5122014"/>
                    <a:pt x="3910358" y="5115301"/>
                    <a:pt x="3910358" y="5105231"/>
                  </a:cubicBezTo>
                  <a:cubicBezTo>
                    <a:pt x="3910358" y="5095162"/>
                    <a:pt x="3917070" y="5088449"/>
                    <a:pt x="3927141" y="5088449"/>
                  </a:cubicBezTo>
                  <a:close/>
                  <a:moveTo>
                    <a:pt x="1382891" y="5041457"/>
                  </a:moveTo>
                  <a:cubicBezTo>
                    <a:pt x="1421819" y="5041457"/>
                    <a:pt x="1453378" y="5073015"/>
                    <a:pt x="1453378" y="5111944"/>
                  </a:cubicBezTo>
                  <a:cubicBezTo>
                    <a:pt x="1453378" y="5150874"/>
                    <a:pt x="1421819" y="5182432"/>
                    <a:pt x="1382891" y="5182432"/>
                  </a:cubicBezTo>
                  <a:cubicBezTo>
                    <a:pt x="1343961" y="5182432"/>
                    <a:pt x="1312404" y="5150874"/>
                    <a:pt x="1312404" y="5111944"/>
                  </a:cubicBezTo>
                  <a:cubicBezTo>
                    <a:pt x="1312404" y="5073015"/>
                    <a:pt x="1343961" y="5041457"/>
                    <a:pt x="1382891" y="5041457"/>
                  </a:cubicBezTo>
                  <a:close/>
                  <a:moveTo>
                    <a:pt x="3732462" y="5028031"/>
                  </a:moveTo>
                  <a:cubicBezTo>
                    <a:pt x="3745888" y="5028031"/>
                    <a:pt x="3759314" y="5041457"/>
                    <a:pt x="3759314" y="5054883"/>
                  </a:cubicBezTo>
                  <a:cubicBezTo>
                    <a:pt x="3759314" y="5068309"/>
                    <a:pt x="3745888" y="5081736"/>
                    <a:pt x="3732462" y="5081736"/>
                  </a:cubicBezTo>
                  <a:cubicBezTo>
                    <a:pt x="3715680" y="5081736"/>
                    <a:pt x="3705610" y="5068309"/>
                    <a:pt x="3705610" y="5054883"/>
                  </a:cubicBezTo>
                  <a:cubicBezTo>
                    <a:pt x="3705610" y="5041457"/>
                    <a:pt x="3719036" y="5028031"/>
                    <a:pt x="3732462" y="5028031"/>
                  </a:cubicBezTo>
                  <a:close/>
                  <a:moveTo>
                    <a:pt x="2712076" y="5014605"/>
                  </a:moveTo>
                  <a:cubicBezTo>
                    <a:pt x="2745642" y="5014605"/>
                    <a:pt x="2769137" y="5041457"/>
                    <a:pt x="2769137" y="5071666"/>
                  </a:cubicBezTo>
                  <a:cubicBezTo>
                    <a:pt x="2769137" y="5105231"/>
                    <a:pt x="2742285" y="5128727"/>
                    <a:pt x="2712076" y="5128727"/>
                  </a:cubicBezTo>
                  <a:cubicBezTo>
                    <a:pt x="2681867" y="5128727"/>
                    <a:pt x="2655015" y="5101875"/>
                    <a:pt x="2655015" y="5071666"/>
                  </a:cubicBezTo>
                  <a:cubicBezTo>
                    <a:pt x="2655015" y="5038101"/>
                    <a:pt x="2681867" y="5014605"/>
                    <a:pt x="2712076" y="5014605"/>
                  </a:cubicBezTo>
                  <a:close/>
                  <a:moveTo>
                    <a:pt x="2326076" y="5007892"/>
                  </a:moveTo>
                  <a:cubicBezTo>
                    <a:pt x="2359641" y="5007892"/>
                    <a:pt x="2386493" y="5034744"/>
                    <a:pt x="2386493" y="5068309"/>
                  </a:cubicBezTo>
                  <a:cubicBezTo>
                    <a:pt x="2386493" y="5101875"/>
                    <a:pt x="2359641" y="5128727"/>
                    <a:pt x="2326076" y="5128727"/>
                  </a:cubicBezTo>
                  <a:cubicBezTo>
                    <a:pt x="2292510" y="5128727"/>
                    <a:pt x="2265658" y="5101875"/>
                    <a:pt x="2265658" y="5068309"/>
                  </a:cubicBezTo>
                  <a:cubicBezTo>
                    <a:pt x="2265658" y="5034744"/>
                    <a:pt x="2292510" y="5007892"/>
                    <a:pt x="2326076" y="5007892"/>
                  </a:cubicBezTo>
                  <a:close/>
                  <a:moveTo>
                    <a:pt x="3118216" y="4997822"/>
                  </a:moveTo>
                  <a:cubicBezTo>
                    <a:pt x="3145067" y="4997822"/>
                    <a:pt x="3168564" y="5017961"/>
                    <a:pt x="3168564" y="5048170"/>
                  </a:cubicBezTo>
                  <a:cubicBezTo>
                    <a:pt x="3168564" y="5075023"/>
                    <a:pt x="3148425" y="5098518"/>
                    <a:pt x="3118216" y="5098518"/>
                  </a:cubicBezTo>
                  <a:cubicBezTo>
                    <a:pt x="3088007" y="5098518"/>
                    <a:pt x="3064512" y="5075023"/>
                    <a:pt x="3067869" y="5048170"/>
                  </a:cubicBezTo>
                  <a:cubicBezTo>
                    <a:pt x="3067869" y="5021318"/>
                    <a:pt x="3088007" y="4997822"/>
                    <a:pt x="3118216" y="4997822"/>
                  </a:cubicBezTo>
                  <a:close/>
                  <a:moveTo>
                    <a:pt x="1043881" y="4987754"/>
                  </a:moveTo>
                  <a:cubicBezTo>
                    <a:pt x="1084159" y="4987754"/>
                    <a:pt x="1117724" y="5021319"/>
                    <a:pt x="1117724" y="5061597"/>
                  </a:cubicBezTo>
                  <a:cubicBezTo>
                    <a:pt x="1117724" y="5101876"/>
                    <a:pt x="1084159" y="5135441"/>
                    <a:pt x="1043881" y="5135441"/>
                  </a:cubicBezTo>
                  <a:cubicBezTo>
                    <a:pt x="1003602" y="5135441"/>
                    <a:pt x="970037" y="5101876"/>
                    <a:pt x="970037" y="5061597"/>
                  </a:cubicBezTo>
                  <a:cubicBezTo>
                    <a:pt x="970037" y="5021319"/>
                    <a:pt x="1003602" y="4987754"/>
                    <a:pt x="1043881" y="4987754"/>
                  </a:cubicBezTo>
                  <a:close/>
                  <a:moveTo>
                    <a:pt x="1953501" y="4984396"/>
                  </a:moveTo>
                  <a:cubicBezTo>
                    <a:pt x="1987066" y="4984396"/>
                    <a:pt x="2017275" y="5011248"/>
                    <a:pt x="2017275" y="5048170"/>
                  </a:cubicBezTo>
                  <a:cubicBezTo>
                    <a:pt x="2017275" y="5081736"/>
                    <a:pt x="1990423" y="5111944"/>
                    <a:pt x="1953501" y="5111944"/>
                  </a:cubicBezTo>
                  <a:cubicBezTo>
                    <a:pt x="1916579" y="5111944"/>
                    <a:pt x="1889727" y="5081736"/>
                    <a:pt x="1889727" y="5048170"/>
                  </a:cubicBezTo>
                  <a:cubicBezTo>
                    <a:pt x="1889727" y="5014605"/>
                    <a:pt x="1919936" y="4984396"/>
                    <a:pt x="1953501" y="4984396"/>
                  </a:cubicBezTo>
                  <a:close/>
                  <a:moveTo>
                    <a:pt x="3537783" y="4954188"/>
                  </a:moveTo>
                  <a:cubicBezTo>
                    <a:pt x="3557922" y="4954188"/>
                    <a:pt x="3571348" y="4967614"/>
                    <a:pt x="3571348" y="4987754"/>
                  </a:cubicBezTo>
                  <a:cubicBezTo>
                    <a:pt x="3571348" y="5007893"/>
                    <a:pt x="3554567" y="5021319"/>
                    <a:pt x="3537783" y="5021319"/>
                  </a:cubicBezTo>
                  <a:cubicBezTo>
                    <a:pt x="3520999" y="5021319"/>
                    <a:pt x="3504218" y="5007893"/>
                    <a:pt x="3504218" y="4987754"/>
                  </a:cubicBezTo>
                  <a:cubicBezTo>
                    <a:pt x="3504218" y="4967614"/>
                    <a:pt x="3520999" y="4954188"/>
                    <a:pt x="3537783" y="4954188"/>
                  </a:cubicBezTo>
                  <a:close/>
                  <a:moveTo>
                    <a:pt x="1594352" y="4947474"/>
                  </a:moveTo>
                  <a:cubicBezTo>
                    <a:pt x="1627917" y="4947474"/>
                    <a:pt x="1658126" y="4974326"/>
                    <a:pt x="1658126" y="5011248"/>
                  </a:cubicBezTo>
                  <a:cubicBezTo>
                    <a:pt x="1658126" y="5044814"/>
                    <a:pt x="1631274" y="5075023"/>
                    <a:pt x="1594352" y="5075023"/>
                  </a:cubicBezTo>
                  <a:cubicBezTo>
                    <a:pt x="1560786" y="5075023"/>
                    <a:pt x="1530577" y="5044814"/>
                    <a:pt x="1530577" y="5011248"/>
                  </a:cubicBezTo>
                  <a:cubicBezTo>
                    <a:pt x="1530577" y="4977683"/>
                    <a:pt x="1557430" y="4947474"/>
                    <a:pt x="1594352" y="4947474"/>
                  </a:cubicBezTo>
                  <a:close/>
                  <a:moveTo>
                    <a:pt x="711585" y="4937406"/>
                  </a:moveTo>
                  <a:cubicBezTo>
                    <a:pt x="745150" y="4937406"/>
                    <a:pt x="772002" y="4964258"/>
                    <a:pt x="772002" y="4997823"/>
                  </a:cubicBezTo>
                  <a:cubicBezTo>
                    <a:pt x="772002" y="5031388"/>
                    <a:pt x="745150" y="5058241"/>
                    <a:pt x="711585" y="5058241"/>
                  </a:cubicBezTo>
                  <a:cubicBezTo>
                    <a:pt x="681376" y="5058241"/>
                    <a:pt x="654524" y="5031388"/>
                    <a:pt x="651167" y="4997823"/>
                  </a:cubicBezTo>
                  <a:cubicBezTo>
                    <a:pt x="651167" y="4964258"/>
                    <a:pt x="678019" y="4937406"/>
                    <a:pt x="711585" y="4937406"/>
                  </a:cubicBezTo>
                  <a:close/>
                  <a:moveTo>
                    <a:pt x="392714" y="4930691"/>
                  </a:moveTo>
                  <a:cubicBezTo>
                    <a:pt x="392714" y="4930691"/>
                    <a:pt x="396070" y="4930691"/>
                    <a:pt x="392714" y="4934048"/>
                  </a:cubicBezTo>
                  <a:cubicBezTo>
                    <a:pt x="389357" y="4930691"/>
                    <a:pt x="392714" y="4930691"/>
                    <a:pt x="392714" y="4930691"/>
                  </a:cubicBezTo>
                  <a:close/>
                  <a:moveTo>
                    <a:pt x="2940320" y="4907196"/>
                  </a:moveTo>
                  <a:cubicBezTo>
                    <a:pt x="2963816" y="4907196"/>
                    <a:pt x="2983956" y="4927335"/>
                    <a:pt x="2983956" y="4950831"/>
                  </a:cubicBezTo>
                  <a:cubicBezTo>
                    <a:pt x="2983956" y="4974326"/>
                    <a:pt x="2963816" y="4994466"/>
                    <a:pt x="2940320" y="4994466"/>
                  </a:cubicBezTo>
                  <a:cubicBezTo>
                    <a:pt x="2913468" y="4994466"/>
                    <a:pt x="2893329" y="4974326"/>
                    <a:pt x="2896686" y="4950831"/>
                  </a:cubicBezTo>
                  <a:cubicBezTo>
                    <a:pt x="2896686" y="4927335"/>
                    <a:pt x="2916825" y="4907196"/>
                    <a:pt x="2940320" y="4907196"/>
                  </a:cubicBezTo>
                  <a:close/>
                  <a:moveTo>
                    <a:pt x="2547607" y="4903840"/>
                  </a:moveTo>
                  <a:cubicBezTo>
                    <a:pt x="2575414" y="4903840"/>
                    <a:pt x="2597955" y="4926382"/>
                    <a:pt x="2597955" y="4954188"/>
                  </a:cubicBezTo>
                  <a:cubicBezTo>
                    <a:pt x="2597955" y="4981995"/>
                    <a:pt x="2575414" y="5004536"/>
                    <a:pt x="2547607" y="5004536"/>
                  </a:cubicBezTo>
                  <a:cubicBezTo>
                    <a:pt x="2519800" y="5004536"/>
                    <a:pt x="2497259" y="4981995"/>
                    <a:pt x="2497259" y="4954188"/>
                  </a:cubicBezTo>
                  <a:cubicBezTo>
                    <a:pt x="2497259" y="4926382"/>
                    <a:pt x="2519800" y="4903840"/>
                    <a:pt x="2547607" y="4903840"/>
                  </a:cubicBezTo>
                  <a:close/>
                  <a:moveTo>
                    <a:pt x="3353174" y="4883701"/>
                  </a:moveTo>
                  <a:cubicBezTo>
                    <a:pt x="3366601" y="4883701"/>
                    <a:pt x="3380027" y="4897127"/>
                    <a:pt x="3380027" y="4910553"/>
                  </a:cubicBezTo>
                  <a:cubicBezTo>
                    <a:pt x="3380027" y="4923979"/>
                    <a:pt x="3366601" y="4937406"/>
                    <a:pt x="3353174" y="4937406"/>
                  </a:cubicBezTo>
                  <a:cubicBezTo>
                    <a:pt x="3336391" y="4937406"/>
                    <a:pt x="3326322" y="4923979"/>
                    <a:pt x="3326322" y="4910553"/>
                  </a:cubicBezTo>
                  <a:cubicBezTo>
                    <a:pt x="3326322" y="4897127"/>
                    <a:pt x="3339748" y="4883701"/>
                    <a:pt x="3353174" y="4883701"/>
                  </a:cubicBezTo>
                  <a:close/>
                  <a:moveTo>
                    <a:pt x="1251986" y="4883701"/>
                  </a:moveTo>
                  <a:cubicBezTo>
                    <a:pt x="1292769" y="4883701"/>
                    <a:pt x="1325830" y="4916762"/>
                    <a:pt x="1325830" y="4957545"/>
                  </a:cubicBezTo>
                  <a:cubicBezTo>
                    <a:pt x="1325830" y="4998328"/>
                    <a:pt x="1292769" y="5031389"/>
                    <a:pt x="1251986" y="5031389"/>
                  </a:cubicBezTo>
                  <a:cubicBezTo>
                    <a:pt x="1211203" y="5031389"/>
                    <a:pt x="1178142" y="4998328"/>
                    <a:pt x="1178142" y="4957545"/>
                  </a:cubicBezTo>
                  <a:cubicBezTo>
                    <a:pt x="1178142" y="4916762"/>
                    <a:pt x="1211203" y="4883701"/>
                    <a:pt x="1251986" y="4883701"/>
                  </a:cubicBezTo>
                  <a:close/>
                  <a:moveTo>
                    <a:pt x="2168318" y="4873631"/>
                  </a:moveTo>
                  <a:cubicBezTo>
                    <a:pt x="2203539" y="4873631"/>
                    <a:pt x="2232092" y="4902185"/>
                    <a:pt x="2232092" y="4937406"/>
                  </a:cubicBezTo>
                  <a:cubicBezTo>
                    <a:pt x="2232092" y="4972627"/>
                    <a:pt x="2203539" y="5001180"/>
                    <a:pt x="2168318" y="5001180"/>
                  </a:cubicBezTo>
                  <a:cubicBezTo>
                    <a:pt x="2133096" y="5001180"/>
                    <a:pt x="2104544" y="4972626"/>
                    <a:pt x="2104544" y="4937406"/>
                  </a:cubicBezTo>
                  <a:cubicBezTo>
                    <a:pt x="2104544" y="4902184"/>
                    <a:pt x="2133096" y="4873631"/>
                    <a:pt x="2168318" y="4873631"/>
                  </a:cubicBezTo>
                  <a:close/>
                  <a:moveTo>
                    <a:pt x="3977488" y="4873630"/>
                  </a:moveTo>
                  <a:cubicBezTo>
                    <a:pt x="3984201" y="4873630"/>
                    <a:pt x="3990914" y="4880343"/>
                    <a:pt x="3990914" y="4887056"/>
                  </a:cubicBezTo>
                  <a:cubicBezTo>
                    <a:pt x="3990914" y="4893770"/>
                    <a:pt x="3984201" y="4900483"/>
                    <a:pt x="3977488" y="4900483"/>
                  </a:cubicBezTo>
                  <a:cubicBezTo>
                    <a:pt x="3970775" y="4900483"/>
                    <a:pt x="3964062" y="4893770"/>
                    <a:pt x="3964062" y="4887056"/>
                  </a:cubicBezTo>
                  <a:cubicBezTo>
                    <a:pt x="3964062" y="4880343"/>
                    <a:pt x="3970775" y="4873630"/>
                    <a:pt x="3977488" y="4873630"/>
                  </a:cubicBezTo>
                  <a:close/>
                  <a:moveTo>
                    <a:pt x="1809170" y="4843423"/>
                  </a:moveTo>
                  <a:cubicBezTo>
                    <a:pt x="1842735" y="4843423"/>
                    <a:pt x="1872944" y="4870275"/>
                    <a:pt x="1872944" y="4907197"/>
                  </a:cubicBezTo>
                  <a:cubicBezTo>
                    <a:pt x="1872944" y="4940762"/>
                    <a:pt x="1846092" y="4970971"/>
                    <a:pt x="1809170" y="4970971"/>
                  </a:cubicBezTo>
                  <a:cubicBezTo>
                    <a:pt x="1772248" y="4970971"/>
                    <a:pt x="1742039" y="4940762"/>
                    <a:pt x="1745396" y="4907197"/>
                  </a:cubicBezTo>
                  <a:cubicBezTo>
                    <a:pt x="1745396" y="4873631"/>
                    <a:pt x="1772248" y="4843423"/>
                    <a:pt x="1809170" y="4843423"/>
                  </a:cubicBezTo>
                  <a:close/>
                  <a:moveTo>
                    <a:pt x="919690" y="4826640"/>
                  </a:moveTo>
                  <a:cubicBezTo>
                    <a:pt x="959968" y="4826640"/>
                    <a:pt x="993534" y="4860205"/>
                    <a:pt x="993534" y="4900484"/>
                  </a:cubicBezTo>
                  <a:cubicBezTo>
                    <a:pt x="993534" y="4940762"/>
                    <a:pt x="959968" y="4974327"/>
                    <a:pt x="919690" y="4974327"/>
                  </a:cubicBezTo>
                  <a:cubicBezTo>
                    <a:pt x="879411" y="4974327"/>
                    <a:pt x="845846" y="4940762"/>
                    <a:pt x="845846" y="4900484"/>
                  </a:cubicBezTo>
                  <a:cubicBezTo>
                    <a:pt x="845846" y="4860205"/>
                    <a:pt x="879411" y="4826640"/>
                    <a:pt x="919690" y="4826640"/>
                  </a:cubicBezTo>
                  <a:close/>
                  <a:moveTo>
                    <a:pt x="3782809" y="4813213"/>
                  </a:moveTo>
                  <a:cubicBezTo>
                    <a:pt x="3792880" y="4813213"/>
                    <a:pt x="3802948" y="4823282"/>
                    <a:pt x="3802948" y="4833352"/>
                  </a:cubicBezTo>
                  <a:cubicBezTo>
                    <a:pt x="3802948" y="4843422"/>
                    <a:pt x="3792880" y="4853491"/>
                    <a:pt x="3782809" y="4853491"/>
                  </a:cubicBezTo>
                  <a:cubicBezTo>
                    <a:pt x="3772738" y="4853491"/>
                    <a:pt x="3762670" y="4843422"/>
                    <a:pt x="3762670" y="4833352"/>
                  </a:cubicBezTo>
                  <a:cubicBezTo>
                    <a:pt x="3762670" y="4823282"/>
                    <a:pt x="3772738" y="4813213"/>
                    <a:pt x="3782809" y="4813213"/>
                  </a:cubicBezTo>
                  <a:close/>
                  <a:moveTo>
                    <a:pt x="597462" y="4799788"/>
                  </a:moveTo>
                  <a:cubicBezTo>
                    <a:pt x="614245" y="4799788"/>
                    <a:pt x="627671" y="4813214"/>
                    <a:pt x="627671" y="4829996"/>
                  </a:cubicBezTo>
                  <a:cubicBezTo>
                    <a:pt x="627671" y="4846779"/>
                    <a:pt x="614245" y="4860205"/>
                    <a:pt x="597462" y="4860205"/>
                  </a:cubicBezTo>
                  <a:cubicBezTo>
                    <a:pt x="584036" y="4860205"/>
                    <a:pt x="570610" y="4846779"/>
                    <a:pt x="567254" y="4829996"/>
                  </a:cubicBezTo>
                  <a:cubicBezTo>
                    <a:pt x="567254" y="4813214"/>
                    <a:pt x="580680" y="4799788"/>
                    <a:pt x="597462" y="4799788"/>
                  </a:cubicBezTo>
                  <a:close/>
                  <a:moveTo>
                    <a:pt x="3171920" y="4793075"/>
                  </a:moveTo>
                  <a:cubicBezTo>
                    <a:pt x="3185346" y="4793075"/>
                    <a:pt x="3198772" y="4806501"/>
                    <a:pt x="3198772" y="4819927"/>
                  </a:cubicBezTo>
                  <a:cubicBezTo>
                    <a:pt x="3198772" y="4833353"/>
                    <a:pt x="3185346" y="4846779"/>
                    <a:pt x="3171920" y="4846779"/>
                  </a:cubicBezTo>
                  <a:cubicBezTo>
                    <a:pt x="3155138" y="4846779"/>
                    <a:pt x="3145067" y="4833353"/>
                    <a:pt x="3145067" y="4819927"/>
                  </a:cubicBezTo>
                  <a:cubicBezTo>
                    <a:pt x="3145067" y="4806501"/>
                    <a:pt x="3158493" y="4793075"/>
                    <a:pt x="3171920" y="4793075"/>
                  </a:cubicBezTo>
                  <a:close/>
                  <a:moveTo>
                    <a:pt x="2769137" y="4789718"/>
                  </a:moveTo>
                  <a:cubicBezTo>
                    <a:pt x="2795990" y="4789718"/>
                    <a:pt x="2816129" y="4809857"/>
                    <a:pt x="2816129" y="4836710"/>
                  </a:cubicBezTo>
                  <a:cubicBezTo>
                    <a:pt x="2816129" y="4863562"/>
                    <a:pt x="2795990" y="4883701"/>
                    <a:pt x="2769137" y="4883701"/>
                  </a:cubicBezTo>
                  <a:cubicBezTo>
                    <a:pt x="2742285" y="4883701"/>
                    <a:pt x="2722146" y="4863562"/>
                    <a:pt x="2722146" y="4836710"/>
                  </a:cubicBezTo>
                  <a:cubicBezTo>
                    <a:pt x="2722146" y="4809857"/>
                    <a:pt x="2742285" y="4789718"/>
                    <a:pt x="2769137" y="4789718"/>
                  </a:cubicBezTo>
                  <a:close/>
                  <a:moveTo>
                    <a:pt x="1460091" y="4789718"/>
                  </a:moveTo>
                  <a:cubicBezTo>
                    <a:pt x="1497013" y="4789718"/>
                    <a:pt x="1527222" y="4819927"/>
                    <a:pt x="1527222" y="4856849"/>
                  </a:cubicBezTo>
                  <a:cubicBezTo>
                    <a:pt x="1527222" y="4893771"/>
                    <a:pt x="1497013" y="4923979"/>
                    <a:pt x="1460091" y="4923979"/>
                  </a:cubicBezTo>
                  <a:cubicBezTo>
                    <a:pt x="1423169" y="4923979"/>
                    <a:pt x="1392960" y="4893771"/>
                    <a:pt x="1392960" y="4856849"/>
                  </a:cubicBezTo>
                  <a:cubicBezTo>
                    <a:pt x="1392960" y="4819927"/>
                    <a:pt x="1423169" y="4789718"/>
                    <a:pt x="1460091" y="4789718"/>
                  </a:cubicBezTo>
                  <a:close/>
                  <a:moveTo>
                    <a:pt x="2386493" y="4769579"/>
                  </a:moveTo>
                  <a:cubicBezTo>
                    <a:pt x="2420058" y="4769579"/>
                    <a:pt x="2446911" y="4796431"/>
                    <a:pt x="2446911" y="4829996"/>
                  </a:cubicBezTo>
                  <a:cubicBezTo>
                    <a:pt x="2446911" y="4863561"/>
                    <a:pt x="2420058" y="4890414"/>
                    <a:pt x="2386493" y="4890414"/>
                  </a:cubicBezTo>
                  <a:cubicBezTo>
                    <a:pt x="2352928" y="4890414"/>
                    <a:pt x="2326076" y="4860205"/>
                    <a:pt x="2326076" y="4829996"/>
                  </a:cubicBezTo>
                  <a:cubicBezTo>
                    <a:pt x="2326076" y="4796431"/>
                    <a:pt x="2352928" y="4769579"/>
                    <a:pt x="2386493" y="4769579"/>
                  </a:cubicBezTo>
                  <a:close/>
                  <a:moveTo>
                    <a:pt x="285305" y="4756153"/>
                  </a:moveTo>
                  <a:cubicBezTo>
                    <a:pt x="285305" y="4756153"/>
                    <a:pt x="288661" y="4756153"/>
                    <a:pt x="285305" y="4759509"/>
                  </a:cubicBezTo>
                  <a:cubicBezTo>
                    <a:pt x="285305" y="4756153"/>
                    <a:pt x="285305" y="4756153"/>
                    <a:pt x="285305" y="4756153"/>
                  </a:cubicBezTo>
                  <a:close/>
                  <a:moveTo>
                    <a:pt x="3591488" y="4746083"/>
                  </a:moveTo>
                  <a:cubicBezTo>
                    <a:pt x="3601556" y="4746083"/>
                    <a:pt x="3611627" y="4756153"/>
                    <a:pt x="3611627" y="4766222"/>
                  </a:cubicBezTo>
                  <a:cubicBezTo>
                    <a:pt x="3611627" y="4776292"/>
                    <a:pt x="3601556" y="4786361"/>
                    <a:pt x="3591488" y="4786361"/>
                  </a:cubicBezTo>
                  <a:cubicBezTo>
                    <a:pt x="3581419" y="4786361"/>
                    <a:pt x="3571348" y="4776292"/>
                    <a:pt x="3571348" y="4766222"/>
                  </a:cubicBezTo>
                  <a:cubicBezTo>
                    <a:pt x="3571348" y="4756153"/>
                    <a:pt x="3581419" y="4746083"/>
                    <a:pt x="3591488" y="4746083"/>
                  </a:cubicBezTo>
                  <a:close/>
                  <a:moveTo>
                    <a:pt x="2020632" y="4736013"/>
                  </a:moveTo>
                  <a:cubicBezTo>
                    <a:pt x="2054197" y="4736013"/>
                    <a:pt x="2084406" y="4766222"/>
                    <a:pt x="2084406" y="4799788"/>
                  </a:cubicBezTo>
                  <a:cubicBezTo>
                    <a:pt x="2084406" y="4833353"/>
                    <a:pt x="2057554" y="4863561"/>
                    <a:pt x="2020632" y="4863561"/>
                  </a:cubicBezTo>
                  <a:cubicBezTo>
                    <a:pt x="1987066" y="4863561"/>
                    <a:pt x="1956858" y="4833353"/>
                    <a:pt x="1956858" y="4799788"/>
                  </a:cubicBezTo>
                  <a:cubicBezTo>
                    <a:pt x="1956858" y="4766222"/>
                    <a:pt x="1983710" y="4736013"/>
                    <a:pt x="2020632" y="4736013"/>
                  </a:cubicBezTo>
                  <a:close/>
                  <a:moveTo>
                    <a:pt x="1127794" y="4725944"/>
                  </a:moveTo>
                  <a:cubicBezTo>
                    <a:pt x="1168072" y="4725944"/>
                    <a:pt x="1201638" y="4759509"/>
                    <a:pt x="1201638" y="4799788"/>
                  </a:cubicBezTo>
                  <a:cubicBezTo>
                    <a:pt x="1201638" y="4840066"/>
                    <a:pt x="1168072" y="4873631"/>
                    <a:pt x="1127794" y="4873631"/>
                  </a:cubicBezTo>
                  <a:cubicBezTo>
                    <a:pt x="1084159" y="4873631"/>
                    <a:pt x="1050594" y="4840066"/>
                    <a:pt x="1053951" y="4799788"/>
                  </a:cubicBezTo>
                  <a:cubicBezTo>
                    <a:pt x="1053951" y="4759509"/>
                    <a:pt x="1087516" y="4725944"/>
                    <a:pt x="1127794" y="4725944"/>
                  </a:cubicBezTo>
                  <a:close/>
                  <a:moveTo>
                    <a:pt x="1671552" y="4699092"/>
                  </a:moveTo>
                  <a:cubicBezTo>
                    <a:pt x="1701761" y="4699092"/>
                    <a:pt x="1728613" y="4722587"/>
                    <a:pt x="1728613" y="4756153"/>
                  </a:cubicBezTo>
                  <a:cubicBezTo>
                    <a:pt x="1728613" y="4786361"/>
                    <a:pt x="1705117" y="4813214"/>
                    <a:pt x="1671552" y="4813214"/>
                  </a:cubicBezTo>
                  <a:cubicBezTo>
                    <a:pt x="1637986" y="4813214"/>
                    <a:pt x="1614491" y="4786361"/>
                    <a:pt x="1614491" y="4756153"/>
                  </a:cubicBezTo>
                  <a:cubicBezTo>
                    <a:pt x="1614491" y="4725944"/>
                    <a:pt x="1637986" y="4699092"/>
                    <a:pt x="1671552" y="4699092"/>
                  </a:cubicBezTo>
                  <a:close/>
                  <a:moveTo>
                    <a:pt x="2997382" y="4685665"/>
                  </a:moveTo>
                  <a:cubicBezTo>
                    <a:pt x="3014164" y="4685665"/>
                    <a:pt x="3027590" y="4699092"/>
                    <a:pt x="3027590" y="4715874"/>
                  </a:cubicBezTo>
                  <a:cubicBezTo>
                    <a:pt x="3027590" y="4732657"/>
                    <a:pt x="3014164" y="4746083"/>
                    <a:pt x="2997382" y="4746083"/>
                  </a:cubicBezTo>
                  <a:cubicBezTo>
                    <a:pt x="2980599" y="4746083"/>
                    <a:pt x="2967173" y="4732657"/>
                    <a:pt x="2967173" y="4715874"/>
                  </a:cubicBezTo>
                  <a:cubicBezTo>
                    <a:pt x="2967173" y="4699092"/>
                    <a:pt x="2980599" y="4685665"/>
                    <a:pt x="2997382" y="4685665"/>
                  </a:cubicBezTo>
                  <a:close/>
                  <a:moveTo>
                    <a:pt x="805568" y="4678952"/>
                  </a:moveTo>
                  <a:cubicBezTo>
                    <a:pt x="835776" y="4678952"/>
                    <a:pt x="859272" y="4702448"/>
                    <a:pt x="859272" y="4732657"/>
                  </a:cubicBezTo>
                  <a:cubicBezTo>
                    <a:pt x="859272" y="4762866"/>
                    <a:pt x="835776" y="4786361"/>
                    <a:pt x="805568" y="4786361"/>
                  </a:cubicBezTo>
                  <a:cubicBezTo>
                    <a:pt x="775359" y="4786361"/>
                    <a:pt x="751863" y="4762866"/>
                    <a:pt x="751863" y="4732657"/>
                  </a:cubicBezTo>
                  <a:cubicBezTo>
                    <a:pt x="751863" y="4702448"/>
                    <a:pt x="775359" y="4678952"/>
                    <a:pt x="805568" y="4678952"/>
                  </a:cubicBezTo>
                  <a:close/>
                  <a:moveTo>
                    <a:pt x="2608024" y="4675596"/>
                  </a:moveTo>
                  <a:cubicBezTo>
                    <a:pt x="2628163" y="4675596"/>
                    <a:pt x="2648302" y="4692378"/>
                    <a:pt x="2648302" y="4715874"/>
                  </a:cubicBezTo>
                  <a:cubicBezTo>
                    <a:pt x="2648302" y="4736013"/>
                    <a:pt x="2631519" y="4756153"/>
                    <a:pt x="2608024" y="4756153"/>
                  </a:cubicBezTo>
                  <a:cubicBezTo>
                    <a:pt x="2584528" y="4756153"/>
                    <a:pt x="2564388" y="4739370"/>
                    <a:pt x="2567745" y="4715874"/>
                  </a:cubicBezTo>
                  <a:cubicBezTo>
                    <a:pt x="2567745" y="4695735"/>
                    <a:pt x="2584528" y="4675596"/>
                    <a:pt x="2608024" y="4675596"/>
                  </a:cubicBezTo>
                  <a:close/>
                  <a:moveTo>
                    <a:pt x="3403522" y="4672239"/>
                  </a:moveTo>
                  <a:cubicBezTo>
                    <a:pt x="3410234" y="4672239"/>
                    <a:pt x="3416948" y="4678952"/>
                    <a:pt x="3416948" y="4685665"/>
                  </a:cubicBezTo>
                  <a:cubicBezTo>
                    <a:pt x="3416948" y="4692378"/>
                    <a:pt x="3410234" y="4699092"/>
                    <a:pt x="3403522" y="4699092"/>
                  </a:cubicBezTo>
                  <a:cubicBezTo>
                    <a:pt x="3396808" y="4699092"/>
                    <a:pt x="3390095" y="4692378"/>
                    <a:pt x="3390095" y="4685665"/>
                  </a:cubicBezTo>
                  <a:cubicBezTo>
                    <a:pt x="3390095" y="4678952"/>
                    <a:pt x="3396808" y="4672239"/>
                    <a:pt x="3403522" y="4672239"/>
                  </a:cubicBezTo>
                  <a:close/>
                  <a:moveTo>
                    <a:pt x="2235449" y="4635317"/>
                  </a:moveTo>
                  <a:cubicBezTo>
                    <a:pt x="2269014" y="4635317"/>
                    <a:pt x="2292510" y="4662170"/>
                    <a:pt x="2292510" y="4692378"/>
                  </a:cubicBezTo>
                  <a:cubicBezTo>
                    <a:pt x="2292510" y="4725944"/>
                    <a:pt x="2265658" y="4749440"/>
                    <a:pt x="2235449" y="4749440"/>
                  </a:cubicBezTo>
                  <a:cubicBezTo>
                    <a:pt x="2205240" y="4749440"/>
                    <a:pt x="2181744" y="4722587"/>
                    <a:pt x="2178388" y="4692378"/>
                  </a:cubicBezTo>
                  <a:cubicBezTo>
                    <a:pt x="2178388" y="4658813"/>
                    <a:pt x="2205240" y="4635317"/>
                    <a:pt x="2235449" y="4635317"/>
                  </a:cubicBezTo>
                  <a:close/>
                  <a:moveTo>
                    <a:pt x="1335899" y="4628604"/>
                  </a:moveTo>
                  <a:cubicBezTo>
                    <a:pt x="1376178" y="4628604"/>
                    <a:pt x="1406387" y="4658813"/>
                    <a:pt x="1406387" y="4699092"/>
                  </a:cubicBezTo>
                  <a:cubicBezTo>
                    <a:pt x="1406387" y="4739370"/>
                    <a:pt x="1376178" y="4769579"/>
                    <a:pt x="1335899" y="4769579"/>
                  </a:cubicBezTo>
                  <a:cubicBezTo>
                    <a:pt x="1295621" y="4769579"/>
                    <a:pt x="1265412" y="4736013"/>
                    <a:pt x="1265412" y="4699092"/>
                  </a:cubicBezTo>
                  <a:cubicBezTo>
                    <a:pt x="1265412" y="4658813"/>
                    <a:pt x="1295621" y="4628604"/>
                    <a:pt x="1335899" y="4628604"/>
                  </a:cubicBezTo>
                  <a:close/>
                  <a:moveTo>
                    <a:pt x="490053" y="4615178"/>
                  </a:moveTo>
                  <a:cubicBezTo>
                    <a:pt x="513549" y="4615178"/>
                    <a:pt x="533688" y="4635317"/>
                    <a:pt x="533688" y="4658813"/>
                  </a:cubicBezTo>
                  <a:cubicBezTo>
                    <a:pt x="533688" y="4682309"/>
                    <a:pt x="513549" y="4702448"/>
                    <a:pt x="490053" y="4702448"/>
                  </a:cubicBezTo>
                  <a:cubicBezTo>
                    <a:pt x="466558" y="4702448"/>
                    <a:pt x="446418" y="4682309"/>
                    <a:pt x="446418" y="4658813"/>
                  </a:cubicBezTo>
                  <a:cubicBezTo>
                    <a:pt x="446418" y="4635317"/>
                    <a:pt x="466558" y="4615178"/>
                    <a:pt x="490053" y="4615178"/>
                  </a:cubicBezTo>
                  <a:close/>
                  <a:moveTo>
                    <a:pt x="3833158" y="4598395"/>
                  </a:moveTo>
                  <a:cubicBezTo>
                    <a:pt x="3839869" y="4598395"/>
                    <a:pt x="3846584" y="4605108"/>
                    <a:pt x="3846584" y="4611822"/>
                  </a:cubicBezTo>
                  <a:cubicBezTo>
                    <a:pt x="3846584" y="4618535"/>
                    <a:pt x="3839869" y="4625248"/>
                    <a:pt x="3833158" y="4625248"/>
                  </a:cubicBezTo>
                  <a:cubicBezTo>
                    <a:pt x="3826443" y="4625248"/>
                    <a:pt x="3819732" y="4618535"/>
                    <a:pt x="3819732" y="4611822"/>
                  </a:cubicBezTo>
                  <a:cubicBezTo>
                    <a:pt x="3819732" y="4605108"/>
                    <a:pt x="3826443" y="4598395"/>
                    <a:pt x="3833158" y="4598395"/>
                  </a:cubicBezTo>
                  <a:close/>
                  <a:moveTo>
                    <a:pt x="1883014" y="4584969"/>
                  </a:moveTo>
                  <a:cubicBezTo>
                    <a:pt x="1919936" y="4584969"/>
                    <a:pt x="1946788" y="4615178"/>
                    <a:pt x="1946788" y="4648743"/>
                  </a:cubicBezTo>
                  <a:cubicBezTo>
                    <a:pt x="1946788" y="4685665"/>
                    <a:pt x="1916579" y="4712517"/>
                    <a:pt x="1883014" y="4712517"/>
                  </a:cubicBezTo>
                  <a:cubicBezTo>
                    <a:pt x="1846092" y="4712517"/>
                    <a:pt x="1819240" y="4685665"/>
                    <a:pt x="1819240" y="4648743"/>
                  </a:cubicBezTo>
                  <a:cubicBezTo>
                    <a:pt x="1819240" y="4611822"/>
                    <a:pt x="1849448" y="4584969"/>
                    <a:pt x="1883014" y="4584969"/>
                  </a:cubicBezTo>
                  <a:close/>
                  <a:moveTo>
                    <a:pt x="3225624" y="4568187"/>
                  </a:moveTo>
                  <a:cubicBezTo>
                    <a:pt x="3235695" y="4568187"/>
                    <a:pt x="3245765" y="4578256"/>
                    <a:pt x="3245765" y="4588326"/>
                  </a:cubicBezTo>
                  <a:cubicBezTo>
                    <a:pt x="3245765" y="4598395"/>
                    <a:pt x="3235695" y="4608465"/>
                    <a:pt x="3225624" y="4608465"/>
                  </a:cubicBezTo>
                  <a:cubicBezTo>
                    <a:pt x="3215556" y="4608465"/>
                    <a:pt x="3205487" y="4601752"/>
                    <a:pt x="3205487" y="4588326"/>
                  </a:cubicBezTo>
                  <a:cubicBezTo>
                    <a:pt x="3205487" y="4578256"/>
                    <a:pt x="3215556" y="4568187"/>
                    <a:pt x="3225624" y="4568187"/>
                  </a:cubicBezTo>
                  <a:close/>
                  <a:moveTo>
                    <a:pt x="2829555" y="4561474"/>
                  </a:moveTo>
                  <a:cubicBezTo>
                    <a:pt x="2849694" y="4561474"/>
                    <a:pt x="2866477" y="4578256"/>
                    <a:pt x="2866477" y="4598395"/>
                  </a:cubicBezTo>
                  <a:cubicBezTo>
                    <a:pt x="2866477" y="4618535"/>
                    <a:pt x="2849694" y="4635317"/>
                    <a:pt x="2829555" y="4635317"/>
                  </a:cubicBezTo>
                  <a:cubicBezTo>
                    <a:pt x="2809416" y="4635317"/>
                    <a:pt x="2792633" y="4621891"/>
                    <a:pt x="2792633" y="4598395"/>
                  </a:cubicBezTo>
                  <a:cubicBezTo>
                    <a:pt x="2792633" y="4578256"/>
                    <a:pt x="2809416" y="4561474"/>
                    <a:pt x="2829555" y="4561474"/>
                  </a:cubicBezTo>
                  <a:close/>
                  <a:moveTo>
                    <a:pt x="1010315" y="4561474"/>
                  </a:moveTo>
                  <a:cubicBezTo>
                    <a:pt x="1050594" y="4561474"/>
                    <a:pt x="1080803" y="4591682"/>
                    <a:pt x="1080803" y="4631961"/>
                  </a:cubicBezTo>
                  <a:cubicBezTo>
                    <a:pt x="1080803" y="4672239"/>
                    <a:pt x="1050594" y="4702448"/>
                    <a:pt x="1010315" y="4702448"/>
                  </a:cubicBezTo>
                  <a:cubicBezTo>
                    <a:pt x="970037" y="4702448"/>
                    <a:pt x="939828" y="4672239"/>
                    <a:pt x="939828" y="4631961"/>
                  </a:cubicBezTo>
                  <a:cubicBezTo>
                    <a:pt x="939828" y="4591682"/>
                    <a:pt x="970037" y="4561474"/>
                    <a:pt x="1010315" y="4561474"/>
                  </a:cubicBezTo>
                  <a:close/>
                  <a:moveTo>
                    <a:pt x="2453624" y="4541334"/>
                  </a:moveTo>
                  <a:cubicBezTo>
                    <a:pt x="2477120" y="4541334"/>
                    <a:pt x="2497259" y="4561474"/>
                    <a:pt x="2497259" y="4584969"/>
                  </a:cubicBezTo>
                  <a:cubicBezTo>
                    <a:pt x="2497259" y="4608465"/>
                    <a:pt x="2477120" y="4628604"/>
                    <a:pt x="2453624" y="4628604"/>
                  </a:cubicBezTo>
                  <a:cubicBezTo>
                    <a:pt x="2426772" y="4628604"/>
                    <a:pt x="2409989" y="4608465"/>
                    <a:pt x="2409989" y="4584969"/>
                  </a:cubicBezTo>
                  <a:cubicBezTo>
                    <a:pt x="2409989" y="4561474"/>
                    <a:pt x="2430128" y="4541334"/>
                    <a:pt x="2453624" y="4541334"/>
                  </a:cubicBezTo>
                  <a:close/>
                  <a:moveTo>
                    <a:pt x="1544004" y="4534621"/>
                  </a:moveTo>
                  <a:cubicBezTo>
                    <a:pt x="1577569" y="4534621"/>
                    <a:pt x="1607778" y="4561474"/>
                    <a:pt x="1607778" y="4598395"/>
                  </a:cubicBezTo>
                  <a:cubicBezTo>
                    <a:pt x="1607778" y="4631961"/>
                    <a:pt x="1580925" y="4662169"/>
                    <a:pt x="1544004" y="4662169"/>
                  </a:cubicBezTo>
                  <a:cubicBezTo>
                    <a:pt x="1507082" y="4662169"/>
                    <a:pt x="1480229" y="4631961"/>
                    <a:pt x="1480229" y="4598395"/>
                  </a:cubicBezTo>
                  <a:cubicBezTo>
                    <a:pt x="1480229" y="4564830"/>
                    <a:pt x="1507082" y="4534621"/>
                    <a:pt x="1544004" y="4534621"/>
                  </a:cubicBezTo>
                  <a:close/>
                  <a:moveTo>
                    <a:pt x="3641834" y="4531265"/>
                  </a:moveTo>
                  <a:cubicBezTo>
                    <a:pt x="3648550" y="4531265"/>
                    <a:pt x="3655261" y="4537978"/>
                    <a:pt x="3655261" y="4544691"/>
                  </a:cubicBezTo>
                  <a:cubicBezTo>
                    <a:pt x="3655261" y="4551404"/>
                    <a:pt x="3648550" y="4558117"/>
                    <a:pt x="3641834" y="4558117"/>
                  </a:cubicBezTo>
                  <a:cubicBezTo>
                    <a:pt x="3635124" y="4558117"/>
                    <a:pt x="3628408" y="4551404"/>
                    <a:pt x="3628408" y="4544691"/>
                  </a:cubicBezTo>
                  <a:cubicBezTo>
                    <a:pt x="3628408" y="4537978"/>
                    <a:pt x="3635124" y="4531265"/>
                    <a:pt x="3641834" y="4531265"/>
                  </a:cubicBezTo>
                  <a:close/>
                  <a:moveTo>
                    <a:pt x="694802" y="4504412"/>
                  </a:moveTo>
                  <a:cubicBezTo>
                    <a:pt x="725011" y="4504412"/>
                    <a:pt x="748507" y="4527908"/>
                    <a:pt x="748507" y="4558117"/>
                  </a:cubicBezTo>
                  <a:cubicBezTo>
                    <a:pt x="748507" y="4588326"/>
                    <a:pt x="725011" y="4611822"/>
                    <a:pt x="694802" y="4611822"/>
                  </a:cubicBezTo>
                  <a:cubicBezTo>
                    <a:pt x="667950" y="4611822"/>
                    <a:pt x="641097" y="4588326"/>
                    <a:pt x="641097" y="4558117"/>
                  </a:cubicBezTo>
                  <a:cubicBezTo>
                    <a:pt x="641097" y="4527908"/>
                    <a:pt x="664593" y="4504412"/>
                    <a:pt x="694802" y="4504412"/>
                  </a:cubicBezTo>
                  <a:close/>
                  <a:moveTo>
                    <a:pt x="2094474" y="4487630"/>
                  </a:moveTo>
                  <a:cubicBezTo>
                    <a:pt x="2128040" y="4487630"/>
                    <a:pt x="2151536" y="4514482"/>
                    <a:pt x="2151536" y="4544691"/>
                  </a:cubicBezTo>
                  <a:cubicBezTo>
                    <a:pt x="2151536" y="4578256"/>
                    <a:pt x="2124683" y="4601752"/>
                    <a:pt x="2094474" y="4601752"/>
                  </a:cubicBezTo>
                  <a:cubicBezTo>
                    <a:pt x="2064266" y="4601752"/>
                    <a:pt x="2037413" y="4578256"/>
                    <a:pt x="2037413" y="4544691"/>
                  </a:cubicBezTo>
                  <a:cubicBezTo>
                    <a:pt x="2037413" y="4511125"/>
                    <a:pt x="2064266" y="4487630"/>
                    <a:pt x="2094474" y="4487630"/>
                  </a:cubicBezTo>
                  <a:close/>
                  <a:moveTo>
                    <a:pt x="3051086" y="4467491"/>
                  </a:moveTo>
                  <a:cubicBezTo>
                    <a:pt x="3058502" y="4467491"/>
                    <a:pt x="3064512" y="4473502"/>
                    <a:pt x="3064512" y="4480917"/>
                  </a:cubicBezTo>
                  <a:cubicBezTo>
                    <a:pt x="3064512" y="4488332"/>
                    <a:pt x="3058502" y="4494343"/>
                    <a:pt x="3051086" y="4494343"/>
                  </a:cubicBezTo>
                  <a:cubicBezTo>
                    <a:pt x="3043671" y="4494343"/>
                    <a:pt x="3037660" y="4488331"/>
                    <a:pt x="3037660" y="4480917"/>
                  </a:cubicBezTo>
                  <a:cubicBezTo>
                    <a:pt x="3037660" y="4473501"/>
                    <a:pt x="3043671" y="4467491"/>
                    <a:pt x="3051086" y="4467491"/>
                  </a:cubicBezTo>
                  <a:close/>
                  <a:moveTo>
                    <a:pt x="392714" y="4467491"/>
                  </a:moveTo>
                  <a:cubicBezTo>
                    <a:pt x="399427" y="4467491"/>
                    <a:pt x="406140" y="4474204"/>
                    <a:pt x="406140" y="4480917"/>
                  </a:cubicBezTo>
                  <a:cubicBezTo>
                    <a:pt x="406140" y="4487630"/>
                    <a:pt x="399427" y="4494343"/>
                    <a:pt x="392714" y="4494343"/>
                  </a:cubicBezTo>
                  <a:cubicBezTo>
                    <a:pt x="382644" y="4494343"/>
                    <a:pt x="379288" y="4487630"/>
                    <a:pt x="379288" y="4480917"/>
                  </a:cubicBezTo>
                  <a:cubicBezTo>
                    <a:pt x="379288" y="4474204"/>
                    <a:pt x="386001" y="4467491"/>
                    <a:pt x="392714" y="4467491"/>
                  </a:cubicBezTo>
                  <a:close/>
                  <a:moveTo>
                    <a:pt x="1215064" y="4460777"/>
                  </a:moveTo>
                  <a:cubicBezTo>
                    <a:pt x="1255342" y="4460777"/>
                    <a:pt x="1285551" y="4490986"/>
                    <a:pt x="1285551" y="4531265"/>
                  </a:cubicBezTo>
                  <a:cubicBezTo>
                    <a:pt x="1285551" y="4571543"/>
                    <a:pt x="1255342" y="4601752"/>
                    <a:pt x="1215064" y="4601752"/>
                  </a:cubicBezTo>
                  <a:cubicBezTo>
                    <a:pt x="1178142" y="4601752"/>
                    <a:pt x="1144577" y="4571543"/>
                    <a:pt x="1144577" y="4531265"/>
                  </a:cubicBezTo>
                  <a:cubicBezTo>
                    <a:pt x="1144577" y="4490986"/>
                    <a:pt x="1174786" y="4460777"/>
                    <a:pt x="1215064" y="4460777"/>
                  </a:cubicBezTo>
                  <a:close/>
                  <a:moveTo>
                    <a:pt x="3457226" y="4454064"/>
                  </a:moveTo>
                  <a:cubicBezTo>
                    <a:pt x="3460584" y="4454064"/>
                    <a:pt x="3463939" y="4457421"/>
                    <a:pt x="3463939" y="4460777"/>
                  </a:cubicBezTo>
                  <a:cubicBezTo>
                    <a:pt x="3463939" y="4464134"/>
                    <a:pt x="3460584" y="4467491"/>
                    <a:pt x="3457226" y="4467491"/>
                  </a:cubicBezTo>
                  <a:cubicBezTo>
                    <a:pt x="3453868" y="4467491"/>
                    <a:pt x="3450513" y="4464134"/>
                    <a:pt x="3450513" y="4460777"/>
                  </a:cubicBezTo>
                  <a:cubicBezTo>
                    <a:pt x="3450513" y="4457421"/>
                    <a:pt x="3453868" y="4454064"/>
                    <a:pt x="3457226" y="4454064"/>
                  </a:cubicBezTo>
                  <a:close/>
                  <a:moveTo>
                    <a:pt x="2668441" y="4454064"/>
                  </a:moveTo>
                  <a:cubicBezTo>
                    <a:pt x="2678511" y="4454064"/>
                    <a:pt x="2688580" y="4464134"/>
                    <a:pt x="2688580" y="4474204"/>
                  </a:cubicBezTo>
                  <a:cubicBezTo>
                    <a:pt x="2688580" y="4484273"/>
                    <a:pt x="2678511" y="4494343"/>
                    <a:pt x="2668441" y="4494343"/>
                  </a:cubicBezTo>
                  <a:cubicBezTo>
                    <a:pt x="2658372" y="4494343"/>
                    <a:pt x="2651658" y="4484273"/>
                    <a:pt x="2648302" y="4474204"/>
                  </a:cubicBezTo>
                  <a:cubicBezTo>
                    <a:pt x="2648302" y="4464134"/>
                    <a:pt x="2658372" y="4454064"/>
                    <a:pt x="2668441" y="4454064"/>
                  </a:cubicBezTo>
                  <a:close/>
                  <a:moveTo>
                    <a:pt x="1752109" y="4440638"/>
                  </a:moveTo>
                  <a:cubicBezTo>
                    <a:pt x="1782318" y="4440638"/>
                    <a:pt x="1805813" y="4464134"/>
                    <a:pt x="1805813" y="4494343"/>
                  </a:cubicBezTo>
                  <a:cubicBezTo>
                    <a:pt x="1805813" y="4524552"/>
                    <a:pt x="1782318" y="4548047"/>
                    <a:pt x="1752109" y="4548047"/>
                  </a:cubicBezTo>
                  <a:cubicBezTo>
                    <a:pt x="1721900" y="4548047"/>
                    <a:pt x="1698404" y="4524552"/>
                    <a:pt x="1698404" y="4494343"/>
                  </a:cubicBezTo>
                  <a:cubicBezTo>
                    <a:pt x="1698404" y="4464134"/>
                    <a:pt x="1721900" y="4440638"/>
                    <a:pt x="1752109" y="4440638"/>
                  </a:cubicBezTo>
                  <a:close/>
                  <a:moveTo>
                    <a:pt x="899550" y="4413786"/>
                  </a:moveTo>
                  <a:cubicBezTo>
                    <a:pt x="926402" y="4413786"/>
                    <a:pt x="949898" y="4433925"/>
                    <a:pt x="949898" y="4464134"/>
                  </a:cubicBezTo>
                  <a:cubicBezTo>
                    <a:pt x="949898" y="4490986"/>
                    <a:pt x="929758" y="4514482"/>
                    <a:pt x="899550" y="4514482"/>
                  </a:cubicBezTo>
                  <a:cubicBezTo>
                    <a:pt x="872697" y="4514482"/>
                    <a:pt x="849202" y="4490986"/>
                    <a:pt x="849202" y="4464134"/>
                  </a:cubicBezTo>
                  <a:cubicBezTo>
                    <a:pt x="849202" y="4437282"/>
                    <a:pt x="869341" y="4413786"/>
                    <a:pt x="899550" y="4413786"/>
                  </a:cubicBezTo>
                  <a:close/>
                  <a:moveTo>
                    <a:pt x="2305936" y="4410429"/>
                  </a:moveTo>
                  <a:cubicBezTo>
                    <a:pt x="2322719" y="4410429"/>
                    <a:pt x="2336145" y="4423856"/>
                    <a:pt x="2336145" y="4440638"/>
                  </a:cubicBezTo>
                  <a:cubicBezTo>
                    <a:pt x="2336145" y="4457421"/>
                    <a:pt x="2322719" y="4470847"/>
                    <a:pt x="2305936" y="4470847"/>
                  </a:cubicBezTo>
                  <a:cubicBezTo>
                    <a:pt x="2289154" y="4470847"/>
                    <a:pt x="2279084" y="4457421"/>
                    <a:pt x="2275728" y="4440638"/>
                  </a:cubicBezTo>
                  <a:cubicBezTo>
                    <a:pt x="2275728" y="4423856"/>
                    <a:pt x="2289154" y="4410429"/>
                    <a:pt x="2305936" y="4410429"/>
                  </a:cubicBezTo>
                  <a:close/>
                  <a:moveTo>
                    <a:pt x="3882246" y="4389453"/>
                  </a:moveTo>
                  <a:cubicBezTo>
                    <a:pt x="3882667" y="4388614"/>
                    <a:pt x="3883505" y="4388614"/>
                    <a:pt x="3883505" y="4390291"/>
                  </a:cubicBezTo>
                  <a:cubicBezTo>
                    <a:pt x="3883505" y="4390291"/>
                    <a:pt x="3886863" y="4390291"/>
                    <a:pt x="3883505" y="4393648"/>
                  </a:cubicBezTo>
                  <a:cubicBezTo>
                    <a:pt x="3881826" y="4391970"/>
                    <a:pt x="3881826" y="4390291"/>
                    <a:pt x="3882246" y="4389453"/>
                  </a:cubicBezTo>
                  <a:close/>
                  <a:moveTo>
                    <a:pt x="1423169" y="4373507"/>
                  </a:moveTo>
                  <a:cubicBezTo>
                    <a:pt x="1456735" y="4373507"/>
                    <a:pt x="1480230" y="4400360"/>
                    <a:pt x="1480230" y="4430569"/>
                  </a:cubicBezTo>
                  <a:cubicBezTo>
                    <a:pt x="1480230" y="4464134"/>
                    <a:pt x="1453378" y="4487630"/>
                    <a:pt x="1423169" y="4487630"/>
                  </a:cubicBezTo>
                  <a:cubicBezTo>
                    <a:pt x="1392960" y="4487630"/>
                    <a:pt x="1366108" y="4464134"/>
                    <a:pt x="1366108" y="4430569"/>
                  </a:cubicBezTo>
                  <a:cubicBezTo>
                    <a:pt x="1366108" y="4397003"/>
                    <a:pt x="1392960" y="4373507"/>
                    <a:pt x="1423169" y="4373507"/>
                  </a:cubicBezTo>
                  <a:close/>
                  <a:moveTo>
                    <a:pt x="1960214" y="4353368"/>
                  </a:moveTo>
                  <a:cubicBezTo>
                    <a:pt x="1983710" y="4353368"/>
                    <a:pt x="2000492" y="4370151"/>
                    <a:pt x="2000492" y="4393647"/>
                  </a:cubicBezTo>
                  <a:cubicBezTo>
                    <a:pt x="2000492" y="4417142"/>
                    <a:pt x="1983710" y="4433925"/>
                    <a:pt x="1960214" y="4433925"/>
                  </a:cubicBezTo>
                  <a:cubicBezTo>
                    <a:pt x="1936718" y="4433925"/>
                    <a:pt x="1919936" y="4417142"/>
                    <a:pt x="1919936" y="4393647"/>
                  </a:cubicBezTo>
                  <a:cubicBezTo>
                    <a:pt x="1919936" y="4370151"/>
                    <a:pt x="1936718" y="4353368"/>
                    <a:pt x="1960214" y="4353368"/>
                  </a:cubicBezTo>
                  <a:close/>
                  <a:moveTo>
                    <a:pt x="3279328" y="4350013"/>
                  </a:moveTo>
                  <a:cubicBezTo>
                    <a:pt x="3286044" y="4350013"/>
                    <a:pt x="3289399" y="4353369"/>
                    <a:pt x="3289399" y="4360082"/>
                  </a:cubicBezTo>
                  <a:cubicBezTo>
                    <a:pt x="3289399" y="4366795"/>
                    <a:pt x="3286044" y="4370152"/>
                    <a:pt x="3279328" y="4370152"/>
                  </a:cubicBezTo>
                  <a:cubicBezTo>
                    <a:pt x="3275973" y="4370152"/>
                    <a:pt x="3269260" y="4366795"/>
                    <a:pt x="3269260" y="4360082"/>
                  </a:cubicBezTo>
                  <a:cubicBezTo>
                    <a:pt x="3269260" y="4353369"/>
                    <a:pt x="3272618" y="4350013"/>
                    <a:pt x="3279328" y="4350013"/>
                  </a:cubicBezTo>
                  <a:close/>
                  <a:moveTo>
                    <a:pt x="2889972" y="4343299"/>
                  </a:moveTo>
                  <a:cubicBezTo>
                    <a:pt x="2900042" y="4343299"/>
                    <a:pt x="2906755" y="4350012"/>
                    <a:pt x="2906755" y="4360081"/>
                  </a:cubicBezTo>
                  <a:cubicBezTo>
                    <a:pt x="2906755" y="4370151"/>
                    <a:pt x="2900042" y="4376864"/>
                    <a:pt x="2889972" y="4376864"/>
                  </a:cubicBezTo>
                  <a:cubicBezTo>
                    <a:pt x="2879903" y="4376864"/>
                    <a:pt x="2873190" y="4370151"/>
                    <a:pt x="2873190" y="4360081"/>
                  </a:cubicBezTo>
                  <a:cubicBezTo>
                    <a:pt x="2873190" y="4350012"/>
                    <a:pt x="2879903" y="4343299"/>
                    <a:pt x="2889972" y="4343299"/>
                  </a:cubicBezTo>
                  <a:close/>
                  <a:moveTo>
                    <a:pt x="597462" y="4336586"/>
                  </a:moveTo>
                  <a:cubicBezTo>
                    <a:pt x="624315" y="4336586"/>
                    <a:pt x="644454" y="4356725"/>
                    <a:pt x="644454" y="4383577"/>
                  </a:cubicBezTo>
                  <a:cubicBezTo>
                    <a:pt x="644454" y="4410429"/>
                    <a:pt x="624315" y="4430569"/>
                    <a:pt x="597462" y="4430569"/>
                  </a:cubicBezTo>
                  <a:cubicBezTo>
                    <a:pt x="570610" y="4430569"/>
                    <a:pt x="547114" y="4410429"/>
                    <a:pt x="550471" y="4383577"/>
                  </a:cubicBezTo>
                  <a:cubicBezTo>
                    <a:pt x="550471" y="4356725"/>
                    <a:pt x="570610" y="4336586"/>
                    <a:pt x="597462" y="4336586"/>
                  </a:cubicBezTo>
                  <a:close/>
                  <a:moveTo>
                    <a:pt x="3692184" y="4316447"/>
                  </a:moveTo>
                  <a:cubicBezTo>
                    <a:pt x="3692184" y="4316447"/>
                    <a:pt x="3695539" y="4316447"/>
                    <a:pt x="3695539" y="4319804"/>
                  </a:cubicBezTo>
                  <a:cubicBezTo>
                    <a:pt x="3695539" y="4319804"/>
                    <a:pt x="3695539" y="4323161"/>
                    <a:pt x="3692184" y="4323161"/>
                  </a:cubicBezTo>
                  <a:cubicBezTo>
                    <a:pt x="3692184" y="4323161"/>
                    <a:pt x="3688828" y="4323161"/>
                    <a:pt x="3688828" y="4319804"/>
                  </a:cubicBezTo>
                  <a:cubicBezTo>
                    <a:pt x="3688828" y="4319804"/>
                    <a:pt x="3688828" y="4316447"/>
                    <a:pt x="3692184" y="4316447"/>
                  </a:cubicBezTo>
                  <a:close/>
                  <a:moveTo>
                    <a:pt x="2520754" y="4316447"/>
                  </a:moveTo>
                  <a:cubicBezTo>
                    <a:pt x="2530824" y="4316447"/>
                    <a:pt x="2540894" y="4326517"/>
                    <a:pt x="2540894" y="4336587"/>
                  </a:cubicBezTo>
                  <a:cubicBezTo>
                    <a:pt x="2540894" y="4346656"/>
                    <a:pt x="2530824" y="4356726"/>
                    <a:pt x="2520754" y="4356726"/>
                  </a:cubicBezTo>
                  <a:cubicBezTo>
                    <a:pt x="2510685" y="4356726"/>
                    <a:pt x="2500615" y="4346656"/>
                    <a:pt x="2500615" y="4336587"/>
                  </a:cubicBezTo>
                  <a:cubicBezTo>
                    <a:pt x="2500615" y="4326517"/>
                    <a:pt x="2510685" y="4316447"/>
                    <a:pt x="2520754" y="4316447"/>
                  </a:cubicBezTo>
                  <a:close/>
                  <a:moveTo>
                    <a:pt x="1104298" y="4299665"/>
                  </a:moveTo>
                  <a:cubicBezTo>
                    <a:pt x="1137864" y="4299665"/>
                    <a:pt x="1164716" y="4326517"/>
                    <a:pt x="1164716" y="4360082"/>
                  </a:cubicBezTo>
                  <a:cubicBezTo>
                    <a:pt x="1164716" y="4393647"/>
                    <a:pt x="1137864" y="4420500"/>
                    <a:pt x="1104298" y="4420500"/>
                  </a:cubicBezTo>
                  <a:cubicBezTo>
                    <a:pt x="1074090" y="4420500"/>
                    <a:pt x="1047237" y="4393647"/>
                    <a:pt x="1043881" y="4360082"/>
                  </a:cubicBezTo>
                  <a:cubicBezTo>
                    <a:pt x="1043881" y="4326517"/>
                    <a:pt x="1070733" y="4299665"/>
                    <a:pt x="1104298" y="4299665"/>
                  </a:cubicBezTo>
                  <a:close/>
                  <a:moveTo>
                    <a:pt x="1627917" y="4279526"/>
                  </a:moveTo>
                  <a:cubicBezTo>
                    <a:pt x="1658126" y="4279526"/>
                    <a:pt x="1681622" y="4303021"/>
                    <a:pt x="1681622" y="4333230"/>
                  </a:cubicBezTo>
                  <a:cubicBezTo>
                    <a:pt x="1681622" y="4363439"/>
                    <a:pt x="1658126" y="4386935"/>
                    <a:pt x="1627917" y="4386935"/>
                  </a:cubicBezTo>
                  <a:cubicBezTo>
                    <a:pt x="1601065" y="4386935"/>
                    <a:pt x="1574212" y="4363439"/>
                    <a:pt x="1574212" y="4333230"/>
                  </a:cubicBezTo>
                  <a:cubicBezTo>
                    <a:pt x="1574212" y="4303021"/>
                    <a:pt x="1597708" y="4279526"/>
                    <a:pt x="1627917" y="4279526"/>
                  </a:cubicBezTo>
                  <a:close/>
                  <a:moveTo>
                    <a:pt x="2168318" y="4269455"/>
                  </a:moveTo>
                  <a:cubicBezTo>
                    <a:pt x="2181744" y="4269455"/>
                    <a:pt x="2191814" y="4279524"/>
                    <a:pt x="2191814" y="4292951"/>
                  </a:cubicBezTo>
                  <a:cubicBezTo>
                    <a:pt x="2191814" y="4306377"/>
                    <a:pt x="2181744" y="4316446"/>
                    <a:pt x="2168318" y="4316446"/>
                  </a:cubicBezTo>
                  <a:cubicBezTo>
                    <a:pt x="2154892" y="4316446"/>
                    <a:pt x="2144822" y="4306377"/>
                    <a:pt x="2144822" y="4292951"/>
                  </a:cubicBezTo>
                  <a:cubicBezTo>
                    <a:pt x="2144822" y="4279524"/>
                    <a:pt x="2154892" y="4269455"/>
                    <a:pt x="2168318" y="4269455"/>
                  </a:cubicBezTo>
                  <a:close/>
                  <a:moveTo>
                    <a:pt x="298731" y="4269455"/>
                  </a:moveTo>
                  <a:cubicBezTo>
                    <a:pt x="315513" y="4269455"/>
                    <a:pt x="328940" y="4282881"/>
                    <a:pt x="328940" y="4299664"/>
                  </a:cubicBezTo>
                  <a:cubicBezTo>
                    <a:pt x="328940" y="4316446"/>
                    <a:pt x="315513" y="4329873"/>
                    <a:pt x="298731" y="4329873"/>
                  </a:cubicBezTo>
                  <a:cubicBezTo>
                    <a:pt x="285305" y="4329873"/>
                    <a:pt x="268522" y="4316446"/>
                    <a:pt x="268522" y="4299664"/>
                  </a:cubicBezTo>
                  <a:cubicBezTo>
                    <a:pt x="268522" y="4282881"/>
                    <a:pt x="281948" y="4269455"/>
                    <a:pt x="298731" y="4269455"/>
                  </a:cubicBezTo>
                  <a:close/>
                  <a:moveTo>
                    <a:pt x="798855" y="4245960"/>
                  </a:moveTo>
                  <a:cubicBezTo>
                    <a:pt x="818994" y="4245960"/>
                    <a:pt x="839133" y="4262743"/>
                    <a:pt x="839133" y="4286239"/>
                  </a:cubicBezTo>
                  <a:cubicBezTo>
                    <a:pt x="839133" y="4306378"/>
                    <a:pt x="822350" y="4326517"/>
                    <a:pt x="798855" y="4326517"/>
                  </a:cubicBezTo>
                  <a:cubicBezTo>
                    <a:pt x="778715" y="4326517"/>
                    <a:pt x="758576" y="4306378"/>
                    <a:pt x="758576" y="4286239"/>
                  </a:cubicBezTo>
                  <a:cubicBezTo>
                    <a:pt x="758576" y="4266099"/>
                    <a:pt x="775359" y="4245960"/>
                    <a:pt x="798855" y="4245960"/>
                  </a:cubicBezTo>
                  <a:close/>
                  <a:moveTo>
                    <a:pt x="3111504" y="4235891"/>
                  </a:moveTo>
                  <a:cubicBezTo>
                    <a:pt x="3118217" y="4235891"/>
                    <a:pt x="3121574" y="4242604"/>
                    <a:pt x="3121574" y="4245960"/>
                  </a:cubicBezTo>
                  <a:cubicBezTo>
                    <a:pt x="3121574" y="4252673"/>
                    <a:pt x="3118217" y="4256030"/>
                    <a:pt x="3111504" y="4256030"/>
                  </a:cubicBezTo>
                  <a:cubicBezTo>
                    <a:pt x="3104791" y="4256030"/>
                    <a:pt x="3101434" y="4252673"/>
                    <a:pt x="3101434" y="4245960"/>
                  </a:cubicBezTo>
                  <a:cubicBezTo>
                    <a:pt x="3101434" y="4239247"/>
                    <a:pt x="3108147" y="4235891"/>
                    <a:pt x="3111504" y="4235891"/>
                  </a:cubicBezTo>
                  <a:close/>
                  <a:moveTo>
                    <a:pt x="3510931" y="4229177"/>
                  </a:moveTo>
                  <a:cubicBezTo>
                    <a:pt x="3510931" y="4229177"/>
                    <a:pt x="3514288" y="4232534"/>
                    <a:pt x="3510931" y="4235891"/>
                  </a:cubicBezTo>
                  <a:cubicBezTo>
                    <a:pt x="3507573" y="4229177"/>
                    <a:pt x="3507573" y="4229177"/>
                    <a:pt x="3510931" y="4229177"/>
                  </a:cubicBezTo>
                  <a:close/>
                  <a:moveTo>
                    <a:pt x="2735572" y="4215751"/>
                  </a:moveTo>
                  <a:cubicBezTo>
                    <a:pt x="2742285" y="4215751"/>
                    <a:pt x="2748998" y="4222464"/>
                    <a:pt x="2748998" y="4229177"/>
                  </a:cubicBezTo>
                  <a:cubicBezTo>
                    <a:pt x="2748998" y="4235891"/>
                    <a:pt x="2742285" y="4242604"/>
                    <a:pt x="2735572" y="4242604"/>
                  </a:cubicBezTo>
                  <a:cubicBezTo>
                    <a:pt x="2728859" y="4242604"/>
                    <a:pt x="2722146" y="4235891"/>
                    <a:pt x="2722146" y="4229177"/>
                  </a:cubicBezTo>
                  <a:cubicBezTo>
                    <a:pt x="2722146" y="4222464"/>
                    <a:pt x="2728859" y="4215751"/>
                    <a:pt x="2735572" y="4215751"/>
                  </a:cubicBezTo>
                  <a:close/>
                  <a:moveTo>
                    <a:pt x="1312404" y="4212395"/>
                  </a:moveTo>
                  <a:cubicBezTo>
                    <a:pt x="1339256" y="4212395"/>
                    <a:pt x="1362752" y="4235891"/>
                    <a:pt x="1362752" y="4262743"/>
                  </a:cubicBezTo>
                  <a:cubicBezTo>
                    <a:pt x="1362752" y="4289595"/>
                    <a:pt x="1339256" y="4313091"/>
                    <a:pt x="1312404" y="4313091"/>
                  </a:cubicBezTo>
                  <a:cubicBezTo>
                    <a:pt x="1285551" y="4313091"/>
                    <a:pt x="1262056" y="4289595"/>
                    <a:pt x="1262056" y="4262743"/>
                  </a:cubicBezTo>
                  <a:cubicBezTo>
                    <a:pt x="1262056" y="4235891"/>
                    <a:pt x="1285551" y="4212395"/>
                    <a:pt x="1312404" y="4212395"/>
                  </a:cubicBezTo>
                  <a:close/>
                  <a:moveTo>
                    <a:pt x="1836022" y="4198969"/>
                  </a:moveTo>
                  <a:cubicBezTo>
                    <a:pt x="1856161" y="4198969"/>
                    <a:pt x="1869588" y="4212395"/>
                    <a:pt x="1869588" y="4232534"/>
                  </a:cubicBezTo>
                  <a:cubicBezTo>
                    <a:pt x="1869588" y="4252673"/>
                    <a:pt x="1852805" y="4266099"/>
                    <a:pt x="1836022" y="4266099"/>
                  </a:cubicBezTo>
                  <a:cubicBezTo>
                    <a:pt x="1819240" y="4266099"/>
                    <a:pt x="1802457" y="4252673"/>
                    <a:pt x="1802457" y="4232534"/>
                  </a:cubicBezTo>
                  <a:cubicBezTo>
                    <a:pt x="1802457" y="4212395"/>
                    <a:pt x="1819240" y="4198969"/>
                    <a:pt x="1836022" y="4198969"/>
                  </a:cubicBezTo>
                  <a:close/>
                  <a:moveTo>
                    <a:pt x="2379780" y="4172116"/>
                  </a:moveTo>
                  <a:cubicBezTo>
                    <a:pt x="2389850" y="4172116"/>
                    <a:pt x="2396563" y="4178829"/>
                    <a:pt x="2396563" y="4188899"/>
                  </a:cubicBezTo>
                  <a:cubicBezTo>
                    <a:pt x="2396563" y="4198969"/>
                    <a:pt x="2389850" y="4205682"/>
                    <a:pt x="2379780" y="4205682"/>
                  </a:cubicBezTo>
                  <a:cubicBezTo>
                    <a:pt x="2373067" y="4205682"/>
                    <a:pt x="2362997" y="4198969"/>
                    <a:pt x="2362997" y="4188899"/>
                  </a:cubicBezTo>
                  <a:cubicBezTo>
                    <a:pt x="2362997" y="4178829"/>
                    <a:pt x="2369710" y="4172116"/>
                    <a:pt x="2379780" y="4172116"/>
                  </a:cubicBezTo>
                  <a:close/>
                  <a:moveTo>
                    <a:pt x="503479" y="4158690"/>
                  </a:moveTo>
                  <a:cubicBezTo>
                    <a:pt x="526975" y="4158690"/>
                    <a:pt x="547114" y="4178829"/>
                    <a:pt x="547114" y="4202325"/>
                  </a:cubicBezTo>
                  <a:cubicBezTo>
                    <a:pt x="547114" y="4225821"/>
                    <a:pt x="526975" y="4245960"/>
                    <a:pt x="503479" y="4245960"/>
                  </a:cubicBezTo>
                  <a:cubicBezTo>
                    <a:pt x="479984" y="4245960"/>
                    <a:pt x="459844" y="4225821"/>
                    <a:pt x="459844" y="4202325"/>
                  </a:cubicBezTo>
                  <a:cubicBezTo>
                    <a:pt x="459844" y="4178829"/>
                    <a:pt x="479984" y="4158690"/>
                    <a:pt x="503479" y="4158690"/>
                  </a:cubicBezTo>
                  <a:close/>
                  <a:moveTo>
                    <a:pt x="1003602" y="4128481"/>
                  </a:moveTo>
                  <a:cubicBezTo>
                    <a:pt x="1033811" y="4128481"/>
                    <a:pt x="1060663" y="4155334"/>
                    <a:pt x="1060663" y="4185542"/>
                  </a:cubicBezTo>
                  <a:cubicBezTo>
                    <a:pt x="1060663" y="4215751"/>
                    <a:pt x="1033811" y="4242604"/>
                    <a:pt x="1003602" y="4242604"/>
                  </a:cubicBezTo>
                  <a:cubicBezTo>
                    <a:pt x="973393" y="4242604"/>
                    <a:pt x="946541" y="4219108"/>
                    <a:pt x="946541" y="4185542"/>
                  </a:cubicBezTo>
                  <a:cubicBezTo>
                    <a:pt x="946541" y="4155334"/>
                    <a:pt x="973393" y="4128481"/>
                    <a:pt x="1003602" y="4128481"/>
                  </a:cubicBezTo>
                  <a:close/>
                  <a:moveTo>
                    <a:pt x="3336391" y="4125125"/>
                  </a:moveTo>
                  <a:cubicBezTo>
                    <a:pt x="3336391" y="4125125"/>
                    <a:pt x="3339748" y="4125125"/>
                    <a:pt x="3339748" y="4128481"/>
                  </a:cubicBezTo>
                  <a:cubicBezTo>
                    <a:pt x="3339748" y="4128481"/>
                    <a:pt x="3339748" y="4131838"/>
                    <a:pt x="3336391" y="4131838"/>
                  </a:cubicBezTo>
                  <a:cubicBezTo>
                    <a:pt x="3333033" y="4131838"/>
                    <a:pt x="3333033" y="4128481"/>
                    <a:pt x="3333033" y="4128481"/>
                  </a:cubicBezTo>
                  <a:cubicBezTo>
                    <a:pt x="3333033" y="4128481"/>
                    <a:pt x="3333033" y="4125125"/>
                    <a:pt x="3336391" y="4125125"/>
                  </a:cubicBezTo>
                  <a:close/>
                  <a:moveTo>
                    <a:pt x="2044126" y="4111699"/>
                  </a:moveTo>
                  <a:cubicBezTo>
                    <a:pt x="2057552" y="4111699"/>
                    <a:pt x="2067622" y="4121768"/>
                    <a:pt x="2067622" y="4135194"/>
                  </a:cubicBezTo>
                  <a:cubicBezTo>
                    <a:pt x="2067622" y="4148620"/>
                    <a:pt x="2057552" y="4158690"/>
                    <a:pt x="2044126" y="4158690"/>
                  </a:cubicBezTo>
                  <a:cubicBezTo>
                    <a:pt x="2030700" y="4158690"/>
                    <a:pt x="2020631" y="4145264"/>
                    <a:pt x="2020631" y="4135194"/>
                  </a:cubicBezTo>
                  <a:cubicBezTo>
                    <a:pt x="2020631" y="4121768"/>
                    <a:pt x="2030700" y="4111699"/>
                    <a:pt x="2044126" y="4111699"/>
                  </a:cubicBezTo>
                  <a:close/>
                  <a:moveTo>
                    <a:pt x="1517151" y="4111699"/>
                  </a:moveTo>
                  <a:cubicBezTo>
                    <a:pt x="1547360" y="4111699"/>
                    <a:pt x="1570856" y="4135194"/>
                    <a:pt x="1570856" y="4165403"/>
                  </a:cubicBezTo>
                  <a:cubicBezTo>
                    <a:pt x="1570856" y="4195612"/>
                    <a:pt x="1547360" y="4219108"/>
                    <a:pt x="1517151" y="4219108"/>
                  </a:cubicBezTo>
                  <a:cubicBezTo>
                    <a:pt x="1486942" y="4219108"/>
                    <a:pt x="1463447" y="4195612"/>
                    <a:pt x="1463447" y="4165403"/>
                  </a:cubicBezTo>
                  <a:cubicBezTo>
                    <a:pt x="1463447" y="4135194"/>
                    <a:pt x="1486942" y="4111699"/>
                    <a:pt x="1517151" y="4111699"/>
                  </a:cubicBezTo>
                  <a:close/>
                  <a:moveTo>
                    <a:pt x="2953747" y="4108342"/>
                  </a:moveTo>
                  <a:cubicBezTo>
                    <a:pt x="2960460" y="4108342"/>
                    <a:pt x="2963816" y="4115055"/>
                    <a:pt x="2963816" y="4118412"/>
                  </a:cubicBezTo>
                  <a:cubicBezTo>
                    <a:pt x="2963816" y="4125125"/>
                    <a:pt x="2957103" y="4128481"/>
                    <a:pt x="2953747" y="4128481"/>
                  </a:cubicBezTo>
                  <a:cubicBezTo>
                    <a:pt x="2947034" y="4128481"/>
                    <a:pt x="2943677" y="4125125"/>
                    <a:pt x="2943677" y="4118412"/>
                  </a:cubicBezTo>
                  <a:cubicBezTo>
                    <a:pt x="2943677" y="4111699"/>
                    <a:pt x="2947034" y="4108342"/>
                    <a:pt x="2953747" y="4108342"/>
                  </a:cubicBezTo>
                  <a:close/>
                  <a:moveTo>
                    <a:pt x="2591242" y="4071420"/>
                  </a:moveTo>
                  <a:cubicBezTo>
                    <a:pt x="2597955" y="4071420"/>
                    <a:pt x="2604668" y="4078133"/>
                    <a:pt x="2604668" y="4084846"/>
                  </a:cubicBezTo>
                  <a:cubicBezTo>
                    <a:pt x="2604668" y="4091559"/>
                    <a:pt x="2597955" y="4098272"/>
                    <a:pt x="2591242" y="4098272"/>
                  </a:cubicBezTo>
                  <a:cubicBezTo>
                    <a:pt x="2584529" y="4098272"/>
                    <a:pt x="2581172" y="4091559"/>
                    <a:pt x="2577816" y="4084846"/>
                  </a:cubicBezTo>
                  <a:cubicBezTo>
                    <a:pt x="2577816" y="4078133"/>
                    <a:pt x="2584529" y="4071420"/>
                    <a:pt x="2591242" y="4071420"/>
                  </a:cubicBezTo>
                  <a:close/>
                  <a:moveTo>
                    <a:pt x="708228" y="4064707"/>
                  </a:moveTo>
                  <a:cubicBezTo>
                    <a:pt x="728367" y="4064707"/>
                    <a:pt x="748507" y="4081490"/>
                    <a:pt x="748507" y="4104986"/>
                  </a:cubicBezTo>
                  <a:cubicBezTo>
                    <a:pt x="748507" y="4125125"/>
                    <a:pt x="731724" y="4145264"/>
                    <a:pt x="708228" y="4145264"/>
                  </a:cubicBezTo>
                  <a:cubicBezTo>
                    <a:pt x="684732" y="4145264"/>
                    <a:pt x="664593" y="4128481"/>
                    <a:pt x="667950" y="4104986"/>
                  </a:cubicBezTo>
                  <a:cubicBezTo>
                    <a:pt x="667950" y="4084846"/>
                    <a:pt x="684732" y="4064707"/>
                    <a:pt x="708228" y="4064707"/>
                  </a:cubicBezTo>
                  <a:close/>
                  <a:moveTo>
                    <a:pt x="1208351" y="4037855"/>
                  </a:moveTo>
                  <a:cubicBezTo>
                    <a:pt x="1235203" y="4037855"/>
                    <a:pt x="1258699" y="4061351"/>
                    <a:pt x="1258699" y="4088203"/>
                  </a:cubicBezTo>
                  <a:cubicBezTo>
                    <a:pt x="1258699" y="4115055"/>
                    <a:pt x="1235203" y="4138551"/>
                    <a:pt x="1208351" y="4138551"/>
                  </a:cubicBezTo>
                  <a:cubicBezTo>
                    <a:pt x="1181499" y="4138551"/>
                    <a:pt x="1158003" y="4115055"/>
                    <a:pt x="1158003" y="4088203"/>
                  </a:cubicBezTo>
                  <a:cubicBezTo>
                    <a:pt x="1158003" y="4061351"/>
                    <a:pt x="1181499" y="4037855"/>
                    <a:pt x="1208351" y="4037855"/>
                  </a:cubicBezTo>
                  <a:close/>
                  <a:moveTo>
                    <a:pt x="1721900" y="4031142"/>
                  </a:moveTo>
                  <a:cubicBezTo>
                    <a:pt x="1740437" y="4031142"/>
                    <a:pt x="1755465" y="4046169"/>
                    <a:pt x="1755465" y="4064707"/>
                  </a:cubicBezTo>
                  <a:cubicBezTo>
                    <a:pt x="1755465" y="4083245"/>
                    <a:pt x="1740437" y="4098272"/>
                    <a:pt x="1721900" y="4098272"/>
                  </a:cubicBezTo>
                  <a:cubicBezTo>
                    <a:pt x="1703362" y="4098272"/>
                    <a:pt x="1688335" y="4083245"/>
                    <a:pt x="1688335" y="4064707"/>
                  </a:cubicBezTo>
                  <a:cubicBezTo>
                    <a:pt x="1688335" y="4046169"/>
                    <a:pt x="1703362" y="4031142"/>
                    <a:pt x="1721900" y="4031142"/>
                  </a:cubicBezTo>
                  <a:close/>
                  <a:moveTo>
                    <a:pt x="2252232" y="4021072"/>
                  </a:moveTo>
                  <a:cubicBezTo>
                    <a:pt x="2258945" y="4021072"/>
                    <a:pt x="2265658" y="4027785"/>
                    <a:pt x="2265658" y="4034498"/>
                  </a:cubicBezTo>
                  <a:cubicBezTo>
                    <a:pt x="2265658" y="4041211"/>
                    <a:pt x="2258945" y="4047924"/>
                    <a:pt x="2252232" y="4047924"/>
                  </a:cubicBezTo>
                  <a:cubicBezTo>
                    <a:pt x="2242162" y="4047924"/>
                    <a:pt x="2235449" y="4041211"/>
                    <a:pt x="2238806" y="4034498"/>
                  </a:cubicBezTo>
                  <a:cubicBezTo>
                    <a:pt x="2238806" y="4027785"/>
                    <a:pt x="2245518" y="4021072"/>
                    <a:pt x="2252232" y="4021072"/>
                  </a:cubicBezTo>
                  <a:close/>
                  <a:moveTo>
                    <a:pt x="3170662" y="4006807"/>
                  </a:moveTo>
                  <a:cubicBezTo>
                    <a:pt x="3171081" y="4005967"/>
                    <a:pt x="3171920" y="4005967"/>
                    <a:pt x="3171920" y="4007646"/>
                  </a:cubicBezTo>
                  <a:cubicBezTo>
                    <a:pt x="3171920" y="4007646"/>
                    <a:pt x="3175277" y="4007646"/>
                    <a:pt x="3171920" y="4011003"/>
                  </a:cubicBezTo>
                  <a:cubicBezTo>
                    <a:pt x="3170243" y="4009324"/>
                    <a:pt x="3170243" y="4007646"/>
                    <a:pt x="3170662" y="4006807"/>
                  </a:cubicBezTo>
                  <a:close/>
                  <a:moveTo>
                    <a:pt x="419566" y="3980794"/>
                  </a:moveTo>
                  <a:cubicBezTo>
                    <a:pt x="439705" y="3980794"/>
                    <a:pt x="456488" y="3997576"/>
                    <a:pt x="456488" y="4017716"/>
                  </a:cubicBezTo>
                  <a:cubicBezTo>
                    <a:pt x="456488" y="4037855"/>
                    <a:pt x="439705" y="4054637"/>
                    <a:pt x="419566" y="4054637"/>
                  </a:cubicBezTo>
                  <a:cubicBezTo>
                    <a:pt x="399427" y="4054637"/>
                    <a:pt x="382644" y="4037855"/>
                    <a:pt x="382644" y="4017716"/>
                  </a:cubicBezTo>
                  <a:cubicBezTo>
                    <a:pt x="382644" y="3997576"/>
                    <a:pt x="399427" y="3980794"/>
                    <a:pt x="419566" y="3980794"/>
                  </a:cubicBezTo>
                  <a:close/>
                  <a:moveTo>
                    <a:pt x="912976" y="3974081"/>
                  </a:moveTo>
                  <a:cubicBezTo>
                    <a:pt x="929758" y="3974081"/>
                    <a:pt x="946541" y="3987507"/>
                    <a:pt x="946541" y="4007646"/>
                  </a:cubicBezTo>
                  <a:cubicBezTo>
                    <a:pt x="946541" y="4024429"/>
                    <a:pt x="933115" y="4041211"/>
                    <a:pt x="912976" y="4041211"/>
                  </a:cubicBezTo>
                  <a:cubicBezTo>
                    <a:pt x="892837" y="4041211"/>
                    <a:pt x="876054" y="4024429"/>
                    <a:pt x="879410" y="4007646"/>
                  </a:cubicBezTo>
                  <a:cubicBezTo>
                    <a:pt x="879410" y="3990863"/>
                    <a:pt x="892837" y="3974081"/>
                    <a:pt x="912976" y="3974081"/>
                  </a:cubicBezTo>
                  <a:close/>
                  <a:moveTo>
                    <a:pt x="2802702" y="3970724"/>
                  </a:moveTo>
                  <a:cubicBezTo>
                    <a:pt x="2809416" y="3970724"/>
                    <a:pt x="2812772" y="3974081"/>
                    <a:pt x="2812772" y="3980794"/>
                  </a:cubicBezTo>
                  <a:cubicBezTo>
                    <a:pt x="2812772" y="3987507"/>
                    <a:pt x="2809416" y="3990863"/>
                    <a:pt x="2802702" y="3990863"/>
                  </a:cubicBezTo>
                  <a:cubicBezTo>
                    <a:pt x="2799346" y="3990863"/>
                    <a:pt x="2795990" y="3987507"/>
                    <a:pt x="2792633" y="3980794"/>
                  </a:cubicBezTo>
                  <a:cubicBezTo>
                    <a:pt x="2792633" y="3974081"/>
                    <a:pt x="2795990" y="3970724"/>
                    <a:pt x="2802702" y="3970724"/>
                  </a:cubicBezTo>
                  <a:close/>
                  <a:moveTo>
                    <a:pt x="1413099" y="3953941"/>
                  </a:moveTo>
                  <a:cubicBezTo>
                    <a:pt x="1433238" y="3953941"/>
                    <a:pt x="1450020" y="3970724"/>
                    <a:pt x="1450020" y="3990863"/>
                  </a:cubicBezTo>
                  <a:cubicBezTo>
                    <a:pt x="1450020" y="4011003"/>
                    <a:pt x="1433238" y="4027785"/>
                    <a:pt x="1413099" y="4027785"/>
                  </a:cubicBezTo>
                  <a:cubicBezTo>
                    <a:pt x="1392960" y="4027785"/>
                    <a:pt x="1372821" y="4011003"/>
                    <a:pt x="1376178" y="3990863"/>
                  </a:cubicBezTo>
                  <a:cubicBezTo>
                    <a:pt x="1376178" y="3970724"/>
                    <a:pt x="1392960" y="3953941"/>
                    <a:pt x="1413099" y="3953941"/>
                  </a:cubicBezTo>
                  <a:close/>
                  <a:moveTo>
                    <a:pt x="1926649" y="3947228"/>
                  </a:moveTo>
                  <a:cubicBezTo>
                    <a:pt x="1936718" y="3947228"/>
                    <a:pt x="1946788" y="3957298"/>
                    <a:pt x="1946788" y="3967368"/>
                  </a:cubicBezTo>
                  <a:cubicBezTo>
                    <a:pt x="1946788" y="3977437"/>
                    <a:pt x="1936718" y="3987507"/>
                    <a:pt x="1926649" y="3987507"/>
                  </a:cubicBezTo>
                  <a:cubicBezTo>
                    <a:pt x="1916579" y="3987507"/>
                    <a:pt x="1906510" y="3977437"/>
                    <a:pt x="1906510" y="3967368"/>
                  </a:cubicBezTo>
                  <a:cubicBezTo>
                    <a:pt x="1906510" y="3957298"/>
                    <a:pt x="1916579" y="3947228"/>
                    <a:pt x="1926649" y="3947228"/>
                  </a:cubicBezTo>
                  <a:close/>
                  <a:moveTo>
                    <a:pt x="2460337" y="3927089"/>
                  </a:moveTo>
                  <a:cubicBezTo>
                    <a:pt x="2463694" y="3927089"/>
                    <a:pt x="2467050" y="3930446"/>
                    <a:pt x="2467050" y="3933802"/>
                  </a:cubicBezTo>
                  <a:cubicBezTo>
                    <a:pt x="2467050" y="3937159"/>
                    <a:pt x="2463694" y="3940515"/>
                    <a:pt x="2460337" y="3940515"/>
                  </a:cubicBezTo>
                  <a:cubicBezTo>
                    <a:pt x="2453624" y="3940515"/>
                    <a:pt x="2450267" y="3937159"/>
                    <a:pt x="2453624" y="3933802"/>
                  </a:cubicBezTo>
                  <a:cubicBezTo>
                    <a:pt x="2453624" y="3930446"/>
                    <a:pt x="2456980" y="3927089"/>
                    <a:pt x="2460337" y="3927089"/>
                  </a:cubicBezTo>
                  <a:close/>
                  <a:moveTo>
                    <a:pt x="137618" y="3927089"/>
                  </a:moveTo>
                  <a:cubicBezTo>
                    <a:pt x="137618" y="3927089"/>
                    <a:pt x="140975" y="3927089"/>
                    <a:pt x="137618" y="3930446"/>
                  </a:cubicBezTo>
                  <a:cubicBezTo>
                    <a:pt x="137618" y="3928767"/>
                    <a:pt x="137618" y="3928767"/>
                    <a:pt x="137618" y="3929187"/>
                  </a:cubicBezTo>
                  <a:close/>
                  <a:moveTo>
                    <a:pt x="624315" y="3890167"/>
                  </a:moveTo>
                  <a:cubicBezTo>
                    <a:pt x="640998" y="3890167"/>
                    <a:pt x="654524" y="3903693"/>
                    <a:pt x="654524" y="3920376"/>
                  </a:cubicBezTo>
                  <a:cubicBezTo>
                    <a:pt x="654524" y="3937060"/>
                    <a:pt x="640998" y="3950585"/>
                    <a:pt x="624315" y="3950585"/>
                  </a:cubicBezTo>
                  <a:cubicBezTo>
                    <a:pt x="607631" y="3950585"/>
                    <a:pt x="594106" y="3937060"/>
                    <a:pt x="594106" y="3920376"/>
                  </a:cubicBezTo>
                  <a:cubicBezTo>
                    <a:pt x="594106" y="3903693"/>
                    <a:pt x="607631" y="3890167"/>
                    <a:pt x="624315" y="3890167"/>
                  </a:cubicBezTo>
                  <a:close/>
                  <a:moveTo>
                    <a:pt x="1114368" y="3873385"/>
                  </a:moveTo>
                  <a:cubicBezTo>
                    <a:pt x="1131151" y="3873385"/>
                    <a:pt x="1147933" y="3886811"/>
                    <a:pt x="1147933" y="3906950"/>
                  </a:cubicBezTo>
                  <a:cubicBezTo>
                    <a:pt x="1147933" y="3923733"/>
                    <a:pt x="1134507" y="3940515"/>
                    <a:pt x="1114368" y="3940515"/>
                  </a:cubicBezTo>
                  <a:cubicBezTo>
                    <a:pt x="1097585" y="3940515"/>
                    <a:pt x="1080803" y="3927089"/>
                    <a:pt x="1080803" y="3906950"/>
                  </a:cubicBezTo>
                  <a:cubicBezTo>
                    <a:pt x="1080803" y="3890167"/>
                    <a:pt x="1094229" y="3873385"/>
                    <a:pt x="1114368" y="3873385"/>
                  </a:cubicBezTo>
                  <a:close/>
                  <a:moveTo>
                    <a:pt x="3017521" y="3866671"/>
                  </a:moveTo>
                  <a:cubicBezTo>
                    <a:pt x="3020878" y="3866671"/>
                    <a:pt x="3024234" y="3870028"/>
                    <a:pt x="3024234" y="3873385"/>
                  </a:cubicBezTo>
                  <a:cubicBezTo>
                    <a:pt x="3024234" y="3876741"/>
                    <a:pt x="3020878" y="3880098"/>
                    <a:pt x="3017521" y="3880098"/>
                  </a:cubicBezTo>
                  <a:cubicBezTo>
                    <a:pt x="3014164" y="3880098"/>
                    <a:pt x="3010808" y="3876741"/>
                    <a:pt x="3010808" y="3873385"/>
                  </a:cubicBezTo>
                  <a:cubicBezTo>
                    <a:pt x="3010808" y="3870028"/>
                    <a:pt x="3014164" y="3866671"/>
                    <a:pt x="3017521" y="3866671"/>
                  </a:cubicBezTo>
                  <a:close/>
                  <a:moveTo>
                    <a:pt x="1617847" y="3859958"/>
                  </a:moveTo>
                  <a:cubicBezTo>
                    <a:pt x="1634630" y="3859958"/>
                    <a:pt x="1651413" y="3873385"/>
                    <a:pt x="1651413" y="3893524"/>
                  </a:cubicBezTo>
                  <a:cubicBezTo>
                    <a:pt x="1651413" y="3910306"/>
                    <a:pt x="1637986" y="3927089"/>
                    <a:pt x="1617847" y="3927089"/>
                  </a:cubicBezTo>
                  <a:cubicBezTo>
                    <a:pt x="1597708" y="3927089"/>
                    <a:pt x="1580925" y="3910306"/>
                    <a:pt x="1584282" y="3893524"/>
                  </a:cubicBezTo>
                  <a:cubicBezTo>
                    <a:pt x="1584282" y="3876741"/>
                    <a:pt x="1601065" y="3859958"/>
                    <a:pt x="1617847" y="3859958"/>
                  </a:cubicBezTo>
                  <a:close/>
                  <a:moveTo>
                    <a:pt x="2131396" y="3853245"/>
                  </a:moveTo>
                  <a:cubicBezTo>
                    <a:pt x="2138110" y="3853245"/>
                    <a:pt x="2144822" y="3859958"/>
                    <a:pt x="2144822" y="3866671"/>
                  </a:cubicBezTo>
                  <a:cubicBezTo>
                    <a:pt x="2144822" y="3873385"/>
                    <a:pt x="2138110" y="3880098"/>
                    <a:pt x="2131396" y="3880098"/>
                  </a:cubicBezTo>
                  <a:cubicBezTo>
                    <a:pt x="2124683" y="3880098"/>
                    <a:pt x="2117970" y="3876741"/>
                    <a:pt x="2117970" y="3866671"/>
                  </a:cubicBezTo>
                  <a:cubicBezTo>
                    <a:pt x="2117970" y="3859958"/>
                    <a:pt x="2124683" y="3853245"/>
                    <a:pt x="2131396" y="3853245"/>
                  </a:cubicBezTo>
                  <a:close/>
                  <a:moveTo>
                    <a:pt x="2668441" y="3823036"/>
                  </a:moveTo>
                  <a:cubicBezTo>
                    <a:pt x="2671798" y="3823036"/>
                    <a:pt x="2675154" y="3826393"/>
                    <a:pt x="2675154" y="3829750"/>
                  </a:cubicBezTo>
                  <a:cubicBezTo>
                    <a:pt x="2675154" y="3833106"/>
                    <a:pt x="2671798" y="3836463"/>
                    <a:pt x="2668441" y="3836463"/>
                  </a:cubicBezTo>
                  <a:cubicBezTo>
                    <a:pt x="2665084" y="3836463"/>
                    <a:pt x="2661728" y="3833106"/>
                    <a:pt x="2661728" y="3829750"/>
                  </a:cubicBezTo>
                  <a:cubicBezTo>
                    <a:pt x="2661728" y="3826393"/>
                    <a:pt x="2665084" y="3823036"/>
                    <a:pt x="2668441" y="3823036"/>
                  </a:cubicBezTo>
                  <a:close/>
                  <a:moveTo>
                    <a:pt x="342366" y="3792828"/>
                  </a:moveTo>
                  <a:cubicBezTo>
                    <a:pt x="362505" y="3792828"/>
                    <a:pt x="379288" y="3809610"/>
                    <a:pt x="379288" y="3829750"/>
                  </a:cubicBezTo>
                  <a:cubicBezTo>
                    <a:pt x="379288" y="3849889"/>
                    <a:pt x="362505" y="3866671"/>
                    <a:pt x="342366" y="3866671"/>
                  </a:cubicBezTo>
                  <a:cubicBezTo>
                    <a:pt x="322226" y="3866671"/>
                    <a:pt x="305444" y="3849889"/>
                    <a:pt x="305444" y="3829750"/>
                  </a:cubicBezTo>
                  <a:cubicBezTo>
                    <a:pt x="305444" y="3809610"/>
                    <a:pt x="322226" y="3792828"/>
                    <a:pt x="342366" y="3792828"/>
                  </a:cubicBezTo>
                  <a:close/>
                  <a:moveTo>
                    <a:pt x="829063" y="3789471"/>
                  </a:moveTo>
                  <a:cubicBezTo>
                    <a:pt x="845846" y="3789471"/>
                    <a:pt x="859272" y="3802897"/>
                    <a:pt x="859272" y="3819680"/>
                  </a:cubicBezTo>
                  <a:cubicBezTo>
                    <a:pt x="859272" y="3836463"/>
                    <a:pt x="845846" y="3849889"/>
                    <a:pt x="829063" y="3849889"/>
                  </a:cubicBezTo>
                  <a:cubicBezTo>
                    <a:pt x="812281" y="3849889"/>
                    <a:pt x="798855" y="3836463"/>
                    <a:pt x="798855" y="3819680"/>
                  </a:cubicBezTo>
                  <a:cubicBezTo>
                    <a:pt x="798855" y="3802897"/>
                    <a:pt x="812281" y="3789471"/>
                    <a:pt x="829063" y="3789471"/>
                  </a:cubicBezTo>
                  <a:close/>
                  <a:moveTo>
                    <a:pt x="1822596" y="3776045"/>
                  </a:moveTo>
                  <a:cubicBezTo>
                    <a:pt x="1832666" y="3776045"/>
                    <a:pt x="1839379" y="3782758"/>
                    <a:pt x="1839379" y="3792828"/>
                  </a:cubicBezTo>
                  <a:cubicBezTo>
                    <a:pt x="1839379" y="3802897"/>
                    <a:pt x="1832666" y="3809610"/>
                    <a:pt x="1822596" y="3809610"/>
                  </a:cubicBezTo>
                  <a:cubicBezTo>
                    <a:pt x="1812526" y="3809610"/>
                    <a:pt x="1805813" y="3802897"/>
                    <a:pt x="1805813" y="3792828"/>
                  </a:cubicBezTo>
                  <a:cubicBezTo>
                    <a:pt x="1805813" y="3782758"/>
                    <a:pt x="1812526" y="3776045"/>
                    <a:pt x="1822596" y="3776045"/>
                  </a:cubicBezTo>
                  <a:close/>
                  <a:moveTo>
                    <a:pt x="1319117" y="3769333"/>
                  </a:moveTo>
                  <a:cubicBezTo>
                    <a:pt x="1339256" y="3769333"/>
                    <a:pt x="1359395" y="3786116"/>
                    <a:pt x="1359395" y="3809611"/>
                  </a:cubicBezTo>
                  <a:cubicBezTo>
                    <a:pt x="1359395" y="3829751"/>
                    <a:pt x="1342612" y="3849890"/>
                    <a:pt x="1319117" y="3849890"/>
                  </a:cubicBezTo>
                  <a:cubicBezTo>
                    <a:pt x="1295621" y="3849890"/>
                    <a:pt x="1278838" y="3833107"/>
                    <a:pt x="1278838" y="3809611"/>
                  </a:cubicBezTo>
                  <a:cubicBezTo>
                    <a:pt x="1278838" y="3789472"/>
                    <a:pt x="1298977" y="3769333"/>
                    <a:pt x="1319117" y="3769333"/>
                  </a:cubicBezTo>
                  <a:close/>
                  <a:moveTo>
                    <a:pt x="2339502" y="3755906"/>
                  </a:moveTo>
                  <a:cubicBezTo>
                    <a:pt x="2346215" y="3755906"/>
                    <a:pt x="2349571" y="3762619"/>
                    <a:pt x="2349571" y="3765975"/>
                  </a:cubicBezTo>
                  <a:cubicBezTo>
                    <a:pt x="2349571" y="3772688"/>
                    <a:pt x="2346215" y="3776045"/>
                    <a:pt x="2339502" y="3776045"/>
                  </a:cubicBezTo>
                  <a:cubicBezTo>
                    <a:pt x="2332788" y="3776045"/>
                    <a:pt x="2329432" y="3772688"/>
                    <a:pt x="2329432" y="3765975"/>
                  </a:cubicBezTo>
                  <a:cubicBezTo>
                    <a:pt x="2329432" y="3759262"/>
                    <a:pt x="2336145" y="3755906"/>
                    <a:pt x="2339502" y="3755906"/>
                  </a:cubicBezTo>
                  <a:close/>
                  <a:moveTo>
                    <a:pt x="70487" y="3732410"/>
                  </a:moveTo>
                  <a:cubicBezTo>
                    <a:pt x="70487" y="3732410"/>
                    <a:pt x="73844" y="3732410"/>
                    <a:pt x="73844" y="3735767"/>
                  </a:cubicBezTo>
                  <a:cubicBezTo>
                    <a:pt x="73844" y="3735767"/>
                    <a:pt x="73844" y="3739123"/>
                    <a:pt x="70487" y="3739123"/>
                  </a:cubicBezTo>
                  <a:cubicBezTo>
                    <a:pt x="67131" y="3739123"/>
                    <a:pt x="67131" y="3739123"/>
                    <a:pt x="67131" y="3735767"/>
                  </a:cubicBezTo>
                  <a:cubicBezTo>
                    <a:pt x="67131" y="3735767"/>
                    <a:pt x="70487" y="3732410"/>
                    <a:pt x="70487" y="3732410"/>
                  </a:cubicBezTo>
                  <a:close/>
                  <a:moveTo>
                    <a:pt x="2876546" y="3718985"/>
                  </a:moveTo>
                  <a:cubicBezTo>
                    <a:pt x="2879903" y="3718985"/>
                    <a:pt x="2883260" y="3722341"/>
                    <a:pt x="2883260" y="3725698"/>
                  </a:cubicBezTo>
                  <a:cubicBezTo>
                    <a:pt x="2883260" y="3729055"/>
                    <a:pt x="2879903" y="3732411"/>
                    <a:pt x="2876546" y="3732411"/>
                  </a:cubicBezTo>
                  <a:cubicBezTo>
                    <a:pt x="2876546" y="3732411"/>
                    <a:pt x="2869833" y="3729055"/>
                    <a:pt x="2869833" y="3725698"/>
                  </a:cubicBezTo>
                  <a:cubicBezTo>
                    <a:pt x="2869833" y="3722341"/>
                    <a:pt x="2873190" y="3718985"/>
                    <a:pt x="2876546" y="3718985"/>
                  </a:cubicBezTo>
                  <a:close/>
                  <a:moveTo>
                    <a:pt x="550471" y="3698845"/>
                  </a:moveTo>
                  <a:cubicBezTo>
                    <a:pt x="567254" y="3698845"/>
                    <a:pt x="580680" y="3712271"/>
                    <a:pt x="580680" y="3729053"/>
                  </a:cubicBezTo>
                  <a:cubicBezTo>
                    <a:pt x="580680" y="3745836"/>
                    <a:pt x="567254" y="3759262"/>
                    <a:pt x="550471" y="3759262"/>
                  </a:cubicBezTo>
                  <a:cubicBezTo>
                    <a:pt x="533688" y="3759262"/>
                    <a:pt x="520262" y="3745836"/>
                    <a:pt x="520262" y="3729053"/>
                  </a:cubicBezTo>
                  <a:cubicBezTo>
                    <a:pt x="520262" y="3712271"/>
                    <a:pt x="533688" y="3698845"/>
                    <a:pt x="550471" y="3698845"/>
                  </a:cubicBezTo>
                  <a:close/>
                  <a:moveTo>
                    <a:pt x="1033811" y="3685420"/>
                  </a:moveTo>
                  <a:cubicBezTo>
                    <a:pt x="1053950" y="3685420"/>
                    <a:pt x="1070733" y="3702202"/>
                    <a:pt x="1070733" y="3722341"/>
                  </a:cubicBezTo>
                  <a:cubicBezTo>
                    <a:pt x="1070733" y="3742481"/>
                    <a:pt x="1053950" y="3759263"/>
                    <a:pt x="1033811" y="3759263"/>
                  </a:cubicBezTo>
                  <a:cubicBezTo>
                    <a:pt x="1010315" y="3759263"/>
                    <a:pt x="996889" y="3742481"/>
                    <a:pt x="996889" y="3722341"/>
                  </a:cubicBezTo>
                  <a:cubicBezTo>
                    <a:pt x="996889" y="3702202"/>
                    <a:pt x="1013672" y="3685420"/>
                    <a:pt x="1033811" y="3685420"/>
                  </a:cubicBezTo>
                  <a:close/>
                  <a:moveTo>
                    <a:pt x="2027345" y="3678707"/>
                  </a:moveTo>
                  <a:cubicBezTo>
                    <a:pt x="2037414" y="3678707"/>
                    <a:pt x="2044128" y="3685420"/>
                    <a:pt x="2044128" y="3695489"/>
                  </a:cubicBezTo>
                  <a:cubicBezTo>
                    <a:pt x="2044128" y="3705559"/>
                    <a:pt x="2037414" y="3712272"/>
                    <a:pt x="2027345" y="3712272"/>
                  </a:cubicBezTo>
                  <a:cubicBezTo>
                    <a:pt x="2017275" y="3712272"/>
                    <a:pt x="2010562" y="3702202"/>
                    <a:pt x="2010562" y="3695489"/>
                  </a:cubicBezTo>
                  <a:cubicBezTo>
                    <a:pt x="2010562" y="3685420"/>
                    <a:pt x="2017275" y="3678707"/>
                    <a:pt x="2027345" y="3678707"/>
                  </a:cubicBezTo>
                  <a:close/>
                  <a:moveTo>
                    <a:pt x="1523864" y="3678707"/>
                  </a:moveTo>
                  <a:cubicBezTo>
                    <a:pt x="1540647" y="3678707"/>
                    <a:pt x="1554073" y="3692133"/>
                    <a:pt x="1554073" y="3708915"/>
                  </a:cubicBezTo>
                  <a:cubicBezTo>
                    <a:pt x="1554073" y="3725698"/>
                    <a:pt x="1540647" y="3739124"/>
                    <a:pt x="1523864" y="3739124"/>
                  </a:cubicBezTo>
                  <a:cubicBezTo>
                    <a:pt x="1507082" y="3739124"/>
                    <a:pt x="1493656" y="3725698"/>
                    <a:pt x="1493656" y="3708915"/>
                  </a:cubicBezTo>
                  <a:cubicBezTo>
                    <a:pt x="1493656" y="3692133"/>
                    <a:pt x="1507082" y="3678707"/>
                    <a:pt x="1523864" y="3678707"/>
                  </a:cubicBezTo>
                  <a:close/>
                  <a:moveTo>
                    <a:pt x="2544250" y="3661924"/>
                  </a:moveTo>
                  <a:cubicBezTo>
                    <a:pt x="2547607" y="3661924"/>
                    <a:pt x="2550963" y="3665281"/>
                    <a:pt x="2550963" y="3668637"/>
                  </a:cubicBezTo>
                  <a:cubicBezTo>
                    <a:pt x="2550963" y="3671994"/>
                    <a:pt x="2547607" y="3675350"/>
                    <a:pt x="2544250" y="3675350"/>
                  </a:cubicBezTo>
                  <a:cubicBezTo>
                    <a:pt x="2540894" y="3675350"/>
                    <a:pt x="2537537" y="3671994"/>
                    <a:pt x="2537537" y="3668637"/>
                  </a:cubicBezTo>
                  <a:cubicBezTo>
                    <a:pt x="2537537" y="3665281"/>
                    <a:pt x="2540894" y="3661924"/>
                    <a:pt x="2544250" y="3661924"/>
                  </a:cubicBezTo>
                  <a:close/>
                  <a:moveTo>
                    <a:pt x="755220" y="3601509"/>
                  </a:moveTo>
                  <a:cubicBezTo>
                    <a:pt x="771903" y="3601509"/>
                    <a:pt x="785428" y="3615035"/>
                    <a:pt x="785428" y="3631715"/>
                  </a:cubicBezTo>
                  <a:cubicBezTo>
                    <a:pt x="785428" y="3648399"/>
                    <a:pt x="771903" y="3661924"/>
                    <a:pt x="755220" y="3661924"/>
                  </a:cubicBezTo>
                  <a:cubicBezTo>
                    <a:pt x="738536" y="3661924"/>
                    <a:pt x="725011" y="3648399"/>
                    <a:pt x="725011" y="3631715"/>
                  </a:cubicBezTo>
                  <a:cubicBezTo>
                    <a:pt x="725011" y="3615035"/>
                    <a:pt x="738536" y="3601509"/>
                    <a:pt x="755220" y="3601509"/>
                  </a:cubicBezTo>
                  <a:close/>
                  <a:moveTo>
                    <a:pt x="275236" y="3601509"/>
                  </a:moveTo>
                  <a:cubicBezTo>
                    <a:pt x="295375" y="3601509"/>
                    <a:pt x="312158" y="3618291"/>
                    <a:pt x="312158" y="3638428"/>
                  </a:cubicBezTo>
                  <a:cubicBezTo>
                    <a:pt x="312158" y="3658568"/>
                    <a:pt x="295375" y="3675350"/>
                    <a:pt x="275236" y="3675350"/>
                  </a:cubicBezTo>
                  <a:cubicBezTo>
                    <a:pt x="255097" y="3675350"/>
                    <a:pt x="238314" y="3658568"/>
                    <a:pt x="238314" y="3638428"/>
                  </a:cubicBezTo>
                  <a:cubicBezTo>
                    <a:pt x="238314" y="3618291"/>
                    <a:pt x="255097" y="3601509"/>
                    <a:pt x="275236" y="3601509"/>
                  </a:cubicBezTo>
                  <a:close/>
                  <a:moveTo>
                    <a:pt x="2228736" y="3591438"/>
                  </a:moveTo>
                  <a:cubicBezTo>
                    <a:pt x="2232092" y="3591438"/>
                    <a:pt x="2235449" y="3594798"/>
                    <a:pt x="2235449" y="3598153"/>
                  </a:cubicBezTo>
                  <a:cubicBezTo>
                    <a:pt x="2235449" y="3601509"/>
                    <a:pt x="2232092" y="3604864"/>
                    <a:pt x="2228736" y="3604864"/>
                  </a:cubicBezTo>
                  <a:cubicBezTo>
                    <a:pt x="2225379" y="3604864"/>
                    <a:pt x="2222023" y="3601509"/>
                    <a:pt x="2222023" y="3598153"/>
                  </a:cubicBezTo>
                  <a:cubicBezTo>
                    <a:pt x="2222023" y="3594798"/>
                    <a:pt x="2225379" y="3591438"/>
                    <a:pt x="2228736" y="3591438"/>
                  </a:cubicBezTo>
                  <a:close/>
                  <a:moveTo>
                    <a:pt x="1728613" y="3591438"/>
                  </a:moveTo>
                  <a:cubicBezTo>
                    <a:pt x="1742039" y="3591438"/>
                    <a:pt x="1748752" y="3601509"/>
                    <a:pt x="1748752" y="3611580"/>
                  </a:cubicBezTo>
                  <a:cubicBezTo>
                    <a:pt x="1748752" y="3621646"/>
                    <a:pt x="1738683" y="3631715"/>
                    <a:pt x="1728613" y="3631715"/>
                  </a:cubicBezTo>
                  <a:cubicBezTo>
                    <a:pt x="1718543" y="3631715"/>
                    <a:pt x="1708474" y="3621646"/>
                    <a:pt x="1708474" y="3611580"/>
                  </a:cubicBezTo>
                  <a:cubicBezTo>
                    <a:pt x="1708474" y="3601509"/>
                    <a:pt x="1718543" y="3591438"/>
                    <a:pt x="1728613" y="3591438"/>
                  </a:cubicBezTo>
                  <a:close/>
                  <a:moveTo>
                    <a:pt x="1235203" y="3584726"/>
                  </a:moveTo>
                  <a:cubicBezTo>
                    <a:pt x="1255342" y="3584726"/>
                    <a:pt x="1275482" y="3601509"/>
                    <a:pt x="1275482" y="3625002"/>
                  </a:cubicBezTo>
                  <a:cubicBezTo>
                    <a:pt x="1275482" y="3645141"/>
                    <a:pt x="1258699" y="3665281"/>
                    <a:pt x="1235203" y="3665281"/>
                  </a:cubicBezTo>
                  <a:cubicBezTo>
                    <a:pt x="1215064" y="3665281"/>
                    <a:pt x="1194925" y="3645141"/>
                    <a:pt x="1194925" y="3625002"/>
                  </a:cubicBezTo>
                  <a:cubicBezTo>
                    <a:pt x="1194925" y="3604864"/>
                    <a:pt x="1211708" y="3584726"/>
                    <a:pt x="1235203" y="3584726"/>
                  </a:cubicBezTo>
                  <a:close/>
                  <a:moveTo>
                    <a:pt x="2749837" y="3567103"/>
                  </a:moveTo>
                  <a:cubicBezTo>
                    <a:pt x="2749837" y="3566263"/>
                    <a:pt x="2750677" y="3566263"/>
                    <a:pt x="2752354" y="3567943"/>
                  </a:cubicBezTo>
                  <a:lnTo>
                    <a:pt x="2752354" y="3570041"/>
                  </a:lnTo>
                  <a:lnTo>
                    <a:pt x="2752354" y="3571299"/>
                  </a:lnTo>
                  <a:cubicBezTo>
                    <a:pt x="2750677" y="3569619"/>
                    <a:pt x="2749837" y="3567943"/>
                    <a:pt x="2749837" y="3567103"/>
                  </a:cubicBezTo>
                  <a:close/>
                  <a:moveTo>
                    <a:pt x="10070" y="3531021"/>
                  </a:moveTo>
                  <a:cubicBezTo>
                    <a:pt x="16783" y="3531021"/>
                    <a:pt x="20139" y="3534378"/>
                    <a:pt x="20139" y="3541090"/>
                  </a:cubicBezTo>
                  <a:cubicBezTo>
                    <a:pt x="20139" y="3547802"/>
                    <a:pt x="16783" y="3551160"/>
                    <a:pt x="10070" y="3551160"/>
                  </a:cubicBezTo>
                  <a:cubicBezTo>
                    <a:pt x="6713" y="3551160"/>
                    <a:pt x="0" y="3547802"/>
                    <a:pt x="0" y="3541090"/>
                  </a:cubicBezTo>
                  <a:cubicBezTo>
                    <a:pt x="0" y="3534378"/>
                    <a:pt x="3357" y="3531021"/>
                    <a:pt x="10070" y="3531021"/>
                  </a:cubicBezTo>
                  <a:close/>
                  <a:moveTo>
                    <a:pt x="483340" y="3510884"/>
                  </a:moveTo>
                  <a:cubicBezTo>
                    <a:pt x="496766" y="3510884"/>
                    <a:pt x="510192" y="3524310"/>
                    <a:pt x="510192" y="3537734"/>
                  </a:cubicBezTo>
                  <a:cubicBezTo>
                    <a:pt x="510192" y="3551160"/>
                    <a:pt x="496766" y="3564584"/>
                    <a:pt x="483340" y="3564584"/>
                  </a:cubicBezTo>
                  <a:cubicBezTo>
                    <a:pt x="469914" y="3564584"/>
                    <a:pt x="456488" y="3551160"/>
                    <a:pt x="456488" y="3537734"/>
                  </a:cubicBezTo>
                  <a:cubicBezTo>
                    <a:pt x="456488" y="3524310"/>
                    <a:pt x="469914" y="3510884"/>
                    <a:pt x="483340" y="3510884"/>
                  </a:cubicBezTo>
                  <a:close/>
                  <a:moveTo>
                    <a:pt x="1930005" y="3504169"/>
                  </a:moveTo>
                  <a:cubicBezTo>
                    <a:pt x="1933362" y="3504169"/>
                    <a:pt x="1940075" y="3507528"/>
                    <a:pt x="1940075" y="3514242"/>
                  </a:cubicBezTo>
                  <a:cubicBezTo>
                    <a:pt x="1940075" y="3517598"/>
                    <a:pt x="1936718" y="3524310"/>
                    <a:pt x="1930005" y="3524310"/>
                  </a:cubicBezTo>
                  <a:cubicBezTo>
                    <a:pt x="1926649" y="3524310"/>
                    <a:pt x="1919936" y="3520955"/>
                    <a:pt x="1919936" y="3514242"/>
                  </a:cubicBezTo>
                  <a:cubicBezTo>
                    <a:pt x="1919936" y="3510884"/>
                    <a:pt x="1923292" y="3504169"/>
                    <a:pt x="1930005" y="3504169"/>
                  </a:cubicBezTo>
                  <a:close/>
                  <a:moveTo>
                    <a:pt x="1439952" y="3504169"/>
                  </a:moveTo>
                  <a:cubicBezTo>
                    <a:pt x="1453378" y="3504169"/>
                    <a:pt x="1463448" y="3514242"/>
                    <a:pt x="1463448" y="3527666"/>
                  </a:cubicBezTo>
                  <a:cubicBezTo>
                    <a:pt x="1463448" y="3541090"/>
                    <a:pt x="1453378" y="3551160"/>
                    <a:pt x="1439952" y="3551160"/>
                  </a:cubicBezTo>
                  <a:cubicBezTo>
                    <a:pt x="1426526" y="3551160"/>
                    <a:pt x="1416456" y="3537734"/>
                    <a:pt x="1416456" y="3527666"/>
                  </a:cubicBezTo>
                  <a:cubicBezTo>
                    <a:pt x="1416456" y="3514242"/>
                    <a:pt x="1426526" y="3504169"/>
                    <a:pt x="1439952" y="3504169"/>
                  </a:cubicBezTo>
                  <a:close/>
                  <a:moveTo>
                    <a:pt x="959967" y="3500813"/>
                  </a:moveTo>
                  <a:cubicBezTo>
                    <a:pt x="976750" y="3500813"/>
                    <a:pt x="990176" y="3514242"/>
                    <a:pt x="990176" y="3531021"/>
                  </a:cubicBezTo>
                  <a:cubicBezTo>
                    <a:pt x="990176" y="3547802"/>
                    <a:pt x="976750" y="3561228"/>
                    <a:pt x="959967" y="3561228"/>
                  </a:cubicBezTo>
                  <a:cubicBezTo>
                    <a:pt x="943185" y="3561228"/>
                    <a:pt x="929758" y="3547802"/>
                    <a:pt x="929758" y="3531021"/>
                  </a:cubicBezTo>
                  <a:cubicBezTo>
                    <a:pt x="929758" y="3514242"/>
                    <a:pt x="943185" y="3500813"/>
                    <a:pt x="959967" y="3500813"/>
                  </a:cubicBezTo>
                  <a:close/>
                  <a:moveTo>
                    <a:pt x="2433484" y="3487389"/>
                  </a:moveTo>
                  <a:cubicBezTo>
                    <a:pt x="2440198" y="3487389"/>
                    <a:pt x="2443554" y="3490747"/>
                    <a:pt x="2443554" y="3497458"/>
                  </a:cubicBezTo>
                  <a:cubicBezTo>
                    <a:pt x="2443554" y="3504169"/>
                    <a:pt x="2436841" y="3507528"/>
                    <a:pt x="2433484" y="3507528"/>
                  </a:cubicBezTo>
                  <a:cubicBezTo>
                    <a:pt x="2430128" y="3507528"/>
                    <a:pt x="2426772" y="3500813"/>
                    <a:pt x="2423415" y="3497458"/>
                  </a:cubicBezTo>
                  <a:cubicBezTo>
                    <a:pt x="2423415" y="3490747"/>
                    <a:pt x="2430128" y="3487389"/>
                    <a:pt x="2433484" y="3487389"/>
                  </a:cubicBezTo>
                  <a:close/>
                  <a:moveTo>
                    <a:pt x="218175" y="3430330"/>
                  </a:moveTo>
                  <a:cubicBezTo>
                    <a:pt x="224888" y="3430330"/>
                    <a:pt x="228244" y="3433688"/>
                    <a:pt x="228244" y="3440398"/>
                  </a:cubicBezTo>
                  <a:cubicBezTo>
                    <a:pt x="228244" y="3447112"/>
                    <a:pt x="224888" y="3450468"/>
                    <a:pt x="218175" y="3450468"/>
                  </a:cubicBezTo>
                  <a:cubicBezTo>
                    <a:pt x="211462" y="3450468"/>
                    <a:pt x="208105" y="3447112"/>
                    <a:pt x="208105" y="3440398"/>
                  </a:cubicBezTo>
                  <a:cubicBezTo>
                    <a:pt x="208105" y="3433688"/>
                    <a:pt x="211462" y="3430330"/>
                    <a:pt x="218175" y="3430330"/>
                  </a:cubicBezTo>
                  <a:close/>
                  <a:moveTo>
                    <a:pt x="2134753" y="3410193"/>
                  </a:moveTo>
                  <a:cubicBezTo>
                    <a:pt x="2138110" y="3410193"/>
                    <a:pt x="2141466" y="3413547"/>
                    <a:pt x="2141466" y="3416903"/>
                  </a:cubicBezTo>
                  <a:cubicBezTo>
                    <a:pt x="2141466" y="3420259"/>
                    <a:pt x="2138110" y="3423617"/>
                    <a:pt x="2134753" y="3423617"/>
                  </a:cubicBezTo>
                  <a:cubicBezTo>
                    <a:pt x="2131396" y="3423617"/>
                    <a:pt x="2128040" y="3420259"/>
                    <a:pt x="2128040" y="3416903"/>
                  </a:cubicBezTo>
                  <a:cubicBezTo>
                    <a:pt x="2128040" y="3413547"/>
                    <a:pt x="2131396" y="3410193"/>
                    <a:pt x="2134753" y="3410193"/>
                  </a:cubicBezTo>
                  <a:close/>
                  <a:moveTo>
                    <a:pt x="1644700" y="3406837"/>
                  </a:moveTo>
                  <a:cubicBezTo>
                    <a:pt x="1654769" y="3406837"/>
                    <a:pt x="1664839" y="3416903"/>
                    <a:pt x="1664839" y="3426974"/>
                  </a:cubicBezTo>
                  <a:cubicBezTo>
                    <a:pt x="1664839" y="3437045"/>
                    <a:pt x="1654769" y="3447112"/>
                    <a:pt x="1644700" y="3447112"/>
                  </a:cubicBezTo>
                  <a:cubicBezTo>
                    <a:pt x="1634630" y="3447112"/>
                    <a:pt x="1627917" y="3437045"/>
                    <a:pt x="1624560" y="3426974"/>
                  </a:cubicBezTo>
                  <a:cubicBezTo>
                    <a:pt x="1624560" y="3416903"/>
                    <a:pt x="1634630" y="3406837"/>
                    <a:pt x="1644700" y="3406837"/>
                  </a:cubicBezTo>
                  <a:close/>
                  <a:moveTo>
                    <a:pt x="688089" y="3406837"/>
                  </a:moveTo>
                  <a:cubicBezTo>
                    <a:pt x="704872" y="3406837"/>
                    <a:pt x="718298" y="3420259"/>
                    <a:pt x="718298" y="3437045"/>
                  </a:cubicBezTo>
                  <a:cubicBezTo>
                    <a:pt x="718298" y="3453825"/>
                    <a:pt x="704872" y="3467249"/>
                    <a:pt x="688089" y="3467249"/>
                  </a:cubicBezTo>
                  <a:cubicBezTo>
                    <a:pt x="671306" y="3467249"/>
                    <a:pt x="661237" y="3453825"/>
                    <a:pt x="657880" y="3437045"/>
                  </a:cubicBezTo>
                  <a:cubicBezTo>
                    <a:pt x="657880" y="3420259"/>
                    <a:pt x="671306" y="3406837"/>
                    <a:pt x="688089" y="3406837"/>
                  </a:cubicBezTo>
                  <a:close/>
                  <a:moveTo>
                    <a:pt x="1164716" y="3400123"/>
                  </a:moveTo>
                  <a:cubicBezTo>
                    <a:pt x="1184855" y="3400123"/>
                    <a:pt x="1198281" y="3416903"/>
                    <a:pt x="1198281" y="3433688"/>
                  </a:cubicBezTo>
                  <a:cubicBezTo>
                    <a:pt x="1198281" y="3453825"/>
                    <a:pt x="1181499" y="3467249"/>
                    <a:pt x="1164716" y="3467249"/>
                  </a:cubicBezTo>
                  <a:cubicBezTo>
                    <a:pt x="1144577" y="3467249"/>
                    <a:pt x="1131151" y="3453825"/>
                    <a:pt x="1131151" y="3433688"/>
                  </a:cubicBezTo>
                  <a:cubicBezTo>
                    <a:pt x="1131151" y="3413547"/>
                    <a:pt x="1147933" y="3400123"/>
                    <a:pt x="1164716" y="3400123"/>
                  </a:cubicBezTo>
                  <a:close/>
                  <a:moveTo>
                    <a:pt x="2638232" y="3390052"/>
                  </a:moveTo>
                  <a:cubicBezTo>
                    <a:pt x="2641589" y="3390052"/>
                    <a:pt x="2644945" y="3393409"/>
                    <a:pt x="2644945" y="3396767"/>
                  </a:cubicBezTo>
                  <a:cubicBezTo>
                    <a:pt x="2644945" y="3400123"/>
                    <a:pt x="2641589" y="3403479"/>
                    <a:pt x="2638232" y="3403479"/>
                  </a:cubicBezTo>
                  <a:cubicBezTo>
                    <a:pt x="2638232" y="3403479"/>
                    <a:pt x="2634876" y="3400123"/>
                    <a:pt x="2631519" y="3396767"/>
                  </a:cubicBezTo>
                  <a:cubicBezTo>
                    <a:pt x="2631519" y="3393409"/>
                    <a:pt x="2634876" y="3390052"/>
                    <a:pt x="2638232" y="3390052"/>
                  </a:cubicBezTo>
                  <a:close/>
                  <a:moveTo>
                    <a:pt x="1849448" y="3322926"/>
                  </a:moveTo>
                  <a:cubicBezTo>
                    <a:pt x="1852805" y="3322926"/>
                    <a:pt x="1856161" y="3326282"/>
                    <a:pt x="1856161" y="3329641"/>
                  </a:cubicBezTo>
                  <a:cubicBezTo>
                    <a:pt x="1856161" y="3332997"/>
                    <a:pt x="1852805" y="3336355"/>
                    <a:pt x="1849448" y="3336355"/>
                  </a:cubicBezTo>
                  <a:cubicBezTo>
                    <a:pt x="1846092" y="3336355"/>
                    <a:pt x="1842735" y="3332997"/>
                    <a:pt x="1842735" y="3329641"/>
                  </a:cubicBezTo>
                  <a:cubicBezTo>
                    <a:pt x="1842735" y="3326282"/>
                    <a:pt x="1846092" y="3322926"/>
                    <a:pt x="1849448" y="3322926"/>
                  </a:cubicBezTo>
                  <a:close/>
                  <a:moveTo>
                    <a:pt x="1369465" y="3316213"/>
                  </a:moveTo>
                  <a:cubicBezTo>
                    <a:pt x="1379534" y="3316213"/>
                    <a:pt x="1389604" y="3326282"/>
                    <a:pt x="1389604" y="3336355"/>
                  </a:cubicBezTo>
                  <a:cubicBezTo>
                    <a:pt x="1389604" y="3346420"/>
                    <a:pt x="1379534" y="3356491"/>
                    <a:pt x="1369465" y="3356491"/>
                  </a:cubicBezTo>
                  <a:cubicBezTo>
                    <a:pt x="1359395" y="3356491"/>
                    <a:pt x="1349326" y="3346420"/>
                    <a:pt x="1349326" y="3336355"/>
                  </a:cubicBezTo>
                  <a:cubicBezTo>
                    <a:pt x="1349326" y="3326282"/>
                    <a:pt x="1359395" y="3316213"/>
                    <a:pt x="1369465" y="3316213"/>
                  </a:cubicBezTo>
                  <a:close/>
                  <a:moveTo>
                    <a:pt x="896193" y="3316213"/>
                  </a:moveTo>
                  <a:cubicBezTo>
                    <a:pt x="909619" y="3316213"/>
                    <a:pt x="919689" y="3326282"/>
                    <a:pt x="919689" y="3339707"/>
                  </a:cubicBezTo>
                  <a:cubicBezTo>
                    <a:pt x="919689" y="3353134"/>
                    <a:pt x="909619" y="3363206"/>
                    <a:pt x="896193" y="3363206"/>
                  </a:cubicBezTo>
                  <a:cubicBezTo>
                    <a:pt x="882767" y="3363206"/>
                    <a:pt x="872697" y="3353134"/>
                    <a:pt x="872697" y="3339707"/>
                  </a:cubicBezTo>
                  <a:cubicBezTo>
                    <a:pt x="872697" y="3326282"/>
                    <a:pt x="882767" y="3316213"/>
                    <a:pt x="896193" y="3316213"/>
                  </a:cubicBezTo>
                  <a:close/>
                  <a:moveTo>
                    <a:pt x="2339502" y="3312859"/>
                  </a:moveTo>
                  <a:cubicBezTo>
                    <a:pt x="2342858" y="3312859"/>
                    <a:pt x="2346215" y="3316213"/>
                    <a:pt x="2346215" y="3319570"/>
                  </a:cubicBezTo>
                  <a:cubicBezTo>
                    <a:pt x="2346215" y="3322926"/>
                    <a:pt x="2342858" y="3326282"/>
                    <a:pt x="2339502" y="3326282"/>
                  </a:cubicBezTo>
                  <a:cubicBezTo>
                    <a:pt x="2336145" y="3326282"/>
                    <a:pt x="2332788" y="3322926"/>
                    <a:pt x="2332788" y="3319570"/>
                  </a:cubicBezTo>
                  <a:cubicBezTo>
                    <a:pt x="2332788" y="3316213"/>
                    <a:pt x="2336145" y="3312859"/>
                    <a:pt x="2339502" y="3312859"/>
                  </a:cubicBezTo>
                  <a:close/>
                  <a:moveTo>
                    <a:pt x="426279" y="3309498"/>
                  </a:moveTo>
                  <a:cubicBezTo>
                    <a:pt x="443062" y="3309498"/>
                    <a:pt x="456488" y="3322926"/>
                    <a:pt x="456488" y="3339707"/>
                  </a:cubicBezTo>
                  <a:cubicBezTo>
                    <a:pt x="456488" y="3356491"/>
                    <a:pt x="443062" y="3369914"/>
                    <a:pt x="426279" y="3369914"/>
                  </a:cubicBezTo>
                  <a:cubicBezTo>
                    <a:pt x="409496" y="3369914"/>
                    <a:pt x="396070" y="3359849"/>
                    <a:pt x="396070" y="3339707"/>
                  </a:cubicBezTo>
                  <a:cubicBezTo>
                    <a:pt x="396070" y="3322926"/>
                    <a:pt x="409496" y="3309498"/>
                    <a:pt x="426279" y="3309498"/>
                  </a:cubicBezTo>
                  <a:close/>
                  <a:moveTo>
                    <a:pt x="167827" y="3232301"/>
                  </a:moveTo>
                  <a:cubicBezTo>
                    <a:pt x="175242" y="3232301"/>
                    <a:pt x="181253" y="3238311"/>
                    <a:pt x="181253" y="3245730"/>
                  </a:cubicBezTo>
                  <a:cubicBezTo>
                    <a:pt x="181253" y="3253143"/>
                    <a:pt x="175242" y="3259154"/>
                    <a:pt x="167827" y="3259154"/>
                  </a:cubicBezTo>
                  <a:cubicBezTo>
                    <a:pt x="160412" y="3259154"/>
                    <a:pt x="154401" y="3253143"/>
                    <a:pt x="154401" y="3245730"/>
                  </a:cubicBezTo>
                  <a:cubicBezTo>
                    <a:pt x="154401" y="3238311"/>
                    <a:pt x="160412" y="3232301"/>
                    <a:pt x="167827" y="3232301"/>
                  </a:cubicBezTo>
                  <a:close/>
                  <a:moveTo>
                    <a:pt x="2054196" y="3222236"/>
                  </a:moveTo>
                  <a:cubicBezTo>
                    <a:pt x="2057552" y="3222236"/>
                    <a:pt x="2060909" y="3225591"/>
                    <a:pt x="2060909" y="3228948"/>
                  </a:cubicBezTo>
                  <a:cubicBezTo>
                    <a:pt x="2060909" y="3232306"/>
                    <a:pt x="2057552" y="3235663"/>
                    <a:pt x="2054196" y="3235663"/>
                  </a:cubicBezTo>
                  <a:cubicBezTo>
                    <a:pt x="2050840" y="3235663"/>
                    <a:pt x="2047483" y="3232306"/>
                    <a:pt x="2047483" y="3228948"/>
                  </a:cubicBezTo>
                  <a:cubicBezTo>
                    <a:pt x="2047483" y="3225591"/>
                    <a:pt x="2050840" y="3222236"/>
                    <a:pt x="2054196" y="3222236"/>
                  </a:cubicBezTo>
                  <a:close/>
                  <a:moveTo>
                    <a:pt x="1574212" y="3215524"/>
                  </a:moveTo>
                  <a:cubicBezTo>
                    <a:pt x="1584282" y="3215524"/>
                    <a:pt x="1594352" y="3225591"/>
                    <a:pt x="1594352" y="3235663"/>
                  </a:cubicBezTo>
                  <a:cubicBezTo>
                    <a:pt x="1594352" y="3245731"/>
                    <a:pt x="1584282" y="3255801"/>
                    <a:pt x="1574212" y="3255801"/>
                  </a:cubicBezTo>
                  <a:cubicBezTo>
                    <a:pt x="1564143" y="3255801"/>
                    <a:pt x="1554073" y="3245731"/>
                    <a:pt x="1554073" y="3235663"/>
                  </a:cubicBezTo>
                  <a:cubicBezTo>
                    <a:pt x="1554073" y="3225591"/>
                    <a:pt x="1564143" y="3215524"/>
                    <a:pt x="1574212" y="3215524"/>
                  </a:cubicBezTo>
                  <a:close/>
                  <a:moveTo>
                    <a:pt x="634384" y="3215524"/>
                  </a:moveTo>
                  <a:cubicBezTo>
                    <a:pt x="647810" y="3215524"/>
                    <a:pt x="661237" y="3228948"/>
                    <a:pt x="661237" y="3242373"/>
                  </a:cubicBezTo>
                  <a:cubicBezTo>
                    <a:pt x="661237" y="3255801"/>
                    <a:pt x="647810" y="3269225"/>
                    <a:pt x="634384" y="3269225"/>
                  </a:cubicBezTo>
                  <a:cubicBezTo>
                    <a:pt x="620958" y="3269225"/>
                    <a:pt x="607532" y="3259158"/>
                    <a:pt x="607532" y="3242373"/>
                  </a:cubicBezTo>
                  <a:cubicBezTo>
                    <a:pt x="607532" y="3228948"/>
                    <a:pt x="620958" y="3215524"/>
                    <a:pt x="634384" y="3215524"/>
                  </a:cubicBezTo>
                  <a:close/>
                  <a:moveTo>
                    <a:pt x="1100942" y="3202095"/>
                  </a:moveTo>
                  <a:cubicBezTo>
                    <a:pt x="1121081" y="3202095"/>
                    <a:pt x="1137864" y="3218877"/>
                    <a:pt x="1137864" y="3239020"/>
                  </a:cubicBezTo>
                  <a:cubicBezTo>
                    <a:pt x="1137864" y="3259158"/>
                    <a:pt x="1121081" y="3275937"/>
                    <a:pt x="1100942" y="3275937"/>
                  </a:cubicBezTo>
                  <a:cubicBezTo>
                    <a:pt x="1080803" y="3275937"/>
                    <a:pt x="1067376" y="3259158"/>
                    <a:pt x="1064020" y="3239020"/>
                  </a:cubicBezTo>
                  <a:cubicBezTo>
                    <a:pt x="1064020" y="3218877"/>
                    <a:pt x="1080803" y="3202095"/>
                    <a:pt x="1100942" y="3202095"/>
                  </a:cubicBezTo>
                  <a:close/>
                  <a:moveTo>
                    <a:pt x="2258945" y="3124895"/>
                  </a:moveTo>
                  <a:cubicBezTo>
                    <a:pt x="2262301" y="3124895"/>
                    <a:pt x="2265658" y="3128252"/>
                    <a:pt x="2265658" y="3131608"/>
                  </a:cubicBezTo>
                  <a:cubicBezTo>
                    <a:pt x="2265658" y="3134964"/>
                    <a:pt x="2262301" y="3138322"/>
                    <a:pt x="2258945" y="3138322"/>
                  </a:cubicBezTo>
                  <a:cubicBezTo>
                    <a:pt x="2255588" y="3138322"/>
                    <a:pt x="2252232" y="3134964"/>
                    <a:pt x="2252232" y="3131608"/>
                  </a:cubicBezTo>
                  <a:cubicBezTo>
                    <a:pt x="2252232" y="3128252"/>
                    <a:pt x="2255588" y="3124895"/>
                    <a:pt x="2258945" y="3124895"/>
                  </a:cubicBezTo>
                  <a:close/>
                  <a:moveTo>
                    <a:pt x="1782318" y="3124895"/>
                  </a:moveTo>
                  <a:cubicBezTo>
                    <a:pt x="1789031" y="3124895"/>
                    <a:pt x="1792387" y="3131608"/>
                    <a:pt x="1792387" y="3134964"/>
                  </a:cubicBezTo>
                  <a:cubicBezTo>
                    <a:pt x="1792387" y="3141678"/>
                    <a:pt x="1785674" y="3145033"/>
                    <a:pt x="1782318" y="3145033"/>
                  </a:cubicBezTo>
                  <a:cubicBezTo>
                    <a:pt x="1775604" y="3145033"/>
                    <a:pt x="1772248" y="3141678"/>
                    <a:pt x="1772248" y="3134964"/>
                  </a:cubicBezTo>
                  <a:cubicBezTo>
                    <a:pt x="1772248" y="3128252"/>
                    <a:pt x="1778961" y="3124895"/>
                    <a:pt x="1782318" y="3124895"/>
                  </a:cubicBezTo>
                  <a:close/>
                  <a:moveTo>
                    <a:pt x="842490" y="3121541"/>
                  </a:moveTo>
                  <a:cubicBezTo>
                    <a:pt x="855916" y="3121541"/>
                    <a:pt x="862629" y="3131608"/>
                    <a:pt x="862629" y="3141679"/>
                  </a:cubicBezTo>
                  <a:cubicBezTo>
                    <a:pt x="862629" y="3151749"/>
                    <a:pt x="852559" y="3161818"/>
                    <a:pt x="842490" y="3161818"/>
                  </a:cubicBezTo>
                  <a:cubicBezTo>
                    <a:pt x="832420" y="3161818"/>
                    <a:pt x="822350" y="3155106"/>
                    <a:pt x="822350" y="3141679"/>
                  </a:cubicBezTo>
                  <a:cubicBezTo>
                    <a:pt x="822350" y="3131608"/>
                    <a:pt x="832420" y="3121541"/>
                    <a:pt x="842490" y="3121541"/>
                  </a:cubicBezTo>
                  <a:close/>
                  <a:moveTo>
                    <a:pt x="1309047" y="3118183"/>
                  </a:moveTo>
                  <a:cubicBezTo>
                    <a:pt x="1322473" y="3118183"/>
                    <a:pt x="1332543" y="3128252"/>
                    <a:pt x="1332543" y="3141679"/>
                  </a:cubicBezTo>
                  <a:cubicBezTo>
                    <a:pt x="1332543" y="3155106"/>
                    <a:pt x="1322473" y="3165175"/>
                    <a:pt x="1309047" y="3165175"/>
                  </a:cubicBezTo>
                  <a:cubicBezTo>
                    <a:pt x="1295621" y="3165175"/>
                    <a:pt x="1285551" y="3155106"/>
                    <a:pt x="1285551" y="3141679"/>
                  </a:cubicBezTo>
                  <a:cubicBezTo>
                    <a:pt x="1285551" y="3128252"/>
                    <a:pt x="1295621" y="3118183"/>
                    <a:pt x="1309047" y="3118183"/>
                  </a:cubicBezTo>
                  <a:close/>
                  <a:moveTo>
                    <a:pt x="379288" y="3118181"/>
                  </a:moveTo>
                  <a:cubicBezTo>
                    <a:pt x="392714" y="3118181"/>
                    <a:pt x="406140" y="3131608"/>
                    <a:pt x="406140" y="3145033"/>
                  </a:cubicBezTo>
                  <a:cubicBezTo>
                    <a:pt x="406140" y="3158461"/>
                    <a:pt x="392714" y="3171888"/>
                    <a:pt x="379288" y="3171888"/>
                  </a:cubicBezTo>
                  <a:cubicBezTo>
                    <a:pt x="362505" y="3171888"/>
                    <a:pt x="352435" y="3158461"/>
                    <a:pt x="352435" y="3145033"/>
                  </a:cubicBezTo>
                  <a:cubicBezTo>
                    <a:pt x="352435" y="3131608"/>
                    <a:pt x="365861" y="3118181"/>
                    <a:pt x="379288" y="3118181"/>
                  </a:cubicBezTo>
                  <a:close/>
                  <a:moveTo>
                    <a:pt x="127548" y="3034265"/>
                  </a:moveTo>
                  <a:cubicBezTo>
                    <a:pt x="134261" y="3034265"/>
                    <a:pt x="137618" y="3040978"/>
                    <a:pt x="137618" y="3044336"/>
                  </a:cubicBezTo>
                  <a:cubicBezTo>
                    <a:pt x="137618" y="3051051"/>
                    <a:pt x="130905" y="3054407"/>
                    <a:pt x="127548" y="3054407"/>
                  </a:cubicBezTo>
                  <a:cubicBezTo>
                    <a:pt x="124192" y="3054407"/>
                    <a:pt x="117479" y="3051051"/>
                    <a:pt x="117479" y="3044336"/>
                  </a:cubicBezTo>
                  <a:cubicBezTo>
                    <a:pt x="117479" y="3037623"/>
                    <a:pt x="124192" y="3034265"/>
                    <a:pt x="127548" y="3034265"/>
                  </a:cubicBezTo>
                  <a:close/>
                  <a:moveTo>
                    <a:pt x="2463694" y="3030915"/>
                  </a:moveTo>
                  <a:cubicBezTo>
                    <a:pt x="2463694" y="3030915"/>
                    <a:pt x="2467050" y="3030915"/>
                    <a:pt x="2467050" y="3034273"/>
                  </a:cubicBezTo>
                  <a:cubicBezTo>
                    <a:pt x="2467050" y="3034273"/>
                    <a:pt x="2467050" y="3037628"/>
                    <a:pt x="2463694" y="3037628"/>
                  </a:cubicBezTo>
                  <a:cubicBezTo>
                    <a:pt x="2460337" y="3037628"/>
                    <a:pt x="2460337" y="3034273"/>
                    <a:pt x="2460337" y="3034273"/>
                  </a:cubicBezTo>
                  <a:cubicBezTo>
                    <a:pt x="2460337" y="3034273"/>
                    <a:pt x="2460337" y="3030915"/>
                    <a:pt x="2463694" y="3030915"/>
                  </a:cubicBezTo>
                  <a:close/>
                  <a:moveTo>
                    <a:pt x="1987066" y="3030915"/>
                  </a:moveTo>
                  <a:cubicBezTo>
                    <a:pt x="1990423" y="3030915"/>
                    <a:pt x="1993779" y="3034273"/>
                    <a:pt x="1993779" y="3037628"/>
                  </a:cubicBezTo>
                  <a:cubicBezTo>
                    <a:pt x="1993779" y="3040986"/>
                    <a:pt x="1990423" y="3044345"/>
                    <a:pt x="1987066" y="3044345"/>
                  </a:cubicBezTo>
                  <a:cubicBezTo>
                    <a:pt x="1983710" y="3044345"/>
                    <a:pt x="1980353" y="3040986"/>
                    <a:pt x="1980353" y="3037628"/>
                  </a:cubicBezTo>
                  <a:cubicBezTo>
                    <a:pt x="1980353" y="3034273"/>
                    <a:pt x="1983710" y="3030915"/>
                    <a:pt x="1987066" y="3030915"/>
                  </a:cubicBezTo>
                  <a:close/>
                  <a:moveTo>
                    <a:pt x="1517151" y="3027560"/>
                  </a:moveTo>
                  <a:cubicBezTo>
                    <a:pt x="1523864" y="3027560"/>
                    <a:pt x="1530577" y="3034273"/>
                    <a:pt x="1530577" y="3040986"/>
                  </a:cubicBezTo>
                  <a:cubicBezTo>
                    <a:pt x="1530577" y="3047699"/>
                    <a:pt x="1523864" y="3054413"/>
                    <a:pt x="1517151" y="3054413"/>
                  </a:cubicBezTo>
                  <a:cubicBezTo>
                    <a:pt x="1510438" y="3054413"/>
                    <a:pt x="1503725" y="3051057"/>
                    <a:pt x="1503725" y="3040986"/>
                  </a:cubicBezTo>
                  <a:cubicBezTo>
                    <a:pt x="1503725" y="3034273"/>
                    <a:pt x="1510438" y="3027560"/>
                    <a:pt x="1517151" y="3027560"/>
                  </a:cubicBezTo>
                  <a:close/>
                  <a:moveTo>
                    <a:pt x="587393" y="3020845"/>
                  </a:moveTo>
                  <a:cubicBezTo>
                    <a:pt x="600819" y="3020845"/>
                    <a:pt x="610889" y="3030915"/>
                    <a:pt x="610889" y="3044341"/>
                  </a:cubicBezTo>
                  <a:cubicBezTo>
                    <a:pt x="610889" y="3057770"/>
                    <a:pt x="600819" y="3067838"/>
                    <a:pt x="587393" y="3067838"/>
                  </a:cubicBezTo>
                  <a:cubicBezTo>
                    <a:pt x="577323" y="3067838"/>
                    <a:pt x="563897" y="3057770"/>
                    <a:pt x="563897" y="3044341"/>
                  </a:cubicBezTo>
                  <a:cubicBezTo>
                    <a:pt x="563897" y="3030915"/>
                    <a:pt x="573967" y="3020845"/>
                    <a:pt x="587393" y="3020845"/>
                  </a:cubicBezTo>
                  <a:close/>
                  <a:moveTo>
                    <a:pt x="1050594" y="3017489"/>
                  </a:moveTo>
                  <a:cubicBezTo>
                    <a:pt x="1064020" y="3017489"/>
                    <a:pt x="1077446" y="3030915"/>
                    <a:pt x="1077446" y="3044345"/>
                  </a:cubicBezTo>
                  <a:cubicBezTo>
                    <a:pt x="1077446" y="3057770"/>
                    <a:pt x="1064020" y="3071196"/>
                    <a:pt x="1050594" y="3071196"/>
                  </a:cubicBezTo>
                  <a:cubicBezTo>
                    <a:pt x="1037168" y="3071196"/>
                    <a:pt x="1023741" y="3057770"/>
                    <a:pt x="1023741" y="3044345"/>
                  </a:cubicBezTo>
                  <a:cubicBezTo>
                    <a:pt x="1023741" y="3030915"/>
                    <a:pt x="1037168" y="3017489"/>
                    <a:pt x="1050594" y="3017489"/>
                  </a:cubicBezTo>
                  <a:close/>
                  <a:moveTo>
                    <a:pt x="2195170" y="2930223"/>
                  </a:moveTo>
                  <a:cubicBezTo>
                    <a:pt x="2198527" y="2930223"/>
                    <a:pt x="2201884" y="2933579"/>
                    <a:pt x="2201884" y="2936935"/>
                  </a:cubicBezTo>
                  <a:cubicBezTo>
                    <a:pt x="2201884" y="2940292"/>
                    <a:pt x="2198527" y="2943649"/>
                    <a:pt x="2195170" y="2943649"/>
                  </a:cubicBezTo>
                  <a:cubicBezTo>
                    <a:pt x="2191814" y="2943649"/>
                    <a:pt x="2188458" y="2940292"/>
                    <a:pt x="2188458" y="2936935"/>
                  </a:cubicBezTo>
                  <a:cubicBezTo>
                    <a:pt x="2188458" y="2933579"/>
                    <a:pt x="2191814" y="2930223"/>
                    <a:pt x="2195170" y="2930223"/>
                  </a:cubicBezTo>
                  <a:close/>
                  <a:moveTo>
                    <a:pt x="1725256" y="2930223"/>
                  </a:moveTo>
                  <a:cubicBezTo>
                    <a:pt x="1731970" y="2930223"/>
                    <a:pt x="1735326" y="2933579"/>
                    <a:pt x="1735326" y="2940292"/>
                  </a:cubicBezTo>
                  <a:cubicBezTo>
                    <a:pt x="1735326" y="2947003"/>
                    <a:pt x="1728613" y="2950360"/>
                    <a:pt x="1725256" y="2950360"/>
                  </a:cubicBezTo>
                  <a:cubicBezTo>
                    <a:pt x="1721900" y="2950360"/>
                    <a:pt x="1715187" y="2947003"/>
                    <a:pt x="1715187" y="2940292"/>
                  </a:cubicBezTo>
                  <a:cubicBezTo>
                    <a:pt x="1715187" y="2933579"/>
                    <a:pt x="1718543" y="2930223"/>
                    <a:pt x="1725256" y="2930223"/>
                  </a:cubicBezTo>
                  <a:close/>
                  <a:moveTo>
                    <a:pt x="1262056" y="2926865"/>
                  </a:moveTo>
                  <a:cubicBezTo>
                    <a:pt x="1272125" y="2926865"/>
                    <a:pt x="1278838" y="2933579"/>
                    <a:pt x="1278838" y="2943649"/>
                  </a:cubicBezTo>
                  <a:cubicBezTo>
                    <a:pt x="1278838" y="2953717"/>
                    <a:pt x="1272125" y="2960431"/>
                    <a:pt x="1262056" y="2960431"/>
                  </a:cubicBezTo>
                  <a:cubicBezTo>
                    <a:pt x="1251986" y="2960431"/>
                    <a:pt x="1245273" y="2953717"/>
                    <a:pt x="1245273" y="2943649"/>
                  </a:cubicBezTo>
                  <a:cubicBezTo>
                    <a:pt x="1245273" y="2933579"/>
                    <a:pt x="1251986" y="2926865"/>
                    <a:pt x="1262056" y="2926865"/>
                  </a:cubicBezTo>
                  <a:close/>
                  <a:moveTo>
                    <a:pt x="798855" y="2923508"/>
                  </a:moveTo>
                  <a:cubicBezTo>
                    <a:pt x="808924" y="2923508"/>
                    <a:pt x="818994" y="2933579"/>
                    <a:pt x="818994" y="2943649"/>
                  </a:cubicBezTo>
                  <a:cubicBezTo>
                    <a:pt x="818994" y="2953717"/>
                    <a:pt x="808924" y="2963787"/>
                    <a:pt x="798855" y="2963787"/>
                  </a:cubicBezTo>
                  <a:cubicBezTo>
                    <a:pt x="788785" y="2963787"/>
                    <a:pt x="782072" y="2953717"/>
                    <a:pt x="778715" y="2943649"/>
                  </a:cubicBezTo>
                  <a:cubicBezTo>
                    <a:pt x="778715" y="2933579"/>
                    <a:pt x="788785" y="2923508"/>
                    <a:pt x="798855" y="2923508"/>
                  </a:cubicBezTo>
                  <a:close/>
                  <a:moveTo>
                    <a:pt x="339009" y="2916791"/>
                  </a:moveTo>
                  <a:cubicBezTo>
                    <a:pt x="355792" y="2916791"/>
                    <a:pt x="365861" y="2930217"/>
                    <a:pt x="365861" y="2943643"/>
                  </a:cubicBezTo>
                  <a:cubicBezTo>
                    <a:pt x="365861" y="2957069"/>
                    <a:pt x="352435" y="2970495"/>
                    <a:pt x="339009" y="2970495"/>
                  </a:cubicBezTo>
                  <a:cubicBezTo>
                    <a:pt x="325583" y="2970495"/>
                    <a:pt x="315513" y="2960427"/>
                    <a:pt x="312157" y="2943643"/>
                  </a:cubicBezTo>
                  <a:cubicBezTo>
                    <a:pt x="312157" y="2930217"/>
                    <a:pt x="325583" y="2916791"/>
                    <a:pt x="339009" y="2916791"/>
                  </a:cubicBezTo>
                  <a:close/>
                  <a:moveTo>
                    <a:pt x="97340" y="2839587"/>
                  </a:moveTo>
                  <a:cubicBezTo>
                    <a:pt x="100696" y="2839587"/>
                    <a:pt x="104053" y="2842943"/>
                    <a:pt x="104053" y="2846299"/>
                  </a:cubicBezTo>
                  <a:cubicBezTo>
                    <a:pt x="104053" y="2849658"/>
                    <a:pt x="100696" y="2853013"/>
                    <a:pt x="97340" y="2853013"/>
                  </a:cubicBezTo>
                  <a:cubicBezTo>
                    <a:pt x="93983" y="2853013"/>
                    <a:pt x="90626" y="2849658"/>
                    <a:pt x="90626" y="2846299"/>
                  </a:cubicBezTo>
                  <a:cubicBezTo>
                    <a:pt x="90626" y="2842943"/>
                    <a:pt x="93983" y="2839587"/>
                    <a:pt x="97340" y="2839587"/>
                  </a:cubicBezTo>
                  <a:close/>
                  <a:moveTo>
                    <a:pt x="1933362" y="2836241"/>
                  </a:moveTo>
                  <a:cubicBezTo>
                    <a:pt x="1936718" y="2836241"/>
                    <a:pt x="1940075" y="2839599"/>
                    <a:pt x="1940075" y="2842956"/>
                  </a:cubicBezTo>
                  <a:cubicBezTo>
                    <a:pt x="1940075" y="2846311"/>
                    <a:pt x="1936718" y="2849666"/>
                    <a:pt x="1933362" y="2849666"/>
                  </a:cubicBezTo>
                  <a:cubicBezTo>
                    <a:pt x="1930005" y="2849666"/>
                    <a:pt x="1926649" y="2846311"/>
                    <a:pt x="1926649" y="2842956"/>
                  </a:cubicBezTo>
                  <a:cubicBezTo>
                    <a:pt x="1926649" y="2839599"/>
                    <a:pt x="1930005" y="2836241"/>
                    <a:pt x="1933362" y="2836241"/>
                  </a:cubicBezTo>
                  <a:close/>
                  <a:moveTo>
                    <a:pt x="1473516" y="2829530"/>
                  </a:moveTo>
                  <a:cubicBezTo>
                    <a:pt x="1480932" y="2829530"/>
                    <a:pt x="1486942" y="2835540"/>
                    <a:pt x="1486942" y="2842956"/>
                  </a:cubicBezTo>
                  <a:cubicBezTo>
                    <a:pt x="1486942" y="2850371"/>
                    <a:pt x="1480932" y="2856382"/>
                    <a:pt x="1473516" y="2856382"/>
                  </a:cubicBezTo>
                  <a:cubicBezTo>
                    <a:pt x="1466101" y="2856382"/>
                    <a:pt x="1460090" y="2850371"/>
                    <a:pt x="1460090" y="2842956"/>
                  </a:cubicBezTo>
                  <a:cubicBezTo>
                    <a:pt x="1460090" y="2835540"/>
                    <a:pt x="1466101" y="2829530"/>
                    <a:pt x="1473516" y="2829530"/>
                  </a:cubicBezTo>
                  <a:close/>
                  <a:moveTo>
                    <a:pt x="553827" y="2829526"/>
                  </a:moveTo>
                  <a:cubicBezTo>
                    <a:pt x="563096" y="2829526"/>
                    <a:pt x="570610" y="2837041"/>
                    <a:pt x="570610" y="2846311"/>
                  </a:cubicBezTo>
                  <a:cubicBezTo>
                    <a:pt x="570610" y="2855577"/>
                    <a:pt x="563096" y="2863090"/>
                    <a:pt x="553827" y="2863090"/>
                  </a:cubicBezTo>
                  <a:cubicBezTo>
                    <a:pt x="544559" y="2863090"/>
                    <a:pt x="537045" y="2855577"/>
                    <a:pt x="537045" y="2846311"/>
                  </a:cubicBezTo>
                  <a:cubicBezTo>
                    <a:pt x="537045" y="2837041"/>
                    <a:pt x="544559" y="2829526"/>
                    <a:pt x="553827" y="2829526"/>
                  </a:cubicBezTo>
                  <a:close/>
                  <a:moveTo>
                    <a:pt x="1013672" y="2822817"/>
                  </a:moveTo>
                  <a:cubicBezTo>
                    <a:pt x="1027098" y="2822817"/>
                    <a:pt x="1037168" y="2832887"/>
                    <a:pt x="1037168" y="2846311"/>
                  </a:cubicBezTo>
                  <a:cubicBezTo>
                    <a:pt x="1037168" y="2859738"/>
                    <a:pt x="1027098" y="2869806"/>
                    <a:pt x="1013672" y="2869806"/>
                  </a:cubicBezTo>
                  <a:cubicBezTo>
                    <a:pt x="1000246" y="2869806"/>
                    <a:pt x="986820" y="2856382"/>
                    <a:pt x="990176" y="2846311"/>
                  </a:cubicBezTo>
                  <a:cubicBezTo>
                    <a:pt x="990176" y="2832887"/>
                    <a:pt x="1000246" y="2822817"/>
                    <a:pt x="1013672" y="2822817"/>
                  </a:cubicBezTo>
                  <a:close/>
                  <a:moveTo>
                    <a:pt x="2144822" y="2735548"/>
                  </a:moveTo>
                  <a:cubicBezTo>
                    <a:pt x="2148179" y="2735548"/>
                    <a:pt x="2151536" y="2738904"/>
                    <a:pt x="2151536" y="2742260"/>
                  </a:cubicBezTo>
                  <a:cubicBezTo>
                    <a:pt x="2151536" y="2745618"/>
                    <a:pt x="2148179" y="2748973"/>
                    <a:pt x="2144822" y="2748973"/>
                  </a:cubicBezTo>
                  <a:cubicBezTo>
                    <a:pt x="2141466" y="2748973"/>
                    <a:pt x="2138110" y="2745618"/>
                    <a:pt x="2138110" y="2742260"/>
                  </a:cubicBezTo>
                  <a:cubicBezTo>
                    <a:pt x="2138110" y="2738904"/>
                    <a:pt x="2141466" y="2735548"/>
                    <a:pt x="2144822" y="2735548"/>
                  </a:cubicBezTo>
                  <a:close/>
                  <a:moveTo>
                    <a:pt x="1684978" y="2732191"/>
                  </a:moveTo>
                  <a:cubicBezTo>
                    <a:pt x="1691691" y="2732191"/>
                    <a:pt x="1695048" y="2738904"/>
                    <a:pt x="1695048" y="2742260"/>
                  </a:cubicBezTo>
                  <a:cubicBezTo>
                    <a:pt x="1695048" y="2748973"/>
                    <a:pt x="1688335" y="2752334"/>
                    <a:pt x="1684978" y="2752334"/>
                  </a:cubicBezTo>
                  <a:cubicBezTo>
                    <a:pt x="1678265" y="2752334"/>
                    <a:pt x="1674908" y="2748973"/>
                    <a:pt x="1674908" y="2742260"/>
                  </a:cubicBezTo>
                  <a:cubicBezTo>
                    <a:pt x="1674908" y="2735548"/>
                    <a:pt x="1678265" y="2732191"/>
                    <a:pt x="1684978" y="2732191"/>
                  </a:cubicBezTo>
                  <a:close/>
                  <a:moveTo>
                    <a:pt x="1225134" y="2725478"/>
                  </a:moveTo>
                  <a:cubicBezTo>
                    <a:pt x="1235203" y="2725478"/>
                    <a:pt x="1241916" y="2732191"/>
                    <a:pt x="1241916" y="2742260"/>
                  </a:cubicBezTo>
                  <a:cubicBezTo>
                    <a:pt x="1241916" y="2752334"/>
                    <a:pt x="1235203" y="2759042"/>
                    <a:pt x="1225134" y="2759042"/>
                  </a:cubicBezTo>
                  <a:cubicBezTo>
                    <a:pt x="1215064" y="2759042"/>
                    <a:pt x="1208351" y="2752334"/>
                    <a:pt x="1208351" y="2742260"/>
                  </a:cubicBezTo>
                  <a:cubicBezTo>
                    <a:pt x="1208351" y="2732191"/>
                    <a:pt x="1215064" y="2725478"/>
                    <a:pt x="1225134" y="2725478"/>
                  </a:cubicBezTo>
                  <a:close/>
                  <a:moveTo>
                    <a:pt x="312157" y="2722116"/>
                  </a:moveTo>
                  <a:cubicBezTo>
                    <a:pt x="325583" y="2722116"/>
                    <a:pt x="335653" y="2732185"/>
                    <a:pt x="335653" y="2745613"/>
                  </a:cubicBezTo>
                  <a:cubicBezTo>
                    <a:pt x="335653" y="2759038"/>
                    <a:pt x="325583" y="2769105"/>
                    <a:pt x="312157" y="2769105"/>
                  </a:cubicBezTo>
                  <a:cubicBezTo>
                    <a:pt x="298731" y="2769105"/>
                    <a:pt x="288661" y="2759038"/>
                    <a:pt x="288661" y="2745613"/>
                  </a:cubicBezTo>
                  <a:cubicBezTo>
                    <a:pt x="288661" y="2732185"/>
                    <a:pt x="298731" y="2722116"/>
                    <a:pt x="312157" y="2722116"/>
                  </a:cubicBezTo>
                  <a:close/>
                  <a:moveTo>
                    <a:pt x="768646" y="2718764"/>
                  </a:moveTo>
                  <a:cubicBezTo>
                    <a:pt x="782072" y="2718764"/>
                    <a:pt x="795498" y="2728835"/>
                    <a:pt x="795498" y="2742260"/>
                  </a:cubicBezTo>
                  <a:cubicBezTo>
                    <a:pt x="795498" y="2755687"/>
                    <a:pt x="782072" y="2769113"/>
                    <a:pt x="768646" y="2769113"/>
                  </a:cubicBezTo>
                  <a:cubicBezTo>
                    <a:pt x="751863" y="2769113"/>
                    <a:pt x="741793" y="2759042"/>
                    <a:pt x="741793" y="2745618"/>
                  </a:cubicBezTo>
                  <a:cubicBezTo>
                    <a:pt x="741793" y="2732191"/>
                    <a:pt x="755220" y="2718764"/>
                    <a:pt x="768646" y="2718764"/>
                  </a:cubicBezTo>
                  <a:close/>
                  <a:moveTo>
                    <a:pt x="73844" y="2641550"/>
                  </a:moveTo>
                  <a:cubicBezTo>
                    <a:pt x="73844" y="2641550"/>
                    <a:pt x="77200" y="2641550"/>
                    <a:pt x="77200" y="2644906"/>
                  </a:cubicBezTo>
                  <a:cubicBezTo>
                    <a:pt x="77200" y="2644906"/>
                    <a:pt x="77200" y="2648264"/>
                    <a:pt x="73844" y="2648264"/>
                  </a:cubicBezTo>
                  <a:cubicBezTo>
                    <a:pt x="70487" y="2648264"/>
                    <a:pt x="70487" y="2644906"/>
                    <a:pt x="70487" y="2644906"/>
                  </a:cubicBezTo>
                  <a:cubicBezTo>
                    <a:pt x="70487" y="2644906"/>
                    <a:pt x="70487" y="2641550"/>
                    <a:pt x="73844" y="2641550"/>
                  </a:cubicBezTo>
                  <a:close/>
                  <a:moveTo>
                    <a:pt x="1896440" y="2634851"/>
                  </a:moveTo>
                  <a:cubicBezTo>
                    <a:pt x="1899796" y="2634851"/>
                    <a:pt x="1903153" y="2638204"/>
                    <a:pt x="1903153" y="2641566"/>
                  </a:cubicBezTo>
                  <a:cubicBezTo>
                    <a:pt x="1903153" y="2644917"/>
                    <a:pt x="1899796" y="2648275"/>
                    <a:pt x="1896440" y="2648275"/>
                  </a:cubicBezTo>
                  <a:cubicBezTo>
                    <a:pt x="1893083" y="2648275"/>
                    <a:pt x="1889727" y="2644917"/>
                    <a:pt x="1889727" y="2641566"/>
                  </a:cubicBezTo>
                  <a:cubicBezTo>
                    <a:pt x="1889727" y="2638204"/>
                    <a:pt x="1893083" y="2634851"/>
                    <a:pt x="1896440" y="2634851"/>
                  </a:cubicBezTo>
                  <a:close/>
                  <a:moveTo>
                    <a:pt x="1439952" y="2624778"/>
                  </a:moveTo>
                  <a:cubicBezTo>
                    <a:pt x="1450022" y="2624778"/>
                    <a:pt x="1456735" y="2631495"/>
                    <a:pt x="1456735" y="2641566"/>
                  </a:cubicBezTo>
                  <a:cubicBezTo>
                    <a:pt x="1456735" y="2651632"/>
                    <a:pt x="1450022" y="2658342"/>
                    <a:pt x="1439952" y="2658342"/>
                  </a:cubicBezTo>
                  <a:cubicBezTo>
                    <a:pt x="1429882" y="2658342"/>
                    <a:pt x="1423169" y="2651632"/>
                    <a:pt x="1423169" y="2641566"/>
                  </a:cubicBezTo>
                  <a:cubicBezTo>
                    <a:pt x="1423169" y="2631495"/>
                    <a:pt x="1429882" y="2624778"/>
                    <a:pt x="1439952" y="2624778"/>
                  </a:cubicBezTo>
                  <a:close/>
                  <a:moveTo>
                    <a:pt x="983463" y="2621425"/>
                  </a:moveTo>
                  <a:cubicBezTo>
                    <a:pt x="996889" y="2621425"/>
                    <a:pt x="1006959" y="2631495"/>
                    <a:pt x="1006959" y="2644917"/>
                  </a:cubicBezTo>
                  <a:cubicBezTo>
                    <a:pt x="1006959" y="2658342"/>
                    <a:pt x="996889" y="2668417"/>
                    <a:pt x="983463" y="2668417"/>
                  </a:cubicBezTo>
                  <a:cubicBezTo>
                    <a:pt x="970037" y="2668417"/>
                    <a:pt x="959967" y="2658342"/>
                    <a:pt x="959967" y="2644917"/>
                  </a:cubicBezTo>
                  <a:cubicBezTo>
                    <a:pt x="959967" y="2631495"/>
                    <a:pt x="970037" y="2621425"/>
                    <a:pt x="983463" y="2621425"/>
                  </a:cubicBezTo>
                  <a:close/>
                  <a:moveTo>
                    <a:pt x="526975" y="2621421"/>
                  </a:moveTo>
                  <a:cubicBezTo>
                    <a:pt x="537045" y="2621421"/>
                    <a:pt x="547114" y="2631488"/>
                    <a:pt x="547114" y="2641560"/>
                  </a:cubicBezTo>
                  <a:cubicBezTo>
                    <a:pt x="547114" y="2654983"/>
                    <a:pt x="537045" y="2661700"/>
                    <a:pt x="526975" y="2661700"/>
                  </a:cubicBezTo>
                  <a:cubicBezTo>
                    <a:pt x="516906" y="2661700"/>
                    <a:pt x="510192" y="2654983"/>
                    <a:pt x="506836" y="2641560"/>
                  </a:cubicBezTo>
                  <a:cubicBezTo>
                    <a:pt x="506836" y="2631488"/>
                    <a:pt x="516906" y="2621421"/>
                    <a:pt x="526975" y="2621421"/>
                  </a:cubicBezTo>
                  <a:close/>
                  <a:moveTo>
                    <a:pt x="2111257" y="2540868"/>
                  </a:moveTo>
                  <a:cubicBezTo>
                    <a:pt x="2111257" y="2540868"/>
                    <a:pt x="2114614" y="2540868"/>
                    <a:pt x="2114614" y="2544225"/>
                  </a:cubicBezTo>
                  <a:cubicBezTo>
                    <a:pt x="2114614" y="2544225"/>
                    <a:pt x="2114614" y="2547584"/>
                    <a:pt x="2111257" y="2547584"/>
                  </a:cubicBezTo>
                  <a:cubicBezTo>
                    <a:pt x="2107900" y="2547584"/>
                    <a:pt x="2107900" y="2544225"/>
                    <a:pt x="2107900" y="2544225"/>
                  </a:cubicBezTo>
                  <a:cubicBezTo>
                    <a:pt x="2107900" y="2544225"/>
                    <a:pt x="2107900" y="2540868"/>
                    <a:pt x="2111257" y="2540868"/>
                  </a:cubicBezTo>
                  <a:close/>
                  <a:moveTo>
                    <a:pt x="1654769" y="2537512"/>
                  </a:moveTo>
                  <a:cubicBezTo>
                    <a:pt x="1658126" y="2537512"/>
                    <a:pt x="1661482" y="2540868"/>
                    <a:pt x="1661482" y="2544225"/>
                  </a:cubicBezTo>
                  <a:cubicBezTo>
                    <a:pt x="1661482" y="2547584"/>
                    <a:pt x="1658126" y="2550939"/>
                    <a:pt x="1654769" y="2550939"/>
                  </a:cubicBezTo>
                  <a:cubicBezTo>
                    <a:pt x="1651413" y="2550939"/>
                    <a:pt x="1648056" y="2547584"/>
                    <a:pt x="1648056" y="2544225"/>
                  </a:cubicBezTo>
                  <a:cubicBezTo>
                    <a:pt x="1648056" y="2540868"/>
                    <a:pt x="1651413" y="2537512"/>
                    <a:pt x="1654769" y="2537512"/>
                  </a:cubicBezTo>
                  <a:close/>
                  <a:moveTo>
                    <a:pt x="1201638" y="2524085"/>
                  </a:moveTo>
                  <a:cubicBezTo>
                    <a:pt x="1211708" y="2524085"/>
                    <a:pt x="1218421" y="2530799"/>
                    <a:pt x="1218421" y="2540868"/>
                  </a:cubicBezTo>
                  <a:cubicBezTo>
                    <a:pt x="1218421" y="2550939"/>
                    <a:pt x="1211708" y="2557650"/>
                    <a:pt x="1201638" y="2557650"/>
                  </a:cubicBezTo>
                  <a:cubicBezTo>
                    <a:pt x="1191568" y="2557650"/>
                    <a:pt x="1184855" y="2550939"/>
                    <a:pt x="1184855" y="2540868"/>
                  </a:cubicBezTo>
                  <a:cubicBezTo>
                    <a:pt x="1184855" y="2530799"/>
                    <a:pt x="1191568" y="2524085"/>
                    <a:pt x="1201638" y="2524085"/>
                  </a:cubicBezTo>
                  <a:close/>
                  <a:moveTo>
                    <a:pt x="745150" y="2524085"/>
                  </a:moveTo>
                  <a:cubicBezTo>
                    <a:pt x="755220" y="2524085"/>
                    <a:pt x="765289" y="2534154"/>
                    <a:pt x="765289" y="2544223"/>
                  </a:cubicBezTo>
                  <a:cubicBezTo>
                    <a:pt x="765289" y="2554295"/>
                    <a:pt x="755220" y="2564366"/>
                    <a:pt x="745150" y="2564366"/>
                  </a:cubicBezTo>
                  <a:cubicBezTo>
                    <a:pt x="735080" y="2564366"/>
                    <a:pt x="725011" y="2554295"/>
                    <a:pt x="725011" y="2544223"/>
                  </a:cubicBezTo>
                  <a:cubicBezTo>
                    <a:pt x="725011" y="2534154"/>
                    <a:pt x="735080" y="2524085"/>
                    <a:pt x="745150" y="2524085"/>
                  </a:cubicBezTo>
                  <a:close/>
                  <a:moveTo>
                    <a:pt x="292018" y="2520725"/>
                  </a:moveTo>
                  <a:cubicBezTo>
                    <a:pt x="305444" y="2520725"/>
                    <a:pt x="315513" y="2530794"/>
                    <a:pt x="315513" y="2544222"/>
                  </a:cubicBezTo>
                  <a:cubicBezTo>
                    <a:pt x="315513" y="2557647"/>
                    <a:pt x="305444" y="2567717"/>
                    <a:pt x="292018" y="2567717"/>
                  </a:cubicBezTo>
                  <a:cubicBezTo>
                    <a:pt x="278591" y="2567717"/>
                    <a:pt x="268522" y="2554293"/>
                    <a:pt x="268522" y="2544222"/>
                  </a:cubicBezTo>
                  <a:cubicBezTo>
                    <a:pt x="268522" y="2530794"/>
                    <a:pt x="278591" y="2520725"/>
                    <a:pt x="292018" y="2520725"/>
                  </a:cubicBezTo>
                  <a:close/>
                  <a:moveTo>
                    <a:pt x="60418" y="2440158"/>
                  </a:moveTo>
                  <a:cubicBezTo>
                    <a:pt x="60418" y="2440158"/>
                    <a:pt x="63774" y="2440158"/>
                    <a:pt x="60418" y="2443514"/>
                  </a:cubicBezTo>
                  <a:cubicBezTo>
                    <a:pt x="57061" y="2440158"/>
                    <a:pt x="57061" y="2440158"/>
                    <a:pt x="60418" y="2440158"/>
                  </a:cubicBezTo>
                  <a:close/>
                  <a:moveTo>
                    <a:pt x="1872944" y="2433454"/>
                  </a:moveTo>
                  <a:cubicBezTo>
                    <a:pt x="1876301" y="2433454"/>
                    <a:pt x="1879657" y="2436812"/>
                    <a:pt x="1879657" y="2440170"/>
                  </a:cubicBezTo>
                  <a:cubicBezTo>
                    <a:pt x="1879657" y="2443526"/>
                    <a:pt x="1876301" y="2446884"/>
                    <a:pt x="1872944" y="2446884"/>
                  </a:cubicBezTo>
                  <a:cubicBezTo>
                    <a:pt x="1869588" y="2446884"/>
                    <a:pt x="1866231" y="2443526"/>
                    <a:pt x="1866231" y="2440170"/>
                  </a:cubicBezTo>
                  <a:cubicBezTo>
                    <a:pt x="1866231" y="2436812"/>
                    <a:pt x="1869588" y="2433454"/>
                    <a:pt x="1872944" y="2433454"/>
                  </a:cubicBezTo>
                  <a:close/>
                  <a:moveTo>
                    <a:pt x="1419813" y="2426743"/>
                  </a:moveTo>
                  <a:cubicBezTo>
                    <a:pt x="1426526" y="2426743"/>
                    <a:pt x="1433239" y="2433454"/>
                    <a:pt x="1433239" y="2440170"/>
                  </a:cubicBezTo>
                  <a:cubicBezTo>
                    <a:pt x="1433239" y="2446884"/>
                    <a:pt x="1426526" y="2453597"/>
                    <a:pt x="1419813" y="2453597"/>
                  </a:cubicBezTo>
                  <a:cubicBezTo>
                    <a:pt x="1413100" y="2453597"/>
                    <a:pt x="1409743" y="2446884"/>
                    <a:pt x="1406387" y="2440170"/>
                  </a:cubicBezTo>
                  <a:cubicBezTo>
                    <a:pt x="1406387" y="2433454"/>
                    <a:pt x="1413100" y="2426743"/>
                    <a:pt x="1419813" y="2426743"/>
                  </a:cubicBezTo>
                  <a:close/>
                  <a:moveTo>
                    <a:pt x="513549" y="2423383"/>
                  </a:moveTo>
                  <a:cubicBezTo>
                    <a:pt x="522818" y="2423383"/>
                    <a:pt x="530332" y="2430897"/>
                    <a:pt x="530332" y="2440166"/>
                  </a:cubicBezTo>
                  <a:cubicBezTo>
                    <a:pt x="530332" y="2449436"/>
                    <a:pt x="522818" y="2456950"/>
                    <a:pt x="513549" y="2456950"/>
                  </a:cubicBezTo>
                  <a:cubicBezTo>
                    <a:pt x="504280" y="2456950"/>
                    <a:pt x="496766" y="2449436"/>
                    <a:pt x="496766" y="2440166"/>
                  </a:cubicBezTo>
                  <a:cubicBezTo>
                    <a:pt x="496766" y="2430897"/>
                    <a:pt x="504280" y="2423383"/>
                    <a:pt x="513549" y="2423383"/>
                  </a:cubicBezTo>
                  <a:close/>
                  <a:moveTo>
                    <a:pt x="966680" y="2416672"/>
                  </a:moveTo>
                  <a:cubicBezTo>
                    <a:pt x="980106" y="2416672"/>
                    <a:pt x="990176" y="2426743"/>
                    <a:pt x="990176" y="2440170"/>
                  </a:cubicBezTo>
                  <a:cubicBezTo>
                    <a:pt x="990176" y="2453597"/>
                    <a:pt x="980106" y="2463667"/>
                    <a:pt x="966680" y="2463667"/>
                  </a:cubicBezTo>
                  <a:cubicBezTo>
                    <a:pt x="953254" y="2463667"/>
                    <a:pt x="943185" y="2453597"/>
                    <a:pt x="943185" y="2440170"/>
                  </a:cubicBezTo>
                  <a:cubicBezTo>
                    <a:pt x="943185" y="2426743"/>
                    <a:pt x="953254" y="2416672"/>
                    <a:pt x="966680" y="2416672"/>
                  </a:cubicBezTo>
                  <a:close/>
                  <a:moveTo>
                    <a:pt x="2094474" y="2336109"/>
                  </a:moveTo>
                  <a:cubicBezTo>
                    <a:pt x="2094474" y="2336109"/>
                    <a:pt x="2097831" y="2339466"/>
                    <a:pt x="2094474" y="2342822"/>
                  </a:cubicBezTo>
                  <a:cubicBezTo>
                    <a:pt x="2091118" y="2336109"/>
                    <a:pt x="2094474" y="2336109"/>
                    <a:pt x="2094474" y="2336109"/>
                  </a:cubicBezTo>
                  <a:close/>
                  <a:moveTo>
                    <a:pt x="1641343" y="2336109"/>
                  </a:moveTo>
                  <a:cubicBezTo>
                    <a:pt x="1641343" y="2336109"/>
                    <a:pt x="1644700" y="2336109"/>
                    <a:pt x="1644700" y="2339466"/>
                  </a:cubicBezTo>
                  <a:cubicBezTo>
                    <a:pt x="1644700" y="2339466"/>
                    <a:pt x="1644700" y="2342822"/>
                    <a:pt x="1641343" y="2342822"/>
                  </a:cubicBezTo>
                  <a:cubicBezTo>
                    <a:pt x="1637986" y="2342822"/>
                    <a:pt x="1637986" y="2342822"/>
                    <a:pt x="1637986" y="2339466"/>
                  </a:cubicBezTo>
                  <a:cubicBezTo>
                    <a:pt x="1637986" y="2339466"/>
                    <a:pt x="1637986" y="2336109"/>
                    <a:pt x="1641343" y="2336109"/>
                  </a:cubicBezTo>
                  <a:close/>
                  <a:moveTo>
                    <a:pt x="1188212" y="2322682"/>
                  </a:moveTo>
                  <a:cubicBezTo>
                    <a:pt x="1198281" y="2322682"/>
                    <a:pt x="1204994" y="2329396"/>
                    <a:pt x="1204994" y="2339466"/>
                  </a:cubicBezTo>
                  <a:cubicBezTo>
                    <a:pt x="1204994" y="2349537"/>
                    <a:pt x="1198281" y="2356250"/>
                    <a:pt x="1188212" y="2356250"/>
                  </a:cubicBezTo>
                  <a:cubicBezTo>
                    <a:pt x="1181499" y="2356250"/>
                    <a:pt x="1171429" y="2349537"/>
                    <a:pt x="1171429" y="2339466"/>
                  </a:cubicBezTo>
                  <a:cubicBezTo>
                    <a:pt x="1171429" y="2329396"/>
                    <a:pt x="1178142" y="2322682"/>
                    <a:pt x="1188212" y="2322682"/>
                  </a:cubicBezTo>
                  <a:close/>
                  <a:moveTo>
                    <a:pt x="281948" y="2322679"/>
                  </a:moveTo>
                  <a:cubicBezTo>
                    <a:pt x="292018" y="2322679"/>
                    <a:pt x="298731" y="2329390"/>
                    <a:pt x="298731" y="2339461"/>
                  </a:cubicBezTo>
                  <a:cubicBezTo>
                    <a:pt x="298731" y="2349533"/>
                    <a:pt x="292018" y="2356245"/>
                    <a:pt x="281948" y="2356245"/>
                  </a:cubicBezTo>
                  <a:cubicBezTo>
                    <a:pt x="275235" y="2356245"/>
                    <a:pt x="268522" y="2349533"/>
                    <a:pt x="265165" y="2339461"/>
                  </a:cubicBezTo>
                  <a:cubicBezTo>
                    <a:pt x="265165" y="2329390"/>
                    <a:pt x="271878" y="2322679"/>
                    <a:pt x="281948" y="2322679"/>
                  </a:cubicBezTo>
                  <a:close/>
                  <a:moveTo>
                    <a:pt x="735080" y="2319326"/>
                  </a:moveTo>
                  <a:cubicBezTo>
                    <a:pt x="745150" y="2319326"/>
                    <a:pt x="755220" y="2329396"/>
                    <a:pt x="755220" y="2339466"/>
                  </a:cubicBezTo>
                  <a:cubicBezTo>
                    <a:pt x="755220" y="2349536"/>
                    <a:pt x="745150" y="2359607"/>
                    <a:pt x="735080" y="2359607"/>
                  </a:cubicBezTo>
                  <a:cubicBezTo>
                    <a:pt x="725011" y="2359607"/>
                    <a:pt x="718298" y="2349536"/>
                    <a:pt x="714941" y="2339466"/>
                  </a:cubicBezTo>
                  <a:cubicBezTo>
                    <a:pt x="714941" y="2329396"/>
                    <a:pt x="725011" y="2319326"/>
                    <a:pt x="735080" y="2319326"/>
                  </a:cubicBezTo>
                  <a:close/>
                  <a:moveTo>
                    <a:pt x="1866231" y="2235417"/>
                  </a:moveTo>
                  <a:cubicBezTo>
                    <a:pt x="1866231" y="2235417"/>
                    <a:pt x="1869588" y="2238772"/>
                    <a:pt x="1869588" y="2238772"/>
                  </a:cubicBezTo>
                  <a:cubicBezTo>
                    <a:pt x="1869588" y="2238772"/>
                    <a:pt x="1869588" y="2242129"/>
                    <a:pt x="1866231" y="2242129"/>
                  </a:cubicBezTo>
                  <a:cubicBezTo>
                    <a:pt x="1862874" y="2242129"/>
                    <a:pt x="1862874" y="2238772"/>
                    <a:pt x="1862874" y="2238772"/>
                  </a:cubicBezTo>
                  <a:cubicBezTo>
                    <a:pt x="1862874" y="2238772"/>
                    <a:pt x="1862874" y="2235417"/>
                    <a:pt x="1866231" y="2235417"/>
                  </a:cubicBezTo>
                  <a:close/>
                  <a:moveTo>
                    <a:pt x="1413099" y="2228699"/>
                  </a:moveTo>
                  <a:cubicBezTo>
                    <a:pt x="1416455" y="2228699"/>
                    <a:pt x="1423168" y="2232058"/>
                    <a:pt x="1423168" y="2238772"/>
                  </a:cubicBezTo>
                  <a:cubicBezTo>
                    <a:pt x="1423168" y="2242129"/>
                    <a:pt x="1419812" y="2248841"/>
                    <a:pt x="1413099" y="2248841"/>
                  </a:cubicBezTo>
                  <a:cubicBezTo>
                    <a:pt x="1406386" y="2248841"/>
                    <a:pt x="1403029" y="2245487"/>
                    <a:pt x="1403029" y="2238772"/>
                  </a:cubicBezTo>
                  <a:cubicBezTo>
                    <a:pt x="1403029" y="2235417"/>
                    <a:pt x="1406386" y="2228699"/>
                    <a:pt x="1413099" y="2228699"/>
                  </a:cubicBezTo>
                  <a:close/>
                  <a:moveTo>
                    <a:pt x="506836" y="2221987"/>
                  </a:moveTo>
                  <a:cubicBezTo>
                    <a:pt x="516906" y="2221987"/>
                    <a:pt x="523619" y="2228699"/>
                    <a:pt x="523619" y="2238769"/>
                  </a:cubicBezTo>
                  <a:cubicBezTo>
                    <a:pt x="523619" y="2248841"/>
                    <a:pt x="516906" y="2255551"/>
                    <a:pt x="506836" y="2255551"/>
                  </a:cubicBezTo>
                  <a:cubicBezTo>
                    <a:pt x="500123" y="2255551"/>
                    <a:pt x="490053" y="2245484"/>
                    <a:pt x="490053" y="2238769"/>
                  </a:cubicBezTo>
                  <a:cubicBezTo>
                    <a:pt x="490053" y="2228699"/>
                    <a:pt x="496766" y="2221987"/>
                    <a:pt x="506836" y="2221987"/>
                  </a:cubicBezTo>
                  <a:close/>
                  <a:moveTo>
                    <a:pt x="959967" y="2215275"/>
                  </a:moveTo>
                  <a:cubicBezTo>
                    <a:pt x="973393" y="2215275"/>
                    <a:pt x="983463" y="2225348"/>
                    <a:pt x="983463" y="2238772"/>
                  </a:cubicBezTo>
                  <a:cubicBezTo>
                    <a:pt x="983463" y="2252199"/>
                    <a:pt x="973393" y="2262269"/>
                    <a:pt x="959967" y="2262269"/>
                  </a:cubicBezTo>
                  <a:cubicBezTo>
                    <a:pt x="946541" y="2262269"/>
                    <a:pt x="936472" y="2252199"/>
                    <a:pt x="936472" y="2238772"/>
                  </a:cubicBezTo>
                  <a:cubicBezTo>
                    <a:pt x="936472" y="2225348"/>
                    <a:pt x="946541" y="2215275"/>
                    <a:pt x="959967" y="2215275"/>
                  </a:cubicBezTo>
                  <a:close/>
                  <a:moveTo>
                    <a:pt x="1641343" y="2128008"/>
                  </a:moveTo>
                  <a:cubicBezTo>
                    <a:pt x="1644700" y="2128008"/>
                    <a:pt x="1648056" y="2131363"/>
                    <a:pt x="1648056" y="2134720"/>
                  </a:cubicBezTo>
                  <a:cubicBezTo>
                    <a:pt x="1648056" y="2138075"/>
                    <a:pt x="1644700" y="2141432"/>
                    <a:pt x="1641343" y="2141432"/>
                  </a:cubicBezTo>
                  <a:cubicBezTo>
                    <a:pt x="1637986" y="2141432"/>
                    <a:pt x="1634630" y="2141432"/>
                    <a:pt x="1634630" y="2134720"/>
                  </a:cubicBezTo>
                  <a:cubicBezTo>
                    <a:pt x="1634630" y="2131363"/>
                    <a:pt x="1637986" y="2128008"/>
                    <a:pt x="1641343" y="2128008"/>
                  </a:cubicBezTo>
                  <a:close/>
                  <a:moveTo>
                    <a:pt x="1188212" y="2124651"/>
                  </a:moveTo>
                  <a:cubicBezTo>
                    <a:pt x="1194925" y="2124651"/>
                    <a:pt x="1201638" y="2131363"/>
                    <a:pt x="1201638" y="2138075"/>
                  </a:cubicBezTo>
                  <a:cubicBezTo>
                    <a:pt x="1201638" y="2144791"/>
                    <a:pt x="1194925" y="2151499"/>
                    <a:pt x="1188212" y="2151499"/>
                  </a:cubicBezTo>
                  <a:cubicBezTo>
                    <a:pt x="1181499" y="2151499"/>
                    <a:pt x="1174786" y="2144791"/>
                    <a:pt x="1174786" y="2138075"/>
                  </a:cubicBezTo>
                  <a:cubicBezTo>
                    <a:pt x="1174786" y="2131363"/>
                    <a:pt x="1181499" y="2124651"/>
                    <a:pt x="1188212" y="2124651"/>
                  </a:cubicBezTo>
                  <a:close/>
                  <a:moveTo>
                    <a:pt x="281948" y="2121290"/>
                  </a:moveTo>
                  <a:cubicBezTo>
                    <a:pt x="288661" y="2121290"/>
                    <a:pt x="295374" y="2128003"/>
                    <a:pt x="295374" y="2134715"/>
                  </a:cubicBezTo>
                  <a:cubicBezTo>
                    <a:pt x="295374" y="2141427"/>
                    <a:pt x="288661" y="2148141"/>
                    <a:pt x="281948" y="2148141"/>
                  </a:cubicBezTo>
                  <a:cubicBezTo>
                    <a:pt x="275235" y="2148141"/>
                    <a:pt x="268522" y="2144785"/>
                    <a:pt x="268522" y="2134715"/>
                  </a:cubicBezTo>
                  <a:cubicBezTo>
                    <a:pt x="268522" y="2128003"/>
                    <a:pt x="275235" y="2121290"/>
                    <a:pt x="281948" y="2121290"/>
                  </a:cubicBezTo>
                  <a:close/>
                  <a:moveTo>
                    <a:pt x="735080" y="2114579"/>
                  </a:moveTo>
                  <a:cubicBezTo>
                    <a:pt x="745150" y="2114579"/>
                    <a:pt x="755220" y="2124651"/>
                    <a:pt x="755220" y="2134720"/>
                  </a:cubicBezTo>
                  <a:cubicBezTo>
                    <a:pt x="755220" y="2144791"/>
                    <a:pt x="745150" y="2154857"/>
                    <a:pt x="735080" y="2154857"/>
                  </a:cubicBezTo>
                  <a:cubicBezTo>
                    <a:pt x="725011" y="2154857"/>
                    <a:pt x="714941" y="2148146"/>
                    <a:pt x="714941" y="2134720"/>
                  </a:cubicBezTo>
                  <a:cubicBezTo>
                    <a:pt x="714941" y="2124651"/>
                    <a:pt x="725011" y="2114579"/>
                    <a:pt x="735080" y="2114579"/>
                  </a:cubicBezTo>
                  <a:close/>
                  <a:moveTo>
                    <a:pt x="1419813" y="2023989"/>
                  </a:moveTo>
                  <a:cubicBezTo>
                    <a:pt x="1426526" y="2023989"/>
                    <a:pt x="1429882" y="2027346"/>
                    <a:pt x="1429882" y="2034058"/>
                  </a:cubicBezTo>
                  <a:cubicBezTo>
                    <a:pt x="1429882" y="2040770"/>
                    <a:pt x="1426526" y="2044129"/>
                    <a:pt x="1419813" y="2044129"/>
                  </a:cubicBezTo>
                  <a:cubicBezTo>
                    <a:pt x="1413100" y="2044129"/>
                    <a:pt x="1409743" y="2040770"/>
                    <a:pt x="1409743" y="2034058"/>
                  </a:cubicBezTo>
                  <a:cubicBezTo>
                    <a:pt x="1409743" y="2027346"/>
                    <a:pt x="1413100" y="2023989"/>
                    <a:pt x="1419813" y="2023989"/>
                  </a:cubicBezTo>
                  <a:close/>
                  <a:moveTo>
                    <a:pt x="513549" y="2017249"/>
                  </a:moveTo>
                  <a:cubicBezTo>
                    <a:pt x="523619" y="2017249"/>
                    <a:pt x="530332" y="2023961"/>
                    <a:pt x="530332" y="2034033"/>
                  </a:cubicBezTo>
                  <a:cubicBezTo>
                    <a:pt x="530332" y="2044100"/>
                    <a:pt x="523619" y="2050813"/>
                    <a:pt x="513549" y="2050813"/>
                  </a:cubicBezTo>
                  <a:cubicBezTo>
                    <a:pt x="503479" y="2050813"/>
                    <a:pt x="496766" y="2044100"/>
                    <a:pt x="496766" y="2034033"/>
                  </a:cubicBezTo>
                  <a:cubicBezTo>
                    <a:pt x="496766" y="2023961"/>
                    <a:pt x="503479" y="2017249"/>
                    <a:pt x="513549" y="2017249"/>
                  </a:cubicBezTo>
                  <a:close/>
                  <a:moveTo>
                    <a:pt x="966680" y="2013905"/>
                  </a:moveTo>
                  <a:cubicBezTo>
                    <a:pt x="976750" y="2013905"/>
                    <a:pt x="986820" y="2023975"/>
                    <a:pt x="986820" y="2034043"/>
                  </a:cubicBezTo>
                  <a:cubicBezTo>
                    <a:pt x="986820" y="2047468"/>
                    <a:pt x="976750" y="2054181"/>
                    <a:pt x="966680" y="2054181"/>
                  </a:cubicBezTo>
                  <a:cubicBezTo>
                    <a:pt x="956611" y="2054181"/>
                    <a:pt x="946541" y="2044113"/>
                    <a:pt x="946541" y="2034043"/>
                  </a:cubicBezTo>
                  <a:cubicBezTo>
                    <a:pt x="946541" y="2023975"/>
                    <a:pt x="956611" y="2013905"/>
                    <a:pt x="966680" y="2013905"/>
                  </a:cubicBezTo>
                  <a:close/>
                  <a:moveTo>
                    <a:pt x="1654769" y="1926656"/>
                  </a:moveTo>
                  <a:cubicBezTo>
                    <a:pt x="1658126" y="1926656"/>
                    <a:pt x="1661482" y="1930013"/>
                    <a:pt x="1661482" y="1933370"/>
                  </a:cubicBezTo>
                  <a:cubicBezTo>
                    <a:pt x="1661482" y="1936726"/>
                    <a:pt x="1658126" y="1940086"/>
                    <a:pt x="1654769" y="1940086"/>
                  </a:cubicBezTo>
                  <a:cubicBezTo>
                    <a:pt x="1651413" y="1940086"/>
                    <a:pt x="1648056" y="1936726"/>
                    <a:pt x="1648056" y="1933370"/>
                  </a:cubicBezTo>
                  <a:cubicBezTo>
                    <a:pt x="1648056" y="1930013"/>
                    <a:pt x="1651413" y="1926656"/>
                    <a:pt x="1654769" y="1926656"/>
                  </a:cubicBezTo>
                  <a:close/>
                  <a:moveTo>
                    <a:pt x="292018" y="1926618"/>
                  </a:moveTo>
                  <a:cubicBezTo>
                    <a:pt x="295374" y="1926618"/>
                    <a:pt x="298731" y="1929975"/>
                    <a:pt x="298731" y="1933330"/>
                  </a:cubicBezTo>
                  <a:cubicBezTo>
                    <a:pt x="298731" y="1936687"/>
                    <a:pt x="295374" y="1940042"/>
                    <a:pt x="292018" y="1940042"/>
                  </a:cubicBezTo>
                  <a:cubicBezTo>
                    <a:pt x="288661" y="1940042"/>
                    <a:pt x="285305" y="1936687"/>
                    <a:pt x="285305" y="1933330"/>
                  </a:cubicBezTo>
                  <a:cubicBezTo>
                    <a:pt x="285305" y="1929975"/>
                    <a:pt x="288661" y="1926618"/>
                    <a:pt x="292018" y="1926618"/>
                  </a:cubicBezTo>
                  <a:close/>
                  <a:moveTo>
                    <a:pt x="1201638" y="1923286"/>
                  </a:moveTo>
                  <a:cubicBezTo>
                    <a:pt x="1208351" y="1923286"/>
                    <a:pt x="1211708" y="1926640"/>
                    <a:pt x="1211708" y="1933354"/>
                  </a:cubicBezTo>
                  <a:cubicBezTo>
                    <a:pt x="1211708" y="1936710"/>
                    <a:pt x="1208351" y="1943424"/>
                    <a:pt x="1201638" y="1943424"/>
                  </a:cubicBezTo>
                  <a:cubicBezTo>
                    <a:pt x="1194925" y="1943424"/>
                    <a:pt x="1188212" y="1940066"/>
                    <a:pt x="1191568" y="1933354"/>
                  </a:cubicBezTo>
                  <a:cubicBezTo>
                    <a:pt x="1191568" y="1929998"/>
                    <a:pt x="1194925" y="1923286"/>
                    <a:pt x="1201638" y="1923286"/>
                  </a:cubicBezTo>
                  <a:close/>
                  <a:moveTo>
                    <a:pt x="745150" y="1916558"/>
                  </a:moveTo>
                  <a:cubicBezTo>
                    <a:pt x="755220" y="1916558"/>
                    <a:pt x="761933" y="1923272"/>
                    <a:pt x="761933" y="1933342"/>
                  </a:cubicBezTo>
                  <a:cubicBezTo>
                    <a:pt x="761933" y="1943409"/>
                    <a:pt x="755220" y="1950123"/>
                    <a:pt x="745150" y="1950123"/>
                  </a:cubicBezTo>
                  <a:cubicBezTo>
                    <a:pt x="738437" y="1950123"/>
                    <a:pt x="728367" y="1943409"/>
                    <a:pt x="728367" y="1933342"/>
                  </a:cubicBezTo>
                  <a:cubicBezTo>
                    <a:pt x="728367" y="1923272"/>
                    <a:pt x="735080" y="1916558"/>
                    <a:pt x="745150" y="1916558"/>
                  </a:cubicBezTo>
                  <a:close/>
                  <a:moveTo>
                    <a:pt x="1439951" y="1822595"/>
                  </a:moveTo>
                  <a:cubicBezTo>
                    <a:pt x="1446664" y="1822595"/>
                    <a:pt x="1450020" y="1825952"/>
                    <a:pt x="1450020" y="1832665"/>
                  </a:cubicBezTo>
                  <a:cubicBezTo>
                    <a:pt x="1450020" y="1839378"/>
                    <a:pt x="1446664" y="1842734"/>
                    <a:pt x="1439951" y="1842734"/>
                  </a:cubicBezTo>
                  <a:cubicBezTo>
                    <a:pt x="1433238" y="1842734"/>
                    <a:pt x="1429881" y="1839378"/>
                    <a:pt x="1429881" y="1832665"/>
                  </a:cubicBezTo>
                  <a:cubicBezTo>
                    <a:pt x="1429881" y="1825952"/>
                    <a:pt x="1433238" y="1822595"/>
                    <a:pt x="1439951" y="1822595"/>
                  </a:cubicBezTo>
                  <a:close/>
                  <a:moveTo>
                    <a:pt x="526975" y="1815858"/>
                  </a:moveTo>
                  <a:cubicBezTo>
                    <a:pt x="537045" y="1815858"/>
                    <a:pt x="543758" y="1822570"/>
                    <a:pt x="543758" y="1832640"/>
                  </a:cubicBezTo>
                  <a:cubicBezTo>
                    <a:pt x="543758" y="1842710"/>
                    <a:pt x="537045" y="1849423"/>
                    <a:pt x="526975" y="1849423"/>
                  </a:cubicBezTo>
                  <a:cubicBezTo>
                    <a:pt x="520262" y="1849423"/>
                    <a:pt x="513549" y="1839352"/>
                    <a:pt x="510192" y="1832640"/>
                  </a:cubicBezTo>
                  <a:cubicBezTo>
                    <a:pt x="510192" y="1822570"/>
                    <a:pt x="516906" y="1815858"/>
                    <a:pt x="526975" y="1815858"/>
                  </a:cubicBezTo>
                  <a:close/>
                  <a:moveTo>
                    <a:pt x="983463" y="1812512"/>
                  </a:moveTo>
                  <a:cubicBezTo>
                    <a:pt x="993533" y="1812512"/>
                    <a:pt x="1003602" y="1819226"/>
                    <a:pt x="1003602" y="1829294"/>
                  </a:cubicBezTo>
                  <a:cubicBezTo>
                    <a:pt x="1003602" y="1839365"/>
                    <a:pt x="993533" y="1849434"/>
                    <a:pt x="983463" y="1849434"/>
                  </a:cubicBezTo>
                  <a:cubicBezTo>
                    <a:pt x="973393" y="1849434"/>
                    <a:pt x="963324" y="1842721"/>
                    <a:pt x="963324" y="1832650"/>
                  </a:cubicBezTo>
                  <a:cubicBezTo>
                    <a:pt x="963324" y="1822581"/>
                    <a:pt x="973393" y="1812512"/>
                    <a:pt x="983463" y="1812512"/>
                  </a:cubicBezTo>
                  <a:close/>
                  <a:moveTo>
                    <a:pt x="312157" y="1728581"/>
                  </a:moveTo>
                  <a:cubicBezTo>
                    <a:pt x="312157" y="1728581"/>
                    <a:pt x="315513" y="1728581"/>
                    <a:pt x="312157" y="1731938"/>
                  </a:cubicBezTo>
                  <a:cubicBezTo>
                    <a:pt x="308800" y="1728581"/>
                    <a:pt x="308800" y="1728581"/>
                    <a:pt x="312157" y="1728581"/>
                  </a:cubicBezTo>
                  <a:close/>
                  <a:moveTo>
                    <a:pt x="1225134" y="1715181"/>
                  </a:moveTo>
                  <a:cubicBezTo>
                    <a:pt x="1231847" y="1715181"/>
                    <a:pt x="1238560" y="1721894"/>
                    <a:pt x="1238560" y="1728607"/>
                  </a:cubicBezTo>
                  <a:cubicBezTo>
                    <a:pt x="1238560" y="1735320"/>
                    <a:pt x="1231847" y="1742033"/>
                    <a:pt x="1225134" y="1742033"/>
                  </a:cubicBezTo>
                  <a:cubicBezTo>
                    <a:pt x="1218421" y="1742033"/>
                    <a:pt x="1211708" y="1738675"/>
                    <a:pt x="1211708" y="1728607"/>
                  </a:cubicBezTo>
                  <a:cubicBezTo>
                    <a:pt x="1211708" y="1721894"/>
                    <a:pt x="1218421" y="1715181"/>
                    <a:pt x="1225134" y="1715181"/>
                  </a:cubicBezTo>
                  <a:close/>
                  <a:moveTo>
                    <a:pt x="768646" y="1708456"/>
                  </a:moveTo>
                  <a:cubicBezTo>
                    <a:pt x="781622" y="1708456"/>
                    <a:pt x="792142" y="1718974"/>
                    <a:pt x="792142" y="1731951"/>
                  </a:cubicBezTo>
                  <a:cubicBezTo>
                    <a:pt x="792142" y="1744926"/>
                    <a:pt x="781622" y="1755446"/>
                    <a:pt x="768646" y="1755446"/>
                  </a:cubicBezTo>
                  <a:cubicBezTo>
                    <a:pt x="755670" y="1755446"/>
                    <a:pt x="745150" y="1744926"/>
                    <a:pt x="745150" y="1731951"/>
                  </a:cubicBezTo>
                  <a:cubicBezTo>
                    <a:pt x="745150" y="1718974"/>
                    <a:pt x="755670" y="1708456"/>
                    <a:pt x="768646" y="1708456"/>
                  </a:cubicBezTo>
                  <a:close/>
                  <a:moveTo>
                    <a:pt x="1473517" y="1624561"/>
                  </a:moveTo>
                  <a:cubicBezTo>
                    <a:pt x="1476874" y="1624561"/>
                    <a:pt x="1480230" y="1627917"/>
                    <a:pt x="1480230" y="1631275"/>
                  </a:cubicBezTo>
                  <a:cubicBezTo>
                    <a:pt x="1480230" y="1634631"/>
                    <a:pt x="1476874" y="1637987"/>
                    <a:pt x="1473517" y="1637987"/>
                  </a:cubicBezTo>
                  <a:cubicBezTo>
                    <a:pt x="1466804" y="1637987"/>
                    <a:pt x="1463448" y="1634631"/>
                    <a:pt x="1466804" y="1631275"/>
                  </a:cubicBezTo>
                  <a:cubicBezTo>
                    <a:pt x="1466804" y="1627917"/>
                    <a:pt x="1470161" y="1624561"/>
                    <a:pt x="1473517" y="1624561"/>
                  </a:cubicBezTo>
                  <a:close/>
                  <a:moveTo>
                    <a:pt x="553827" y="1617822"/>
                  </a:moveTo>
                  <a:cubicBezTo>
                    <a:pt x="561243" y="1617822"/>
                    <a:pt x="567254" y="1623833"/>
                    <a:pt x="567254" y="1631249"/>
                  </a:cubicBezTo>
                  <a:cubicBezTo>
                    <a:pt x="567254" y="1638664"/>
                    <a:pt x="561243" y="1644675"/>
                    <a:pt x="553827" y="1644675"/>
                  </a:cubicBezTo>
                  <a:cubicBezTo>
                    <a:pt x="546412" y="1644675"/>
                    <a:pt x="540401" y="1638664"/>
                    <a:pt x="540401" y="1631249"/>
                  </a:cubicBezTo>
                  <a:cubicBezTo>
                    <a:pt x="540401" y="1623833"/>
                    <a:pt x="546412" y="1617822"/>
                    <a:pt x="553827" y="1617822"/>
                  </a:cubicBezTo>
                  <a:close/>
                  <a:moveTo>
                    <a:pt x="1013672" y="1611121"/>
                  </a:moveTo>
                  <a:cubicBezTo>
                    <a:pt x="1027098" y="1611121"/>
                    <a:pt x="1033811" y="1621192"/>
                    <a:pt x="1033811" y="1631261"/>
                  </a:cubicBezTo>
                  <a:cubicBezTo>
                    <a:pt x="1033811" y="1641330"/>
                    <a:pt x="1023741" y="1651401"/>
                    <a:pt x="1013672" y="1651401"/>
                  </a:cubicBezTo>
                  <a:cubicBezTo>
                    <a:pt x="1000246" y="1651401"/>
                    <a:pt x="993533" y="1641330"/>
                    <a:pt x="993533" y="1631261"/>
                  </a:cubicBezTo>
                  <a:cubicBezTo>
                    <a:pt x="993533" y="1617835"/>
                    <a:pt x="1003602" y="1611121"/>
                    <a:pt x="1013672" y="1611121"/>
                  </a:cubicBezTo>
                  <a:close/>
                  <a:moveTo>
                    <a:pt x="1725256" y="1530583"/>
                  </a:moveTo>
                  <a:cubicBezTo>
                    <a:pt x="1725256" y="1530583"/>
                    <a:pt x="1728613" y="1530583"/>
                    <a:pt x="1728613" y="1533939"/>
                  </a:cubicBezTo>
                  <a:cubicBezTo>
                    <a:pt x="1728613" y="1533939"/>
                    <a:pt x="1728613" y="1537296"/>
                    <a:pt x="1725256" y="1537296"/>
                  </a:cubicBezTo>
                  <a:cubicBezTo>
                    <a:pt x="1721900" y="1537296"/>
                    <a:pt x="1721900" y="1537296"/>
                    <a:pt x="1721900" y="1533939"/>
                  </a:cubicBezTo>
                  <a:cubicBezTo>
                    <a:pt x="1721900" y="1533939"/>
                    <a:pt x="1725256" y="1530583"/>
                    <a:pt x="1725256" y="1530583"/>
                  </a:cubicBezTo>
                  <a:close/>
                  <a:moveTo>
                    <a:pt x="1262056" y="1523856"/>
                  </a:moveTo>
                  <a:cubicBezTo>
                    <a:pt x="1265412" y="1523856"/>
                    <a:pt x="1272125" y="1527211"/>
                    <a:pt x="1272125" y="1533926"/>
                  </a:cubicBezTo>
                  <a:cubicBezTo>
                    <a:pt x="1272125" y="1537281"/>
                    <a:pt x="1268769" y="1543996"/>
                    <a:pt x="1262056" y="1543996"/>
                  </a:cubicBezTo>
                  <a:cubicBezTo>
                    <a:pt x="1255342" y="1543996"/>
                    <a:pt x="1248629" y="1537281"/>
                    <a:pt x="1251986" y="1533926"/>
                  </a:cubicBezTo>
                  <a:cubicBezTo>
                    <a:pt x="1251986" y="1530569"/>
                    <a:pt x="1255342" y="1523856"/>
                    <a:pt x="1262056" y="1523856"/>
                  </a:cubicBezTo>
                  <a:close/>
                  <a:moveTo>
                    <a:pt x="798855" y="1513777"/>
                  </a:moveTo>
                  <a:cubicBezTo>
                    <a:pt x="808924" y="1513777"/>
                    <a:pt x="815637" y="1520489"/>
                    <a:pt x="815637" y="1530558"/>
                  </a:cubicBezTo>
                  <a:cubicBezTo>
                    <a:pt x="815637" y="1540628"/>
                    <a:pt x="808924" y="1547340"/>
                    <a:pt x="798855" y="1547340"/>
                  </a:cubicBezTo>
                  <a:cubicBezTo>
                    <a:pt x="788785" y="1547340"/>
                    <a:pt x="782072" y="1540628"/>
                    <a:pt x="782072" y="1530558"/>
                  </a:cubicBezTo>
                  <a:cubicBezTo>
                    <a:pt x="782072" y="1520489"/>
                    <a:pt x="788785" y="1513777"/>
                    <a:pt x="798855" y="1513777"/>
                  </a:cubicBezTo>
                  <a:close/>
                  <a:moveTo>
                    <a:pt x="1517151" y="1433236"/>
                  </a:moveTo>
                  <a:cubicBezTo>
                    <a:pt x="1517151" y="1433236"/>
                    <a:pt x="1520508" y="1436592"/>
                    <a:pt x="1520508" y="1436592"/>
                  </a:cubicBezTo>
                  <a:cubicBezTo>
                    <a:pt x="1520508" y="1436592"/>
                    <a:pt x="1520508" y="1439949"/>
                    <a:pt x="1517151" y="1439949"/>
                  </a:cubicBezTo>
                  <a:cubicBezTo>
                    <a:pt x="1513795" y="1439949"/>
                    <a:pt x="1513795" y="1436592"/>
                    <a:pt x="1513795" y="1436592"/>
                  </a:cubicBezTo>
                  <a:cubicBezTo>
                    <a:pt x="1513795" y="1436592"/>
                    <a:pt x="1513795" y="1433236"/>
                    <a:pt x="1517151" y="1433236"/>
                  </a:cubicBezTo>
                  <a:close/>
                  <a:moveTo>
                    <a:pt x="587393" y="1423142"/>
                  </a:moveTo>
                  <a:cubicBezTo>
                    <a:pt x="590749" y="1423142"/>
                    <a:pt x="594106" y="1426499"/>
                    <a:pt x="594106" y="1429855"/>
                  </a:cubicBezTo>
                  <a:cubicBezTo>
                    <a:pt x="594106" y="1433211"/>
                    <a:pt x="590749" y="1436568"/>
                    <a:pt x="587393" y="1436568"/>
                  </a:cubicBezTo>
                  <a:cubicBezTo>
                    <a:pt x="584036" y="1436568"/>
                    <a:pt x="580680" y="1433211"/>
                    <a:pt x="580680" y="1429855"/>
                  </a:cubicBezTo>
                  <a:cubicBezTo>
                    <a:pt x="580680" y="1426499"/>
                    <a:pt x="584036" y="1423142"/>
                    <a:pt x="587393" y="1423142"/>
                  </a:cubicBezTo>
                  <a:close/>
                  <a:moveTo>
                    <a:pt x="1050594" y="1419798"/>
                  </a:moveTo>
                  <a:cubicBezTo>
                    <a:pt x="1058009" y="1419798"/>
                    <a:pt x="1064020" y="1425809"/>
                    <a:pt x="1064020" y="1433224"/>
                  </a:cubicBezTo>
                  <a:cubicBezTo>
                    <a:pt x="1064020" y="1440639"/>
                    <a:pt x="1058009" y="1446650"/>
                    <a:pt x="1050594" y="1446650"/>
                  </a:cubicBezTo>
                  <a:cubicBezTo>
                    <a:pt x="1043178" y="1446650"/>
                    <a:pt x="1037168" y="1440639"/>
                    <a:pt x="1037168" y="1433224"/>
                  </a:cubicBezTo>
                  <a:cubicBezTo>
                    <a:pt x="1037168" y="1425809"/>
                    <a:pt x="1043178" y="1419798"/>
                    <a:pt x="1050594" y="1419798"/>
                  </a:cubicBezTo>
                  <a:close/>
                  <a:moveTo>
                    <a:pt x="1782318" y="1335905"/>
                  </a:moveTo>
                  <a:lnTo>
                    <a:pt x="1782318" y="1341359"/>
                  </a:lnTo>
                  <a:cubicBezTo>
                    <a:pt x="1782318" y="1341779"/>
                    <a:pt x="1782318" y="1342618"/>
                    <a:pt x="1782318" y="1342618"/>
                  </a:cubicBezTo>
                  <a:cubicBezTo>
                    <a:pt x="1778961" y="1335905"/>
                    <a:pt x="1778961" y="1335905"/>
                    <a:pt x="1782318" y="1335905"/>
                  </a:cubicBezTo>
                  <a:close/>
                  <a:moveTo>
                    <a:pt x="1309047" y="1325824"/>
                  </a:moveTo>
                  <a:cubicBezTo>
                    <a:pt x="1312404" y="1325824"/>
                    <a:pt x="1319117" y="1329179"/>
                    <a:pt x="1319117" y="1335892"/>
                  </a:cubicBezTo>
                  <a:cubicBezTo>
                    <a:pt x="1319117" y="1339249"/>
                    <a:pt x="1315760" y="1345962"/>
                    <a:pt x="1309047" y="1345962"/>
                  </a:cubicBezTo>
                  <a:cubicBezTo>
                    <a:pt x="1302334" y="1345962"/>
                    <a:pt x="1298977" y="1339249"/>
                    <a:pt x="1298977" y="1335892"/>
                  </a:cubicBezTo>
                  <a:cubicBezTo>
                    <a:pt x="1298977" y="1332534"/>
                    <a:pt x="1302334" y="1325824"/>
                    <a:pt x="1309047" y="1325824"/>
                  </a:cubicBezTo>
                  <a:close/>
                  <a:moveTo>
                    <a:pt x="842488" y="1322455"/>
                  </a:moveTo>
                  <a:cubicBezTo>
                    <a:pt x="845845" y="1322455"/>
                    <a:pt x="852558" y="1325811"/>
                    <a:pt x="852558" y="1332525"/>
                  </a:cubicBezTo>
                  <a:cubicBezTo>
                    <a:pt x="852558" y="1335881"/>
                    <a:pt x="849202" y="1342593"/>
                    <a:pt x="842488" y="1342593"/>
                  </a:cubicBezTo>
                  <a:cubicBezTo>
                    <a:pt x="835775" y="1342593"/>
                    <a:pt x="832419" y="1339237"/>
                    <a:pt x="832419" y="1332525"/>
                  </a:cubicBezTo>
                  <a:cubicBezTo>
                    <a:pt x="832419" y="1329167"/>
                    <a:pt x="835775" y="1322455"/>
                    <a:pt x="842488" y="1322455"/>
                  </a:cubicBezTo>
                  <a:close/>
                  <a:moveTo>
                    <a:pt x="1574212" y="1231846"/>
                  </a:moveTo>
                  <a:cubicBezTo>
                    <a:pt x="1577920" y="1231846"/>
                    <a:pt x="1580925" y="1234850"/>
                    <a:pt x="1580925" y="1238559"/>
                  </a:cubicBezTo>
                  <a:cubicBezTo>
                    <a:pt x="1580925" y="1242266"/>
                    <a:pt x="1577920" y="1245269"/>
                    <a:pt x="1574212" y="1245269"/>
                  </a:cubicBezTo>
                  <a:cubicBezTo>
                    <a:pt x="1570505" y="1245269"/>
                    <a:pt x="1567499" y="1242266"/>
                    <a:pt x="1567499" y="1238559"/>
                  </a:cubicBezTo>
                  <a:cubicBezTo>
                    <a:pt x="1567499" y="1234850"/>
                    <a:pt x="1570505" y="1231846"/>
                    <a:pt x="1574212" y="1231846"/>
                  </a:cubicBezTo>
                  <a:close/>
                  <a:moveTo>
                    <a:pt x="1100942" y="1218408"/>
                  </a:moveTo>
                  <a:cubicBezTo>
                    <a:pt x="1111011" y="1218408"/>
                    <a:pt x="1117724" y="1225122"/>
                    <a:pt x="1117724" y="1235192"/>
                  </a:cubicBezTo>
                  <a:cubicBezTo>
                    <a:pt x="1117724" y="1245260"/>
                    <a:pt x="1111011" y="1251973"/>
                    <a:pt x="1100942" y="1251973"/>
                  </a:cubicBezTo>
                  <a:cubicBezTo>
                    <a:pt x="1094229" y="1251973"/>
                    <a:pt x="1084159" y="1245260"/>
                    <a:pt x="1084159" y="1235192"/>
                  </a:cubicBezTo>
                  <a:cubicBezTo>
                    <a:pt x="1084159" y="1225122"/>
                    <a:pt x="1090872" y="1218408"/>
                    <a:pt x="1100942" y="1218408"/>
                  </a:cubicBezTo>
                  <a:close/>
                  <a:moveTo>
                    <a:pt x="1369465" y="1134500"/>
                  </a:moveTo>
                  <a:cubicBezTo>
                    <a:pt x="1372821" y="1134500"/>
                    <a:pt x="1376178" y="1137856"/>
                    <a:pt x="1376178" y="1141213"/>
                  </a:cubicBezTo>
                  <a:cubicBezTo>
                    <a:pt x="1376178" y="1144567"/>
                    <a:pt x="1372821" y="1147925"/>
                    <a:pt x="1369465" y="1147925"/>
                  </a:cubicBezTo>
                  <a:cubicBezTo>
                    <a:pt x="1366108" y="1147925"/>
                    <a:pt x="1362752" y="1144567"/>
                    <a:pt x="1362752" y="1141213"/>
                  </a:cubicBezTo>
                  <a:cubicBezTo>
                    <a:pt x="1362752" y="1137856"/>
                    <a:pt x="1366108" y="1134500"/>
                    <a:pt x="1369465" y="1134500"/>
                  </a:cubicBezTo>
                  <a:close/>
                  <a:moveTo>
                    <a:pt x="896193" y="1127776"/>
                  </a:moveTo>
                  <a:cubicBezTo>
                    <a:pt x="899550" y="1127776"/>
                    <a:pt x="906263" y="1131133"/>
                    <a:pt x="906263" y="1137846"/>
                  </a:cubicBezTo>
                  <a:cubicBezTo>
                    <a:pt x="906263" y="1141201"/>
                    <a:pt x="902906" y="1147915"/>
                    <a:pt x="896193" y="1147915"/>
                  </a:cubicBezTo>
                  <a:cubicBezTo>
                    <a:pt x="889480" y="1147915"/>
                    <a:pt x="882767" y="1141201"/>
                    <a:pt x="886123" y="1137846"/>
                  </a:cubicBezTo>
                  <a:cubicBezTo>
                    <a:pt x="886123" y="1134488"/>
                    <a:pt x="889480" y="1127776"/>
                    <a:pt x="896193" y="1127776"/>
                  </a:cubicBezTo>
                  <a:close/>
                  <a:moveTo>
                    <a:pt x="1644700" y="1043878"/>
                  </a:moveTo>
                  <a:cubicBezTo>
                    <a:pt x="1648056" y="1043878"/>
                    <a:pt x="1648056" y="1047233"/>
                    <a:pt x="1644700" y="1050591"/>
                  </a:cubicBezTo>
                  <a:cubicBezTo>
                    <a:pt x="1641343" y="1047233"/>
                    <a:pt x="1644700" y="1043878"/>
                    <a:pt x="1644700" y="1043878"/>
                  </a:cubicBezTo>
                  <a:close/>
                  <a:moveTo>
                    <a:pt x="1164716" y="1030441"/>
                  </a:moveTo>
                  <a:cubicBezTo>
                    <a:pt x="1171429" y="1030441"/>
                    <a:pt x="1174786" y="1033800"/>
                    <a:pt x="1174786" y="1040512"/>
                  </a:cubicBezTo>
                  <a:cubicBezTo>
                    <a:pt x="1174786" y="1047224"/>
                    <a:pt x="1171429" y="1050581"/>
                    <a:pt x="1164716" y="1050581"/>
                  </a:cubicBezTo>
                  <a:cubicBezTo>
                    <a:pt x="1158003" y="1050581"/>
                    <a:pt x="1154646" y="1047224"/>
                    <a:pt x="1154646" y="1040512"/>
                  </a:cubicBezTo>
                  <a:cubicBezTo>
                    <a:pt x="1154646" y="1033800"/>
                    <a:pt x="1158003" y="1030441"/>
                    <a:pt x="1164716" y="1030441"/>
                  </a:cubicBezTo>
                  <a:close/>
                  <a:moveTo>
                    <a:pt x="1439951" y="939813"/>
                  </a:moveTo>
                  <a:cubicBezTo>
                    <a:pt x="1446664" y="939813"/>
                    <a:pt x="1450020" y="943170"/>
                    <a:pt x="1450020" y="949882"/>
                  </a:cubicBezTo>
                  <a:cubicBezTo>
                    <a:pt x="1450020" y="956596"/>
                    <a:pt x="1443307" y="959953"/>
                    <a:pt x="1439951" y="959953"/>
                  </a:cubicBezTo>
                  <a:cubicBezTo>
                    <a:pt x="1436594" y="959953"/>
                    <a:pt x="1429881" y="956596"/>
                    <a:pt x="1429881" y="949882"/>
                  </a:cubicBezTo>
                  <a:cubicBezTo>
                    <a:pt x="1429881" y="943170"/>
                    <a:pt x="1436594" y="939813"/>
                    <a:pt x="1439951" y="939813"/>
                  </a:cubicBezTo>
                  <a:close/>
                  <a:moveTo>
                    <a:pt x="959967" y="933090"/>
                  </a:moveTo>
                  <a:cubicBezTo>
                    <a:pt x="963324" y="933090"/>
                    <a:pt x="970037" y="936445"/>
                    <a:pt x="970037" y="943159"/>
                  </a:cubicBezTo>
                  <a:cubicBezTo>
                    <a:pt x="970037" y="946516"/>
                    <a:pt x="966680" y="953228"/>
                    <a:pt x="959967" y="953228"/>
                  </a:cubicBezTo>
                  <a:cubicBezTo>
                    <a:pt x="953254" y="953228"/>
                    <a:pt x="946541" y="949871"/>
                    <a:pt x="949898" y="943159"/>
                  </a:cubicBezTo>
                  <a:cubicBezTo>
                    <a:pt x="949898" y="939803"/>
                    <a:pt x="953254" y="933090"/>
                    <a:pt x="959967" y="933090"/>
                  </a:cubicBezTo>
                  <a:close/>
                  <a:moveTo>
                    <a:pt x="1728613" y="859262"/>
                  </a:moveTo>
                  <a:cubicBezTo>
                    <a:pt x="1728613" y="859262"/>
                    <a:pt x="1731970" y="859262"/>
                    <a:pt x="1731970" y="862618"/>
                  </a:cubicBezTo>
                  <a:cubicBezTo>
                    <a:pt x="1731970" y="862618"/>
                    <a:pt x="1731970" y="865975"/>
                    <a:pt x="1728613" y="865975"/>
                  </a:cubicBezTo>
                  <a:cubicBezTo>
                    <a:pt x="1725256" y="865975"/>
                    <a:pt x="1721900" y="865975"/>
                    <a:pt x="1725256" y="862618"/>
                  </a:cubicBezTo>
                  <a:cubicBezTo>
                    <a:pt x="1725256" y="862618"/>
                    <a:pt x="1728613" y="859262"/>
                    <a:pt x="1728613" y="859262"/>
                  </a:cubicBezTo>
                  <a:close/>
                  <a:moveTo>
                    <a:pt x="1235203" y="845825"/>
                  </a:moveTo>
                  <a:cubicBezTo>
                    <a:pt x="1238560" y="845825"/>
                    <a:pt x="1241916" y="849182"/>
                    <a:pt x="1241916" y="852538"/>
                  </a:cubicBezTo>
                  <a:cubicBezTo>
                    <a:pt x="1241916" y="855895"/>
                    <a:pt x="1238560" y="859251"/>
                    <a:pt x="1235203" y="859251"/>
                  </a:cubicBezTo>
                  <a:cubicBezTo>
                    <a:pt x="1231847" y="859251"/>
                    <a:pt x="1228490" y="855895"/>
                    <a:pt x="1228490" y="852538"/>
                  </a:cubicBezTo>
                  <a:cubicBezTo>
                    <a:pt x="1228490" y="849182"/>
                    <a:pt x="1231847" y="845825"/>
                    <a:pt x="1235203" y="845825"/>
                  </a:cubicBezTo>
                  <a:close/>
                  <a:moveTo>
                    <a:pt x="2027344" y="778710"/>
                  </a:moveTo>
                  <a:cubicBezTo>
                    <a:pt x="2027344" y="778710"/>
                    <a:pt x="2030700" y="778710"/>
                    <a:pt x="2027344" y="782066"/>
                  </a:cubicBezTo>
                  <a:cubicBezTo>
                    <a:pt x="2023987" y="778710"/>
                    <a:pt x="2027344" y="778710"/>
                    <a:pt x="2027344" y="778710"/>
                  </a:cubicBezTo>
                  <a:close/>
                  <a:moveTo>
                    <a:pt x="1523864" y="751848"/>
                  </a:moveTo>
                  <a:cubicBezTo>
                    <a:pt x="1530577" y="751848"/>
                    <a:pt x="1537290" y="758561"/>
                    <a:pt x="1537290" y="765275"/>
                  </a:cubicBezTo>
                  <a:cubicBezTo>
                    <a:pt x="1537290" y="771987"/>
                    <a:pt x="1530577" y="778701"/>
                    <a:pt x="1523864" y="778701"/>
                  </a:cubicBezTo>
                  <a:cubicBezTo>
                    <a:pt x="1517151" y="778701"/>
                    <a:pt x="1510438" y="771987"/>
                    <a:pt x="1510438" y="765275"/>
                  </a:cubicBezTo>
                  <a:cubicBezTo>
                    <a:pt x="1510438" y="758561"/>
                    <a:pt x="1517151" y="751848"/>
                    <a:pt x="1523864" y="751848"/>
                  </a:cubicBezTo>
                  <a:close/>
                  <a:moveTo>
                    <a:pt x="1033811" y="745126"/>
                  </a:moveTo>
                  <a:cubicBezTo>
                    <a:pt x="1037168" y="745126"/>
                    <a:pt x="1040524" y="748481"/>
                    <a:pt x="1040524" y="751838"/>
                  </a:cubicBezTo>
                  <a:cubicBezTo>
                    <a:pt x="1040524" y="755194"/>
                    <a:pt x="1037168" y="758551"/>
                    <a:pt x="1033811" y="758551"/>
                  </a:cubicBezTo>
                  <a:cubicBezTo>
                    <a:pt x="1030454" y="758551"/>
                    <a:pt x="1027098" y="755194"/>
                    <a:pt x="1027098" y="751838"/>
                  </a:cubicBezTo>
                  <a:cubicBezTo>
                    <a:pt x="1027098" y="748481"/>
                    <a:pt x="1030454" y="745126"/>
                    <a:pt x="1033811" y="745126"/>
                  </a:cubicBezTo>
                  <a:close/>
                  <a:moveTo>
                    <a:pt x="1822596" y="681366"/>
                  </a:moveTo>
                  <a:cubicBezTo>
                    <a:pt x="1822596" y="681366"/>
                    <a:pt x="1825953" y="681366"/>
                    <a:pt x="1822596" y="684723"/>
                  </a:cubicBezTo>
                  <a:cubicBezTo>
                    <a:pt x="1819240" y="681366"/>
                    <a:pt x="1819240" y="681366"/>
                    <a:pt x="1822596" y="681366"/>
                  </a:cubicBezTo>
                  <a:close/>
                  <a:moveTo>
                    <a:pt x="1319117" y="654504"/>
                  </a:moveTo>
                  <a:cubicBezTo>
                    <a:pt x="1325830" y="654504"/>
                    <a:pt x="1329186" y="657861"/>
                    <a:pt x="1329186" y="664574"/>
                  </a:cubicBezTo>
                  <a:cubicBezTo>
                    <a:pt x="1329186" y="671286"/>
                    <a:pt x="1325830" y="674643"/>
                    <a:pt x="1319117" y="674643"/>
                  </a:cubicBezTo>
                  <a:cubicBezTo>
                    <a:pt x="1315760" y="674643"/>
                    <a:pt x="1309047" y="671286"/>
                    <a:pt x="1309047" y="664574"/>
                  </a:cubicBezTo>
                  <a:cubicBezTo>
                    <a:pt x="1309047" y="657861"/>
                    <a:pt x="1312404" y="654504"/>
                    <a:pt x="1319117" y="654504"/>
                  </a:cubicBezTo>
                  <a:close/>
                  <a:moveTo>
                    <a:pt x="2131396" y="607528"/>
                  </a:moveTo>
                  <a:cubicBezTo>
                    <a:pt x="2131396" y="607528"/>
                    <a:pt x="2134753" y="607528"/>
                    <a:pt x="2131396" y="610885"/>
                  </a:cubicBezTo>
                  <a:lnTo>
                    <a:pt x="2131396" y="609627"/>
                  </a:lnTo>
                  <a:close/>
                  <a:moveTo>
                    <a:pt x="1617847" y="577309"/>
                  </a:moveTo>
                  <a:cubicBezTo>
                    <a:pt x="1621204" y="577309"/>
                    <a:pt x="1624560" y="580666"/>
                    <a:pt x="1624560" y="584023"/>
                  </a:cubicBezTo>
                  <a:cubicBezTo>
                    <a:pt x="1624560" y="587379"/>
                    <a:pt x="1621204" y="590735"/>
                    <a:pt x="1617847" y="590735"/>
                  </a:cubicBezTo>
                  <a:cubicBezTo>
                    <a:pt x="1614491" y="590735"/>
                    <a:pt x="1611134" y="587379"/>
                    <a:pt x="1611134" y="584023"/>
                  </a:cubicBezTo>
                  <a:cubicBezTo>
                    <a:pt x="1611134" y="580666"/>
                    <a:pt x="1614491" y="577309"/>
                    <a:pt x="1617847" y="577309"/>
                  </a:cubicBezTo>
                  <a:close/>
                  <a:moveTo>
                    <a:pt x="1926649" y="506828"/>
                  </a:moveTo>
                  <a:cubicBezTo>
                    <a:pt x="1926649" y="506828"/>
                    <a:pt x="1930005" y="506828"/>
                    <a:pt x="1930005" y="510184"/>
                  </a:cubicBezTo>
                  <a:cubicBezTo>
                    <a:pt x="1930005" y="510184"/>
                    <a:pt x="1930005" y="513541"/>
                    <a:pt x="1926649" y="513541"/>
                  </a:cubicBezTo>
                  <a:cubicBezTo>
                    <a:pt x="1923292" y="513541"/>
                    <a:pt x="1923292" y="510184"/>
                    <a:pt x="1923292" y="510184"/>
                  </a:cubicBezTo>
                  <a:cubicBezTo>
                    <a:pt x="1923292" y="510184"/>
                    <a:pt x="1923292" y="506828"/>
                    <a:pt x="1926649" y="506828"/>
                  </a:cubicBezTo>
                  <a:close/>
                  <a:moveTo>
                    <a:pt x="1413099" y="476608"/>
                  </a:moveTo>
                  <a:cubicBezTo>
                    <a:pt x="1419812" y="476608"/>
                    <a:pt x="1423168" y="479965"/>
                    <a:pt x="1423168" y="486678"/>
                  </a:cubicBezTo>
                  <a:cubicBezTo>
                    <a:pt x="1423168" y="493391"/>
                    <a:pt x="1419812" y="496747"/>
                    <a:pt x="1413099" y="496747"/>
                  </a:cubicBezTo>
                  <a:cubicBezTo>
                    <a:pt x="1406386" y="496747"/>
                    <a:pt x="1403029" y="490034"/>
                    <a:pt x="1403029" y="486678"/>
                  </a:cubicBezTo>
                  <a:cubicBezTo>
                    <a:pt x="1403029" y="479965"/>
                    <a:pt x="1406386" y="476608"/>
                    <a:pt x="1413099" y="476608"/>
                  </a:cubicBezTo>
                  <a:close/>
                  <a:moveTo>
                    <a:pt x="2252232" y="439702"/>
                  </a:moveTo>
                  <a:cubicBezTo>
                    <a:pt x="2252232" y="439702"/>
                    <a:pt x="2255588" y="443059"/>
                    <a:pt x="2252232" y="446415"/>
                  </a:cubicBezTo>
                  <a:cubicBezTo>
                    <a:pt x="2248875" y="439702"/>
                    <a:pt x="2248875" y="439702"/>
                    <a:pt x="2252232" y="439702"/>
                  </a:cubicBezTo>
                  <a:close/>
                  <a:moveTo>
                    <a:pt x="1721900" y="402770"/>
                  </a:moveTo>
                  <a:cubicBezTo>
                    <a:pt x="1725256" y="402770"/>
                    <a:pt x="1728613" y="406126"/>
                    <a:pt x="1728613" y="409483"/>
                  </a:cubicBezTo>
                  <a:cubicBezTo>
                    <a:pt x="1728613" y="412839"/>
                    <a:pt x="1725256" y="416196"/>
                    <a:pt x="1721900" y="416196"/>
                  </a:cubicBezTo>
                  <a:cubicBezTo>
                    <a:pt x="1718543" y="416196"/>
                    <a:pt x="1715187" y="412839"/>
                    <a:pt x="1715187" y="409483"/>
                  </a:cubicBezTo>
                  <a:cubicBezTo>
                    <a:pt x="1715187" y="406126"/>
                    <a:pt x="1718543" y="402770"/>
                    <a:pt x="1721900" y="402770"/>
                  </a:cubicBezTo>
                  <a:close/>
                  <a:moveTo>
                    <a:pt x="2044126" y="339001"/>
                  </a:moveTo>
                  <a:cubicBezTo>
                    <a:pt x="2044126" y="339001"/>
                    <a:pt x="2047483" y="342358"/>
                    <a:pt x="2044126" y="345715"/>
                  </a:cubicBezTo>
                  <a:cubicBezTo>
                    <a:pt x="2040770" y="339001"/>
                    <a:pt x="2040770" y="339001"/>
                    <a:pt x="2044126" y="339001"/>
                  </a:cubicBezTo>
                  <a:close/>
                  <a:moveTo>
                    <a:pt x="1517151" y="305426"/>
                  </a:moveTo>
                  <a:cubicBezTo>
                    <a:pt x="1517151" y="305426"/>
                    <a:pt x="1520508" y="308782"/>
                    <a:pt x="1517151" y="312139"/>
                  </a:cubicBezTo>
                  <a:cubicBezTo>
                    <a:pt x="1513795" y="308782"/>
                    <a:pt x="1513795" y="308782"/>
                    <a:pt x="1517151" y="305426"/>
                  </a:cubicBezTo>
                  <a:close/>
                  <a:moveTo>
                    <a:pt x="2379780" y="285303"/>
                  </a:moveTo>
                  <a:cubicBezTo>
                    <a:pt x="2379780" y="285303"/>
                    <a:pt x="2383136" y="285303"/>
                    <a:pt x="2379780" y="288659"/>
                  </a:cubicBezTo>
                  <a:cubicBezTo>
                    <a:pt x="2376424" y="285303"/>
                    <a:pt x="2379780" y="285303"/>
                    <a:pt x="2379780" y="285303"/>
                  </a:cubicBezTo>
                  <a:close/>
                  <a:moveTo>
                    <a:pt x="1834762" y="240820"/>
                  </a:moveTo>
                  <a:cubicBezTo>
                    <a:pt x="1835182" y="239980"/>
                    <a:pt x="1836021" y="239980"/>
                    <a:pt x="1836021" y="241658"/>
                  </a:cubicBezTo>
                  <a:cubicBezTo>
                    <a:pt x="1836021" y="241658"/>
                    <a:pt x="1839378" y="241658"/>
                    <a:pt x="1836021" y="245015"/>
                  </a:cubicBezTo>
                  <a:cubicBezTo>
                    <a:pt x="1834343" y="243337"/>
                    <a:pt x="1834343" y="241658"/>
                    <a:pt x="1834762" y="240820"/>
                  </a:cubicBezTo>
                  <a:close/>
                  <a:moveTo>
                    <a:pt x="2168318" y="181245"/>
                  </a:moveTo>
                  <a:cubicBezTo>
                    <a:pt x="2168318" y="181245"/>
                    <a:pt x="2171675" y="181245"/>
                    <a:pt x="2168318" y="184602"/>
                  </a:cubicBezTo>
                  <a:cubicBezTo>
                    <a:pt x="2168318" y="181245"/>
                    <a:pt x="2168318" y="181245"/>
                    <a:pt x="2168318" y="181245"/>
                  </a:cubicBezTo>
                  <a:close/>
                  <a:moveTo>
                    <a:pt x="2520754" y="137617"/>
                  </a:moveTo>
                  <a:cubicBezTo>
                    <a:pt x="2520754" y="137617"/>
                    <a:pt x="2524110" y="137617"/>
                    <a:pt x="2520754" y="140974"/>
                  </a:cubicBezTo>
                  <a:cubicBezTo>
                    <a:pt x="2517397" y="137617"/>
                    <a:pt x="2520754" y="137617"/>
                    <a:pt x="2520754" y="137617"/>
                  </a:cubicBezTo>
                  <a:close/>
                  <a:moveTo>
                    <a:pt x="1960213" y="77189"/>
                  </a:moveTo>
                  <a:cubicBezTo>
                    <a:pt x="1960213" y="77189"/>
                    <a:pt x="1963570" y="80545"/>
                    <a:pt x="1960213" y="83901"/>
                  </a:cubicBezTo>
                  <a:cubicBezTo>
                    <a:pt x="1956856" y="80545"/>
                    <a:pt x="1956856" y="77189"/>
                    <a:pt x="1960213" y="77189"/>
                  </a:cubicBezTo>
                  <a:close/>
                  <a:moveTo>
                    <a:pt x="2305936" y="30203"/>
                  </a:moveTo>
                  <a:cubicBezTo>
                    <a:pt x="2305936" y="30203"/>
                    <a:pt x="2309293" y="30203"/>
                    <a:pt x="2305936" y="33559"/>
                  </a:cubicBezTo>
                  <a:cubicBezTo>
                    <a:pt x="2302580" y="30203"/>
                    <a:pt x="2305936" y="30203"/>
                    <a:pt x="2305936" y="30203"/>
                  </a:cubicBezTo>
                  <a:close/>
                  <a:moveTo>
                    <a:pt x="2668441" y="0"/>
                  </a:moveTo>
                  <a:cubicBezTo>
                    <a:pt x="2668441" y="0"/>
                    <a:pt x="2671798" y="0"/>
                    <a:pt x="2668441" y="3357"/>
                  </a:cubicBezTo>
                  <a:cubicBezTo>
                    <a:pt x="2668441" y="0"/>
                    <a:pt x="2668441" y="0"/>
                    <a:pt x="2668441" y="0"/>
                  </a:cubicBezTo>
                  <a:close/>
                </a:path>
              </a:pathLst>
            </a:custGeom>
            <a:gradFill>
              <a:gsLst>
                <a:gs pos="0">
                  <a:schemeClr val="accent3">
                    <a:alpha val="0"/>
                  </a:schemeClr>
                </a:gs>
                <a:gs pos="100000">
                  <a:schemeClr val="accent1">
                    <a:lumMod val="75000"/>
                    <a:alpha val="17000"/>
                  </a:schemeClr>
                </a:gs>
              </a:gsLst>
              <a:lin ang="10800000" scaled="1"/>
            </a:gradFill>
            <a:ln w="315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2" name="Freeform: Shape 431">
              <a:extLst>
                <a:ext uri="{FF2B5EF4-FFF2-40B4-BE49-F238E27FC236}">
                  <a16:creationId xmlns:a16="http://schemas.microsoft.com/office/drawing/2014/main" id="{26934EBC-A3C8-4EB9-98EA-48FCE28389E7}"/>
                </a:ext>
                <a:ext uri="{C183D7F6-B498-43B3-948B-1728B52AA6E4}">
                  <adec:decorative xmlns:adec="http://schemas.microsoft.com/office/drawing/2017/decorative" val="1"/>
                </a:ext>
              </a:extLst>
            </p:cNvPr>
            <p:cNvSpPr/>
            <p:nvPr/>
          </p:nvSpPr>
          <p:spPr bwMode="auto">
            <a:xfrm>
              <a:off x="9964417" y="1"/>
              <a:ext cx="2472059" cy="3276183"/>
            </a:xfrm>
            <a:custGeom>
              <a:avLst/>
              <a:gdLst>
                <a:gd name="connsiteX0" fmla="*/ 434012 w 2472059"/>
                <a:gd name="connsiteY0" fmla="*/ 0 h 3276183"/>
                <a:gd name="connsiteX1" fmla="*/ 2472059 w 2472059"/>
                <a:gd name="connsiteY1" fmla="*/ 0 h 3276183"/>
                <a:gd name="connsiteX2" fmla="*/ 2472059 w 2472059"/>
                <a:gd name="connsiteY2" fmla="*/ 3225260 h 3276183"/>
                <a:gd name="connsiteX3" fmla="*/ 2434078 w 2472059"/>
                <a:gd name="connsiteY3" fmla="*/ 3235026 h 3276183"/>
                <a:gd name="connsiteX4" fmla="*/ 2025807 w 2472059"/>
                <a:gd name="connsiteY4" fmla="*/ 3276183 h 3276183"/>
                <a:gd name="connsiteX5" fmla="*/ 0 w 2472059"/>
                <a:gd name="connsiteY5" fmla="*/ 1250376 h 3276183"/>
                <a:gd name="connsiteX6" fmla="*/ 345976 w 2472059"/>
                <a:gd name="connsiteY6" fmla="*/ 117728 h 3276183"/>
                <a:gd name="connsiteX0" fmla="*/ 2472059 w 2563499"/>
                <a:gd name="connsiteY0" fmla="*/ 0 h 3276183"/>
                <a:gd name="connsiteX1" fmla="*/ 2472059 w 2563499"/>
                <a:gd name="connsiteY1" fmla="*/ 3225260 h 3276183"/>
                <a:gd name="connsiteX2" fmla="*/ 2434078 w 2563499"/>
                <a:gd name="connsiteY2" fmla="*/ 3235026 h 3276183"/>
                <a:gd name="connsiteX3" fmla="*/ 2025807 w 2563499"/>
                <a:gd name="connsiteY3" fmla="*/ 3276183 h 3276183"/>
                <a:gd name="connsiteX4" fmla="*/ 0 w 2563499"/>
                <a:gd name="connsiteY4" fmla="*/ 1250376 h 3276183"/>
                <a:gd name="connsiteX5" fmla="*/ 345976 w 2563499"/>
                <a:gd name="connsiteY5" fmla="*/ 117728 h 3276183"/>
                <a:gd name="connsiteX6" fmla="*/ 434012 w 2563499"/>
                <a:gd name="connsiteY6" fmla="*/ 0 h 3276183"/>
                <a:gd name="connsiteX7" fmla="*/ 2563499 w 2563499"/>
                <a:gd name="connsiteY7" fmla="*/ 91440 h 3276183"/>
                <a:gd name="connsiteX0" fmla="*/ 2472059 w 2472059"/>
                <a:gd name="connsiteY0" fmla="*/ 0 h 3276183"/>
                <a:gd name="connsiteX1" fmla="*/ 2472059 w 2472059"/>
                <a:gd name="connsiteY1" fmla="*/ 3225260 h 3276183"/>
                <a:gd name="connsiteX2" fmla="*/ 2434078 w 2472059"/>
                <a:gd name="connsiteY2" fmla="*/ 3235026 h 3276183"/>
                <a:gd name="connsiteX3" fmla="*/ 2025807 w 2472059"/>
                <a:gd name="connsiteY3" fmla="*/ 3276183 h 3276183"/>
                <a:gd name="connsiteX4" fmla="*/ 0 w 2472059"/>
                <a:gd name="connsiteY4" fmla="*/ 1250376 h 3276183"/>
                <a:gd name="connsiteX5" fmla="*/ 345976 w 2472059"/>
                <a:gd name="connsiteY5" fmla="*/ 117728 h 3276183"/>
                <a:gd name="connsiteX6" fmla="*/ 434012 w 2472059"/>
                <a:gd name="connsiteY6" fmla="*/ 0 h 3276183"/>
                <a:gd name="connsiteX0" fmla="*/ 2472059 w 2472059"/>
                <a:gd name="connsiteY0" fmla="*/ 3225260 h 3276183"/>
                <a:gd name="connsiteX1" fmla="*/ 2434078 w 2472059"/>
                <a:gd name="connsiteY1" fmla="*/ 3235026 h 3276183"/>
                <a:gd name="connsiteX2" fmla="*/ 2025807 w 2472059"/>
                <a:gd name="connsiteY2" fmla="*/ 3276183 h 3276183"/>
                <a:gd name="connsiteX3" fmla="*/ 0 w 2472059"/>
                <a:gd name="connsiteY3" fmla="*/ 1250376 h 3276183"/>
                <a:gd name="connsiteX4" fmla="*/ 345976 w 2472059"/>
                <a:gd name="connsiteY4" fmla="*/ 117728 h 3276183"/>
                <a:gd name="connsiteX5" fmla="*/ 434012 w 2472059"/>
                <a:gd name="connsiteY5" fmla="*/ 0 h 327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059" h="3276183">
                  <a:moveTo>
                    <a:pt x="2472059" y="3225260"/>
                  </a:moveTo>
                  <a:lnTo>
                    <a:pt x="2434078" y="3235026"/>
                  </a:lnTo>
                  <a:cubicBezTo>
                    <a:pt x="2302203" y="3262012"/>
                    <a:pt x="2165660" y="3276183"/>
                    <a:pt x="2025807" y="3276183"/>
                  </a:cubicBezTo>
                  <a:cubicBezTo>
                    <a:pt x="906985" y="3276183"/>
                    <a:pt x="0" y="2369198"/>
                    <a:pt x="0" y="1250376"/>
                  </a:cubicBezTo>
                  <a:cubicBezTo>
                    <a:pt x="0" y="830818"/>
                    <a:pt x="127545" y="441049"/>
                    <a:pt x="345976" y="117728"/>
                  </a:cubicBezTo>
                  <a:lnTo>
                    <a:pt x="434012" y="0"/>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9" name="Freeform: Shape 428">
              <a:extLst>
                <a:ext uri="{FF2B5EF4-FFF2-40B4-BE49-F238E27FC236}">
                  <a16:creationId xmlns:a16="http://schemas.microsoft.com/office/drawing/2014/main" id="{3D5BB046-6676-4A99-B3C2-F5F55B8928C9}"/>
                </a:ext>
                <a:ext uri="{C183D7F6-B498-43B3-948B-1728B52AA6E4}">
                  <adec:decorative xmlns:adec="http://schemas.microsoft.com/office/drawing/2017/decorative" val="1"/>
                </a:ext>
              </a:extLst>
            </p:cNvPr>
            <p:cNvSpPr/>
            <p:nvPr/>
          </p:nvSpPr>
          <p:spPr bwMode="auto">
            <a:xfrm>
              <a:off x="8269732" y="273850"/>
              <a:ext cx="4166742" cy="5353012"/>
            </a:xfrm>
            <a:custGeom>
              <a:avLst/>
              <a:gdLst>
                <a:gd name="connsiteX0" fmla="*/ 2676506 w 4166742"/>
                <a:gd name="connsiteY0" fmla="*/ 0 h 5353012"/>
                <a:gd name="connsiteX1" fmla="*/ 3952288 w 4166742"/>
                <a:gd name="connsiteY1" fmla="*/ 323040 h 5353012"/>
                <a:gd name="connsiteX2" fmla="*/ 4166742 w 4166742"/>
                <a:gd name="connsiteY2" fmla="*/ 453324 h 5353012"/>
                <a:gd name="connsiteX3" fmla="*/ 4166742 w 4166742"/>
                <a:gd name="connsiteY3" fmla="*/ 4899688 h 5353012"/>
                <a:gd name="connsiteX4" fmla="*/ 3952288 w 4166742"/>
                <a:gd name="connsiteY4" fmla="*/ 5029972 h 5353012"/>
                <a:gd name="connsiteX5" fmla="*/ 2676506 w 4166742"/>
                <a:gd name="connsiteY5" fmla="*/ 5353012 h 5353012"/>
                <a:gd name="connsiteX6" fmla="*/ 0 w 4166742"/>
                <a:gd name="connsiteY6" fmla="*/ 2676506 h 5353012"/>
                <a:gd name="connsiteX7" fmla="*/ 2676506 w 4166742"/>
                <a:gd name="connsiteY7" fmla="*/ 0 h 5353012"/>
                <a:gd name="connsiteX0" fmla="*/ 2676506 w 4183525"/>
                <a:gd name="connsiteY0" fmla="*/ 0 h 5353012"/>
                <a:gd name="connsiteX1" fmla="*/ 3952288 w 4183525"/>
                <a:gd name="connsiteY1" fmla="*/ 323040 h 5353012"/>
                <a:gd name="connsiteX2" fmla="*/ 4166742 w 4183525"/>
                <a:gd name="connsiteY2" fmla="*/ 453324 h 5353012"/>
                <a:gd name="connsiteX3" fmla="*/ 4183525 w 4183525"/>
                <a:gd name="connsiteY3" fmla="*/ 2556436 h 5353012"/>
                <a:gd name="connsiteX4" fmla="*/ 4166742 w 4183525"/>
                <a:gd name="connsiteY4" fmla="*/ 4899688 h 5353012"/>
                <a:gd name="connsiteX5" fmla="*/ 3952288 w 4183525"/>
                <a:gd name="connsiteY5" fmla="*/ 5029972 h 5353012"/>
                <a:gd name="connsiteX6" fmla="*/ 2676506 w 4183525"/>
                <a:gd name="connsiteY6" fmla="*/ 5353012 h 5353012"/>
                <a:gd name="connsiteX7" fmla="*/ 0 w 4183525"/>
                <a:gd name="connsiteY7" fmla="*/ 2676506 h 5353012"/>
                <a:gd name="connsiteX8" fmla="*/ 2676506 w 4183525"/>
                <a:gd name="connsiteY8" fmla="*/ 0 h 5353012"/>
                <a:gd name="connsiteX0" fmla="*/ 4183525 w 4274965"/>
                <a:gd name="connsiteY0" fmla="*/ 2556436 h 5353012"/>
                <a:gd name="connsiteX1" fmla="*/ 4166742 w 4274965"/>
                <a:gd name="connsiteY1" fmla="*/ 4899688 h 5353012"/>
                <a:gd name="connsiteX2" fmla="*/ 3952288 w 4274965"/>
                <a:gd name="connsiteY2" fmla="*/ 5029972 h 5353012"/>
                <a:gd name="connsiteX3" fmla="*/ 2676506 w 4274965"/>
                <a:gd name="connsiteY3" fmla="*/ 5353012 h 5353012"/>
                <a:gd name="connsiteX4" fmla="*/ 0 w 4274965"/>
                <a:gd name="connsiteY4" fmla="*/ 2676506 h 5353012"/>
                <a:gd name="connsiteX5" fmla="*/ 2676506 w 4274965"/>
                <a:gd name="connsiteY5" fmla="*/ 0 h 5353012"/>
                <a:gd name="connsiteX6" fmla="*/ 3952288 w 4274965"/>
                <a:gd name="connsiteY6" fmla="*/ 323040 h 5353012"/>
                <a:gd name="connsiteX7" fmla="*/ 4166742 w 4274965"/>
                <a:gd name="connsiteY7" fmla="*/ 453324 h 5353012"/>
                <a:gd name="connsiteX8" fmla="*/ 4274965 w 4274965"/>
                <a:gd name="connsiteY8" fmla="*/ 2647876 h 5353012"/>
                <a:gd name="connsiteX0" fmla="*/ 4183525 w 4183525"/>
                <a:gd name="connsiteY0" fmla="*/ 2556436 h 5353012"/>
                <a:gd name="connsiteX1" fmla="*/ 4166742 w 4183525"/>
                <a:gd name="connsiteY1" fmla="*/ 4899688 h 5353012"/>
                <a:gd name="connsiteX2" fmla="*/ 3952288 w 4183525"/>
                <a:gd name="connsiteY2" fmla="*/ 5029972 h 5353012"/>
                <a:gd name="connsiteX3" fmla="*/ 2676506 w 4183525"/>
                <a:gd name="connsiteY3" fmla="*/ 5353012 h 5353012"/>
                <a:gd name="connsiteX4" fmla="*/ 0 w 4183525"/>
                <a:gd name="connsiteY4" fmla="*/ 2676506 h 5353012"/>
                <a:gd name="connsiteX5" fmla="*/ 2676506 w 4183525"/>
                <a:gd name="connsiteY5" fmla="*/ 0 h 5353012"/>
                <a:gd name="connsiteX6" fmla="*/ 3952288 w 4183525"/>
                <a:gd name="connsiteY6" fmla="*/ 323040 h 5353012"/>
                <a:gd name="connsiteX7" fmla="*/ 4166742 w 4183525"/>
                <a:gd name="connsiteY7" fmla="*/ 453324 h 5353012"/>
                <a:gd name="connsiteX0" fmla="*/ 4166742 w 4166742"/>
                <a:gd name="connsiteY0" fmla="*/ 4899688 h 5353012"/>
                <a:gd name="connsiteX1" fmla="*/ 3952288 w 4166742"/>
                <a:gd name="connsiteY1" fmla="*/ 5029972 h 5353012"/>
                <a:gd name="connsiteX2" fmla="*/ 2676506 w 4166742"/>
                <a:gd name="connsiteY2" fmla="*/ 5353012 h 5353012"/>
                <a:gd name="connsiteX3" fmla="*/ 0 w 4166742"/>
                <a:gd name="connsiteY3" fmla="*/ 2676506 h 5353012"/>
                <a:gd name="connsiteX4" fmla="*/ 2676506 w 4166742"/>
                <a:gd name="connsiteY4" fmla="*/ 0 h 5353012"/>
                <a:gd name="connsiteX5" fmla="*/ 3952288 w 4166742"/>
                <a:gd name="connsiteY5" fmla="*/ 323040 h 5353012"/>
                <a:gd name="connsiteX6" fmla="*/ 4166742 w 4166742"/>
                <a:gd name="connsiteY6" fmla="*/ 453324 h 535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6742" h="5353012">
                  <a:moveTo>
                    <a:pt x="4166742" y="4899688"/>
                  </a:moveTo>
                  <a:lnTo>
                    <a:pt x="3952288" y="5029972"/>
                  </a:lnTo>
                  <a:cubicBezTo>
                    <a:pt x="3573045" y="5235989"/>
                    <a:pt x="3138441" y="5353012"/>
                    <a:pt x="2676506" y="5353012"/>
                  </a:cubicBezTo>
                  <a:cubicBezTo>
                    <a:pt x="1198313" y="5353012"/>
                    <a:pt x="0" y="4154699"/>
                    <a:pt x="0" y="2676506"/>
                  </a:cubicBezTo>
                  <a:cubicBezTo>
                    <a:pt x="0" y="1198313"/>
                    <a:pt x="1198313" y="0"/>
                    <a:pt x="2676506" y="0"/>
                  </a:cubicBezTo>
                  <a:cubicBezTo>
                    <a:pt x="3138441" y="0"/>
                    <a:pt x="3573045" y="117023"/>
                    <a:pt x="3952288" y="323040"/>
                  </a:cubicBezTo>
                  <a:lnTo>
                    <a:pt x="4166742" y="453324"/>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5" name="Oval 424">
              <a:extLst>
                <a:ext uri="{FF2B5EF4-FFF2-40B4-BE49-F238E27FC236}">
                  <a16:creationId xmlns:a16="http://schemas.microsoft.com/office/drawing/2014/main" id="{78D2A8BB-A828-48B2-ADDC-1AD08542C897}"/>
                </a:ext>
                <a:ext uri="{C183D7F6-B498-43B3-948B-1728B52AA6E4}">
                  <adec:decorative xmlns:adec="http://schemas.microsoft.com/office/drawing/2017/decorative" val="1"/>
                </a:ext>
              </a:extLst>
            </p:cNvPr>
            <p:cNvSpPr/>
            <p:nvPr/>
          </p:nvSpPr>
          <p:spPr bwMode="auto">
            <a:xfrm>
              <a:off x="6640957" y="159550"/>
              <a:ext cx="2612302" cy="2612302"/>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3" name="Oval 422">
              <a:extLst>
                <a:ext uri="{FF2B5EF4-FFF2-40B4-BE49-F238E27FC236}">
                  <a16:creationId xmlns:a16="http://schemas.microsoft.com/office/drawing/2014/main" id="{6BA45FB5-FCF3-4F8D-9301-CB64B8D8A098}"/>
                </a:ext>
                <a:ext uri="{C183D7F6-B498-43B3-948B-1728B52AA6E4}">
                  <adec:decorative xmlns:adec="http://schemas.microsoft.com/office/drawing/2017/decorative" val="1"/>
                </a:ext>
              </a:extLst>
            </p:cNvPr>
            <p:cNvSpPr/>
            <p:nvPr/>
          </p:nvSpPr>
          <p:spPr bwMode="auto">
            <a:xfrm>
              <a:off x="5100013" y="1753890"/>
              <a:ext cx="2333303" cy="2333303"/>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8" name="Freeform: Shape 427">
              <a:extLst>
                <a:ext uri="{FF2B5EF4-FFF2-40B4-BE49-F238E27FC236}">
                  <a16:creationId xmlns:a16="http://schemas.microsoft.com/office/drawing/2014/main" id="{5DA80B88-56AC-4EB6-A0C7-2A6E2097CD24}"/>
                </a:ext>
                <a:ext uri="{C183D7F6-B498-43B3-948B-1728B52AA6E4}">
                  <adec:decorative xmlns:adec="http://schemas.microsoft.com/office/drawing/2017/decorative" val="1"/>
                </a:ext>
              </a:extLst>
            </p:cNvPr>
            <p:cNvSpPr/>
            <p:nvPr/>
          </p:nvSpPr>
          <p:spPr bwMode="auto">
            <a:xfrm>
              <a:off x="4969026" y="3219435"/>
              <a:ext cx="4387050" cy="3775091"/>
            </a:xfrm>
            <a:custGeom>
              <a:avLst/>
              <a:gdLst>
                <a:gd name="connsiteX0" fmla="*/ 2193525 w 4387050"/>
                <a:gd name="connsiteY0" fmla="*/ 0 h 3775091"/>
                <a:gd name="connsiteX1" fmla="*/ 4387050 w 4387050"/>
                <a:gd name="connsiteY1" fmla="*/ 2193525 h 3775091"/>
                <a:gd name="connsiteX2" fmla="*/ 3744581 w 4387050"/>
                <a:gd name="connsiteY2" fmla="*/ 3744582 h 3775091"/>
                <a:gd name="connsiteX3" fmla="*/ 3711012 w 4387050"/>
                <a:gd name="connsiteY3" fmla="*/ 3775091 h 3775091"/>
                <a:gd name="connsiteX4" fmla="*/ 676038 w 4387050"/>
                <a:gd name="connsiteY4" fmla="*/ 3775091 h 3775091"/>
                <a:gd name="connsiteX5" fmla="*/ 642469 w 4387050"/>
                <a:gd name="connsiteY5" fmla="*/ 3744582 h 3775091"/>
                <a:gd name="connsiteX6" fmla="*/ 0 w 4387050"/>
                <a:gd name="connsiteY6" fmla="*/ 2193525 h 3775091"/>
                <a:gd name="connsiteX7" fmla="*/ 2193525 w 4387050"/>
                <a:gd name="connsiteY7" fmla="*/ 0 h 3775091"/>
                <a:gd name="connsiteX0" fmla="*/ 2193525 w 4387050"/>
                <a:gd name="connsiteY0" fmla="*/ 0 h 3790965"/>
                <a:gd name="connsiteX1" fmla="*/ 4387050 w 4387050"/>
                <a:gd name="connsiteY1" fmla="*/ 2193525 h 3790965"/>
                <a:gd name="connsiteX2" fmla="*/ 3744581 w 4387050"/>
                <a:gd name="connsiteY2" fmla="*/ 3744582 h 3790965"/>
                <a:gd name="connsiteX3" fmla="*/ 3711012 w 4387050"/>
                <a:gd name="connsiteY3" fmla="*/ 3775091 h 3790965"/>
                <a:gd name="connsiteX4" fmla="*/ 2084917 w 4387050"/>
                <a:gd name="connsiteY4" fmla="*/ 3790965 h 3790965"/>
                <a:gd name="connsiteX5" fmla="*/ 676038 w 4387050"/>
                <a:gd name="connsiteY5" fmla="*/ 3775091 h 3790965"/>
                <a:gd name="connsiteX6" fmla="*/ 642469 w 4387050"/>
                <a:gd name="connsiteY6" fmla="*/ 3744582 h 3790965"/>
                <a:gd name="connsiteX7" fmla="*/ 0 w 4387050"/>
                <a:gd name="connsiteY7" fmla="*/ 2193525 h 3790965"/>
                <a:gd name="connsiteX8" fmla="*/ 2193525 w 4387050"/>
                <a:gd name="connsiteY8" fmla="*/ 0 h 3790965"/>
                <a:gd name="connsiteX0" fmla="*/ 2084917 w 4387050"/>
                <a:gd name="connsiteY0" fmla="*/ 3790965 h 3882405"/>
                <a:gd name="connsiteX1" fmla="*/ 676038 w 4387050"/>
                <a:gd name="connsiteY1" fmla="*/ 3775091 h 3882405"/>
                <a:gd name="connsiteX2" fmla="*/ 642469 w 4387050"/>
                <a:gd name="connsiteY2" fmla="*/ 3744582 h 3882405"/>
                <a:gd name="connsiteX3" fmla="*/ 0 w 4387050"/>
                <a:gd name="connsiteY3" fmla="*/ 2193525 h 3882405"/>
                <a:gd name="connsiteX4" fmla="*/ 2193525 w 4387050"/>
                <a:gd name="connsiteY4" fmla="*/ 0 h 3882405"/>
                <a:gd name="connsiteX5" fmla="*/ 4387050 w 4387050"/>
                <a:gd name="connsiteY5" fmla="*/ 2193525 h 3882405"/>
                <a:gd name="connsiteX6" fmla="*/ 3744581 w 4387050"/>
                <a:gd name="connsiteY6" fmla="*/ 3744582 h 3882405"/>
                <a:gd name="connsiteX7" fmla="*/ 3711012 w 4387050"/>
                <a:gd name="connsiteY7" fmla="*/ 3775091 h 3882405"/>
                <a:gd name="connsiteX8" fmla="*/ 2176357 w 4387050"/>
                <a:gd name="connsiteY8" fmla="*/ 3882405 h 3882405"/>
                <a:gd name="connsiteX0" fmla="*/ 2084917 w 4387050"/>
                <a:gd name="connsiteY0" fmla="*/ 3790965 h 3790965"/>
                <a:gd name="connsiteX1" fmla="*/ 676038 w 4387050"/>
                <a:gd name="connsiteY1" fmla="*/ 3775091 h 3790965"/>
                <a:gd name="connsiteX2" fmla="*/ 642469 w 4387050"/>
                <a:gd name="connsiteY2" fmla="*/ 3744582 h 3790965"/>
                <a:gd name="connsiteX3" fmla="*/ 0 w 4387050"/>
                <a:gd name="connsiteY3" fmla="*/ 2193525 h 3790965"/>
                <a:gd name="connsiteX4" fmla="*/ 2193525 w 4387050"/>
                <a:gd name="connsiteY4" fmla="*/ 0 h 3790965"/>
                <a:gd name="connsiteX5" fmla="*/ 4387050 w 4387050"/>
                <a:gd name="connsiteY5" fmla="*/ 2193525 h 3790965"/>
                <a:gd name="connsiteX6" fmla="*/ 3744581 w 4387050"/>
                <a:gd name="connsiteY6" fmla="*/ 3744582 h 3790965"/>
                <a:gd name="connsiteX7" fmla="*/ 3711012 w 4387050"/>
                <a:gd name="connsiteY7" fmla="*/ 3775091 h 3790965"/>
                <a:gd name="connsiteX0" fmla="*/ 676038 w 4387050"/>
                <a:gd name="connsiteY0" fmla="*/ 3775091 h 3775091"/>
                <a:gd name="connsiteX1" fmla="*/ 642469 w 4387050"/>
                <a:gd name="connsiteY1" fmla="*/ 3744582 h 3775091"/>
                <a:gd name="connsiteX2" fmla="*/ 0 w 4387050"/>
                <a:gd name="connsiteY2" fmla="*/ 2193525 h 3775091"/>
                <a:gd name="connsiteX3" fmla="*/ 2193525 w 4387050"/>
                <a:gd name="connsiteY3" fmla="*/ 0 h 3775091"/>
                <a:gd name="connsiteX4" fmla="*/ 4387050 w 4387050"/>
                <a:gd name="connsiteY4" fmla="*/ 2193525 h 3775091"/>
                <a:gd name="connsiteX5" fmla="*/ 3744581 w 4387050"/>
                <a:gd name="connsiteY5" fmla="*/ 3744582 h 3775091"/>
                <a:gd name="connsiteX6" fmla="*/ 3711012 w 4387050"/>
                <a:gd name="connsiteY6" fmla="*/ 3775091 h 377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050" h="3775091">
                  <a:moveTo>
                    <a:pt x="676038" y="3775091"/>
                  </a:moveTo>
                  <a:lnTo>
                    <a:pt x="642469" y="3744582"/>
                  </a:lnTo>
                  <a:cubicBezTo>
                    <a:pt x="245519" y="3347631"/>
                    <a:pt x="0" y="2799250"/>
                    <a:pt x="0" y="2193525"/>
                  </a:cubicBezTo>
                  <a:cubicBezTo>
                    <a:pt x="0" y="982075"/>
                    <a:pt x="982075" y="0"/>
                    <a:pt x="2193525" y="0"/>
                  </a:cubicBezTo>
                  <a:cubicBezTo>
                    <a:pt x="3404975" y="0"/>
                    <a:pt x="4387050" y="982075"/>
                    <a:pt x="4387050" y="2193525"/>
                  </a:cubicBezTo>
                  <a:cubicBezTo>
                    <a:pt x="4387050" y="2799250"/>
                    <a:pt x="4141531" y="3347631"/>
                    <a:pt x="3744581" y="3744582"/>
                  </a:cubicBezTo>
                  <a:lnTo>
                    <a:pt x="3711012" y="3775091"/>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4" name="Oval 423">
              <a:extLst>
                <a:ext uri="{FF2B5EF4-FFF2-40B4-BE49-F238E27FC236}">
                  <a16:creationId xmlns:a16="http://schemas.microsoft.com/office/drawing/2014/main" id="{ABD070D0-5D8A-4A88-B8BA-6B4F41A7AE62}"/>
                </a:ext>
                <a:ext uri="{C183D7F6-B498-43B3-948B-1728B52AA6E4}">
                  <adec:decorative xmlns:adec="http://schemas.microsoft.com/office/drawing/2017/decorative" val="1"/>
                </a:ext>
              </a:extLst>
            </p:cNvPr>
            <p:cNvSpPr/>
            <p:nvPr/>
          </p:nvSpPr>
          <p:spPr bwMode="auto">
            <a:xfrm>
              <a:off x="9572917" y="4971181"/>
              <a:ext cx="1045789" cy="1045789"/>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grpSp>
          <p:nvGrpSpPr>
            <p:cNvPr id="258" name="Graphic 10">
              <a:extLst>
                <a:ext uri="{FF2B5EF4-FFF2-40B4-BE49-F238E27FC236}">
                  <a16:creationId xmlns:a16="http://schemas.microsoft.com/office/drawing/2014/main" id="{9E19F295-4D67-41FC-9DA3-097441505B25}"/>
                </a:ext>
                <a:ext uri="{C183D7F6-B498-43B3-948B-1728B52AA6E4}">
                  <adec:decorative xmlns:adec="http://schemas.microsoft.com/office/drawing/2017/decorative" val="1"/>
                </a:ext>
              </a:extLst>
            </p:cNvPr>
            <p:cNvGrpSpPr/>
            <p:nvPr/>
          </p:nvGrpSpPr>
          <p:grpSpPr>
            <a:xfrm>
              <a:off x="4781433" y="2637350"/>
              <a:ext cx="7312233" cy="2281215"/>
              <a:chOff x="5337839" y="2790554"/>
              <a:chExt cx="6173152" cy="1925853"/>
            </a:xfrm>
            <a:solidFill>
              <a:schemeClr val="tx1">
                <a:alpha val="6000"/>
              </a:schemeClr>
            </a:solidFill>
            <a:effectLst/>
          </p:grpSpPr>
          <p:sp>
            <p:nvSpPr>
              <p:cNvPr id="259" name="Freeform: Shape 258">
                <a:extLst>
                  <a:ext uri="{FF2B5EF4-FFF2-40B4-BE49-F238E27FC236}">
                    <a16:creationId xmlns:a16="http://schemas.microsoft.com/office/drawing/2014/main" id="{9B4DAB63-6BE1-4032-8BCB-FFE333DDC054}"/>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0" name="Freeform: Shape 259">
                <a:extLst>
                  <a:ext uri="{FF2B5EF4-FFF2-40B4-BE49-F238E27FC236}">
                    <a16:creationId xmlns:a16="http://schemas.microsoft.com/office/drawing/2014/main" id="{EAD6907B-DAF9-4BA9-AFF6-A93BDC95A234}"/>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1" name="Freeform: Shape 260">
                <a:extLst>
                  <a:ext uri="{FF2B5EF4-FFF2-40B4-BE49-F238E27FC236}">
                    <a16:creationId xmlns:a16="http://schemas.microsoft.com/office/drawing/2014/main" id="{3F24F922-67B1-4629-AE4A-2A95AD64BE59}"/>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2" name="Freeform: Shape 261">
                <a:extLst>
                  <a:ext uri="{FF2B5EF4-FFF2-40B4-BE49-F238E27FC236}">
                    <a16:creationId xmlns:a16="http://schemas.microsoft.com/office/drawing/2014/main" id="{4B9B4F01-7753-41D7-A51F-268F266FC2CC}"/>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3" name="Freeform: Shape 262">
                <a:extLst>
                  <a:ext uri="{FF2B5EF4-FFF2-40B4-BE49-F238E27FC236}">
                    <a16:creationId xmlns:a16="http://schemas.microsoft.com/office/drawing/2014/main" id="{C46B9CA8-38A9-4216-9981-F0F78DE26649}"/>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4" name="Freeform: Shape 263">
                <a:extLst>
                  <a:ext uri="{FF2B5EF4-FFF2-40B4-BE49-F238E27FC236}">
                    <a16:creationId xmlns:a16="http://schemas.microsoft.com/office/drawing/2014/main" id="{0568DF80-0E28-4700-A635-19796D7CF2E5}"/>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5" name="Freeform: Shape 264">
                <a:extLst>
                  <a:ext uri="{FF2B5EF4-FFF2-40B4-BE49-F238E27FC236}">
                    <a16:creationId xmlns:a16="http://schemas.microsoft.com/office/drawing/2014/main" id="{076C73CE-3F8C-4CA4-AEB5-1A1D04C89861}"/>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6" name="Freeform: Shape 265">
                <a:extLst>
                  <a:ext uri="{FF2B5EF4-FFF2-40B4-BE49-F238E27FC236}">
                    <a16:creationId xmlns:a16="http://schemas.microsoft.com/office/drawing/2014/main" id="{5386F70C-D3EA-4654-A509-1E0C2DD34B52}"/>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7" name="Freeform: Shape 266">
                <a:extLst>
                  <a:ext uri="{FF2B5EF4-FFF2-40B4-BE49-F238E27FC236}">
                    <a16:creationId xmlns:a16="http://schemas.microsoft.com/office/drawing/2014/main" id="{5ABD362F-68C7-4F82-8019-36FC75B75024}"/>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8" name="Freeform: Shape 267">
                <a:extLst>
                  <a:ext uri="{FF2B5EF4-FFF2-40B4-BE49-F238E27FC236}">
                    <a16:creationId xmlns:a16="http://schemas.microsoft.com/office/drawing/2014/main" id="{895B7FEB-8611-4A02-9BDA-9175541DDC7F}"/>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9" name="Freeform: Shape 268">
                <a:extLst>
                  <a:ext uri="{FF2B5EF4-FFF2-40B4-BE49-F238E27FC236}">
                    <a16:creationId xmlns:a16="http://schemas.microsoft.com/office/drawing/2014/main" id="{AFD9F58D-4AAC-4371-85C6-5BD1AC7897B6}"/>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5F095661-359A-4E14-AC2D-051AD06F7DA8}"/>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Freeform: Shape 270">
                <a:extLst>
                  <a:ext uri="{FF2B5EF4-FFF2-40B4-BE49-F238E27FC236}">
                    <a16:creationId xmlns:a16="http://schemas.microsoft.com/office/drawing/2014/main" id="{AC34C483-7126-4800-A736-F3F387ED9C5F}"/>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2" name="Freeform: Shape 271">
                <a:extLst>
                  <a:ext uri="{FF2B5EF4-FFF2-40B4-BE49-F238E27FC236}">
                    <a16:creationId xmlns:a16="http://schemas.microsoft.com/office/drawing/2014/main" id="{4D42695C-AB92-4803-9D36-9DF22DCF2F52}"/>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3" name="Freeform: Shape 272">
                <a:extLst>
                  <a:ext uri="{FF2B5EF4-FFF2-40B4-BE49-F238E27FC236}">
                    <a16:creationId xmlns:a16="http://schemas.microsoft.com/office/drawing/2014/main" id="{084C2C87-6D4F-4502-80FA-700CEACC8FB0}"/>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4" name="Freeform: Shape 273">
                <a:extLst>
                  <a:ext uri="{FF2B5EF4-FFF2-40B4-BE49-F238E27FC236}">
                    <a16:creationId xmlns:a16="http://schemas.microsoft.com/office/drawing/2014/main" id="{6BFA5EB2-AA26-4DC5-A210-7184267646A8}"/>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5" name="Freeform: Shape 274">
                <a:extLst>
                  <a:ext uri="{FF2B5EF4-FFF2-40B4-BE49-F238E27FC236}">
                    <a16:creationId xmlns:a16="http://schemas.microsoft.com/office/drawing/2014/main" id="{C5398654-844D-4242-AF76-5E9A2B3D0165}"/>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6" name="Freeform: Shape 275">
                <a:extLst>
                  <a:ext uri="{FF2B5EF4-FFF2-40B4-BE49-F238E27FC236}">
                    <a16:creationId xmlns:a16="http://schemas.microsoft.com/office/drawing/2014/main" id="{AB127ED5-5C00-417A-9D96-19F0275B487C}"/>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7" name="Freeform: Shape 276">
                <a:extLst>
                  <a:ext uri="{FF2B5EF4-FFF2-40B4-BE49-F238E27FC236}">
                    <a16:creationId xmlns:a16="http://schemas.microsoft.com/office/drawing/2014/main" id="{75C0C420-D608-4E64-88EA-073F60AE8EA0}"/>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8" name="Freeform: Shape 277">
                <a:extLst>
                  <a:ext uri="{FF2B5EF4-FFF2-40B4-BE49-F238E27FC236}">
                    <a16:creationId xmlns:a16="http://schemas.microsoft.com/office/drawing/2014/main" id="{A2B472F9-E2E8-4E09-8B0F-6879F573E124}"/>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9" name="Freeform: Shape 278">
                <a:extLst>
                  <a:ext uri="{FF2B5EF4-FFF2-40B4-BE49-F238E27FC236}">
                    <a16:creationId xmlns:a16="http://schemas.microsoft.com/office/drawing/2014/main" id="{5C36D80B-ACC8-41B8-9002-70759359E088}"/>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0" name="Freeform: Shape 279">
                <a:extLst>
                  <a:ext uri="{FF2B5EF4-FFF2-40B4-BE49-F238E27FC236}">
                    <a16:creationId xmlns:a16="http://schemas.microsoft.com/office/drawing/2014/main" id="{BD448358-8342-421A-9A3E-56854B879755}"/>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1" name="Freeform: Shape 280">
                <a:extLst>
                  <a:ext uri="{FF2B5EF4-FFF2-40B4-BE49-F238E27FC236}">
                    <a16:creationId xmlns:a16="http://schemas.microsoft.com/office/drawing/2014/main" id="{1C0FC2D1-E65B-4AF0-B663-7D4B03FB7D0B}"/>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2" name="Freeform: Shape 281">
                <a:extLst>
                  <a:ext uri="{FF2B5EF4-FFF2-40B4-BE49-F238E27FC236}">
                    <a16:creationId xmlns:a16="http://schemas.microsoft.com/office/drawing/2014/main" id="{92EB9041-DC4D-4B5D-A7DD-C57DC1101DA3}"/>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3" name="Freeform: Shape 282">
                <a:extLst>
                  <a:ext uri="{FF2B5EF4-FFF2-40B4-BE49-F238E27FC236}">
                    <a16:creationId xmlns:a16="http://schemas.microsoft.com/office/drawing/2014/main" id="{D5E2D0E4-D029-47F3-AA4F-F61E2ECF6585}"/>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4" name="Freeform: Shape 283">
                <a:extLst>
                  <a:ext uri="{FF2B5EF4-FFF2-40B4-BE49-F238E27FC236}">
                    <a16:creationId xmlns:a16="http://schemas.microsoft.com/office/drawing/2014/main" id="{7E594666-50AE-42EF-8C73-DD2FC523499F}"/>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5" name="Freeform: Shape 284">
                <a:extLst>
                  <a:ext uri="{FF2B5EF4-FFF2-40B4-BE49-F238E27FC236}">
                    <a16:creationId xmlns:a16="http://schemas.microsoft.com/office/drawing/2014/main" id="{2FF21767-EE48-4CA3-B66A-9765C2A4C81E}"/>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6" name="Freeform: Shape 285">
                <a:extLst>
                  <a:ext uri="{FF2B5EF4-FFF2-40B4-BE49-F238E27FC236}">
                    <a16:creationId xmlns:a16="http://schemas.microsoft.com/office/drawing/2014/main" id="{D5DAED3D-8E8D-46A2-87CE-F47B9FBA2917}"/>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7" name="Freeform: Shape 286">
                <a:extLst>
                  <a:ext uri="{FF2B5EF4-FFF2-40B4-BE49-F238E27FC236}">
                    <a16:creationId xmlns:a16="http://schemas.microsoft.com/office/drawing/2014/main" id="{A58F75C5-D501-4400-AB47-94A75FC3C926}"/>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8" name="Freeform: Shape 287">
                <a:extLst>
                  <a:ext uri="{FF2B5EF4-FFF2-40B4-BE49-F238E27FC236}">
                    <a16:creationId xmlns:a16="http://schemas.microsoft.com/office/drawing/2014/main" id="{C1623992-4BEA-4CC6-B458-9BC0E71B6BDB}"/>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9" name="Freeform: Shape 288">
                <a:extLst>
                  <a:ext uri="{FF2B5EF4-FFF2-40B4-BE49-F238E27FC236}">
                    <a16:creationId xmlns:a16="http://schemas.microsoft.com/office/drawing/2014/main" id="{2FDEDAE0-4717-447A-9E0E-F21264865E23}"/>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0" name="Freeform: Shape 289">
                <a:extLst>
                  <a:ext uri="{FF2B5EF4-FFF2-40B4-BE49-F238E27FC236}">
                    <a16:creationId xmlns:a16="http://schemas.microsoft.com/office/drawing/2014/main" id="{72FE4C70-C306-4789-8640-84BD0E1AB4C1}"/>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1" name="Freeform: Shape 290">
                <a:extLst>
                  <a:ext uri="{FF2B5EF4-FFF2-40B4-BE49-F238E27FC236}">
                    <a16:creationId xmlns:a16="http://schemas.microsoft.com/office/drawing/2014/main" id="{720A5609-A12A-43A5-BAE5-BA762821B16E}"/>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2" name="Freeform: Shape 291">
                <a:extLst>
                  <a:ext uri="{FF2B5EF4-FFF2-40B4-BE49-F238E27FC236}">
                    <a16:creationId xmlns:a16="http://schemas.microsoft.com/office/drawing/2014/main" id="{CA0C68FD-68F2-428E-850F-176370E3B585}"/>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3" name="Freeform: Shape 292">
                <a:extLst>
                  <a:ext uri="{FF2B5EF4-FFF2-40B4-BE49-F238E27FC236}">
                    <a16:creationId xmlns:a16="http://schemas.microsoft.com/office/drawing/2014/main" id="{1D992290-9F44-48B2-8D74-16580ED48FB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4" name="Freeform: Shape 293">
                <a:extLst>
                  <a:ext uri="{FF2B5EF4-FFF2-40B4-BE49-F238E27FC236}">
                    <a16:creationId xmlns:a16="http://schemas.microsoft.com/office/drawing/2014/main" id="{747B30C2-255F-4DA3-9387-C98AF164E378}"/>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5" name="Freeform: Shape 294">
                <a:extLst>
                  <a:ext uri="{FF2B5EF4-FFF2-40B4-BE49-F238E27FC236}">
                    <a16:creationId xmlns:a16="http://schemas.microsoft.com/office/drawing/2014/main" id="{3FB6EEC8-4E53-4AA4-A41A-5F679E531214}"/>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6" name="Freeform: Shape 295">
                <a:extLst>
                  <a:ext uri="{FF2B5EF4-FFF2-40B4-BE49-F238E27FC236}">
                    <a16:creationId xmlns:a16="http://schemas.microsoft.com/office/drawing/2014/main" id="{F3225C24-2F83-47FA-83EE-6249F9B5675C}"/>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7" name="Freeform: Shape 296">
                <a:extLst>
                  <a:ext uri="{FF2B5EF4-FFF2-40B4-BE49-F238E27FC236}">
                    <a16:creationId xmlns:a16="http://schemas.microsoft.com/office/drawing/2014/main" id="{C9055B71-00D6-445C-B297-85D4C3FFE331}"/>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8" name="Freeform: Shape 297">
                <a:extLst>
                  <a:ext uri="{FF2B5EF4-FFF2-40B4-BE49-F238E27FC236}">
                    <a16:creationId xmlns:a16="http://schemas.microsoft.com/office/drawing/2014/main" id="{B41A90DC-ED2D-47D0-A0F7-B9C0F67CEDC0}"/>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9" name="Freeform: Shape 298">
                <a:extLst>
                  <a:ext uri="{FF2B5EF4-FFF2-40B4-BE49-F238E27FC236}">
                    <a16:creationId xmlns:a16="http://schemas.microsoft.com/office/drawing/2014/main" id="{3A4CAF5A-E548-434D-A898-395A4F73F46E}"/>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0" name="Freeform: Shape 299">
                <a:extLst>
                  <a:ext uri="{FF2B5EF4-FFF2-40B4-BE49-F238E27FC236}">
                    <a16:creationId xmlns:a16="http://schemas.microsoft.com/office/drawing/2014/main" id="{274471AC-7B17-4572-A2DE-343AB7E9FD7F}"/>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1" name="Freeform: Shape 300">
                <a:extLst>
                  <a:ext uri="{FF2B5EF4-FFF2-40B4-BE49-F238E27FC236}">
                    <a16:creationId xmlns:a16="http://schemas.microsoft.com/office/drawing/2014/main" id="{21CFC959-034B-485B-B937-009F38DCA364}"/>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2" name="Freeform: Shape 301">
                <a:extLst>
                  <a:ext uri="{FF2B5EF4-FFF2-40B4-BE49-F238E27FC236}">
                    <a16:creationId xmlns:a16="http://schemas.microsoft.com/office/drawing/2014/main" id="{8BEA2459-8ECE-4B62-B8EB-2C2D385E9060}"/>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3" name="Freeform: Shape 302">
                <a:extLst>
                  <a:ext uri="{FF2B5EF4-FFF2-40B4-BE49-F238E27FC236}">
                    <a16:creationId xmlns:a16="http://schemas.microsoft.com/office/drawing/2014/main" id="{90DA3CDD-069A-4169-B672-F6BBDC9082CC}"/>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4" name="Freeform: Shape 303">
                <a:extLst>
                  <a:ext uri="{FF2B5EF4-FFF2-40B4-BE49-F238E27FC236}">
                    <a16:creationId xmlns:a16="http://schemas.microsoft.com/office/drawing/2014/main" id="{C04F8238-2AA5-4CE2-B799-40350D19550A}"/>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5" name="Freeform: Shape 304">
                <a:extLst>
                  <a:ext uri="{FF2B5EF4-FFF2-40B4-BE49-F238E27FC236}">
                    <a16:creationId xmlns:a16="http://schemas.microsoft.com/office/drawing/2014/main" id="{58A62611-E9B3-4311-8485-9A7BC22A80F3}"/>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6" name="Freeform: Shape 305">
                <a:extLst>
                  <a:ext uri="{FF2B5EF4-FFF2-40B4-BE49-F238E27FC236}">
                    <a16:creationId xmlns:a16="http://schemas.microsoft.com/office/drawing/2014/main" id="{EDAFFD90-C02B-4FEE-8A81-F2B558747201}"/>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7" name="Freeform: Shape 306">
                <a:extLst>
                  <a:ext uri="{FF2B5EF4-FFF2-40B4-BE49-F238E27FC236}">
                    <a16:creationId xmlns:a16="http://schemas.microsoft.com/office/drawing/2014/main" id="{5BB6C6DC-18FC-46B3-B253-F60D9DAD638B}"/>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8" name="Freeform: Shape 307">
                <a:extLst>
                  <a:ext uri="{FF2B5EF4-FFF2-40B4-BE49-F238E27FC236}">
                    <a16:creationId xmlns:a16="http://schemas.microsoft.com/office/drawing/2014/main" id="{30610D34-9A51-4314-8F63-056538CA0BF7}"/>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9" name="Freeform: Shape 308">
                <a:extLst>
                  <a:ext uri="{FF2B5EF4-FFF2-40B4-BE49-F238E27FC236}">
                    <a16:creationId xmlns:a16="http://schemas.microsoft.com/office/drawing/2014/main" id="{E31CE1C3-EBF9-4ECE-92CC-8C107CA002AB}"/>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0" name="Freeform: Shape 309">
                <a:extLst>
                  <a:ext uri="{FF2B5EF4-FFF2-40B4-BE49-F238E27FC236}">
                    <a16:creationId xmlns:a16="http://schemas.microsoft.com/office/drawing/2014/main" id="{680BC5FF-6821-4DE0-B189-FDF5745C9540}"/>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1" name="Freeform: Shape 310">
                <a:extLst>
                  <a:ext uri="{FF2B5EF4-FFF2-40B4-BE49-F238E27FC236}">
                    <a16:creationId xmlns:a16="http://schemas.microsoft.com/office/drawing/2014/main" id="{ABB82C9D-3F92-42E0-8CD1-1C58E292DE4B}"/>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2" name="Freeform: Shape 311">
                <a:extLst>
                  <a:ext uri="{FF2B5EF4-FFF2-40B4-BE49-F238E27FC236}">
                    <a16:creationId xmlns:a16="http://schemas.microsoft.com/office/drawing/2014/main" id="{49FFB065-3457-49E4-833A-C927479488C7}"/>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3" name="Freeform: Shape 312">
                <a:extLst>
                  <a:ext uri="{FF2B5EF4-FFF2-40B4-BE49-F238E27FC236}">
                    <a16:creationId xmlns:a16="http://schemas.microsoft.com/office/drawing/2014/main" id="{44F1CF36-7130-4F1D-A424-E1FB76058D07}"/>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4" name="Freeform: Shape 313">
                <a:extLst>
                  <a:ext uri="{FF2B5EF4-FFF2-40B4-BE49-F238E27FC236}">
                    <a16:creationId xmlns:a16="http://schemas.microsoft.com/office/drawing/2014/main" id="{465FF0FC-2738-4619-A200-AAD48DEF02AB}"/>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5" name="Freeform: Shape 314">
                <a:extLst>
                  <a:ext uri="{FF2B5EF4-FFF2-40B4-BE49-F238E27FC236}">
                    <a16:creationId xmlns:a16="http://schemas.microsoft.com/office/drawing/2014/main" id="{A9F40CEC-0722-405A-BC9E-5A16E4AE3FCA}"/>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6" name="Freeform: Shape 315">
                <a:extLst>
                  <a:ext uri="{FF2B5EF4-FFF2-40B4-BE49-F238E27FC236}">
                    <a16:creationId xmlns:a16="http://schemas.microsoft.com/office/drawing/2014/main" id="{02842820-E647-4077-9457-09510537487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7" name="Freeform: Shape 316">
                <a:extLst>
                  <a:ext uri="{FF2B5EF4-FFF2-40B4-BE49-F238E27FC236}">
                    <a16:creationId xmlns:a16="http://schemas.microsoft.com/office/drawing/2014/main" id="{54D16356-16E2-4C35-AD5B-344C20526B64}"/>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8" name="Freeform: Shape 317">
                <a:extLst>
                  <a:ext uri="{FF2B5EF4-FFF2-40B4-BE49-F238E27FC236}">
                    <a16:creationId xmlns:a16="http://schemas.microsoft.com/office/drawing/2014/main" id="{00D6B00D-D5BA-4443-8124-CF2C6FE219B9}"/>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9" name="Freeform: Shape 318">
                <a:extLst>
                  <a:ext uri="{FF2B5EF4-FFF2-40B4-BE49-F238E27FC236}">
                    <a16:creationId xmlns:a16="http://schemas.microsoft.com/office/drawing/2014/main" id="{4E78B75D-322F-4E2D-9AA2-F49EC436BABA}"/>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0" name="Freeform: Shape 319">
                <a:extLst>
                  <a:ext uri="{FF2B5EF4-FFF2-40B4-BE49-F238E27FC236}">
                    <a16:creationId xmlns:a16="http://schemas.microsoft.com/office/drawing/2014/main" id="{15A000FA-FB8B-4A6E-AE72-3629167D4733}"/>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1" name="Freeform: Shape 320">
                <a:extLst>
                  <a:ext uri="{FF2B5EF4-FFF2-40B4-BE49-F238E27FC236}">
                    <a16:creationId xmlns:a16="http://schemas.microsoft.com/office/drawing/2014/main" id="{E66DAB7E-29B1-4EF9-94F8-8C450CDB8D43}"/>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2" name="Freeform: Shape 321">
                <a:extLst>
                  <a:ext uri="{FF2B5EF4-FFF2-40B4-BE49-F238E27FC236}">
                    <a16:creationId xmlns:a16="http://schemas.microsoft.com/office/drawing/2014/main" id="{9206AFD0-B81D-4227-865B-8C11ABDDD5A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3" name="Freeform: Shape 322">
                <a:extLst>
                  <a:ext uri="{FF2B5EF4-FFF2-40B4-BE49-F238E27FC236}">
                    <a16:creationId xmlns:a16="http://schemas.microsoft.com/office/drawing/2014/main" id="{8C80799B-EF17-4D93-8B06-FC4F2B02F4E0}"/>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4" name="Freeform: Shape 323">
                <a:extLst>
                  <a:ext uri="{FF2B5EF4-FFF2-40B4-BE49-F238E27FC236}">
                    <a16:creationId xmlns:a16="http://schemas.microsoft.com/office/drawing/2014/main" id="{26361282-203F-476B-AD86-5469E831C10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5" name="Freeform: Shape 324">
                <a:extLst>
                  <a:ext uri="{FF2B5EF4-FFF2-40B4-BE49-F238E27FC236}">
                    <a16:creationId xmlns:a16="http://schemas.microsoft.com/office/drawing/2014/main" id="{A2E28A12-018E-41A9-907A-443B736B7D27}"/>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6" name="Freeform: Shape 325">
                <a:extLst>
                  <a:ext uri="{FF2B5EF4-FFF2-40B4-BE49-F238E27FC236}">
                    <a16:creationId xmlns:a16="http://schemas.microsoft.com/office/drawing/2014/main" id="{862CA02D-A981-473C-A2F1-9911C45923A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7" name="Freeform: Shape 326">
                <a:extLst>
                  <a:ext uri="{FF2B5EF4-FFF2-40B4-BE49-F238E27FC236}">
                    <a16:creationId xmlns:a16="http://schemas.microsoft.com/office/drawing/2014/main" id="{D9779D6D-F8FE-4858-8D24-116757F64A4A}"/>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8" name="Freeform: Shape 327">
                <a:extLst>
                  <a:ext uri="{FF2B5EF4-FFF2-40B4-BE49-F238E27FC236}">
                    <a16:creationId xmlns:a16="http://schemas.microsoft.com/office/drawing/2014/main" id="{5E54A568-7E99-4138-BDB2-9E02EFC5D0DE}"/>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9" name="Freeform: Shape 328">
                <a:extLst>
                  <a:ext uri="{FF2B5EF4-FFF2-40B4-BE49-F238E27FC236}">
                    <a16:creationId xmlns:a16="http://schemas.microsoft.com/office/drawing/2014/main" id="{B36F8B17-BCAA-422C-B291-8CA267F86B2A}"/>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0" name="Freeform: Shape 329">
                <a:extLst>
                  <a:ext uri="{FF2B5EF4-FFF2-40B4-BE49-F238E27FC236}">
                    <a16:creationId xmlns:a16="http://schemas.microsoft.com/office/drawing/2014/main" id="{852A959F-1E68-4BE6-AF33-4DE96CDEF857}"/>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1" name="Freeform: Shape 330">
                <a:extLst>
                  <a:ext uri="{FF2B5EF4-FFF2-40B4-BE49-F238E27FC236}">
                    <a16:creationId xmlns:a16="http://schemas.microsoft.com/office/drawing/2014/main" id="{4DD87E9C-E33B-46C9-8C0A-65D8A050BE53}"/>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2" name="Freeform: Shape 331">
                <a:extLst>
                  <a:ext uri="{FF2B5EF4-FFF2-40B4-BE49-F238E27FC236}">
                    <a16:creationId xmlns:a16="http://schemas.microsoft.com/office/drawing/2014/main" id="{54FA4A05-9E47-4D3A-93F1-AC9DB88F2F65}"/>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3" name="Freeform: Shape 332">
                <a:extLst>
                  <a:ext uri="{FF2B5EF4-FFF2-40B4-BE49-F238E27FC236}">
                    <a16:creationId xmlns:a16="http://schemas.microsoft.com/office/drawing/2014/main" id="{2C2A5014-C5D4-4A5F-AD32-DB27641BD7E5}"/>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4" name="Freeform: Shape 333">
                <a:extLst>
                  <a:ext uri="{FF2B5EF4-FFF2-40B4-BE49-F238E27FC236}">
                    <a16:creationId xmlns:a16="http://schemas.microsoft.com/office/drawing/2014/main" id="{E3453EC3-D479-46E6-95DC-B549B87B627A}"/>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5" name="Freeform: Shape 334">
                <a:extLst>
                  <a:ext uri="{FF2B5EF4-FFF2-40B4-BE49-F238E27FC236}">
                    <a16:creationId xmlns:a16="http://schemas.microsoft.com/office/drawing/2014/main" id="{A1C5E85A-FA6F-4576-AA82-8BE7ABC0310B}"/>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6" name="Freeform: Shape 335">
                <a:extLst>
                  <a:ext uri="{FF2B5EF4-FFF2-40B4-BE49-F238E27FC236}">
                    <a16:creationId xmlns:a16="http://schemas.microsoft.com/office/drawing/2014/main" id="{0485443B-AB2A-4BE9-9E52-0597AF6CB104}"/>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10">
              <a:extLst>
                <a:ext uri="{FF2B5EF4-FFF2-40B4-BE49-F238E27FC236}">
                  <a16:creationId xmlns:a16="http://schemas.microsoft.com/office/drawing/2014/main" id="{68DFF284-CB18-4460-98ED-004F77EB0A2D}"/>
                </a:ext>
                <a:ext uri="{C183D7F6-B498-43B3-948B-1728B52AA6E4}">
                  <adec:decorative xmlns:adec="http://schemas.microsoft.com/office/drawing/2017/decorative" val="1"/>
                </a:ext>
              </a:extLst>
            </p:cNvPr>
            <p:cNvGrpSpPr/>
            <p:nvPr/>
          </p:nvGrpSpPr>
          <p:grpSpPr>
            <a:xfrm>
              <a:off x="4781433" y="2414195"/>
              <a:ext cx="7312233" cy="2281215"/>
              <a:chOff x="5337839" y="2790554"/>
              <a:chExt cx="6173152" cy="1925853"/>
            </a:xfrm>
            <a:gradFill>
              <a:gsLst>
                <a:gs pos="0">
                  <a:schemeClr val="accent1">
                    <a:alpha val="86000"/>
                  </a:schemeClr>
                </a:gs>
                <a:gs pos="99000">
                  <a:schemeClr val="accent1">
                    <a:lumMod val="75000"/>
                    <a:alpha val="74000"/>
                  </a:schemeClr>
                </a:gs>
              </a:gsLst>
              <a:lin ang="10800000" scaled="1"/>
            </a:gradFill>
            <a:effectLst>
              <a:outerShdw blurRad="215900" algn="ctr" rotWithShape="0">
                <a:prstClr val="black">
                  <a:alpha val="40000"/>
                </a:prstClr>
              </a:outerShdw>
            </a:effectLst>
          </p:grpSpPr>
          <p:sp>
            <p:nvSpPr>
              <p:cNvPr id="13" name="Freeform: Shape 12">
                <a:extLst>
                  <a:ext uri="{FF2B5EF4-FFF2-40B4-BE49-F238E27FC236}">
                    <a16:creationId xmlns:a16="http://schemas.microsoft.com/office/drawing/2014/main" id="{F24F8201-E568-4686-8B1B-6696166487D7}"/>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2CCE6736-8A6F-46E4-AE61-54A9E63DBD81}"/>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A45B9B0F-8494-4DEC-896B-D2E90B574A94}"/>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E61765F0-BBE2-46EC-9E91-3665943E5C89}"/>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405F14EF-51C2-4A98-9132-055794D7A9F6}"/>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183755C6-7661-4C2C-85CC-B998308CCD8F}"/>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BDC8D695-11B2-4E6B-A566-2A4A593D26A5}"/>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C1680C12-7438-446D-9E49-3C3D1088C444}"/>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4DC9F219-EEAC-4076-91B5-AC8ED7F52C12}"/>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2CCF2565-1EB1-48E3-8BED-B2621191A0F9}"/>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6CE8B4F1-535F-43BD-A8E5-1B30C9EEA714}"/>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5D009068-668F-4467-8D82-70724EA64283}"/>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F77615D0-5C3A-493A-97BF-BDD849B24EBD}"/>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084BB0BB-CCC6-481F-8B9E-E79B6769C9B1}"/>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BE287A2-9BF1-4674-9E74-D028E2134FD3}"/>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0C1BF5C3-1C01-4516-9A8B-01375B1E8184}"/>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1274083-D4B7-41C6-B33D-6EF2E4287862}"/>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0E61D2A1-52DB-4095-B29B-48C9063DDA35}"/>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29AD9D81-D372-4656-9E35-A0C3ECA9DC33}"/>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F5E2DAA-3210-4109-AB37-261FC4254E62}"/>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D7FA902-5F5A-4FCC-A207-E6418D03491D}"/>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7C1BB3DD-C289-488F-9723-E50DB41F2FB0}"/>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0B608C4E-6853-4157-90CD-67E23DD3B874}"/>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57A5C612-EE94-49CC-B233-05C1F359D956}"/>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2DB7E8B0-CD28-4429-A5DC-62F8A4DCF859}"/>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3D9C49A-18B1-439E-A993-B497820C20D9}"/>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393C9134-606D-4B60-A44B-ED5D23DE20DA}"/>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063F222-C7A5-4E08-A7A9-18601E7CC4CD}"/>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4F9DC825-8998-4F4B-B85A-6A0818A49D54}"/>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8C736CE1-3F6E-4F37-9738-9190604F1CDE}"/>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E0D96788-96AD-4645-9E4B-6AC4AF81199C}"/>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0BB2D98E-66D2-47D1-ADE2-E2654AB72323}"/>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60ABB08D-5385-46EE-B6E9-3B5395844564}"/>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59A09222-CA80-46E1-849B-D707EF15F173}"/>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A957847-AA8C-4E29-97A8-D91C6CB637F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378A2351-D210-4DEF-9292-E194A4C09812}"/>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B5340F61-72D8-4376-A3F3-63B049750B87}"/>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AA3248A0-B972-415B-8966-403B2868E56A}"/>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1AD2861C-29EE-46FF-8F52-E2EF9A3033A2}"/>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CB3DC2D7-29C4-434F-B98F-84BFF27C8CF3}"/>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E308B6DB-FCE6-4EF7-B8D5-42AF6ADE8A0D}"/>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3CA5F1C7-5AA6-4C42-BD76-C78CB7FE2F82}"/>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ECDF5058-A188-4B30-B036-97C4E35C8ED0}"/>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84EC997F-8488-4562-90CB-D9C50657CDCE}"/>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E86CA6B9-039B-4B1A-A7A2-990A1E660847}"/>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9FD30008-A65A-43D1-8A52-F0A511A80EF0}"/>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Freeform: Shape 61">
                <a:extLst>
                  <a:ext uri="{FF2B5EF4-FFF2-40B4-BE49-F238E27FC236}">
                    <a16:creationId xmlns:a16="http://schemas.microsoft.com/office/drawing/2014/main" id="{CF742A34-EECF-46AC-B2EF-52FCF9FE5A82}"/>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3" name="Freeform: Shape 62">
                <a:extLst>
                  <a:ext uri="{FF2B5EF4-FFF2-40B4-BE49-F238E27FC236}">
                    <a16:creationId xmlns:a16="http://schemas.microsoft.com/office/drawing/2014/main" id="{3D200AD2-E196-4C7C-B5D2-6F85DE2A52DD}"/>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8" name="Freeform: Shape 127">
                <a:extLst>
                  <a:ext uri="{FF2B5EF4-FFF2-40B4-BE49-F238E27FC236}">
                    <a16:creationId xmlns:a16="http://schemas.microsoft.com/office/drawing/2014/main" id="{CDF0A690-F4E3-4DCE-8B68-EE26AAF83E0F}"/>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9" name="Freeform: Shape 128">
                <a:extLst>
                  <a:ext uri="{FF2B5EF4-FFF2-40B4-BE49-F238E27FC236}">
                    <a16:creationId xmlns:a16="http://schemas.microsoft.com/office/drawing/2014/main" id="{B774ADF8-2098-4343-B4E1-0347024F5813}"/>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0" name="Freeform: Shape 129">
                <a:extLst>
                  <a:ext uri="{FF2B5EF4-FFF2-40B4-BE49-F238E27FC236}">
                    <a16:creationId xmlns:a16="http://schemas.microsoft.com/office/drawing/2014/main" id="{878589A0-5A81-43E2-9DD2-0647B00B0DF3}"/>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9" name="Freeform: Shape 188">
                <a:extLst>
                  <a:ext uri="{FF2B5EF4-FFF2-40B4-BE49-F238E27FC236}">
                    <a16:creationId xmlns:a16="http://schemas.microsoft.com/office/drawing/2014/main" id="{39B57D15-43BA-4FD4-B80D-1294AB741531}"/>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2" name="Freeform: Shape 191">
                <a:extLst>
                  <a:ext uri="{FF2B5EF4-FFF2-40B4-BE49-F238E27FC236}">
                    <a16:creationId xmlns:a16="http://schemas.microsoft.com/office/drawing/2014/main" id="{B4E39D2C-30F8-4EFB-94B1-84DFE7064DDC}"/>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3" name="Freeform: Shape 192">
                <a:extLst>
                  <a:ext uri="{FF2B5EF4-FFF2-40B4-BE49-F238E27FC236}">
                    <a16:creationId xmlns:a16="http://schemas.microsoft.com/office/drawing/2014/main" id="{1644271D-EA1E-44CD-80C2-B5EEEC74BB30}"/>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4" name="Freeform: Shape 193">
                <a:extLst>
                  <a:ext uri="{FF2B5EF4-FFF2-40B4-BE49-F238E27FC236}">
                    <a16:creationId xmlns:a16="http://schemas.microsoft.com/office/drawing/2014/main" id="{3A5DD63C-2F38-4F4E-8EF8-25C6E073F7CD}"/>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5" name="Freeform: Shape 194">
                <a:extLst>
                  <a:ext uri="{FF2B5EF4-FFF2-40B4-BE49-F238E27FC236}">
                    <a16:creationId xmlns:a16="http://schemas.microsoft.com/office/drawing/2014/main" id="{FA2635D5-66D3-4A61-A8C0-86B9D2B8C8E0}"/>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6" name="Freeform: Shape 195">
                <a:extLst>
                  <a:ext uri="{FF2B5EF4-FFF2-40B4-BE49-F238E27FC236}">
                    <a16:creationId xmlns:a16="http://schemas.microsoft.com/office/drawing/2014/main" id="{7814C8D1-1E24-4136-9F58-FE7DF6D45673}"/>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7" name="Freeform: Shape 196">
                <a:extLst>
                  <a:ext uri="{FF2B5EF4-FFF2-40B4-BE49-F238E27FC236}">
                    <a16:creationId xmlns:a16="http://schemas.microsoft.com/office/drawing/2014/main" id="{62CE89B2-9D7D-498F-8824-50F66A6E49B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8" name="Freeform: Shape 197">
                <a:extLst>
                  <a:ext uri="{FF2B5EF4-FFF2-40B4-BE49-F238E27FC236}">
                    <a16:creationId xmlns:a16="http://schemas.microsoft.com/office/drawing/2014/main" id="{9667391B-BFE5-40A0-80E7-413652ED9341}"/>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9" name="Freeform: Shape 198">
                <a:extLst>
                  <a:ext uri="{FF2B5EF4-FFF2-40B4-BE49-F238E27FC236}">
                    <a16:creationId xmlns:a16="http://schemas.microsoft.com/office/drawing/2014/main" id="{1430523E-4362-44DC-A3D5-DF4DF3BF818B}"/>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0" name="Freeform: Shape 199">
                <a:extLst>
                  <a:ext uri="{FF2B5EF4-FFF2-40B4-BE49-F238E27FC236}">
                    <a16:creationId xmlns:a16="http://schemas.microsoft.com/office/drawing/2014/main" id="{813EE300-D60A-41A3-B76A-BAFA17065737}"/>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1" name="Freeform: Shape 200">
                <a:extLst>
                  <a:ext uri="{FF2B5EF4-FFF2-40B4-BE49-F238E27FC236}">
                    <a16:creationId xmlns:a16="http://schemas.microsoft.com/office/drawing/2014/main" id="{52D1DBF3-F58B-4BCC-8328-A4084587917E}"/>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2" name="Freeform: Shape 201">
                <a:extLst>
                  <a:ext uri="{FF2B5EF4-FFF2-40B4-BE49-F238E27FC236}">
                    <a16:creationId xmlns:a16="http://schemas.microsoft.com/office/drawing/2014/main" id="{7AAE21AF-84B8-4AF7-A4F5-89E0795AD8D6}"/>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3" name="Freeform: Shape 202">
                <a:extLst>
                  <a:ext uri="{FF2B5EF4-FFF2-40B4-BE49-F238E27FC236}">
                    <a16:creationId xmlns:a16="http://schemas.microsoft.com/office/drawing/2014/main" id="{56300A4E-E75B-46F5-8AB5-9C15BC3ABD8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4" name="Freeform: Shape 203">
                <a:extLst>
                  <a:ext uri="{FF2B5EF4-FFF2-40B4-BE49-F238E27FC236}">
                    <a16:creationId xmlns:a16="http://schemas.microsoft.com/office/drawing/2014/main" id="{C72EFB9C-044F-4C34-8C83-C3E9FDD70D6F}"/>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 name="Freeform: Shape 204">
                <a:extLst>
                  <a:ext uri="{FF2B5EF4-FFF2-40B4-BE49-F238E27FC236}">
                    <a16:creationId xmlns:a16="http://schemas.microsoft.com/office/drawing/2014/main" id="{B590F886-41C8-4949-813B-21C89DB2057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 name="Freeform: Shape 205">
                <a:extLst>
                  <a:ext uri="{FF2B5EF4-FFF2-40B4-BE49-F238E27FC236}">
                    <a16:creationId xmlns:a16="http://schemas.microsoft.com/office/drawing/2014/main" id="{26A1FBA5-D3FB-46BE-82C9-3ABAB179CDFE}"/>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 name="Freeform: Shape 206">
                <a:extLst>
                  <a:ext uri="{FF2B5EF4-FFF2-40B4-BE49-F238E27FC236}">
                    <a16:creationId xmlns:a16="http://schemas.microsoft.com/office/drawing/2014/main" id="{6CFA2EE3-7891-423C-AA32-7EEAA79C730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 name="Freeform: Shape 207">
                <a:extLst>
                  <a:ext uri="{FF2B5EF4-FFF2-40B4-BE49-F238E27FC236}">
                    <a16:creationId xmlns:a16="http://schemas.microsoft.com/office/drawing/2014/main" id="{27CA3436-B0B0-4725-956C-40D344FF2468}"/>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9" name="Freeform: Shape 208">
                <a:extLst>
                  <a:ext uri="{FF2B5EF4-FFF2-40B4-BE49-F238E27FC236}">
                    <a16:creationId xmlns:a16="http://schemas.microsoft.com/office/drawing/2014/main" id="{7CAB08F4-9D58-4902-BF11-F3FE71017EC4}"/>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0" name="Freeform: Shape 209">
                <a:extLst>
                  <a:ext uri="{FF2B5EF4-FFF2-40B4-BE49-F238E27FC236}">
                    <a16:creationId xmlns:a16="http://schemas.microsoft.com/office/drawing/2014/main" id="{FCC465EF-3469-497A-893D-0C004FC0D05C}"/>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1" name="Freeform: Shape 210">
                <a:extLst>
                  <a:ext uri="{FF2B5EF4-FFF2-40B4-BE49-F238E27FC236}">
                    <a16:creationId xmlns:a16="http://schemas.microsoft.com/office/drawing/2014/main" id="{7C3032A1-3477-4E4C-B6EC-A4753759F3F2}"/>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2" name="Freeform: Shape 211">
                <a:extLst>
                  <a:ext uri="{FF2B5EF4-FFF2-40B4-BE49-F238E27FC236}">
                    <a16:creationId xmlns:a16="http://schemas.microsoft.com/office/drawing/2014/main" id="{E974C2E7-72AB-4D35-A0BA-6908130CC25A}"/>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3" name="Freeform: Shape 212">
                <a:extLst>
                  <a:ext uri="{FF2B5EF4-FFF2-40B4-BE49-F238E27FC236}">
                    <a16:creationId xmlns:a16="http://schemas.microsoft.com/office/drawing/2014/main" id="{2AA644FB-2D59-4903-84D6-09B5600A7206}"/>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4" name="Freeform: Shape 213">
                <a:extLst>
                  <a:ext uri="{FF2B5EF4-FFF2-40B4-BE49-F238E27FC236}">
                    <a16:creationId xmlns:a16="http://schemas.microsoft.com/office/drawing/2014/main" id="{35191CCD-671E-444E-BDB4-4D1B7CFDDFDE}"/>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5" name="Freeform: Shape 214">
                <a:extLst>
                  <a:ext uri="{FF2B5EF4-FFF2-40B4-BE49-F238E27FC236}">
                    <a16:creationId xmlns:a16="http://schemas.microsoft.com/office/drawing/2014/main" id="{720F6453-B439-4E35-9769-57B549B4867E}"/>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6" name="Freeform: Shape 215">
                <a:extLst>
                  <a:ext uri="{FF2B5EF4-FFF2-40B4-BE49-F238E27FC236}">
                    <a16:creationId xmlns:a16="http://schemas.microsoft.com/office/drawing/2014/main" id="{BB04C641-6589-422A-9F4E-85AFECC08433}"/>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7" name="Freeform: Shape 216">
                <a:extLst>
                  <a:ext uri="{FF2B5EF4-FFF2-40B4-BE49-F238E27FC236}">
                    <a16:creationId xmlns:a16="http://schemas.microsoft.com/office/drawing/2014/main" id="{150D4418-B352-49FE-B652-2F96B7804123}"/>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416" name="Graphic 69">
              <a:extLst>
                <a:ext uri="{FF2B5EF4-FFF2-40B4-BE49-F238E27FC236}">
                  <a16:creationId xmlns:a16="http://schemas.microsoft.com/office/drawing/2014/main" id="{54863EE4-9BF8-4CF4-9171-B7812E20D057}"/>
                </a:ext>
                <a:ext uri="{C183D7F6-B498-43B3-948B-1728B52AA6E4}">
                  <adec:decorative xmlns:adec="http://schemas.microsoft.com/office/drawing/2017/decorative" val="1"/>
                </a:ext>
              </a:extLst>
            </p:cNvPr>
            <p:cNvSpPr/>
            <p:nvPr/>
          </p:nvSpPr>
          <p:spPr>
            <a:xfrm rot="1954878" flipH="1">
              <a:off x="6247795" y="1699122"/>
              <a:ext cx="3941648" cy="258705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Lst>
              <a:ahLst/>
              <a:cxnLst>
                <a:cxn ang="0">
                  <a:pos x="connsiteX0" y="connsiteY0"/>
                </a:cxn>
                <a:cxn ang="0">
                  <a:pos x="connsiteX1" y="connsiteY1"/>
                </a:cxn>
              </a:cxnLst>
              <a:rect l="l" t="t" r="r" b="b"/>
              <a:pathLst>
                <a:path w="2407349" h="3259011">
                  <a:moveTo>
                    <a:pt x="0" y="291883"/>
                  </a:moveTo>
                  <a:cubicBezTo>
                    <a:pt x="0" y="291883"/>
                    <a:pt x="1953536" y="-1375235"/>
                    <a:pt x="2407349" y="3259011"/>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6" name="Graphic 69">
              <a:extLst>
                <a:ext uri="{FF2B5EF4-FFF2-40B4-BE49-F238E27FC236}">
                  <a16:creationId xmlns:a16="http://schemas.microsoft.com/office/drawing/2014/main" id="{FDC1AD8D-174D-4EE9-9626-9E3180B822E1}"/>
                </a:ext>
                <a:ext uri="{C183D7F6-B498-43B3-948B-1728B52AA6E4}">
                  <adec:decorative xmlns:adec="http://schemas.microsoft.com/office/drawing/2017/decorative" val="1"/>
                </a:ext>
              </a:extLst>
            </p:cNvPr>
            <p:cNvSpPr/>
            <p:nvPr/>
          </p:nvSpPr>
          <p:spPr>
            <a:xfrm rot="1041518" flipH="1" flipV="1">
              <a:off x="5737576" y="3229390"/>
              <a:ext cx="1439411" cy="57029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2" name="Graphic 69">
              <a:extLst>
                <a:ext uri="{FF2B5EF4-FFF2-40B4-BE49-F238E27FC236}">
                  <a16:creationId xmlns:a16="http://schemas.microsoft.com/office/drawing/2014/main" id="{AD8762D0-4F1D-46EE-9B8C-2E2F7A480189}"/>
                </a:ext>
                <a:ext uri="{C183D7F6-B498-43B3-948B-1728B52AA6E4}">
                  <adec:decorative xmlns:adec="http://schemas.microsoft.com/office/drawing/2017/decorative" val="1"/>
                </a:ext>
              </a:extLst>
            </p:cNvPr>
            <p:cNvSpPr/>
            <p:nvPr/>
          </p:nvSpPr>
          <p:spPr>
            <a:xfrm rot="1041518" flipH="1" flipV="1">
              <a:off x="6291607" y="3478279"/>
              <a:ext cx="846272" cy="39483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3" name="Graphic 69">
              <a:extLst>
                <a:ext uri="{FF2B5EF4-FFF2-40B4-BE49-F238E27FC236}">
                  <a16:creationId xmlns:a16="http://schemas.microsoft.com/office/drawing/2014/main" id="{9203F50D-3751-49EC-9C6D-CD5A37144DB1}"/>
                </a:ext>
                <a:ext uri="{C183D7F6-B498-43B3-948B-1728B52AA6E4}">
                  <adec:decorative xmlns:adec="http://schemas.microsoft.com/office/drawing/2017/decorative" val="1"/>
                </a:ext>
              </a:extLst>
            </p:cNvPr>
            <p:cNvSpPr/>
            <p:nvPr/>
          </p:nvSpPr>
          <p:spPr>
            <a:xfrm rot="17695877" flipH="1" flipV="1">
              <a:off x="6449358" y="2768651"/>
              <a:ext cx="892341" cy="71934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1445793" y="413045"/>
                    <a:pt x="2412439" y="301650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4" name="Graphic 69">
              <a:extLst>
                <a:ext uri="{FF2B5EF4-FFF2-40B4-BE49-F238E27FC236}">
                  <a16:creationId xmlns:a16="http://schemas.microsoft.com/office/drawing/2014/main" id="{02A2EF04-BE3C-440B-96C8-9F684B5221FA}"/>
                </a:ext>
                <a:ext uri="{C183D7F6-B498-43B3-948B-1728B52AA6E4}">
                  <adec:decorative xmlns:adec="http://schemas.microsoft.com/office/drawing/2017/decorative" val="1"/>
                </a:ext>
              </a:extLst>
            </p:cNvPr>
            <p:cNvSpPr/>
            <p:nvPr/>
          </p:nvSpPr>
          <p:spPr>
            <a:xfrm rot="17695877" flipH="1" flipV="1">
              <a:off x="7051164" y="3158055"/>
              <a:ext cx="1334386" cy="837093"/>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5" name="Graphic 69">
              <a:extLst>
                <a:ext uri="{FF2B5EF4-FFF2-40B4-BE49-F238E27FC236}">
                  <a16:creationId xmlns:a16="http://schemas.microsoft.com/office/drawing/2014/main" id="{35F611FA-2342-4034-9781-EE9FDDFB87A2}"/>
                </a:ext>
                <a:ext uri="{C183D7F6-B498-43B3-948B-1728B52AA6E4}">
                  <adec:decorative xmlns:adec="http://schemas.microsoft.com/office/drawing/2017/decorative" val="1"/>
                </a:ext>
              </a:extLst>
            </p:cNvPr>
            <p:cNvSpPr/>
            <p:nvPr/>
          </p:nvSpPr>
          <p:spPr>
            <a:xfrm rot="256138" flipH="1" flipV="1">
              <a:off x="7342255" y="2917951"/>
              <a:ext cx="1617026" cy="114784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89"/>
                <a:gd name="connsiteX1" fmla="*/ 2409437 w 2409437"/>
                <a:gd name="connsiteY1" fmla="*/ 2960388 h 2960389"/>
              </a:gdLst>
              <a:ahLst/>
              <a:cxnLst>
                <a:cxn ang="0">
                  <a:pos x="connsiteX0" y="connsiteY0"/>
                </a:cxn>
                <a:cxn ang="0">
                  <a:pos x="connsiteX1" y="connsiteY1"/>
                </a:cxn>
              </a:cxnLst>
              <a:rect l="l" t="t" r="r" b="b"/>
              <a:pathLst>
                <a:path w="2409437" h="2960389">
                  <a:moveTo>
                    <a:pt x="0" y="-1"/>
                  </a:moveTo>
                  <a:cubicBezTo>
                    <a:pt x="0" y="-1"/>
                    <a:pt x="1763122" y="87298"/>
                    <a:pt x="2409437" y="2960388"/>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6" name="Graphic 69">
              <a:extLst>
                <a:ext uri="{FF2B5EF4-FFF2-40B4-BE49-F238E27FC236}">
                  <a16:creationId xmlns:a16="http://schemas.microsoft.com/office/drawing/2014/main" id="{D52E2760-B3DB-41E6-AF87-EFAD11BC6731}"/>
                </a:ext>
                <a:ext uri="{C183D7F6-B498-43B3-948B-1728B52AA6E4}">
                  <adec:decorative xmlns:adec="http://schemas.microsoft.com/office/drawing/2017/decorative" val="1"/>
                </a:ext>
              </a:extLst>
            </p:cNvPr>
            <p:cNvSpPr/>
            <p:nvPr/>
          </p:nvSpPr>
          <p:spPr>
            <a:xfrm rot="1703027" flipH="1" flipV="1">
              <a:off x="8159483" y="3323751"/>
              <a:ext cx="938875" cy="62447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7" name="Graphic 69">
              <a:extLst>
                <a:ext uri="{FF2B5EF4-FFF2-40B4-BE49-F238E27FC236}">
                  <a16:creationId xmlns:a16="http://schemas.microsoft.com/office/drawing/2014/main" id="{04D8598A-9032-44A5-8743-6A00ADCF39DC}"/>
                </a:ext>
                <a:ext uri="{C183D7F6-B498-43B3-948B-1728B52AA6E4}">
                  <adec:decorative xmlns:adec="http://schemas.microsoft.com/office/drawing/2017/decorative" val="1"/>
                </a:ext>
              </a:extLst>
            </p:cNvPr>
            <p:cNvSpPr/>
            <p:nvPr/>
          </p:nvSpPr>
          <p:spPr>
            <a:xfrm rot="1703027" flipH="1">
              <a:off x="8333214" y="3270163"/>
              <a:ext cx="1582012" cy="269090"/>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8" name="Graphic 69">
              <a:extLst>
                <a:ext uri="{FF2B5EF4-FFF2-40B4-BE49-F238E27FC236}">
                  <a16:creationId xmlns:a16="http://schemas.microsoft.com/office/drawing/2014/main" id="{5909B384-B899-40AF-AF1A-BF1BB098D2ED}"/>
                </a:ext>
                <a:ext uri="{C183D7F6-B498-43B3-948B-1728B52AA6E4}">
                  <adec:decorative xmlns:adec="http://schemas.microsoft.com/office/drawing/2017/decorative" val="1"/>
                </a:ext>
              </a:extLst>
            </p:cNvPr>
            <p:cNvSpPr/>
            <p:nvPr/>
          </p:nvSpPr>
          <p:spPr>
            <a:xfrm rot="17555955" flipH="1" flipV="1">
              <a:off x="9827721" y="3225126"/>
              <a:ext cx="691999" cy="36386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9" name="Graphic 69">
              <a:extLst>
                <a:ext uri="{FF2B5EF4-FFF2-40B4-BE49-F238E27FC236}">
                  <a16:creationId xmlns:a16="http://schemas.microsoft.com/office/drawing/2014/main" id="{47C06CE3-92E6-49B0-8212-67865F9F8457}"/>
                </a:ext>
                <a:ext uri="{C183D7F6-B498-43B3-948B-1728B52AA6E4}">
                  <adec:decorative xmlns:adec="http://schemas.microsoft.com/office/drawing/2017/decorative" val="1"/>
                </a:ext>
              </a:extLst>
            </p:cNvPr>
            <p:cNvSpPr/>
            <p:nvPr/>
          </p:nvSpPr>
          <p:spPr>
            <a:xfrm rot="17555955" flipH="1" flipV="1">
              <a:off x="10035386" y="2904944"/>
              <a:ext cx="973079" cy="98876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Lst>
              <a:ahLst/>
              <a:cxnLst>
                <a:cxn ang="0">
                  <a:pos x="connsiteX0" y="connsiteY0"/>
                </a:cxn>
                <a:cxn ang="0">
                  <a:pos x="connsiteX1" y="connsiteY1"/>
                </a:cxn>
              </a:cxnLst>
              <a:rect l="l" t="t" r="r" b="b"/>
              <a:pathLst>
                <a:path w="2409437" h="2960391">
                  <a:moveTo>
                    <a:pt x="0" y="1"/>
                  </a:moveTo>
                  <a:cubicBezTo>
                    <a:pt x="0" y="1"/>
                    <a:pt x="2001820" y="656220"/>
                    <a:pt x="2409437" y="296039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0" name="Graphic 69">
              <a:extLst>
                <a:ext uri="{FF2B5EF4-FFF2-40B4-BE49-F238E27FC236}">
                  <a16:creationId xmlns:a16="http://schemas.microsoft.com/office/drawing/2014/main" id="{F83FA9DB-D813-4E7B-BCCB-36E2E6CCFCE3}"/>
                </a:ext>
                <a:ext uri="{C183D7F6-B498-43B3-948B-1728B52AA6E4}">
                  <adec:decorative xmlns:adec="http://schemas.microsoft.com/office/drawing/2017/decorative" val="1"/>
                </a:ext>
              </a:extLst>
            </p:cNvPr>
            <p:cNvSpPr/>
            <p:nvPr/>
          </p:nvSpPr>
          <p:spPr>
            <a:xfrm flipH="1" flipV="1">
              <a:off x="9878532" y="3639465"/>
              <a:ext cx="1133169" cy="58129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409437"/>
                <a:gd name="connsiteY0" fmla="*/ 4193 h 2964583"/>
                <a:gd name="connsiteX1" fmla="*/ 2409437 w 2409437"/>
                <a:gd name="connsiteY1" fmla="*/ 2964582 h 2964583"/>
              </a:gdLst>
              <a:ahLst/>
              <a:cxnLst>
                <a:cxn ang="0">
                  <a:pos x="connsiteX0" y="connsiteY0"/>
                </a:cxn>
                <a:cxn ang="0">
                  <a:pos x="connsiteX1" y="connsiteY1"/>
                </a:cxn>
              </a:cxnLst>
              <a:rect l="l" t="t" r="r" b="b"/>
              <a:pathLst>
                <a:path w="2409437" h="2964583">
                  <a:moveTo>
                    <a:pt x="0" y="4193"/>
                  </a:moveTo>
                  <a:cubicBezTo>
                    <a:pt x="0" y="4193"/>
                    <a:pt x="1677775" y="-238267"/>
                    <a:pt x="2409437" y="2964582"/>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1" name="Graphic 69">
              <a:extLst>
                <a:ext uri="{FF2B5EF4-FFF2-40B4-BE49-F238E27FC236}">
                  <a16:creationId xmlns:a16="http://schemas.microsoft.com/office/drawing/2014/main" id="{ADEA9E15-B4B0-4AB2-951E-DECDAE7D4880}"/>
                </a:ext>
                <a:ext uri="{C183D7F6-B498-43B3-948B-1728B52AA6E4}">
                  <adec:decorative xmlns:adec="http://schemas.microsoft.com/office/drawing/2017/decorative" val="1"/>
                </a:ext>
              </a:extLst>
            </p:cNvPr>
            <p:cNvSpPr/>
            <p:nvPr/>
          </p:nvSpPr>
          <p:spPr>
            <a:xfrm rot="17555955" flipH="1" flipV="1">
              <a:off x="10666737" y="2840061"/>
              <a:ext cx="276500" cy="62575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Lst>
              <a:ahLst/>
              <a:cxnLst>
                <a:cxn ang="0">
                  <a:pos x="connsiteX0" y="connsiteY0"/>
                </a:cxn>
                <a:cxn ang="0">
                  <a:pos x="connsiteX1" y="connsiteY1"/>
                </a:cxn>
              </a:cxnLst>
              <a:rect l="l" t="t" r="r" b="b"/>
              <a:pathLst>
                <a:path w="2423619" h="2960390">
                  <a:moveTo>
                    <a:pt x="0" y="0"/>
                  </a:moveTo>
                  <a:cubicBezTo>
                    <a:pt x="0" y="0"/>
                    <a:pt x="2639238" y="864545"/>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2" name="Graphic 69">
              <a:extLst>
                <a:ext uri="{FF2B5EF4-FFF2-40B4-BE49-F238E27FC236}">
                  <a16:creationId xmlns:a16="http://schemas.microsoft.com/office/drawing/2014/main" id="{E600F944-55A1-4956-A5AA-4C567E9DC1EB}"/>
                </a:ext>
                <a:ext uri="{C183D7F6-B498-43B3-948B-1728B52AA6E4}">
                  <adec:decorative xmlns:adec="http://schemas.microsoft.com/office/drawing/2017/decorative" val="1"/>
                </a:ext>
              </a:extLst>
            </p:cNvPr>
            <p:cNvSpPr/>
            <p:nvPr/>
          </p:nvSpPr>
          <p:spPr>
            <a:xfrm rot="12576264" flipH="1" flipV="1">
              <a:off x="10874312" y="3201281"/>
              <a:ext cx="523760" cy="102000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 name="connsiteX0" fmla="*/ 0 w 3124456"/>
                <a:gd name="connsiteY0" fmla="*/ 0 h 2960390"/>
                <a:gd name="connsiteX1" fmla="*/ 2409437 w 3124456"/>
                <a:gd name="connsiteY1" fmla="*/ 2960389 h 2960390"/>
              </a:gdLst>
              <a:ahLst/>
              <a:cxnLst>
                <a:cxn ang="0">
                  <a:pos x="connsiteX0" y="connsiteY0"/>
                </a:cxn>
                <a:cxn ang="0">
                  <a:pos x="connsiteX1" y="connsiteY1"/>
                </a:cxn>
              </a:cxnLst>
              <a:rect l="l" t="t" r="r" b="b"/>
              <a:pathLst>
                <a:path w="3124456" h="2960390">
                  <a:moveTo>
                    <a:pt x="0" y="0"/>
                  </a:moveTo>
                  <a:cubicBezTo>
                    <a:pt x="0" y="0"/>
                    <a:pt x="4923576" y="694108"/>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3" name="Graphic 69">
              <a:extLst>
                <a:ext uri="{FF2B5EF4-FFF2-40B4-BE49-F238E27FC236}">
                  <a16:creationId xmlns:a16="http://schemas.microsoft.com/office/drawing/2014/main" id="{6A710367-0939-458F-911E-E6FEA607D672}"/>
                </a:ext>
                <a:ext uri="{C183D7F6-B498-43B3-948B-1728B52AA6E4}">
                  <adec:decorative xmlns:adec="http://schemas.microsoft.com/office/drawing/2017/decorative" val="1"/>
                </a:ext>
              </a:extLst>
            </p:cNvPr>
            <p:cNvSpPr/>
            <p:nvPr/>
          </p:nvSpPr>
          <p:spPr>
            <a:xfrm rot="17555955" flipH="1" flipV="1">
              <a:off x="9571970" y="3183944"/>
              <a:ext cx="761089" cy="199478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4" name="Graphic 69">
              <a:extLst>
                <a:ext uri="{FF2B5EF4-FFF2-40B4-BE49-F238E27FC236}">
                  <a16:creationId xmlns:a16="http://schemas.microsoft.com/office/drawing/2014/main" id="{261FE16C-6610-4E69-B8A8-E2E14A17166E}"/>
                </a:ext>
                <a:ext uri="{C183D7F6-B498-43B3-948B-1728B52AA6E4}">
                  <adec:decorative xmlns:adec="http://schemas.microsoft.com/office/drawing/2017/decorative" val="1"/>
                </a:ext>
              </a:extLst>
            </p:cNvPr>
            <p:cNvSpPr/>
            <p:nvPr/>
          </p:nvSpPr>
          <p:spPr>
            <a:xfrm rot="17555955" flipH="1" flipV="1">
              <a:off x="7662984" y="3198543"/>
              <a:ext cx="619429" cy="175755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5" name="Graphic 69">
              <a:extLst>
                <a:ext uri="{FF2B5EF4-FFF2-40B4-BE49-F238E27FC236}">
                  <a16:creationId xmlns:a16="http://schemas.microsoft.com/office/drawing/2014/main" id="{4D8B0C85-280D-425A-9530-60FDC77A3811}"/>
                </a:ext>
                <a:ext uri="{C183D7F6-B498-43B3-948B-1728B52AA6E4}">
                  <adec:decorative xmlns:adec="http://schemas.microsoft.com/office/drawing/2017/decorative" val="1"/>
                </a:ext>
              </a:extLst>
            </p:cNvPr>
            <p:cNvSpPr/>
            <p:nvPr/>
          </p:nvSpPr>
          <p:spPr>
            <a:xfrm rot="1703027" flipH="1">
              <a:off x="8503595" y="2626033"/>
              <a:ext cx="1850220" cy="102412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6" name="Graphic 69">
              <a:extLst>
                <a:ext uri="{FF2B5EF4-FFF2-40B4-BE49-F238E27FC236}">
                  <a16:creationId xmlns:a16="http://schemas.microsoft.com/office/drawing/2014/main" id="{F1A58106-14A0-4450-9DB6-ED792AD27044}"/>
                </a:ext>
                <a:ext uri="{C183D7F6-B498-43B3-948B-1728B52AA6E4}">
                  <adec:decorative xmlns:adec="http://schemas.microsoft.com/office/drawing/2017/decorative" val="1"/>
                </a:ext>
              </a:extLst>
            </p:cNvPr>
            <p:cNvSpPr/>
            <p:nvPr/>
          </p:nvSpPr>
          <p:spPr>
            <a:xfrm rot="1703027" flipH="1">
              <a:off x="7394630" y="2897289"/>
              <a:ext cx="976043" cy="23236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7" name="Oval 246">
              <a:extLst>
                <a:ext uri="{FF2B5EF4-FFF2-40B4-BE49-F238E27FC236}">
                  <a16:creationId xmlns:a16="http://schemas.microsoft.com/office/drawing/2014/main" id="{DDAE4FC2-441F-48BB-9716-25DBA5A91897}"/>
                </a:ext>
                <a:ext uri="{C183D7F6-B498-43B3-948B-1728B52AA6E4}">
                  <adec:decorative xmlns:adec="http://schemas.microsoft.com/office/drawing/2017/decorative" val="1"/>
                </a:ext>
              </a:extLst>
            </p:cNvPr>
            <p:cNvSpPr/>
            <p:nvPr/>
          </p:nvSpPr>
          <p:spPr bwMode="auto">
            <a:xfrm>
              <a:off x="8355194" y="424365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48" name="Oval 247">
              <a:extLst>
                <a:ext uri="{FF2B5EF4-FFF2-40B4-BE49-F238E27FC236}">
                  <a16:creationId xmlns:a16="http://schemas.microsoft.com/office/drawing/2014/main" id="{545C0550-FE89-4208-B97B-9B51D459C4E2}"/>
                </a:ext>
                <a:ext uri="{C183D7F6-B498-43B3-948B-1728B52AA6E4}">
                  <adec:decorative xmlns:adec="http://schemas.microsoft.com/office/drawing/2017/decorative" val="1"/>
                </a:ext>
              </a:extLst>
            </p:cNvPr>
            <p:cNvSpPr/>
            <p:nvPr/>
          </p:nvSpPr>
          <p:spPr bwMode="auto">
            <a:xfrm>
              <a:off x="6545444" y="3319734"/>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49" name="Oval 248">
              <a:extLst>
                <a:ext uri="{FF2B5EF4-FFF2-40B4-BE49-F238E27FC236}">
                  <a16:creationId xmlns:a16="http://schemas.microsoft.com/office/drawing/2014/main" id="{BD101562-7FAC-4F1F-9D90-8F1AD46A61C2}"/>
                </a:ext>
                <a:ext uri="{C183D7F6-B498-43B3-948B-1728B52AA6E4}">
                  <adec:decorative xmlns:adec="http://schemas.microsoft.com/office/drawing/2017/decorative" val="1"/>
                </a:ext>
              </a:extLst>
            </p:cNvPr>
            <p:cNvSpPr/>
            <p:nvPr/>
          </p:nvSpPr>
          <p:spPr bwMode="auto">
            <a:xfrm>
              <a:off x="8521882" y="31244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0" name="Oval 249">
              <a:extLst>
                <a:ext uri="{FF2B5EF4-FFF2-40B4-BE49-F238E27FC236}">
                  <a16:creationId xmlns:a16="http://schemas.microsoft.com/office/drawing/2014/main" id="{842E0E39-ADEB-4C7E-B7DC-A8D8CCB29620}"/>
                </a:ext>
                <a:ext uri="{C183D7F6-B498-43B3-948B-1728B52AA6E4}">
                  <adec:decorative xmlns:adec="http://schemas.microsoft.com/office/drawing/2017/decorative" val="1"/>
                </a:ext>
              </a:extLst>
            </p:cNvPr>
            <p:cNvSpPr/>
            <p:nvPr/>
          </p:nvSpPr>
          <p:spPr bwMode="auto">
            <a:xfrm>
              <a:off x="10136369" y="29244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1" name="Oval 250">
              <a:extLst>
                <a:ext uri="{FF2B5EF4-FFF2-40B4-BE49-F238E27FC236}">
                  <a16:creationId xmlns:a16="http://schemas.microsoft.com/office/drawing/2014/main" id="{B6FACEF4-5C68-4D95-8DF6-A7AB7E4A1EC4}"/>
                </a:ext>
                <a:ext uri="{C183D7F6-B498-43B3-948B-1728B52AA6E4}">
                  <adec:decorative xmlns:adec="http://schemas.microsoft.com/office/drawing/2017/decorative" val="1"/>
                </a:ext>
              </a:extLst>
            </p:cNvPr>
            <p:cNvSpPr/>
            <p:nvPr/>
          </p:nvSpPr>
          <p:spPr bwMode="auto">
            <a:xfrm>
              <a:off x="10045882" y="36483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2" name="Oval 251">
              <a:extLst>
                <a:ext uri="{FF2B5EF4-FFF2-40B4-BE49-F238E27FC236}">
                  <a16:creationId xmlns:a16="http://schemas.microsoft.com/office/drawing/2014/main" id="{7864D2C5-38B0-443F-8E4F-44971AC3ED5A}"/>
                </a:ext>
                <a:ext uri="{C183D7F6-B498-43B3-948B-1728B52AA6E4}">
                  <adec:decorative xmlns:adec="http://schemas.microsoft.com/office/drawing/2017/decorative" val="1"/>
                </a:ext>
              </a:extLst>
            </p:cNvPr>
            <p:cNvSpPr/>
            <p:nvPr/>
          </p:nvSpPr>
          <p:spPr bwMode="auto">
            <a:xfrm>
              <a:off x="11303182" y="340069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3" name="Oval 252">
              <a:extLst>
                <a:ext uri="{FF2B5EF4-FFF2-40B4-BE49-F238E27FC236}">
                  <a16:creationId xmlns:a16="http://schemas.microsoft.com/office/drawing/2014/main" id="{0EA5B4EB-C698-4B2A-8CA0-F52E3626355A}"/>
                </a:ext>
                <a:ext uri="{C183D7F6-B498-43B3-948B-1728B52AA6E4}">
                  <adec:decorative xmlns:adec="http://schemas.microsoft.com/office/drawing/2017/decorative" val="1"/>
                </a:ext>
              </a:extLst>
            </p:cNvPr>
            <p:cNvSpPr/>
            <p:nvPr/>
          </p:nvSpPr>
          <p:spPr bwMode="auto">
            <a:xfrm>
              <a:off x="10779307" y="41769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4" name="Oval 253">
              <a:extLst>
                <a:ext uri="{FF2B5EF4-FFF2-40B4-BE49-F238E27FC236}">
                  <a16:creationId xmlns:a16="http://schemas.microsoft.com/office/drawing/2014/main" id="{FC5EA6B9-7F7E-4A67-A777-ADAE241C012C}"/>
                </a:ext>
                <a:ext uri="{C183D7F6-B498-43B3-948B-1728B52AA6E4}">
                  <adec:decorative xmlns:adec="http://schemas.microsoft.com/office/drawing/2017/decorative" val="1"/>
                </a:ext>
              </a:extLst>
            </p:cNvPr>
            <p:cNvSpPr/>
            <p:nvPr/>
          </p:nvSpPr>
          <p:spPr bwMode="auto">
            <a:xfrm>
              <a:off x="5859644"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5" name="Oval 254">
              <a:extLst>
                <a:ext uri="{FF2B5EF4-FFF2-40B4-BE49-F238E27FC236}">
                  <a16:creationId xmlns:a16="http://schemas.microsoft.com/office/drawing/2014/main" id="{60C781F1-488F-4ACB-9A83-CFF6C2BB2357}"/>
                </a:ext>
                <a:ext uri="{C183D7F6-B498-43B3-948B-1728B52AA6E4}">
                  <adec:decorative xmlns:adec="http://schemas.microsoft.com/office/drawing/2017/decorative" val="1"/>
                </a:ext>
              </a:extLst>
            </p:cNvPr>
            <p:cNvSpPr/>
            <p:nvPr/>
          </p:nvSpPr>
          <p:spPr bwMode="auto">
            <a:xfrm>
              <a:off x="7931332" y="36816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6" name="Oval 255">
              <a:extLst>
                <a:ext uri="{FF2B5EF4-FFF2-40B4-BE49-F238E27FC236}">
                  <a16:creationId xmlns:a16="http://schemas.microsoft.com/office/drawing/2014/main" id="{8F653F12-DFAA-461C-9607-6C0EBCF7284D}"/>
                </a:ext>
                <a:ext uri="{C183D7F6-B498-43B3-948B-1728B52AA6E4}">
                  <adec:decorative xmlns:adec="http://schemas.microsoft.com/office/drawing/2017/decorative" val="1"/>
                </a:ext>
              </a:extLst>
            </p:cNvPr>
            <p:cNvSpPr/>
            <p:nvPr/>
          </p:nvSpPr>
          <p:spPr bwMode="auto">
            <a:xfrm>
              <a:off x="7788457" y="286729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7" name="Oval 256">
              <a:extLst>
                <a:ext uri="{FF2B5EF4-FFF2-40B4-BE49-F238E27FC236}">
                  <a16:creationId xmlns:a16="http://schemas.microsoft.com/office/drawing/2014/main" id="{BD02F44F-C76D-4B85-A70D-70A1535D60DB}"/>
                </a:ext>
                <a:ext uri="{C183D7F6-B498-43B3-948B-1728B52AA6E4}">
                  <adec:decorative xmlns:adec="http://schemas.microsoft.com/office/drawing/2017/decorative" val="1"/>
                </a:ext>
              </a:extLst>
            </p:cNvPr>
            <p:cNvSpPr/>
            <p:nvPr/>
          </p:nvSpPr>
          <p:spPr bwMode="auto">
            <a:xfrm>
              <a:off x="9826807" y="441034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17" name="Graphic 69">
              <a:extLst>
                <a:ext uri="{FF2B5EF4-FFF2-40B4-BE49-F238E27FC236}">
                  <a16:creationId xmlns:a16="http://schemas.microsoft.com/office/drawing/2014/main" id="{A3212AE5-554C-4CD9-8279-4DBFCB667CD2}"/>
                </a:ext>
                <a:ext uri="{C183D7F6-B498-43B3-948B-1728B52AA6E4}">
                  <adec:decorative xmlns:adec="http://schemas.microsoft.com/office/drawing/2017/decorative" val="1"/>
                </a:ext>
              </a:extLst>
            </p:cNvPr>
            <p:cNvSpPr/>
            <p:nvPr/>
          </p:nvSpPr>
          <p:spPr>
            <a:xfrm rot="1954878" flipH="1">
              <a:off x="7640291" y="2107464"/>
              <a:ext cx="2719514" cy="162953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8" name="Graphic 69">
              <a:extLst>
                <a:ext uri="{FF2B5EF4-FFF2-40B4-BE49-F238E27FC236}">
                  <a16:creationId xmlns:a16="http://schemas.microsoft.com/office/drawing/2014/main" id="{B7F19760-2AB5-43C2-9A85-7CCCA2FA86C5}"/>
                </a:ext>
                <a:ext uri="{C183D7F6-B498-43B3-948B-1728B52AA6E4}">
                  <adec:decorative xmlns:adec="http://schemas.microsoft.com/office/drawing/2017/decorative" val="1"/>
                </a:ext>
              </a:extLst>
            </p:cNvPr>
            <p:cNvSpPr/>
            <p:nvPr/>
          </p:nvSpPr>
          <p:spPr>
            <a:xfrm rot="1954878" flipH="1">
              <a:off x="8659022" y="2190989"/>
              <a:ext cx="2358449" cy="172283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0" name="Graphic 218">
              <a:extLst>
                <a:ext uri="{FF2B5EF4-FFF2-40B4-BE49-F238E27FC236}">
                  <a16:creationId xmlns:a16="http://schemas.microsoft.com/office/drawing/2014/main" id="{73235FC1-D43A-4044-BF4B-C19C0646A77A}"/>
                </a:ext>
                <a:ext uri="{C183D7F6-B498-43B3-948B-1728B52AA6E4}">
                  <adec:decorative xmlns:adec="http://schemas.microsoft.com/office/drawing/2017/decorative" val="1"/>
                </a:ext>
              </a:extLst>
            </p:cNvPr>
            <p:cNvSpPr/>
            <p:nvPr/>
          </p:nvSpPr>
          <p:spPr>
            <a:xfrm>
              <a:off x="5554516" y="2262059"/>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1" name="Graphic 218">
              <a:extLst>
                <a:ext uri="{FF2B5EF4-FFF2-40B4-BE49-F238E27FC236}">
                  <a16:creationId xmlns:a16="http://schemas.microsoft.com/office/drawing/2014/main" id="{A5FAC87C-62DF-423A-AFCC-F5ED8BCC684F}"/>
                </a:ext>
                <a:ext uri="{C183D7F6-B498-43B3-948B-1728B52AA6E4}">
                  <adec:decorative xmlns:adec="http://schemas.microsoft.com/office/drawing/2017/decorative" val="1"/>
                </a:ext>
              </a:extLst>
            </p:cNvPr>
            <p:cNvSpPr/>
            <p:nvPr/>
          </p:nvSpPr>
          <p:spPr>
            <a:xfrm>
              <a:off x="6074361" y="26171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2" name="Graphic 218">
              <a:extLst>
                <a:ext uri="{FF2B5EF4-FFF2-40B4-BE49-F238E27FC236}">
                  <a16:creationId xmlns:a16="http://schemas.microsoft.com/office/drawing/2014/main" id="{ECBD924A-E0C7-4889-A113-8B7E3735CC86}"/>
                </a:ext>
                <a:ext uri="{C183D7F6-B498-43B3-948B-1728B52AA6E4}">
                  <adec:decorative xmlns:adec="http://schemas.microsoft.com/office/drawing/2017/decorative" val="1"/>
                </a:ext>
              </a:extLst>
            </p:cNvPr>
            <p:cNvSpPr/>
            <p:nvPr/>
          </p:nvSpPr>
          <p:spPr>
            <a:xfrm>
              <a:off x="6760073" y="32394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3" name="Graphic 218">
              <a:extLst>
                <a:ext uri="{FF2B5EF4-FFF2-40B4-BE49-F238E27FC236}">
                  <a16:creationId xmlns:a16="http://schemas.microsoft.com/office/drawing/2014/main" id="{9FF448E6-C294-473A-BE02-256EE2B0EEA3}"/>
                </a:ext>
                <a:ext uri="{C183D7F6-B498-43B3-948B-1728B52AA6E4}">
                  <adec:decorative xmlns:adec="http://schemas.microsoft.com/office/drawing/2017/decorative" val="1"/>
                </a:ext>
              </a:extLst>
            </p:cNvPr>
            <p:cNvSpPr/>
            <p:nvPr/>
          </p:nvSpPr>
          <p:spPr>
            <a:xfrm>
              <a:off x="8062266" y="2390852"/>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5" name="Graphic 218">
              <a:extLst>
                <a:ext uri="{FF2B5EF4-FFF2-40B4-BE49-F238E27FC236}">
                  <a16:creationId xmlns:a16="http://schemas.microsoft.com/office/drawing/2014/main" id="{90E8A518-582C-4217-9BB1-4B0B5CA727A1}"/>
                </a:ext>
                <a:ext uri="{C183D7F6-B498-43B3-948B-1728B52AA6E4}">
                  <adec:decorative xmlns:adec="http://schemas.microsoft.com/office/drawing/2017/decorative" val="1"/>
                </a:ext>
              </a:extLst>
            </p:cNvPr>
            <p:cNvSpPr/>
            <p:nvPr/>
          </p:nvSpPr>
          <p:spPr>
            <a:xfrm>
              <a:off x="10862468" y="23885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6" name="Graphic 218">
              <a:extLst>
                <a:ext uri="{FF2B5EF4-FFF2-40B4-BE49-F238E27FC236}">
                  <a16:creationId xmlns:a16="http://schemas.microsoft.com/office/drawing/2014/main" id="{FA47E52D-0146-4F62-9E2D-94BAF66E91DD}"/>
                </a:ext>
                <a:ext uri="{C183D7F6-B498-43B3-948B-1728B52AA6E4}">
                  <adec:decorative xmlns:adec="http://schemas.microsoft.com/office/drawing/2017/decorative" val="1"/>
                </a:ext>
              </a:extLst>
            </p:cNvPr>
            <p:cNvSpPr/>
            <p:nvPr/>
          </p:nvSpPr>
          <p:spPr>
            <a:xfrm>
              <a:off x="9579768" y="28965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7" name="Graphic 218">
              <a:extLst>
                <a:ext uri="{FF2B5EF4-FFF2-40B4-BE49-F238E27FC236}">
                  <a16:creationId xmlns:a16="http://schemas.microsoft.com/office/drawing/2014/main" id="{87763265-DDEC-47E2-B194-661FED9697F3}"/>
                </a:ext>
                <a:ext uri="{C183D7F6-B498-43B3-948B-1728B52AA6E4}">
                  <adec:decorative xmlns:adec="http://schemas.microsoft.com/office/drawing/2017/decorative" val="1"/>
                </a:ext>
              </a:extLst>
            </p:cNvPr>
            <p:cNvSpPr/>
            <p:nvPr/>
          </p:nvSpPr>
          <p:spPr>
            <a:xfrm>
              <a:off x="8601868" y="33664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8" name="Graphic 218">
              <a:extLst>
                <a:ext uri="{FF2B5EF4-FFF2-40B4-BE49-F238E27FC236}">
                  <a16:creationId xmlns:a16="http://schemas.microsoft.com/office/drawing/2014/main" id="{24A8BCCC-96F3-4C9A-8D89-E90B7881E105}"/>
                </a:ext>
                <a:ext uri="{C183D7F6-B498-43B3-948B-1728B52AA6E4}">
                  <adec:decorative xmlns:adec="http://schemas.microsoft.com/office/drawing/2017/decorative" val="1"/>
                </a:ext>
              </a:extLst>
            </p:cNvPr>
            <p:cNvSpPr/>
            <p:nvPr/>
          </p:nvSpPr>
          <p:spPr>
            <a:xfrm>
              <a:off x="10710068" y="34553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9" name="Graphic 218">
              <a:extLst>
                <a:ext uri="{FF2B5EF4-FFF2-40B4-BE49-F238E27FC236}">
                  <a16:creationId xmlns:a16="http://schemas.microsoft.com/office/drawing/2014/main" id="{6E4939F9-671F-44DE-9E62-C0484C5CC24E}"/>
                </a:ext>
                <a:ext uri="{C183D7F6-B498-43B3-948B-1728B52AA6E4}">
                  <adec:decorative xmlns:adec="http://schemas.microsoft.com/office/drawing/2017/decorative" val="1"/>
                </a:ext>
              </a:extLst>
            </p:cNvPr>
            <p:cNvSpPr/>
            <p:nvPr userDrawn="1"/>
          </p:nvSpPr>
          <p:spPr>
            <a:xfrm>
              <a:off x="7103268" y="2121824"/>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0" name="Graphic 218">
              <a:extLst>
                <a:ext uri="{FF2B5EF4-FFF2-40B4-BE49-F238E27FC236}">
                  <a16:creationId xmlns:a16="http://schemas.microsoft.com/office/drawing/2014/main" id="{B786E299-F910-4906-BBD8-8B55C259B25B}"/>
                </a:ext>
                <a:ext uri="{C183D7F6-B498-43B3-948B-1728B52AA6E4}">
                  <adec:decorative xmlns:adec="http://schemas.microsoft.com/office/drawing/2017/decorative" val="1"/>
                </a:ext>
              </a:extLst>
            </p:cNvPr>
            <p:cNvSpPr/>
            <p:nvPr/>
          </p:nvSpPr>
          <p:spPr>
            <a:xfrm>
              <a:off x="10167143" y="2398049"/>
              <a:ext cx="596265" cy="762000"/>
            </a:xfrm>
            <a:custGeom>
              <a:avLst/>
              <a:gdLst>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381953 w 596265"/>
                <a:gd name="connsiteY8" fmla="*/ 298133 h 762000"/>
                <a:gd name="connsiteX9" fmla="*/ 298133 w 596265"/>
                <a:gd name="connsiteY9"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214313 h 762000"/>
                <a:gd name="connsiteX6" fmla="*/ 214313 w 596265"/>
                <a:gd name="connsiteY6" fmla="*/ 298133 h 762000"/>
                <a:gd name="connsiteX7" fmla="*/ 298133 w 596265"/>
                <a:gd name="connsiteY7" fmla="*/ 381953 h 762000"/>
                <a:gd name="connsiteX8" fmla="*/ 298133 w 596265"/>
                <a:gd name="connsiteY8" fmla="*/ 21431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 name="connsiteX5" fmla="*/ 298133 w 596265"/>
                <a:gd name="connsiteY5" fmla="*/ 381953 h 762000"/>
                <a:gd name="connsiteX6" fmla="*/ 214313 w 596265"/>
                <a:gd name="connsiteY6" fmla="*/ 298133 h 762000"/>
                <a:gd name="connsiteX7" fmla="*/ 298133 w 596265"/>
                <a:gd name="connsiteY7" fmla="*/ 381953 h 762000"/>
                <a:gd name="connsiteX0" fmla="*/ 298133 w 596265"/>
                <a:gd name="connsiteY0" fmla="*/ 762000 h 762000"/>
                <a:gd name="connsiteX1" fmla="*/ 0 w 596265"/>
                <a:gd name="connsiteY1" fmla="*/ 298133 h 762000"/>
                <a:gd name="connsiteX2" fmla="*/ 298133 w 596265"/>
                <a:gd name="connsiteY2" fmla="*/ 0 h 762000"/>
                <a:gd name="connsiteX3" fmla="*/ 596265 w 596265"/>
                <a:gd name="connsiteY3" fmla="*/ 298133 h 762000"/>
                <a:gd name="connsiteX4" fmla="*/ 298133 w 596265"/>
                <a:gd name="connsiteY4" fmla="*/ 76200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265" h="762000">
                  <a:moveTo>
                    <a:pt x="298133" y="762000"/>
                  </a:moveTo>
                  <a:cubicBezTo>
                    <a:pt x="298133" y="762000"/>
                    <a:pt x="0" y="461963"/>
                    <a:pt x="0" y="298133"/>
                  </a:cubicBezTo>
                  <a:cubicBezTo>
                    <a:pt x="0" y="134303"/>
                    <a:pt x="133350" y="0"/>
                    <a:pt x="298133" y="0"/>
                  </a:cubicBezTo>
                  <a:cubicBezTo>
                    <a:pt x="462915" y="0"/>
                    <a:pt x="596265" y="133350"/>
                    <a:pt x="596265" y="298133"/>
                  </a:cubicBezTo>
                  <a:cubicBezTo>
                    <a:pt x="596265" y="462915"/>
                    <a:pt x="298133" y="762000"/>
                    <a:pt x="298133" y="762000"/>
                  </a:cubicBezTo>
                  <a:close/>
                </a:path>
              </a:pathLst>
            </a:custGeom>
            <a:gradFill>
              <a:gsLst>
                <a:gs pos="0">
                  <a:schemeClr val="accent3"/>
                </a:gs>
                <a:gs pos="100000">
                  <a:schemeClr val="tx1">
                    <a:alpha val="23000"/>
                  </a:schemeClr>
                </a:gs>
              </a:gsLst>
              <a:lin ang="16200000" scaled="1"/>
            </a:gradFill>
            <a:ln w="15875" cap="flat">
              <a:gradFill flip="none" rotWithShape="1">
                <a:gsLst>
                  <a:gs pos="0">
                    <a:schemeClr val="bg1"/>
                  </a:gs>
                  <a:gs pos="57000">
                    <a:schemeClr val="bg1">
                      <a:alpha val="0"/>
                    </a:schemeClr>
                  </a:gs>
                </a:gsLst>
                <a:lin ang="16200000" scaled="1"/>
                <a:tileRect/>
              </a:grad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9" name="Oval 418">
              <a:extLst>
                <a:ext uri="{FF2B5EF4-FFF2-40B4-BE49-F238E27FC236}">
                  <a16:creationId xmlns:a16="http://schemas.microsoft.com/office/drawing/2014/main" id="{FE625CF3-7E9C-494E-A947-E51F533D163D}"/>
                </a:ext>
                <a:ext uri="{C183D7F6-B498-43B3-948B-1728B52AA6E4}">
                  <adec:decorative xmlns:adec="http://schemas.microsoft.com/office/drawing/2017/decorative" val="1"/>
                </a:ext>
              </a:extLst>
            </p:cNvPr>
            <p:cNvSpPr/>
            <p:nvPr/>
          </p:nvSpPr>
          <p:spPr bwMode="auto">
            <a:xfrm>
              <a:off x="9518832" y="22862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0" name="Oval 419">
              <a:extLst>
                <a:ext uri="{FF2B5EF4-FFF2-40B4-BE49-F238E27FC236}">
                  <a16:creationId xmlns:a16="http://schemas.microsoft.com/office/drawing/2014/main" id="{134BD34D-2920-421B-8196-2722CCD1A0BB}"/>
                </a:ext>
                <a:ext uri="{C183D7F6-B498-43B3-948B-1728B52AA6E4}">
                  <adec:decorative xmlns:adec="http://schemas.microsoft.com/office/drawing/2017/decorative" val="1"/>
                </a:ext>
              </a:extLst>
            </p:cNvPr>
            <p:cNvSpPr/>
            <p:nvPr/>
          </p:nvSpPr>
          <p:spPr bwMode="auto">
            <a:xfrm>
              <a:off x="7056312" y="205770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4" name="Oval 433">
              <a:extLst>
                <a:ext uri="{FF2B5EF4-FFF2-40B4-BE49-F238E27FC236}">
                  <a16:creationId xmlns:a16="http://schemas.microsoft.com/office/drawing/2014/main" id="{BEE4B5D4-119C-40D0-A40F-119749DDDFE3}"/>
                </a:ext>
                <a:ext uri="{C183D7F6-B498-43B3-948B-1728B52AA6E4}">
                  <adec:decorative xmlns:adec="http://schemas.microsoft.com/office/drawing/2017/decorative" val="1"/>
                </a:ext>
              </a:extLst>
            </p:cNvPr>
            <p:cNvSpPr/>
            <p:nvPr/>
          </p:nvSpPr>
          <p:spPr bwMode="auto">
            <a:xfrm>
              <a:off x="5507701" y="378429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5" name="Oval 434">
              <a:extLst>
                <a:ext uri="{FF2B5EF4-FFF2-40B4-BE49-F238E27FC236}">
                  <a16:creationId xmlns:a16="http://schemas.microsoft.com/office/drawing/2014/main" id="{81140CD0-47E2-4C47-A736-2334CDC17651}"/>
                </a:ext>
                <a:ext uri="{C183D7F6-B498-43B3-948B-1728B52AA6E4}">
                  <adec:decorative xmlns:adec="http://schemas.microsoft.com/office/drawing/2017/decorative" val="1"/>
                </a:ext>
              </a:extLst>
            </p:cNvPr>
            <p:cNvSpPr/>
            <p:nvPr/>
          </p:nvSpPr>
          <p:spPr bwMode="auto">
            <a:xfrm>
              <a:off x="6618951" y="17459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6" name="Oval 435">
              <a:extLst>
                <a:ext uri="{FF2B5EF4-FFF2-40B4-BE49-F238E27FC236}">
                  <a16:creationId xmlns:a16="http://schemas.microsoft.com/office/drawing/2014/main" id="{819CCCE4-9BD1-4220-9CCF-11260C8A5BED}"/>
                </a:ext>
                <a:ext uri="{C183D7F6-B498-43B3-948B-1728B52AA6E4}">
                  <adec:decorative xmlns:adec="http://schemas.microsoft.com/office/drawing/2017/decorative" val="1"/>
                </a:ext>
              </a:extLst>
            </p:cNvPr>
            <p:cNvSpPr/>
            <p:nvPr/>
          </p:nvSpPr>
          <p:spPr bwMode="auto">
            <a:xfrm>
              <a:off x="9235151" y="49971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7" name="Oval 436">
              <a:extLst>
                <a:ext uri="{FF2B5EF4-FFF2-40B4-BE49-F238E27FC236}">
                  <a16:creationId xmlns:a16="http://schemas.microsoft.com/office/drawing/2014/main" id="{FA68F897-AB85-45E5-817D-143513A1BA6C}"/>
                </a:ext>
                <a:ext uri="{C183D7F6-B498-43B3-948B-1728B52AA6E4}">
                  <adec:decorative xmlns:adec="http://schemas.microsoft.com/office/drawing/2017/decorative" val="1"/>
                </a:ext>
              </a:extLst>
            </p:cNvPr>
            <p:cNvSpPr/>
            <p:nvPr/>
          </p:nvSpPr>
          <p:spPr bwMode="auto">
            <a:xfrm>
              <a:off x="9067511" y="8823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8" name="Oval 437">
              <a:extLst>
                <a:ext uri="{FF2B5EF4-FFF2-40B4-BE49-F238E27FC236}">
                  <a16:creationId xmlns:a16="http://schemas.microsoft.com/office/drawing/2014/main" id="{D536BE13-4EF9-406D-98DE-ED5D41070D35}"/>
                </a:ext>
                <a:ext uri="{C183D7F6-B498-43B3-948B-1728B52AA6E4}">
                  <adec:decorative xmlns:adec="http://schemas.microsoft.com/office/drawing/2017/decorative" val="1"/>
                </a:ext>
              </a:extLst>
            </p:cNvPr>
            <p:cNvSpPr/>
            <p:nvPr/>
          </p:nvSpPr>
          <p:spPr bwMode="auto">
            <a:xfrm>
              <a:off x="10530551" y="550768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9" name="Oval 438">
              <a:extLst>
                <a:ext uri="{FF2B5EF4-FFF2-40B4-BE49-F238E27FC236}">
                  <a16:creationId xmlns:a16="http://schemas.microsoft.com/office/drawing/2014/main" id="{2787F28D-BA31-4FC1-82F5-CDFE2CE73DDA}"/>
                </a:ext>
                <a:ext uri="{C183D7F6-B498-43B3-948B-1728B52AA6E4}">
                  <adec:decorative xmlns:adec="http://schemas.microsoft.com/office/drawing/2017/decorative" val="1"/>
                </a:ext>
              </a:extLst>
            </p:cNvPr>
            <p:cNvSpPr/>
            <p:nvPr/>
          </p:nvSpPr>
          <p:spPr bwMode="auto">
            <a:xfrm>
              <a:off x="10073351" y="3108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grpSp>
          <p:nvGrpSpPr>
            <p:cNvPr id="386" name="Graphic 120">
              <a:extLst>
                <a:ext uri="{FF2B5EF4-FFF2-40B4-BE49-F238E27FC236}">
                  <a16:creationId xmlns:a16="http://schemas.microsoft.com/office/drawing/2014/main" id="{944D03D4-C528-4A88-8914-7813C2FEFC9F}"/>
                </a:ext>
                <a:ext uri="{C183D7F6-B498-43B3-948B-1728B52AA6E4}">
                  <adec:decorative xmlns:adec="http://schemas.microsoft.com/office/drawing/2017/decorative" val="1"/>
                </a:ext>
              </a:extLst>
            </p:cNvPr>
            <p:cNvGrpSpPr/>
            <p:nvPr/>
          </p:nvGrpSpPr>
          <p:grpSpPr>
            <a:xfrm>
              <a:off x="8721584" y="3492591"/>
              <a:ext cx="356832" cy="336440"/>
              <a:chOff x="6051549" y="3340099"/>
              <a:chExt cx="333375" cy="314325"/>
            </a:xfrm>
          </p:grpSpPr>
          <p:sp>
            <p:nvSpPr>
              <p:cNvPr id="387" name="Freeform: Shape 386">
                <a:extLst>
                  <a:ext uri="{FF2B5EF4-FFF2-40B4-BE49-F238E27FC236}">
                    <a16:creationId xmlns:a16="http://schemas.microsoft.com/office/drawing/2014/main" id="{59A5D8B9-83BB-4FE5-81F8-C1BA7A70302F}"/>
                  </a:ext>
                </a:extLst>
              </p:cNvPr>
              <p:cNvSpPr/>
              <p:nvPr/>
            </p:nvSpPr>
            <p:spPr>
              <a:xfrm>
                <a:off x="6267766" y="3540505"/>
                <a:ext cx="72390" cy="72390"/>
              </a:xfrm>
              <a:custGeom>
                <a:avLst/>
                <a:gdLst>
                  <a:gd name="connsiteX0" fmla="*/ 72390 w 72390"/>
                  <a:gd name="connsiteY0" fmla="*/ 36195 h 72390"/>
                  <a:gd name="connsiteX1" fmla="*/ 36195 w 72390"/>
                  <a:gd name="connsiteY1" fmla="*/ 72390 h 72390"/>
                  <a:gd name="connsiteX2" fmla="*/ 0 w 72390"/>
                  <a:gd name="connsiteY2" fmla="*/ 36195 h 72390"/>
                  <a:gd name="connsiteX3" fmla="*/ 36195 w 72390"/>
                  <a:gd name="connsiteY3" fmla="*/ 0 h 72390"/>
                  <a:gd name="connsiteX4" fmla="*/ 72390 w 72390"/>
                  <a:gd name="connsiteY4" fmla="*/ 36195 h 7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90">
                    <a:moveTo>
                      <a:pt x="72390" y="36195"/>
                    </a:moveTo>
                    <a:cubicBezTo>
                      <a:pt x="72390" y="56185"/>
                      <a:pt x="56185" y="72390"/>
                      <a:pt x="36195" y="72390"/>
                    </a:cubicBezTo>
                    <a:cubicBezTo>
                      <a:pt x="16205" y="72390"/>
                      <a:pt x="0" y="56185"/>
                      <a:pt x="0" y="36195"/>
                    </a:cubicBezTo>
                    <a:cubicBezTo>
                      <a:pt x="0" y="16205"/>
                      <a:pt x="16205" y="0"/>
                      <a:pt x="36195" y="0"/>
                    </a:cubicBezTo>
                    <a:cubicBezTo>
                      <a:pt x="56185" y="0"/>
                      <a:pt x="72390" y="16205"/>
                      <a:pt x="72390" y="36195"/>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8" name="Freeform: Shape 387">
                <a:extLst>
                  <a:ext uri="{FF2B5EF4-FFF2-40B4-BE49-F238E27FC236}">
                    <a16:creationId xmlns:a16="http://schemas.microsoft.com/office/drawing/2014/main" id="{340B13A7-5809-4C8C-87B0-31BE9ECFEAF2}"/>
                  </a:ext>
                </a:extLst>
              </p:cNvPr>
              <p:cNvSpPr/>
              <p:nvPr/>
            </p:nvSpPr>
            <p:spPr>
              <a:xfrm>
                <a:off x="6231095" y="3500309"/>
                <a:ext cx="145732" cy="152781"/>
              </a:xfrm>
              <a:custGeom>
                <a:avLst/>
                <a:gdLst>
                  <a:gd name="connsiteX0" fmla="*/ 136398 w 145732"/>
                  <a:gd name="connsiteY0" fmla="*/ 76391 h 152781"/>
                  <a:gd name="connsiteX1" fmla="*/ 133350 w 145732"/>
                  <a:gd name="connsiteY1" fmla="*/ 56864 h 152781"/>
                  <a:gd name="connsiteX2" fmla="*/ 145733 w 145732"/>
                  <a:gd name="connsiteY2" fmla="*/ 49721 h 152781"/>
                  <a:gd name="connsiteX3" fmla="*/ 132398 w 145732"/>
                  <a:gd name="connsiteY3" fmla="*/ 26670 h 152781"/>
                  <a:gd name="connsiteX4" fmla="*/ 119920 w 145732"/>
                  <a:gd name="connsiteY4" fmla="*/ 33814 h 152781"/>
                  <a:gd name="connsiteX5" fmla="*/ 86201 w 145732"/>
                  <a:gd name="connsiteY5" fmla="*/ 14288 h 152781"/>
                  <a:gd name="connsiteX6" fmla="*/ 86201 w 145732"/>
                  <a:gd name="connsiteY6" fmla="*/ 0 h 152781"/>
                  <a:gd name="connsiteX7" fmla="*/ 59531 w 145732"/>
                  <a:gd name="connsiteY7" fmla="*/ 0 h 152781"/>
                  <a:gd name="connsiteX8" fmla="*/ 59531 w 145732"/>
                  <a:gd name="connsiteY8" fmla="*/ 14288 h 152781"/>
                  <a:gd name="connsiteX9" fmla="*/ 25813 w 145732"/>
                  <a:gd name="connsiteY9" fmla="*/ 33814 h 152781"/>
                  <a:gd name="connsiteX10" fmla="*/ 13335 w 145732"/>
                  <a:gd name="connsiteY10" fmla="*/ 26670 h 152781"/>
                  <a:gd name="connsiteX11" fmla="*/ 0 w 145732"/>
                  <a:gd name="connsiteY11" fmla="*/ 49721 h 152781"/>
                  <a:gd name="connsiteX12" fmla="*/ 12382 w 145732"/>
                  <a:gd name="connsiteY12" fmla="*/ 56864 h 152781"/>
                  <a:gd name="connsiteX13" fmla="*/ 9334 w 145732"/>
                  <a:gd name="connsiteY13" fmla="*/ 76391 h 152781"/>
                  <a:gd name="connsiteX14" fmla="*/ 12382 w 145732"/>
                  <a:gd name="connsiteY14" fmla="*/ 95917 h 152781"/>
                  <a:gd name="connsiteX15" fmla="*/ 0 w 145732"/>
                  <a:gd name="connsiteY15" fmla="*/ 103061 h 152781"/>
                  <a:gd name="connsiteX16" fmla="*/ 13335 w 145732"/>
                  <a:gd name="connsiteY16" fmla="*/ 126111 h 152781"/>
                  <a:gd name="connsiteX17" fmla="*/ 25813 w 145732"/>
                  <a:gd name="connsiteY17" fmla="*/ 118967 h 152781"/>
                  <a:gd name="connsiteX18" fmla="*/ 59531 w 145732"/>
                  <a:gd name="connsiteY18" fmla="*/ 138494 h 152781"/>
                  <a:gd name="connsiteX19" fmla="*/ 59531 w 145732"/>
                  <a:gd name="connsiteY19" fmla="*/ 152781 h 152781"/>
                  <a:gd name="connsiteX20" fmla="*/ 86201 w 145732"/>
                  <a:gd name="connsiteY20" fmla="*/ 152781 h 152781"/>
                  <a:gd name="connsiteX21" fmla="*/ 86201 w 145732"/>
                  <a:gd name="connsiteY21" fmla="*/ 138494 h 152781"/>
                  <a:gd name="connsiteX22" fmla="*/ 119920 w 145732"/>
                  <a:gd name="connsiteY22" fmla="*/ 118967 h 152781"/>
                  <a:gd name="connsiteX23" fmla="*/ 132398 w 145732"/>
                  <a:gd name="connsiteY23" fmla="*/ 126111 h 152781"/>
                  <a:gd name="connsiteX24" fmla="*/ 145733 w 145732"/>
                  <a:gd name="connsiteY24" fmla="*/ 103061 h 152781"/>
                  <a:gd name="connsiteX25" fmla="*/ 133350 w 145732"/>
                  <a:gd name="connsiteY25" fmla="*/ 95917 h 152781"/>
                  <a:gd name="connsiteX26" fmla="*/ 136398 w 145732"/>
                  <a:gd name="connsiteY26" fmla="*/ 76391 h 15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732" h="152781">
                    <a:moveTo>
                      <a:pt x="136398" y="76391"/>
                    </a:moveTo>
                    <a:cubicBezTo>
                      <a:pt x="136398" y="69628"/>
                      <a:pt x="135255" y="63056"/>
                      <a:pt x="133350" y="56864"/>
                    </a:cubicBezTo>
                    <a:lnTo>
                      <a:pt x="145733" y="49721"/>
                    </a:lnTo>
                    <a:lnTo>
                      <a:pt x="132398" y="26670"/>
                    </a:lnTo>
                    <a:lnTo>
                      <a:pt x="119920" y="33814"/>
                    </a:lnTo>
                    <a:cubicBezTo>
                      <a:pt x="111157" y="24098"/>
                      <a:pt x="99441" y="17145"/>
                      <a:pt x="86201" y="14288"/>
                    </a:cubicBezTo>
                    <a:lnTo>
                      <a:pt x="86201" y="0"/>
                    </a:lnTo>
                    <a:lnTo>
                      <a:pt x="59531" y="0"/>
                    </a:lnTo>
                    <a:lnTo>
                      <a:pt x="59531" y="14288"/>
                    </a:lnTo>
                    <a:cubicBezTo>
                      <a:pt x="46291" y="17145"/>
                      <a:pt x="34576" y="24098"/>
                      <a:pt x="25813" y="33814"/>
                    </a:cubicBezTo>
                    <a:lnTo>
                      <a:pt x="13335" y="26670"/>
                    </a:lnTo>
                    <a:lnTo>
                      <a:pt x="0" y="49721"/>
                    </a:lnTo>
                    <a:lnTo>
                      <a:pt x="12382" y="56864"/>
                    </a:lnTo>
                    <a:cubicBezTo>
                      <a:pt x="10382" y="63056"/>
                      <a:pt x="9334" y="69533"/>
                      <a:pt x="9334" y="76391"/>
                    </a:cubicBezTo>
                    <a:cubicBezTo>
                      <a:pt x="9334" y="83153"/>
                      <a:pt x="10478" y="89726"/>
                      <a:pt x="12382" y="95917"/>
                    </a:cubicBezTo>
                    <a:lnTo>
                      <a:pt x="0" y="103061"/>
                    </a:lnTo>
                    <a:lnTo>
                      <a:pt x="13335" y="126111"/>
                    </a:lnTo>
                    <a:lnTo>
                      <a:pt x="25813" y="118967"/>
                    </a:lnTo>
                    <a:cubicBezTo>
                      <a:pt x="34576" y="128683"/>
                      <a:pt x="46291" y="135636"/>
                      <a:pt x="59531" y="138494"/>
                    </a:cubicBezTo>
                    <a:lnTo>
                      <a:pt x="59531" y="152781"/>
                    </a:lnTo>
                    <a:lnTo>
                      <a:pt x="86201" y="152781"/>
                    </a:lnTo>
                    <a:lnTo>
                      <a:pt x="86201" y="138494"/>
                    </a:lnTo>
                    <a:cubicBezTo>
                      <a:pt x="99441" y="135636"/>
                      <a:pt x="111157" y="128683"/>
                      <a:pt x="119920" y="118967"/>
                    </a:cubicBezTo>
                    <a:lnTo>
                      <a:pt x="132398" y="126111"/>
                    </a:lnTo>
                    <a:lnTo>
                      <a:pt x="145733" y="103061"/>
                    </a:lnTo>
                    <a:lnTo>
                      <a:pt x="133350" y="95917"/>
                    </a:lnTo>
                    <a:cubicBezTo>
                      <a:pt x="135350" y="89726"/>
                      <a:pt x="136398" y="83153"/>
                      <a:pt x="136398" y="7639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9" name="Freeform: Shape 388">
                <a:extLst>
                  <a:ext uri="{FF2B5EF4-FFF2-40B4-BE49-F238E27FC236}">
                    <a16:creationId xmlns:a16="http://schemas.microsoft.com/office/drawing/2014/main" id="{B2ED74EA-BBD9-4CF7-888F-CBF358A64067}"/>
                  </a:ext>
                </a:extLst>
              </p:cNvPr>
              <p:cNvSpPr/>
              <p:nvPr/>
            </p:nvSpPr>
            <p:spPr>
              <a:xfrm>
                <a:off x="6058502" y="3348766"/>
                <a:ext cx="306800" cy="188975"/>
              </a:xfrm>
              <a:custGeom>
                <a:avLst/>
                <a:gdLst>
                  <a:gd name="connsiteX0" fmla="*/ 0 w 306800"/>
                  <a:gd name="connsiteY0" fmla="*/ 188976 h 188975"/>
                  <a:gd name="connsiteX1" fmla="*/ 150114 w 306800"/>
                  <a:gd name="connsiteY1" fmla="*/ 38767 h 188975"/>
                  <a:gd name="connsiteX2" fmla="*/ 209074 w 306800"/>
                  <a:gd name="connsiteY2" fmla="*/ 97727 h 188975"/>
                  <a:gd name="connsiteX3" fmla="*/ 306800 w 306800"/>
                  <a:gd name="connsiteY3" fmla="*/ 0 h 188975"/>
                </a:gdLst>
                <a:ahLst/>
                <a:cxnLst>
                  <a:cxn ang="0">
                    <a:pos x="connsiteX0" y="connsiteY0"/>
                  </a:cxn>
                  <a:cxn ang="0">
                    <a:pos x="connsiteX1" y="connsiteY1"/>
                  </a:cxn>
                  <a:cxn ang="0">
                    <a:pos x="connsiteX2" y="connsiteY2"/>
                  </a:cxn>
                  <a:cxn ang="0">
                    <a:pos x="connsiteX3" y="connsiteY3"/>
                  </a:cxn>
                </a:cxnLst>
                <a:rect l="l" t="t" r="r" b="b"/>
                <a:pathLst>
                  <a:path w="306800" h="188975">
                    <a:moveTo>
                      <a:pt x="0" y="188976"/>
                    </a:moveTo>
                    <a:lnTo>
                      <a:pt x="150114" y="38767"/>
                    </a:lnTo>
                    <a:lnTo>
                      <a:pt x="209074" y="97727"/>
                    </a:lnTo>
                    <a:lnTo>
                      <a:pt x="30680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0" name="Freeform: Shape 389">
                <a:extLst>
                  <a:ext uri="{FF2B5EF4-FFF2-40B4-BE49-F238E27FC236}">
                    <a16:creationId xmlns:a16="http://schemas.microsoft.com/office/drawing/2014/main" id="{98BFC463-7FC1-423F-A16C-AFFB94E448BD}"/>
                  </a:ext>
                </a:extLst>
              </p:cNvPr>
              <p:cNvSpPr/>
              <p:nvPr/>
            </p:nvSpPr>
            <p:spPr>
              <a:xfrm>
                <a:off x="6303961" y="3344956"/>
                <a:ext cx="66293" cy="66865"/>
              </a:xfrm>
              <a:custGeom>
                <a:avLst/>
                <a:gdLst>
                  <a:gd name="connsiteX0" fmla="*/ 0 w 66293"/>
                  <a:gd name="connsiteY0" fmla="*/ 0 h 66865"/>
                  <a:gd name="connsiteX1" fmla="*/ 66294 w 66293"/>
                  <a:gd name="connsiteY1" fmla="*/ 0 h 66865"/>
                  <a:gd name="connsiteX2" fmla="*/ 66294 w 66293"/>
                  <a:gd name="connsiteY2" fmla="*/ 66866 h 66865"/>
                </a:gdLst>
                <a:ahLst/>
                <a:cxnLst>
                  <a:cxn ang="0">
                    <a:pos x="connsiteX0" y="connsiteY0"/>
                  </a:cxn>
                  <a:cxn ang="0">
                    <a:pos x="connsiteX1" y="connsiteY1"/>
                  </a:cxn>
                  <a:cxn ang="0">
                    <a:pos x="connsiteX2" y="connsiteY2"/>
                  </a:cxn>
                </a:cxnLst>
                <a:rect l="l" t="t" r="r" b="b"/>
                <a:pathLst>
                  <a:path w="66293" h="66865">
                    <a:moveTo>
                      <a:pt x="0" y="0"/>
                    </a:moveTo>
                    <a:lnTo>
                      <a:pt x="66294" y="0"/>
                    </a:lnTo>
                    <a:lnTo>
                      <a:pt x="66294" y="6686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1" name="Freeform: Shape 390">
                <a:extLst>
                  <a:ext uri="{FF2B5EF4-FFF2-40B4-BE49-F238E27FC236}">
                    <a16:creationId xmlns:a16="http://schemas.microsoft.com/office/drawing/2014/main" id="{D9F121DF-6E80-482D-ADF3-C346B8D53FBB}"/>
                  </a:ext>
                </a:extLst>
              </p:cNvPr>
              <p:cNvSpPr/>
              <p:nvPr/>
            </p:nvSpPr>
            <p:spPr>
              <a:xfrm>
                <a:off x="6064407" y="3584224"/>
                <a:ext cx="9525" cy="41910"/>
              </a:xfrm>
              <a:custGeom>
                <a:avLst/>
                <a:gdLst>
                  <a:gd name="connsiteX0" fmla="*/ 0 w 9525"/>
                  <a:gd name="connsiteY0" fmla="*/ 0 h 41910"/>
                  <a:gd name="connsiteX1" fmla="*/ 0 w 9525"/>
                  <a:gd name="connsiteY1" fmla="*/ 41910 h 41910"/>
                </a:gdLst>
                <a:ahLst/>
                <a:cxnLst>
                  <a:cxn ang="0">
                    <a:pos x="connsiteX0" y="connsiteY0"/>
                  </a:cxn>
                  <a:cxn ang="0">
                    <a:pos x="connsiteX1" y="connsiteY1"/>
                  </a:cxn>
                </a:cxnLst>
                <a:rect l="l" t="t" r="r" b="b"/>
                <a:pathLst>
                  <a:path w="9525" h="41910">
                    <a:moveTo>
                      <a:pt x="0" y="0"/>
                    </a:moveTo>
                    <a:lnTo>
                      <a:pt x="0" y="4191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2" name="Freeform: Shape 391">
                <a:extLst>
                  <a:ext uri="{FF2B5EF4-FFF2-40B4-BE49-F238E27FC236}">
                    <a16:creationId xmlns:a16="http://schemas.microsoft.com/office/drawing/2014/main" id="{B9B008A4-08BA-4363-BA87-F1BDD72C1E7C}"/>
                  </a:ext>
                </a:extLst>
              </p:cNvPr>
              <p:cNvSpPr/>
              <p:nvPr/>
            </p:nvSpPr>
            <p:spPr>
              <a:xfrm>
                <a:off x="6104412" y="3542219"/>
                <a:ext cx="9525" cy="83915"/>
              </a:xfrm>
              <a:custGeom>
                <a:avLst/>
                <a:gdLst>
                  <a:gd name="connsiteX0" fmla="*/ 0 w 9525"/>
                  <a:gd name="connsiteY0" fmla="*/ 0 h 83915"/>
                  <a:gd name="connsiteX1" fmla="*/ 0 w 9525"/>
                  <a:gd name="connsiteY1" fmla="*/ 83915 h 83915"/>
                </a:gdLst>
                <a:ahLst/>
                <a:cxnLst>
                  <a:cxn ang="0">
                    <a:pos x="connsiteX0" y="connsiteY0"/>
                  </a:cxn>
                  <a:cxn ang="0">
                    <a:pos x="connsiteX1" y="connsiteY1"/>
                  </a:cxn>
                </a:cxnLst>
                <a:rect l="l" t="t" r="r" b="b"/>
                <a:pathLst>
                  <a:path w="9525" h="83915">
                    <a:moveTo>
                      <a:pt x="0" y="0"/>
                    </a:moveTo>
                    <a:lnTo>
                      <a:pt x="0" y="8391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3" name="Freeform: Shape 392">
                <a:extLst>
                  <a:ext uri="{FF2B5EF4-FFF2-40B4-BE49-F238E27FC236}">
                    <a16:creationId xmlns:a16="http://schemas.microsoft.com/office/drawing/2014/main" id="{1A72A893-E8F0-4B42-A991-2D4397F55A8D}"/>
                  </a:ext>
                </a:extLst>
              </p:cNvPr>
              <p:cNvSpPr/>
              <p:nvPr/>
            </p:nvSpPr>
            <p:spPr>
              <a:xfrm>
                <a:off x="6149180" y="3500595"/>
                <a:ext cx="9525" cy="125539"/>
              </a:xfrm>
              <a:custGeom>
                <a:avLst/>
                <a:gdLst>
                  <a:gd name="connsiteX0" fmla="*/ 0 w 9525"/>
                  <a:gd name="connsiteY0" fmla="*/ 0 h 125539"/>
                  <a:gd name="connsiteX1" fmla="*/ 0 w 9525"/>
                  <a:gd name="connsiteY1" fmla="*/ 125540 h 125539"/>
                </a:gdLst>
                <a:ahLst/>
                <a:cxnLst>
                  <a:cxn ang="0">
                    <a:pos x="connsiteX0" y="connsiteY0"/>
                  </a:cxn>
                  <a:cxn ang="0">
                    <a:pos x="connsiteX1" y="connsiteY1"/>
                  </a:cxn>
                </a:cxnLst>
                <a:rect l="l" t="t" r="r" b="b"/>
                <a:pathLst>
                  <a:path w="9525" h="125539">
                    <a:moveTo>
                      <a:pt x="0" y="0"/>
                    </a:moveTo>
                    <a:lnTo>
                      <a:pt x="0" y="12554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4" name="Freeform: Shape 393">
                <a:extLst>
                  <a:ext uri="{FF2B5EF4-FFF2-40B4-BE49-F238E27FC236}">
                    <a16:creationId xmlns:a16="http://schemas.microsoft.com/office/drawing/2014/main" id="{BB702199-4EB9-49BE-B518-C668439E29B7}"/>
                  </a:ext>
                </a:extLst>
              </p:cNvPr>
              <p:cNvSpPr/>
              <p:nvPr/>
            </p:nvSpPr>
            <p:spPr>
              <a:xfrm>
                <a:off x="6186708" y="3462876"/>
                <a:ext cx="9525" cy="163258"/>
              </a:xfrm>
              <a:custGeom>
                <a:avLst/>
                <a:gdLst>
                  <a:gd name="connsiteX0" fmla="*/ 0 w 9525"/>
                  <a:gd name="connsiteY0" fmla="*/ 0 h 163258"/>
                  <a:gd name="connsiteX1" fmla="*/ 0 w 9525"/>
                  <a:gd name="connsiteY1" fmla="*/ 163259 h 163258"/>
                </a:gdLst>
                <a:ahLst/>
                <a:cxnLst>
                  <a:cxn ang="0">
                    <a:pos x="connsiteX0" y="connsiteY0"/>
                  </a:cxn>
                  <a:cxn ang="0">
                    <a:pos x="connsiteX1" y="connsiteY1"/>
                  </a:cxn>
                </a:cxnLst>
                <a:rect l="l" t="t" r="r" b="b"/>
                <a:pathLst>
                  <a:path w="9525" h="163258">
                    <a:moveTo>
                      <a:pt x="0" y="0"/>
                    </a:moveTo>
                    <a:lnTo>
                      <a:pt x="0" y="163259"/>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5" name="Freeform: Shape 394">
                <a:extLst>
                  <a:ext uri="{FF2B5EF4-FFF2-40B4-BE49-F238E27FC236}">
                    <a16:creationId xmlns:a16="http://schemas.microsoft.com/office/drawing/2014/main" id="{70049961-F974-4FC1-8C80-549EB9C78F53}"/>
                  </a:ext>
                </a:extLst>
              </p:cNvPr>
              <p:cNvSpPr/>
              <p:nvPr/>
            </p:nvSpPr>
            <p:spPr>
              <a:xfrm>
                <a:off x="6224808" y="3457542"/>
                <a:ext cx="9525" cy="37052"/>
              </a:xfrm>
              <a:custGeom>
                <a:avLst/>
                <a:gdLst>
                  <a:gd name="connsiteX0" fmla="*/ 0 w 9525"/>
                  <a:gd name="connsiteY0" fmla="*/ 0 h 37052"/>
                  <a:gd name="connsiteX1" fmla="*/ 0 w 9525"/>
                  <a:gd name="connsiteY1" fmla="*/ 37052 h 37052"/>
                </a:gdLst>
                <a:ahLst/>
                <a:cxnLst>
                  <a:cxn ang="0">
                    <a:pos x="connsiteX0" y="connsiteY0"/>
                  </a:cxn>
                  <a:cxn ang="0">
                    <a:pos x="connsiteX1" y="connsiteY1"/>
                  </a:cxn>
                </a:cxnLst>
                <a:rect l="l" t="t" r="r" b="b"/>
                <a:pathLst>
                  <a:path w="9525" h="37052">
                    <a:moveTo>
                      <a:pt x="0" y="0"/>
                    </a:moveTo>
                    <a:lnTo>
                      <a:pt x="0" y="3705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6" name="Freeform: Shape 395">
                <a:extLst>
                  <a:ext uri="{FF2B5EF4-FFF2-40B4-BE49-F238E27FC236}">
                    <a16:creationId xmlns:a16="http://schemas.microsoft.com/office/drawing/2014/main" id="{1DEE2700-8ADC-485A-8DD4-5EC724332D79}"/>
                  </a:ext>
                </a:extLst>
              </p:cNvPr>
              <p:cNvSpPr/>
              <p:nvPr/>
            </p:nvSpPr>
            <p:spPr>
              <a:xfrm>
                <a:off x="6267766" y="3470972"/>
                <a:ext cx="9525" cy="23621"/>
              </a:xfrm>
              <a:custGeom>
                <a:avLst/>
                <a:gdLst>
                  <a:gd name="connsiteX0" fmla="*/ 0 w 9525"/>
                  <a:gd name="connsiteY0" fmla="*/ 0 h 23621"/>
                  <a:gd name="connsiteX1" fmla="*/ 0 w 9525"/>
                  <a:gd name="connsiteY1" fmla="*/ 23622 h 23621"/>
                </a:gdLst>
                <a:ahLst/>
                <a:cxnLst>
                  <a:cxn ang="0">
                    <a:pos x="connsiteX0" y="connsiteY0"/>
                  </a:cxn>
                  <a:cxn ang="0">
                    <a:pos x="connsiteX1" y="connsiteY1"/>
                  </a:cxn>
                </a:cxnLst>
                <a:rect l="l" t="t" r="r" b="b"/>
                <a:pathLst>
                  <a:path w="9525" h="23621">
                    <a:moveTo>
                      <a:pt x="0" y="0"/>
                    </a:moveTo>
                    <a:lnTo>
                      <a:pt x="0" y="23622"/>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7" name="Freeform: Shape 396">
                <a:extLst>
                  <a:ext uri="{FF2B5EF4-FFF2-40B4-BE49-F238E27FC236}">
                    <a16:creationId xmlns:a16="http://schemas.microsoft.com/office/drawing/2014/main" id="{D6860060-B6D1-4378-ABA3-851B245B33B3}"/>
                  </a:ext>
                </a:extLst>
              </p:cNvPr>
              <p:cNvSpPr/>
              <p:nvPr/>
            </p:nvSpPr>
            <p:spPr>
              <a:xfrm>
                <a:off x="6310914" y="3457542"/>
                <a:ext cx="9525" cy="18954"/>
              </a:xfrm>
              <a:custGeom>
                <a:avLst/>
                <a:gdLst>
                  <a:gd name="connsiteX0" fmla="*/ 0 w 9525"/>
                  <a:gd name="connsiteY0" fmla="*/ 0 h 18954"/>
                  <a:gd name="connsiteX1" fmla="*/ 0 w 9525"/>
                  <a:gd name="connsiteY1" fmla="*/ 18955 h 18954"/>
                </a:gdLst>
                <a:ahLst/>
                <a:cxnLst>
                  <a:cxn ang="0">
                    <a:pos x="connsiteX0" y="connsiteY0"/>
                  </a:cxn>
                  <a:cxn ang="0">
                    <a:pos x="connsiteX1" y="connsiteY1"/>
                  </a:cxn>
                </a:cxnLst>
                <a:rect l="l" t="t" r="r" b="b"/>
                <a:pathLst>
                  <a:path w="9525" h="18954">
                    <a:moveTo>
                      <a:pt x="0" y="0"/>
                    </a:moveTo>
                    <a:lnTo>
                      <a:pt x="0" y="1895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8" name="Freeform: Shape 397">
                <a:extLst>
                  <a:ext uri="{FF2B5EF4-FFF2-40B4-BE49-F238E27FC236}">
                    <a16:creationId xmlns:a16="http://schemas.microsoft.com/office/drawing/2014/main" id="{4C447326-3DDB-45D1-BB15-D8F01AA4B669}"/>
                  </a:ext>
                </a:extLst>
              </p:cNvPr>
              <p:cNvSpPr/>
              <p:nvPr/>
            </p:nvSpPr>
            <p:spPr>
              <a:xfrm>
                <a:off x="6349014" y="3437920"/>
                <a:ext cx="9525" cy="45624"/>
              </a:xfrm>
              <a:custGeom>
                <a:avLst/>
                <a:gdLst>
                  <a:gd name="connsiteX0" fmla="*/ 0 w 9525"/>
                  <a:gd name="connsiteY0" fmla="*/ 0 h 45624"/>
                  <a:gd name="connsiteX1" fmla="*/ 0 w 9525"/>
                  <a:gd name="connsiteY1" fmla="*/ 45625 h 45624"/>
                </a:gdLst>
                <a:ahLst/>
                <a:cxnLst>
                  <a:cxn ang="0">
                    <a:pos x="connsiteX0" y="connsiteY0"/>
                  </a:cxn>
                  <a:cxn ang="0">
                    <a:pos x="connsiteX1" y="connsiteY1"/>
                  </a:cxn>
                </a:cxnLst>
                <a:rect l="l" t="t" r="r" b="b"/>
                <a:pathLst>
                  <a:path w="9525" h="45624">
                    <a:moveTo>
                      <a:pt x="0" y="0"/>
                    </a:moveTo>
                    <a:lnTo>
                      <a:pt x="0" y="45625"/>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399" name="Graphic 42">
              <a:extLst>
                <a:ext uri="{FF2B5EF4-FFF2-40B4-BE49-F238E27FC236}">
                  <a16:creationId xmlns:a16="http://schemas.microsoft.com/office/drawing/2014/main" id="{0A1CA319-BAD9-46BB-A19D-73150E43443B}"/>
                </a:ext>
                <a:ext uri="{C183D7F6-B498-43B3-948B-1728B52AA6E4}">
                  <adec:decorative xmlns:adec="http://schemas.microsoft.com/office/drawing/2017/decorative" val="1"/>
                </a:ext>
              </a:extLst>
            </p:cNvPr>
            <p:cNvGrpSpPr/>
            <p:nvPr/>
          </p:nvGrpSpPr>
          <p:grpSpPr>
            <a:xfrm>
              <a:off x="6252211" y="2763954"/>
              <a:ext cx="240564" cy="279162"/>
              <a:chOff x="5565964" y="2740119"/>
              <a:chExt cx="1303810" cy="1512998"/>
            </a:xfrm>
            <a:noFill/>
          </p:grpSpPr>
          <p:sp>
            <p:nvSpPr>
              <p:cNvPr id="400" name="Freeform: Shape 399">
                <a:extLst>
                  <a:ext uri="{FF2B5EF4-FFF2-40B4-BE49-F238E27FC236}">
                    <a16:creationId xmlns:a16="http://schemas.microsoft.com/office/drawing/2014/main" id="{5ACBA3E9-9B99-40A6-B040-5E0DFB30A1EF}"/>
                  </a:ext>
                </a:extLst>
              </p:cNvPr>
              <p:cNvSpPr/>
              <p:nvPr/>
            </p:nvSpPr>
            <p:spPr>
              <a:xfrm>
                <a:off x="5950237" y="3351397"/>
                <a:ext cx="919538" cy="901721"/>
              </a:xfrm>
              <a:custGeom>
                <a:avLst/>
                <a:gdLst>
                  <a:gd name="connsiteX0" fmla="*/ 799780 w 919538"/>
                  <a:gd name="connsiteY0" fmla="*/ 751179 h 901721"/>
                  <a:gd name="connsiteX1" fmla="*/ 771586 w 919538"/>
                  <a:gd name="connsiteY1" fmla="*/ 117766 h 901721"/>
                  <a:gd name="connsiteX2" fmla="*/ 121981 w 919538"/>
                  <a:gd name="connsiteY2" fmla="*/ 145579 h 901721"/>
                  <a:gd name="connsiteX3" fmla="*/ 150175 w 919538"/>
                  <a:gd name="connsiteY3" fmla="*/ 784612 h 901721"/>
                  <a:gd name="connsiteX4" fmla="*/ 799780 w 919538"/>
                  <a:gd name="connsiteY4" fmla="*/ 751179 h 901721"/>
                  <a:gd name="connsiteX5" fmla="*/ 799780 w 919538"/>
                  <a:gd name="connsiteY5" fmla="*/ 751179 h 901721"/>
                  <a:gd name="connsiteX6" fmla="*/ 799780 w 919538"/>
                  <a:gd name="connsiteY6" fmla="*/ 751179 h 901721"/>
                  <a:gd name="connsiteX7" fmla="*/ 799780 w 919538"/>
                  <a:gd name="connsiteY7" fmla="*/ 751179 h 9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538" h="901721">
                    <a:moveTo>
                      <a:pt x="799780" y="751179"/>
                    </a:moveTo>
                    <a:cubicBezTo>
                      <a:pt x="969230" y="567823"/>
                      <a:pt x="957991" y="284454"/>
                      <a:pt x="771586" y="117766"/>
                    </a:cubicBezTo>
                    <a:cubicBezTo>
                      <a:pt x="585182" y="-48921"/>
                      <a:pt x="291431" y="-37777"/>
                      <a:pt x="121981" y="145579"/>
                    </a:cubicBezTo>
                    <a:cubicBezTo>
                      <a:pt x="-53088" y="328936"/>
                      <a:pt x="-36229" y="617924"/>
                      <a:pt x="150175" y="784612"/>
                    </a:cubicBezTo>
                    <a:cubicBezTo>
                      <a:pt x="336580" y="951204"/>
                      <a:pt x="624616" y="940060"/>
                      <a:pt x="799780" y="751179"/>
                    </a:cubicBezTo>
                    <a:lnTo>
                      <a:pt x="799780" y="751179"/>
                    </a:lnTo>
                    <a:lnTo>
                      <a:pt x="799780" y="751179"/>
                    </a:lnTo>
                    <a:lnTo>
                      <a:pt x="799780" y="751179"/>
                    </a:ln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1" name="Freeform: Shape 400">
                <a:extLst>
                  <a:ext uri="{FF2B5EF4-FFF2-40B4-BE49-F238E27FC236}">
                    <a16:creationId xmlns:a16="http://schemas.microsoft.com/office/drawing/2014/main" id="{38D6FB2D-45D3-46C4-98EE-9B7A5C08C0E1}"/>
                  </a:ext>
                </a:extLst>
              </p:cNvPr>
              <p:cNvSpPr/>
              <p:nvPr/>
            </p:nvSpPr>
            <p:spPr>
              <a:xfrm>
                <a:off x="5565964" y="2740119"/>
                <a:ext cx="991171" cy="1393983"/>
              </a:xfrm>
              <a:custGeom>
                <a:avLst/>
                <a:gdLst>
                  <a:gd name="connsiteX0" fmla="*/ 405479 w 991171"/>
                  <a:gd name="connsiteY0" fmla="*/ 1393984 h 1393983"/>
                  <a:gd name="connsiteX1" fmla="*/ 0 w 991171"/>
                  <a:gd name="connsiteY1" fmla="*/ 1393984 h 1393983"/>
                  <a:gd name="connsiteX2" fmla="*/ 0 w 991171"/>
                  <a:gd name="connsiteY2" fmla="*/ 0 h 1393983"/>
                  <a:gd name="connsiteX3" fmla="*/ 991172 w 991171"/>
                  <a:gd name="connsiteY3" fmla="*/ 762 h 1393983"/>
                  <a:gd name="connsiteX4" fmla="*/ 991172 w 991171"/>
                  <a:gd name="connsiteY4" fmla="*/ 533114 h 139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71" h="1393983">
                    <a:moveTo>
                      <a:pt x="405479" y="1393984"/>
                    </a:moveTo>
                    <a:cubicBezTo>
                      <a:pt x="0" y="1393984"/>
                      <a:pt x="0" y="1393984"/>
                      <a:pt x="0" y="1393984"/>
                    </a:cubicBezTo>
                    <a:lnTo>
                      <a:pt x="0" y="0"/>
                    </a:lnTo>
                    <a:lnTo>
                      <a:pt x="991172" y="762"/>
                    </a:lnTo>
                    <a:cubicBezTo>
                      <a:pt x="991172" y="533114"/>
                      <a:pt x="991172" y="533114"/>
                      <a:pt x="991172" y="533114"/>
                    </a:cubicBez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2" name="Freeform: Shape 401">
                <a:extLst>
                  <a:ext uri="{FF2B5EF4-FFF2-40B4-BE49-F238E27FC236}">
                    <a16:creationId xmlns:a16="http://schemas.microsoft.com/office/drawing/2014/main" id="{10C8EF3B-DEAE-456F-904E-C9BCE5B9CCF4}"/>
                  </a:ext>
                </a:extLst>
              </p:cNvPr>
              <p:cNvSpPr/>
              <p:nvPr/>
            </p:nvSpPr>
            <p:spPr>
              <a:xfrm>
                <a:off x="6143751" y="3674712"/>
                <a:ext cx="518731" cy="323659"/>
              </a:xfrm>
              <a:custGeom>
                <a:avLst/>
                <a:gdLst>
                  <a:gd name="connsiteX0" fmla="*/ 0 w 518731"/>
                  <a:gd name="connsiteY0" fmla="*/ 145828 h 323659"/>
                  <a:gd name="connsiteX1" fmla="*/ 150304 w 518731"/>
                  <a:gd name="connsiteY1" fmla="*/ 323660 h 323659"/>
                  <a:gd name="connsiteX2" fmla="*/ 518732 w 518731"/>
                  <a:gd name="connsiteY2" fmla="*/ 0 h 323659"/>
                </a:gdLst>
                <a:ahLst/>
                <a:cxnLst>
                  <a:cxn ang="0">
                    <a:pos x="connsiteX0" y="connsiteY0"/>
                  </a:cxn>
                  <a:cxn ang="0">
                    <a:pos x="connsiteX1" y="connsiteY1"/>
                  </a:cxn>
                  <a:cxn ang="0">
                    <a:pos x="connsiteX2" y="connsiteY2"/>
                  </a:cxn>
                </a:cxnLst>
                <a:rect l="l" t="t" r="r" b="b"/>
                <a:pathLst>
                  <a:path w="518731" h="323659">
                    <a:moveTo>
                      <a:pt x="0" y="145828"/>
                    </a:moveTo>
                    <a:lnTo>
                      <a:pt x="150304" y="323660"/>
                    </a:lnTo>
                    <a:lnTo>
                      <a:pt x="518732" y="0"/>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3" name="Freeform: Shape 402">
                <a:extLst>
                  <a:ext uri="{FF2B5EF4-FFF2-40B4-BE49-F238E27FC236}">
                    <a16:creationId xmlns:a16="http://schemas.microsoft.com/office/drawing/2014/main" id="{5108C8EF-C270-4563-A854-E46AB58459FA}"/>
                  </a:ext>
                </a:extLst>
              </p:cNvPr>
              <p:cNvSpPr/>
              <p:nvPr/>
            </p:nvSpPr>
            <p:spPr>
              <a:xfrm>
                <a:off x="5641688" y="2844513"/>
                <a:ext cx="811339" cy="1101185"/>
              </a:xfrm>
              <a:custGeom>
                <a:avLst/>
                <a:gdLst>
                  <a:gd name="connsiteX0" fmla="*/ 166402 w 811339"/>
                  <a:gd name="connsiteY0" fmla="*/ 0 h 1101185"/>
                  <a:gd name="connsiteX1" fmla="*/ 645033 w 811339"/>
                  <a:gd name="connsiteY1" fmla="*/ 0 h 1101185"/>
                  <a:gd name="connsiteX2" fmla="*/ 0 w 811339"/>
                  <a:gd name="connsiteY2" fmla="*/ 183547 h 1101185"/>
                  <a:gd name="connsiteX3" fmla="*/ 811340 w 811339"/>
                  <a:gd name="connsiteY3" fmla="*/ 183547 h 1101185"/>
                  <a:gd name="connsiteX4" fmla="*/ 0 w 811339"/>
                  <a:gd name="connsiteY4" fmla="*/ 367093 h 1101185"/>
                  <a:gd name="connsiteX5" fmla="*/ 811340 w 811339"/>
                  <a:gd name="connsiteY5" fmla="*/ 367093 h 1101185"/>
                  <a:gd name="connsiteX6" fmla="*/ 0 w 811339"/>
                  <a:gd name="connsiteY6" fmla="*/ 550640 h 1101185"/>
                  <a:gd name="connsiteX7" fmla="*/ 459581 w 811339"/>
                  <a:gd name="connsiteY7" fmla="*/ 550640 h 1101185"/>
                  <a:gd name="connsiteX8" fmla="*/ 0 w 811339"/>
                  <a:gd name="connsiteY8" fmla="*/ 734187 h 1101185"/>
                  <a:gd name="connsiteX9" fmla="*/ 316135 w 811339"/>
                  <a:gd name="connsiteY9" fmla="*/ 734187 h 1101185"/>
                  <a:gd name="connsiteX10" fmla="*/ 0 w 811339"/>
                  <a:gd name="connsiteY10" fmla="*/ 917639 h 1101185"/>
                  <a:gd name="connsiteX11" fmla="*/ 275177 w 811339"/>
                  <a:gd name="connsiteY11" fmla="*/ 917639 h 1101185"/>
                  <a:gd name="connsiteX12" fmla="*/ 0 w 811339"/>
                  <a:gd name="connsiteY12" fmla="*/ 1101185 h 1101185"/>
                  <a:gd name="connsiteX13" fmla="*/ 275177 w 811339"/>
                  <a:gd name="connsiteY13" fmla="*/ 1101185 h 110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1339" h="1101185">
                    <a:moveTo>
                      <a:pt x="166402" y="0"/>
                    </a:moveTo>
                    <a:lnTo>
                      <a:pt x="645033" y="0"/>
                    </a:lnTo>
                    <a:moveTo>
                      <a:pt x="0" y="183547"/>
                    </a:moveTo>
                    <a:lnTo>
                      <a:pt x="811340" y="183547"/>
                    </a:lnTo>
                    <a:moveTo>
                      <a:pt x="0" y="367093"/>
                    </a:moveTo>
                    <a:lnTo>
                      <a:pt x="811340" y="367093"/>
                    </a:lnTo>
                    <a:moveTo>
                      <a:pt x="0" y="550640"/>
                    </a:moveTo>
                    <a:lnTo>
                      <a:pt x="459581" y="550640"/>
                    </a:lnTo>
                    <a:moveTo>
                      <a:pt x="0" y="734187"/>
                    </a:moveTo>
                    <a:lnTo>
                      <a:pt x="316135" y="734187"/>
                    </a:lnTo>
                    <a:moveTo>
                      <a:pt x="0" y="917639"/>
                    </a:moveTo>
                    <a:lnTo>
                      <a:pt x="275177" y="917639"/>
                    </a:lnTo>
                    <a:moveTo>
                      <a:pt x="0" y="1101185"/>
                    </a:moveTo>
                    <a:lnTo>
                      <a:pt x="275177" y="1101185"/>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04" name="Graphic 81">
              <a:extLst>
                <a:ext uri="{FF2B5EF4-FFF2-40B4-BE49-F238E27FC236}">
                  <a16:creationId xmlns:a16="http://schemas.microsoft.com/office/drawing/2014/main" id="{085FC806-48E6-4EAE-A9A9-3D0FE7E5B8FE}"/>
                </a:ext>
                <a:ext uri="{C183D7F6-B498-43B3-948B-1728B52AA6E4}">
                  <adec:decorative xmlns:adec="http://schemas.microsoft.com/office/drawing/2017/decorative" val="1"/>
                </a:ext>
              </a:extLst>
            </p:cNvPr>
            <p:cNvGrpSpPr/>
            <p:nvPr/>
          </p:nvGrpSpPr>
          <p:grpSpPr>
            <a:xfrm>
              <a:off x="5683217" y="2353532"/>
              <a:ext cx="338862" cy="358584"/>
              <a:chOff x="5889651" y="3149733"/>
              <a:chExt cx="661095" cy="699572"/>
            </a:xfrm>
          </p:grpSpPr>
          <p:sp>
            <p:nvSpPr>
              <p:cNvPr id="405" name="Freeform: Shape 404">
                <a:extLst>
                  <a:ext uri="{FF2B5EF4-FFF2-40B4-BE49-F238E27FC236}">
                    <a16:creationId xmlns:a16="http://schemas.microsoft.com/office/drawing/2014/main" id="{F06C42E0-9A43-43A4-A126-814F30B00E35}"/>
                  </a:ext>
                </a:extLst>
              </p:cNvPr>
              <p:cNvSpPr/>
              <p:nvPr/>
            </p:nvSpPr>
            <p:spPr>
              <a:xfrm>
                <a:off x="6079362" y="3227323"/>
                <a:ext cx="283464" cy="49339"/>
              </a:xfrm>
              <a:custGeom>
                <a:avLst/>
                <a:gdLst>
                  <a:gd name="connsiteX0" fmla="*/ 0 w 283464"/>
                  <a:gd name="connsiteY0" fmla="*/ 23622 h 49339"/>
                  <a:gd name="connsiteX1" fmla="*/ 117443 w 283464"/>
                  <a:gd name="connsiteY1" fmla="*/ 0 h 49339"/>
                  <a:gd name="connsiteX2" fmla="*/ 283464 w 283464"/>
                  <a:gd name="connsiteY2" fmla="*/ 49340 h 49339"/>
                </a:gdLst>
                <a:ahLst/>
                <a:cxnLst>
                  <a:cxn ang="0">
                    <a:pos x="connsiteX0" y="connsiteY0"/>
                  </a:cxn>
                  <a:cxn ang="0">
                    <a:pos x="connsiteX1" y="connsiteY1"/>
                  </a:cxn>
                  <a:cxn ang="0">
                    <a:pos x="connsiteX2" y="connsiteY2"/>
                  </a:cxn>
                </a:cxnLst>
                <a:rect l="l" t="t" r="r" b="b"/>
                <a:pathLst>
                  <a:path w="283464" h="49339">
                    <a:moveTo>
                      <a:pt x="0" y="23622"/>
                    </a:moveTo>
                    <a:cubicBezTo>
                      <a:pt x="36100" y="8477"/>
                      <a:pt x="75819" y="0"/>
                      <a:pt x="117443" y="0"/>
                    </a:cubicBezTo>
                    <a:cubicBezTo>
                      <a:pt x="178689" y="0"/>
                      <a:pt x="235649" y="18098"/>
                      <a:pt x="283464" y="4934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6" name="Freeform: Shape 405">
                <a:extLst>
                  <a:ext uri="{FF2B5EF4-FFF2-40B4-BE49-F238E27FC236}">
                    <a16:creationId xmlns:a16="http://schemas.microsoft.com/office/drawing/2014/main" id="{399BB92A-C91A-448A-9610-EF9091E0CFE5}"/>
                  </a:ext>
                </a:extLst>
              </p:cNvPr>
              <p:cNvSpPr/>
              <p:nvPr/>
            </p:nvSpPr>
            <p:spPr>
              <a:xfrm>
                <a:off x="5889719" y="3345052"/>
                <a:ext cx="614267" cy="504253"/>
              </a:xfrm>
              <a:custGeom>
                <a:avLst/>
                <a:gdLst>
                  <a:gd name="connsiteX0" fmla="*/ 575596 w 614267"/>
                  <a:gd name="connsiteY0" fmla="*/ 42481 h 504253"/>
                  <a:gd name="connsiteX1" fmla="*/ 614267 w 614267"/>
                  <a:gd name="connsiteY1" fmla="*/ 194215 h 504253"/>
                  <a:gd name="connsiteX2" fmla="*/ 307181 w 614267"/>
                  <a:gd name="connsiteY2" fmla="*/ 504254 h 504253"/>
                  <a:gd name="connsiteX3" fmla="*/ 0 w 614267"/>
                  <a:gd name="connsiteY3" fmla="*/ 194215 h 504253"/>
                  <a:gd name="connsiteX4" fmla="*/ 0 w 614267"/>
                  <a:gd name="connsiteY4" fmla="*/ 194215 h 504253"/>
                  <a:gd name="connsiteX5" fmla="*/ 66580 w 614267"/>
                  <a:gd name="connsiteY5" fmla="*/ 0 h 5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67" h="504253">
                    <a:moveTo>
                      <a:pt x="575596" y="42481"/>
                    </a:moveTo>
                    <a:cubicBezTo>
                      <a:pt x="600266" y="87440"/>
                      <a:pt x="614267" y="139160"/>
                      <a:pt x="614267" y="194215"/>
                    </a:cubicBezTo>
                    <a:cubicBezTo>
                      <a:pt x="614267" y="364141"/>
                      <a:pt x="477393" y="504254"/>
                      <a:pt x="307181" y="504254"/>
                    </a:cubicBezTo>
                    <a:cubicBezTo>
                      <a:pt x="136970" y="504254"/>
                      <a:pt x="0" y="364141"/>
                      <a:pt x="0" y="194215"/>
                    </a:cubicBezTo>
                    <a:lnTo>
                      <a:pt x="0" y="194215"/>
                    </a:lnTo>
                    <a:cubicBezTo>
                      <a:pt x="0" y="121348"/>
                      <a:pt x="24098" y="54102"/>
                      <a:pt x="6658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7" name="Freeform: Shape 406">
                <a:extLst>
                  <a:ext uri="{FF2B5EF4-FFF2-40B4-BE49-F238E27FC236}">
                    <a16:creationId xmlns:a16="http://schemas.microsoft.com/office/drawing/2014/main" id="{8BC525BB-B847-45DB-BE18-D558E7E88124}"/>
                  </a:ext>
                </a:extLst>
              </p:cNvPr>
              <p:cNvSpPr/>
              <p:nvPr/>
            </p:nvSpPr>
            <p:spPr>
              <a:xfrm>
                <a:off x="5948965" y="3354387"/>
                <a:ext cx="60102" cy="9525"/>
              </a:xfrm>
              <a:custGeom>
                <a:avLst/>
                <a:gdLst>
                  <a:gd name="connsiteX0" fmla="*/ 60103 w 60102"/>
                  <a:gd name="connsiteY0" fmla="*/ 0 h 9525"/>
                  <a:gd name="connsiteX1" fmla="*/ 0 w 60102"/>
                  <a:gd name="connsiteY1" fmla="*/ 0 h 9525"/>
                </a:gdLst>
                <a:ahLst/>
                <a:cxnLst>
                  <a:cxn ang="0">
                    <a:pos x="connsiteX0" y="connsiteY0"/>
                  </a:cxn>
                  <a:cxn ang="0">
                    <a:pos x="connsiteX1" y="connsiteY1"/>
                  </a:cxn>
                </a:cxnLst>
                <a:rect l="l" t="t" r="r" b="b"/>
                <a:pathLst>
                  <a:path w="60102" h="9525">
                    <a:moveTo>
                      <a:pt x="60103" y="0"/>
                    </a:move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8" name="Freeform: Shape 407">
                <a:extLst>
                  <a:ext uri="{FF2B5EF4-FFF2-40B4-BE49-F238E27FC236}">
                    <a16:creationId xmlns:a16="http://schemas.microsoft.com/office/drawing/2014/main" id="{11E34BB1-ECA7-47C6-B23A-4CE44FCD1A2B}"/>
                  </a:ext>
                </a:extLst>
              </p:cNvPr>
              <p:cNvSpPr/>
              <p:nvPr/>
            </p:nvSpPr>
            <p:spPr>
              <a:xfrm>
                <a:off x="5928676" y="3315048"/>
                <a:ext cx="229266" cy="498729"/>
              </a:xfrm>
              <a:custGeom>
                <a:avLst/>
                <a:gdLst>
                  <a:gd name="connsiteX0" fmla="*/ 125730 w 229266"/>
                  <a:gd name="connsiteY0" fmla="*/ 498729 h 498729"/>
                  <a:gd name="connsiteX1" fmla="*/ 149828 w 229266"/>
                  <a:gd name="connsiteY1" fmla="*/ 470726 h 498729"/>
                  <a:gd name="connsiteX2" fmla="*/ 142399 w 229266"/>
                  <a:gd name="connsiteY2" fmla="*/ 420338 h 498729"/>
                  <a:gd name="connsiteX3" fmla="*/ 94298 w 229266"/>
                  <a:gd name="connsiteY3" fmla="*/ 388620 h 498729"/>
                  <a:gd name="connsiteX4" fmla="*/ 31433 w 229266"/>
                  <a:gd name="connsiteY4" fmla="*/ 388620 h 498729"/>
                  <a:gd name="connsiteX5" fmla="*/ 0 w 229266"/>
                  <a:gd name="connsiteY5" fmla="*/ 317659 h 498729"/>
                  <a:gd name="connsiteX6" fmla="*/ 31433 w 229266"/>
                  <a:gd name="connsiteY6" fmla="*/ 226124 h 498729"/>
                  <a:gd name="connsiteX7" fmla="*/ 68390 w 229266"/>
                  <a:gd name="connsiteY7" fmla="*/ 224218 h 498729"/>
                  <a:gd name="connsiteX8" fmla="*/ 109061 w 229266"/>
                  <a:gd name="connsiteY8" fmla="*/ 272796 h 498729"/>
                  <a:gd name="connsiteX9" fmla="*/ 149733 w 229266"/>
                  <a:gd name="connsiteY9" fmla="*/ 252222 h 498729"/>
                  <a:gd name="connsiteX10" fmla="*/ 133064 w 229266"/>
                  <a:gd name="connsiteY10" fmla="*/ 203644 h 498729"/>
                  <a:gd name="connsiteX11" fmla="*/ 147828 w 229266"/>
                  <a:gd name="connsiteY11" fmla="*/ 143828 h 498729"/>
                  <a:gd name="connsiteX12" fmla="*/ 229267 w 229266"/>
                  <a:gd name="connsiteY12" fmla="*/ 61627 h 498729"/>
                  <a:gd name="connsiteX13" fmla="*/ 181166 w 229266"/>
                  <a:gd name="connsiteY13" fmla="*/ 0 h 498729"/>
                  <a:gd name="connsiteX14" fmla="*/ 153067 w 229266"/>
                  <a:gd name="connsiteY14" fmla="*/ 33147 h 498729"/>
                  <a:gd name="connsiteX15" fmla="*/ 147923 w 229266"/>
                  <a:gd name="connsiteY15" fmla="*/ 39338 h 49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9266" h="498729">
                    <a:moveTo>
                      <a:pt x="125730" y="498729"/>
                    </a:moveTo>
                    <a:cubicBezTo>
                      <a:pt x="149828" y="470726"/>
                      <a:pt x="149828" y="470726"/>
                      <a:pt x="149828" y="470726"/>
                    </a:cubicBezTo>
                    <a:cubicBezTo>
                      <a:pt x="142399" y="420338"/>
                      <a:pt x="142399" y="420338"/>
                      <a:pt x="142399" y="420338"/>
                    </a:cubicBezTo>
                    <a:cubicBezTo>
                      <a:pt x="94298" y="388620"/>
                      <a:pt x="94298" y="388620"/>
                      <a:pt x="94298" y="388620"/>
                    </a:cubicBezTo>
                    <a:cubicBezTo>
                      <a:pt x="31433" y="388620"/>
                      <a:pt x="31433" y="388620"/>
                      <a:pt x="31433" y="388620"/>
                    </a:cubicBezTo>
                    <a:cubicBezTo>
                      <a:pt x="0" y="317659"/>
                      <a:pt x="0" y="317659"/>
                      <a:pt x="0" y="317659"/>
                    </a:cubicBezTo>
                    <a:cubicBezTo>
                      <a:pt x="31433" y="226124"/>
                      <a:pt x="31433" y="226124"/>
                      <a:pt x="31433" y="226124"/>
                    </a:cubicBezTo>
                    <a:cubicBezTo>
                      <a:pt x="68390" y="224218"/>
                      <a:pt x="68390" y="224218"/>
                      <a:pt x="68390" y="224218"/>
                    </a:cubicBezTo>
                    <a:cubicBezTo>
                      <a:pt x="109061" y="272796"/>
                      <a:pt x="109061" y="272796"/>
                      <a:pt x="109061" y="272796"/>
                    </a:cubicBezTo>
                    <a:cubicBezTo>
                      <a:pt x="149733" y="252222"/>
                      <a:pt x="149733" y="252222"/>
                      <a:pt x="149733" y="252222"/>
                    </a:cubicBezTo>
                    <a:cubicBezTo>
                      <a:pt x="133064" y="203644"/>
                      <a:pt x="133064" y="203644"/>
                      <a:pt x="133064" y="203644"/>
                    </a:cubicBezTo>
                    <a:cubicBezTo>
                      <a:pt x="147828" y="143828"/>
                      <a:pt x="147828" y="143828"/>
                      <a:pt x="147828" y="143828"/>
                    </a:cubicBezTo>
                    <a:cubicBezTo>
                      <a:pt x="229267" y="61627"/>
                      <a:pt x="229267" y="61627"/>
                      <a:pt x="229267" y="61627"/>
                    </a:cubicBezTo>
                    <a:cubicBezTo>
                      <a:pt x="181166" y="0"/>
                      <a:pt x="181166" y="0"/>
                      <a:pt x="181166" y="0"/>
                    </a:cubicBezTo>
                    <a:cubicBezTo>
                      <a:pt x="165830" y="18097"/>
                      <a:pt x="157544" y="27813"/>
                      <a:pt x="153067" y="33147"/>
                    </a:cubicBezTo>
                    <a:cubicBezTo>
                      <a:pt x="147923" y="39338"/>
                      <a:pt x="147923" y="39338"/>
                      <a:pt x="147923" y="3933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9" name="Freeform: Shape 408">
                <a:extLst>
                  <a:ext uri="{FF2B5EF4-FFF2-40B4-BE49-F238E27FC236}">
                    <a16:creationId xmlns:a16="http://schemas.microsoft.com/office/drawing/2014/main" id="{53DD8EF5-609C-4585-9696-24E09C4D028D}"/>
                  </a:ext>
                </a:extLst>
              </p:cNvPr>
              <p:cNvSpPr/>
              <p:nvPr/>
            </p:nvSpPr>
            <p:spPr>
              <a:xfrm>
                <a:off x="6187566" y="3272186"/>
                <a:ext cx="316420" cy="495014"/>
              </a:xfrm>
              <a:custGeom>
                <a:avLst/>
                <a:gdLst>
                  <a:gd name="connsiteX0" fmla="*/ 166592 w 316420"/>
                  <a:gd name="connsiteY0" fmla="*/ 0 h 495014"/>
                  <a:gd name="connsiteX1" fmla="*/ 48196 w 316420"/>
                  <a:gd name="connsiteY1" fmla="*/ 59817 h 495014"/>
                  <a:gd name="connsiteX2" fmla="*/ 74105 w 316420"/>
                  <a:gd name="connsiteY2" fmla="*/ 127063 h 495014"/>
                  <a:gd name="connsiteX3" fmla="*/ 136969 w 316420"/>
                  <a:gd name="connsiteY3" fmla="*/ 127063 h 495014"/>
                  <a:gd name="connsiteX4" fmla="*/ 107347 w 316420"/>
                  <a:gd name="connsiteY4" fmla="*/ 170021 h 495014"/>
                  <a:gd name="connsiteX5" fmla="*/ 48101 w 316420"/>
                  <a:gd name="connsiteY5" fmla="*/ 198025 h 495014"/>
                  <a:gd name="connsiteX6" fmla="*/ 0 w 316420"/>
                  <a:gd name="connsiteY6" fmla="*/ 268986 h 495014"/>
                  <a:gd name="connsiteX7" fmla="*/ 14764 w 316420"/>
                  <a:gd name="connsiteY7" fmla="*/ 336232 h 495014"/>
                  <a:gd name="connsiteX8" fmla="*/ 83249 w 316420"/>
                  <a:gd name="connsiteY8" fmla="*/ 375476 h 495014"/>
                  <a:gd name="connsiteX9" fmla="*/ 105442 w 316420"/>
                  <a:gd name="connsiteY9" fmla="*/ 351187 h 495014"/>
                  <a:gd name="connsiteX10" fmla="*/ 125825 w 316420"/>
                  <a:gd name="connsiteY10" fmla="*/ 411004 h 495014"/>
                  <a:gd name="connsiteX11" fmla="*/ 103632 w 316420"/>
                  <a:gd name="connsiteY11" fmla="*/ 495014 h 495014"/>
                  <a:gd name="connsiteX12" fmla="*/ 155448 w 316420"/>
                  <a:gd name="connsiteY12" fmla="*/ 470726 h 495014"/>
                  <a:gd name="connsiteX13" fmla="*/ 181356 w 316420"/>
                  <a:gd name="connsiteY13" fmla="*/ 433388 h 495014"/>
                  <a:gd name="connsiteX14" fmla="*/ 181356 w 316420"/>
                  <a:gd name="connsiteY14" fmla="*/ 268986 h 495014"/>
                  <a:gd name="connsiteX15" fmla="*/ 144399 w 316420"/>
                  <a:gd name="connsiteY15" fmla="*/ 211074 h 495014"/>
                  <a:gd name="connsiteX16" fmla="*/ 181356 w 316420"/>
                  <a:gd name="connsiteY16" fmla="*/ 186785 h 495014"/>
                  <a:gd name="connsiteX17" fmla="*/ 227648 w 316420"/>
                  <a:gd name="connsiteY17" fmla="*/ 211074 h 495014"/>
                  <a:gd name="connsiteX18" fmla="*/ 268319 w 316420"/>
                  <a:gd name="connsiteY18" fmla="*/ 272701 h 495014"/>
                  <a:gd name="connsiteX19" fmla="*/ 268319 w 316420"/>
                  <a:gd name="connsiteY19" fmla="*/ 302609 h 495014"/>
                  <a:gd name="connsiteX20" fmla="*/ 316421 w 316420"/>
                  <a:gd name="connsiteY20" fmla="*/ 29318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6420" h="495014">
                    <a:moveTo>
                      <a:pt x="166592" y="0"/>
                    </a:moveTo>
                    <a:cubicBezTo>
                      <a:pt x="48196" y="59817"/>
                      <a:pt x="48196" y="59817"/>
                      <a:pt x="48196" y="59817"/>
                    </a:cubicBezTo>
                    <a:cubicBezTo>
                      <a:pt x="74105" y="127063"/>
                      <a:pt x="74105" y="127063"/>
                      <a:pt x="74105" y="127063"/>
                    </a:cubicBezTo>
                    <a:cubicBezTo>
                      <a:pt x="136969" y="127063"/>
                      <a:pt x="136969" y="127063"/>
                      <a:pt x="136969" y="127063"/>
                    </a:cubicBezTo>
                    <a:cubicBezTo>
                      <a:pt x="107347" y="170021"/>
                      <a:pt x="107347" y="170021"/>
                      <a:pt x="107347" y="170021"/>
                    </a:cubicBezTo>
                    <a:cubicBezTo>
                      <a:pt x="48101" y="198025"/>
                      <a:pt x="48101" y="198025"/>
                      <a:pt x="48101" y="198025"/>
                    </a:cubicBezTo>
                    <a:cubicBezTo>
                      <a:pt x="0" y="268986"/>
                      <a:pt x="0" y="268986"/>
                      <a:pt x="0" y="268986"/>
                    </a:cubicBezTo>
                    <a:cubicBezTo>
                      <a:pt x="14764" y="336232"/>
                      <a:pt x="14764" y="336232"/>
                      <a:pt x="14764" y="336232"/>
                    </a:cubicBezTo>
                    <a:cubicBezTo>
                      <a:pt x="83249" y="375476"/>
                      <a:pt x="83249" y="375476"/>
                      <a:pt x="83249" y="375476"/>
                    </a:cubicBezTo>
                    <a:cubicBezTo>
                      <a:pt x="105442" y="351187"/>
                      <a:pt x="105442" y="351187"/>
                      <a:pt x="105442" y="351187"/>
                    </a:cubicBezTo>
                    <a:cubicBezTo>
                      <a:pt x="125825" y="411004"/>
                      <a:pt x="125825" y="411004"/>
                      <a:pt x="125825" y="411004"/>
                    </a:cubicBezTo>
                    <a:cubicBezTo>
                      <a:pt x="103632" y="495014"/>
                      <a:pt x="103632" y="495014"/>
                      <a:pt x="103632" y="495014"/>
                    </a:cubicBezTo>
                    <a:cubicBezTo>
                      <a:pt x="155448" y="470726"/>
                      <a:pt x="155448" y="470726"/>
                      <a:pt x="155448" y="470726"/>
                    </a:cubicBezTo>
                    <a:cubicBezTo>
                      <a:pt x="181356" y="433388"/>
                      <a:pt x="181356" y="433388"/>
                      <a:pt x="181356" y="433388"/>
                    </a:cubicBezTo>
                    <a:cubicBezTo>
                      <a:pt x="181356" y="268986"/>
                      <a:pt x="181356" y="268986"/>
                      <a:pt x="181356" y="268986"/>
                    </a:cubicBezTo>
                    <a:cubicBezTo>
                      <a:pt x="144399" y="211074"/>
                      <a:pt x="144399" y="211074"/>
                      <a:pt x="144399" y="211074"/>
                    </a:cubicBezTo>
                    <a:cubicBezTo>
                      <a:pt x="181356" y="186785"/>
                      <a:pt x="181356" y="186785"/>
                      <a:pt x="181356" y="186785"/>
                    </a:cubicBezTo>
                    <a:cubicBezTo>
                      <a:pt x="227648" y="211074"/>
                      <a:pt x="227648" y="211074"/>
                      <a:pt x="227648" y="211074"/>
                    </a:cubicBezTo>
                    <a:cubicBezTo>
                      <a:pt x="268319" y="272701"/>
                      <a:pt x="268319" y="272701"/>
                      <a:pt x="268319" y="272701"/>
                    </a:cubicBezTo>
                    <a:cubicBezTo>
                      <a:pt x="268319" y="302609"/>
                      <a:pt x="268319" y="302609"/>
                      <a:pt x="268319" y="302609"/>
                    </a:cubicBezTo>
                    <a:cubicBezTo>
                      <a:pt x="316421" y="293180"/>
                      <a:pt x="316421" y="293180"/>
                      <a:pt x="316421" y="29318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0" name="Freeform: Shape 409">
                <a:extLst>
                  <a:ext uri="{FF2B5EF4-FFF2-40B4-BE49-F238E27FC236}">
                    <a16:creationId xmlns:a16="http://schemas.microsoft.com/office/drawing/2014/main" id="{063DB7C0-2832-49F5-AB56-B3FB5F3864FF}"/>
                  </a:ext>
                </a:extLst>
              </p:cNvPr>
              <p:cNvSpPr/>
              <p:nvPr/>
            </p:nvSpPr>
            <p:spPr>
              <a:xfrm>
                <a:off x="6378704" y="3177396"/>
                <a:ext cx="172042" cy="262430"/>
              </a:xfrm>
              <a:custGeom>
                <a:avLst/>
                <a:gdLst>
                  <a:gd name="connsiteX0" fmla="*/ 143761 w 172042"/>
                  <a:gd name="connsiteY0" fmla="*/ 148987 h 262430"/>
                  <a:gd name="connsiteX1" fmla="*/ 11078 w 172042"/>
                  <a:gd name="connsiteY1" fmla="*/ 262430 h 262430"/>
                  <a:gd name="connsiteX2" fmla="*/ 219 w 172042"/>
                  <a:gd name="connsiteY2" fmla="*/ 88218 h 262430"/>
                  <a:gd name="connsiteX3" fmla="*/ 5744 w 172042"/>
                  <a:gd name="connsiteY3" fmla="*/ 52975 h 262430"/>
                  <a:gd name="connsiteX4" fmla="*/ 119282 w 172042"/>
                  <a:gd name="connsiteY4" fmla="*/ 6874 h 262430"/>
                  <a:gd name="connsiteX5" fmla="*/ 165097 w 172042"/>
                  <a:gd name="connsiteY5" fmla="*/ 120508 h 262430"/>
                  <a:gd name="connsiteX6" fmla="*/ 143761 w 172042"/>
                  <a:gd name="connsiteY6" fmla="*/ 148987 h 262430"/>
                  <a:gd name="connsiteX7" fmla="*/ 143761 w 172042"/>
                  <a:gd name="connsiteY7" fmla="*/ 148987 h 262430"/>
                  <a:gd name="connsiteX8" fmla="*/ 104232 w 172042"/>
                  <a:gd name="connsiteY8" fmla="*/ 42688 h 262430"/>
                  <a:gd name="connsiteX9" fmla="*/ 41367 w 172042"/>
                  <a:gd name="connsiteY9" fmla="*/ 68215 h 262430"/>
                  <a:gd name="connsiteX10" fmla="*/ 66704 w 172042"/>
                  <a:gd name="connsiteY10" fmla="*/ 131080 h 262430"/>
                  <a:gd name="connsiteX11" fmla="*/ 129569 w 172042"/>
                  <a:gd name="connsiteY11" fmla="*/ 105553 h 262430"/>
                  <a:gd name="connsiteX12" fmla="*/ 104232 w 172042"/>
                  <a:gd name="connsiteY12" fmla="*/ 42688 h 262430"/>
                  <a:gd name="connsiteX13" fmla="*/ 104232 w 172042"/>
                  <a:gd name="connsiteY13" fmla="*/ 42688 h 26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42" h="262430">
                    <a:moveTo>
                      <a:pt x="143761" y="148987"/>
                    </a:moveTo>
                    <a:cubicBezTo>
                      <a:pt x="11078" y="262430"/>
                      <a:pt x="11078" y="262430"/>
                      <a:pt x="11078" y="262430"/>
                    </a:cubicBezTo>
                    <a:cubicBezTo>
                      <a:pt x="219" y="88218"/>
                      <a:pt x="219" y="88218"/>
                      <a:pt x="219" y="88218"/>
                    </a:cubicBezTo>
                    <a:cubicBezTo>
                      <a:pt x="-638" y="76216"/>
                      <a:pt x="981" y="64310"/>
                      <a:pt x="5744" y="52975"/>
                    </a:cubicBezTo>
                    <a:cubicBezTo>
                      <a:pt x="24413" y="8875"/>
                      <a:pt x="75276" y="-11795"/>
                      <a:pt x="119282" y="6874"/>
                    </a:cubicBezTo>
                    <a:cubicBezTo>
                      <a:pt x="163287" y="25543"/>
                      <a:pt x="183861" y="76407"/>
                      <a:pt x="165097" y="120508"/>
                    </a:cubicBezTo>
                    <a:cubicBezTo>
                      <a:pt x="160430" y="131747"/>
                      <a:pt x="153000" y="141272"/>
                      <a:pt x="143761" y="148987"/>
                    </a:cubicBezTo>
                    <a:lnTo>
                      <a:pt x="143761" y="148987"/>
                    </a:lnTo>
                    <a:close/>
                    <a:moveTo>
                      <a:pt x="104232" y="42688"/>
                    </a:moveTo>
                    <a:cubicBezTo>
                      <a:pt x="79848" y="32401"/>
                      <a:pt x="51749" y="43831"/>
                      <a:pt x="41367" y="68215"/>
                    </a:cubicBezTo>
                    <a:cubicBezTo>
                      <a:pt x="30985" y="92599"/>
                      <a:pt x="42415" y="120793"/>
                      <a:pt x="66704" y="131080"/>
                    </a:cubicBezTo>
                    <a:cubicBezTo>
                      <a:pt x="91088" y="141367"/>
                      <a:pt x="119186" y="129937"/>
                      <a:pt x="129569" y="105553"/>
                    </a:cubicBezTo>
                    <a:cubicBezTo>
                      <a:pt x="139951" y="81169"/>
                      <a:pt x="128521" y="53071"/>
                      <a:pt x="104232" y="42688"/>
                    </a:cubicBezTo>
                    <a:lnTo>
                      <a:pt x="104232" y="4268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1" name="Freeform: Shape 410">
                <a:extLst>
                  <a:ext uri="{FF2B5EF4-FFF2-40B4-BE49-F238E27FC236}">
                    <a16:creationId xmlns:a16="http://schemas.microsoft.com/office/drawing/2014/main" id="{B1A66EB6-EDCA-4769-9305-F1DF71DE6EE8}"/>
                  </a:ext>
                </a:extLst>
              </p:cNvPr>
              <p:cNvSpPr/>
              <p:nvPr/>
            </p:nvSpPr>
            <p:spPr>
              <a:xfrm>
                <a:off x="5889651" y="3149733"/>
                <a:ext cx="193421" cy="244850"/>
              </a:xfrm>
              <a:custGeom>
                <a:avLst/>
                <a:gdLst>
                  <a:gd name="connsiteX0" fmla="*/ 170657 w 193421"/>
                  <a:gd name="connsiteY0" fmla="*/ 71781 h 244849"/>
                  <a:gd name="connsiteX1" fmla="*/ 193422 w 193421"/>
                  <a:gd name="connsiteY1" fmla="*/ 244850 h 244849"/>
                  <a:gd name="connsiteX2" fmla="*/ 41498 w 193421"/>
                  <a:gd name="connsiteY2" fmla="*/ 159030 h 244849"/>
                  <a:gd name="connsiteX3" fmla="*/ 14923 w 193421"/>
                  <a:gd name="connsiteY3" fmla="*/ 135122 h 244849"/>
                  <a:gd name="connsiteX4" fmla="*/ 38164 w 193421"/>
                  <a:gd name="connsiteY4" fmla="*/ 14821 h 244849"/>
                  <a:gd name="connsiteX5" fmla="*/ 158465 w 193421"/>
                  <a:gd name="connsiteY5" fmla="*/ 38253 h 244849"/>
                  <a:gd name="connsiteX6" fmla="*/ 170657 w 193421"/>
                  <a:gd name="connsiteY6" fmla="*/ 71781 h 244849"/>
                  <a:gd name="connsiteX7" fmla="*/ 170657 w 193421"/>
                  <a:gd name="connsiteY7" fmla="*/ 71781 h 244849"/>
                  <a:gd name="connsiteX8" fmla="*/ 59976 w 193421"/>
                  <a:gd name="connsiteY8" fmla="*/ 47111 h 244849"/>
                  <a:gd name="connsiteX9" fmla="*/ 47118 w 193421"/>
                  <a:gd name="connsiteY9" fmla="*/ 113691 h 244849"/>
                  <a:gd name="connsiteX10" fmla="*/ 113697 w 193421"/>
                  <a:gd name="connsiteY10" fmla="*/ 126645 h 244849"/>
                  <a:gd name="connsiteX11" fmla="*/ 126556 w 193421"/>
                  <a:gd name="connsiteY11" fmla="*/ 60065 h 244849"/>
                  <a:gd name="connsiteX12" fmla="*/ 59976 w 193421"/>
                  <a:gd name="connsiteY12" fmla="*/ 47111 h 244849"/>
                  <a:gd name="connsiteX13" fmla="*/ 59976 w 193421"/>
                  <a:gd name="connsiteY13" fmla="*/ 47111 h 24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3421" h="244849">
                    <a:moveTo>
                      <a:pt x="170657" y="71781"/>
                    </a:moveTo>
                    <a:cubicBezTo>
                      <a:pt x="193422" y="244850"/>
                      <a:pt x="193422" y="244850"/>
                      <a:pt x="193422" y="244850"/>
                    </a:cubicBezTo>
                    <a:cubicBezTo>
                      <a:pt x="41498" y="159030"/>
                      <a:pt x="41498" y="159030"/>
                      <a:pt x="41498" y="159030"/>
                    </a:cubicBezTo>
                    <a:cubicBezTo>
                      <a:pt x="31020" y="153219"/>
                      <a:pt x="21876" y="145314"/>
                      <a:pt x="14923" y="135122"/>
                    </a:cubicBezTo>
                    <a:cubicBezTo>
                      <a:pt x="-11937" y="95403"/>
                      <a:pt x="-1555" y="41586"/>
                      <a:pt x="38164" y="14821"/>
                    </a:cubicBezTo>
                    <a:cubicBezTo>
                      <a:pt x="77883" y="-11944"/>
                      <a:pt x="131604" y="-1467"/>
                      <a:pt x="158465" y="38253"/>
                    </a:cubicBezTo>
                    <a:cubicBezTo>
                      <a:pt x="165323" y="48444"/>
                      <a:pt x="169228" y="59874"/>
                      <a:pt x="170657" y="71781"/>
                    </a:cubicBezTo>
                    <a:lnTo>
                      <a:pt x="170657" y="71781"/>
                    </a:lnTo>
                    <a:close/>
                    <a:moveTo>
                      <a:pt x="59976" y="47111"/>
                    </a:moveTo>
                    <a:cubicBezTo>
                      <a:pt x="38069" y="61875"/>
                      <a:pt x="32259" y="91688"/>
                      <a:pt x="47118" y="113691"/>
                    </a:cubicBezTo>
                    <a:cubicBezTo>
                      <a:pt x="61977" y="135693"/>
                      <a:pt x="91790" y="141504"/>
                      <a:pt x="113697" y="126645"/>
                    </a:cubicBezTo>
                    <a:cubicBezTo>
                      <a:pt x="135605" y="111786"/>
                      <a:pt x="141415" y="82068"/>
                      <a:pt x="126556" y="60065"/>
                    </a:cubicBezTo>
                    <a:cubicBezTo>
                      <a:pt x="111697" y="38062"/>
                      <a:pt x="81979" y="32347"/>
                      <a:pt x="59976" y="47111"/>
                    </a:cubicBezTo>
                    <a:lnTo>
                      <a:pt x="59976" y="4711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12" name="Group 411">
              <a:extLst>
                <a:ext uri="{FF2B5EF4-FFF2-40B4-BE49-F238E27FC236}">
                  <a16:creationId xmlns:a16="http://schemas.microsoft.com/office/drawing/2014/main" id="{32DE551E-1FB9-4F50-82EE-ED86A1611EA4}"/>
                </a:ext>
                <a:ext uri="{C183D7F6-B498-43B3-948B-1728B52AA6E4}">
                  <adec:decorative xmlns:adec="http://schemas.microsoft.com/office/drawing/2017/decorative" val="1"/>
                </a:ext>
              </a:extLst>
            </p:cNvPr>
            <p:cNvGrpSpPr/>
            <p:nvPr/>
          </p:nvGrpSpPr>
          <p:grpSpPr>
            <a:xfrm>
              <a:off x="10257688" y="2488578"/>
              <a:ext cx="342608" cy="319701"/>
              <a:chOff x="4367801" y="4961575"/>
              <a:chExt cx="341947" cy="319087"/>
            </a:xfrm>
          </p:grpSpPr>
          <p:sp>
            <p:nvSpPr>
              <p:cNvPr id="413" name="Freeform: Shape 412">
                <a:extLst>
                  <a:ext uri="{FF2B5EF4-FFF2-40B4-BE49-F238E27FC236}">
                    <a16:creationId xmlns:a16="http://schemas.microsoft.com/office/drawing/2014/main" id="{CBD3C9F8-7ED7-4A77-B7B7-BBE88A3336E5}"/>
                  </a:ext>
                </a:extLst>
              </p:cNvPr>
              <p:cNvSpPr/>
              <p:nvPr/>
            </p:nvSpPr>
            <p:spPr>
              <a:xfrm>
                <a:off x="4490673" y="4961575"/>
                <a:ext cx="219075" cy="228600"/>
              </a:xfrm>
              <a:custGeom>
                <a:avLst/>
                <a:gdLst>
                  <a:gd name="connsiteX0" fmla="*/ 74976 w 219075"/>
                  <a:gd name="connsiteY0" fmla="*/ 205468 h 228600"/>
                  <a:gd name="connsiteX1" fmla="*/ 114028 w 219075"/>
                  <a:gd name="connsiteY1" fmla="*/ 213088 h 228600"/>
                  <a:gd name="connsiteX2" fmla="*/ 166416 w 219075"/>
                  <a:gd name="connsiteY2" fmla="*/ 199753 h 228600"/>
                  <a:gd name="connsiteX3" fmla="*/ 220708 w 219075"/>
                  <a:gd name="connsiteY3" fmla="*/ 230233 h 228600"/>
                  <a:gd name="connsiteX4" fmla="*/ 196896 w 219075"/>
                  <a:gd name="connsiteY4" fmla="*/ 174036 h 228600"/>
                  <a:gd name="connsiteX5" fmla="*/ 220708 w 219075"/>
                  <a:gd name="connsiteY5" fmla="*/ 110218 h 228600"/>
                  <a:gd name="connsiteX6" fmla="*/ 114028 w 219075"/>
                  <a:gd name="connsiteY6" fmla="*/ 7348 h 228600"/>
                  <a:gd name="connsiteX7" fmla="*/ 7348 w 219075"/>
                  <a:gd name="connsiteY7" fmla="*/ 11021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228600">
                    <a:moveTo>
                      <a:pt x="74976" y="205468"/>
                    </a:moveTo>
                    <a:cubicBezTo>
                      <a:pt x="87358" y="210231"/>
                      <a:pt x="100693" y="213088"/>
                      <a:pt x="114028" y="213088"/>
                    </a:cubicBezTo>
                    <a:cubicBezTo>
                      <a:pt x="133078" y="213088"/>
                      <a:pt x="151176" y="208326"/>
                      <a:pt x="166416" y="199753"/>
                    </a:cubicBezTo>
                    <a:cubicBezTo>
                      <a:pt x="174036" y="208326"/>
                      <a:pt x="191181" y="222613"/>
                      <a:pt x="220708" y="230233"/>
                    </a:cubicBezTo>
                    <a:cubicBezTo>
                      <a:pt x="213088" y="218803"/>
                      <a:pt x="199753" y="198801"/>
                      <a:pt x="196896" y="174036"/>
                    </a:cubicBezTo>
                    <a:cubicBezTo>
                      <a:pt x="211183" y="156891"/>
                      <a:pt x="220708" y="134031"/>
                      <a:pt x="220708" y="110218"/>
                    </a:cubicBezTo>
                    <a:cubicBezTo>
                      <a:pt x="220708" y="54021"/>
                      <a:pt x="173083" y="7348"/>
                      <a:pt x="114028" y="7348"/>
                    </a:cubicBezTo>
                    <a:cubicBezTo>
                      <a:pt x="54973" y="7348"/>
                      <a:pt x="7348" y="53068"/>
                      <a:pt x="7348" y="11021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sp>
            <p:nvSpPr>
              <p:cNvPr id="414" name="Freeform: Shape 413">
                <a:extLst>
                  <a:ext uri="{FF2B5EF4-FFF2-40B4-BE49-F238E27FC236}">
                    <a16:creationId xmlns:a16="http://schemas.microsoft.com/office/drawing/2014/main" id="{CBD2B583-5792-4B83-85D9-48BFC08C53AD}"/>
                  </a:ext>
                </a:extLst>
              </p:cNvPr>
              <p:cNvSpPr/>
              <p:nvPr/>
            </p:nvSpPr>
            <p:spPr>
              <a:xfrm>
                <a:off x="4367801" y="5061587"/>
                <a:ext cx="200025" cy="219075"/>
              </a:xfrm>
              <a:custGeom>
                <a:avLst/>
                <a:gdLst>
                  <a:gd name="connsiteX0" fmla="*/ 102598 w 200025"/>
                  <a:gd name="connsiteY0" fmla="*/ 7348 h 219075"/>
                  <a:gd name="connsiteX1" fmla="*/ 7348 w 200025"/>
                  <a:gd name="connsiteY1" fmla="*/ 98788 h 219075"/>
                  <a:gd name="connsiteX2" fmla="*/ 34018 w 200025"/>
                  <a:gd name="connsiteY2" fmla="*/ 162606 h 219075"/>
                  <a:gd name="connsiteX3" fmla="*/ 11158 w 200025"/>
                  <a:gd name="connsiteY3" fmla="*/ 213088 h 219075"/>
                  <a:gd name="connsiteX4" fmla="*/ 64498 w 200025"/>
                  <a:gd name="connsiteY4" fmla="*/ 182608 h 219075"/>
                  <a:gd name="connsiteX5" fmla="*/ 101646 w 200025"/>
                  <a:gd name="connsiteY5" fmla="*/ 190228 h 219075"/>
                  <a:gd name="connsiteX6" fmla="*/ 196896 w 200025"/>
                  <a:gd name="connsiteY6" fmla="*/ 98788 h 219075"/>
                  <a:gd name="connsiteX7" fmla="*/ 102598 w 200025"/>
                  <a:gd name="connsiteY7" fmla="*/ 73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19075">
                    <a:moveTo>
                      <a:pt x="102598" y="7348"/>
                    </a:moveTo>
                    <a:cubicBezTo>
                      <a:pt x="50211" y="7348"/>
                      <a:pt x="7348" y="48306"/>
                      <a:pt x="7348" y="98788"/>
                    </a:cubicBezTo>
                    <a:cubicBezTo>
                      <a:pt x="7348" y="123553"/>
                      <a:pt x="17826" y="145461"/>
                      <a:pt x="34018" y="162606"/>
                    </a:cubicBezTo>
                    <a:cubicBezTo>
                      <a:pt x="32113" y="185466"/>
                      <a:pt x="18778" y="201658"/>
                      <a:pt x="11158" y="213088"/>
                    </a:cubicBezTo>
                    <a:cubicBezTo>
                      <a:pt x="39733" y="205468"/>
                      <a:pt x="56878" y="191181"/>
                      <a:pt x="64498" y="182608"/>
                    </a:cubicBezTo>
                    <a:cubicBezTo>
                      <a:pt x="75928" y="187371"/>
                      <a:pt x="88311" y="190228"/>
                      <a:pt x="101646" y="190228"/>
                    </a:cubicBezTo>
                    <a:cubicBezTo>
                      <a:pt x="154033" y="190228"/>
                      <a:pt x="196896" y="149271"/>
                      <a:pt x="196896" y="98788"/>
                    </a:cubicBezTo>
                    <a:cubicBezTo>
                      <a:pt x="197848" y="48306"/>
                      <a:pt x="154986" y="7348"/>
                      <a:pt x="102598" y="73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Sans Text"/>
                  <a:ea typeface="+mn-ea"/>
                  <a:cs typeface="+mn-cs"/>
                </a:endParaRPr>
              </a:p>
            </p:txBody>
          </p:sp>
        </p:grpSp>
        <p:grpSp>
          <p:nvGrpSpPr>
            <p:cNvPr id="415" name="Group 414">
              <a:extLst>
                <a:ext uri="{FF2B5EF4-FFF2-40B4-BE49-F238E27FC236}">
                  <a16:creationId xmlns:a16="http://schemas.microsoft.com/office/drawing/2014/main" id="{E96B35F7-4938-4300-B845-5E724E41A613}"/>
                </a:ext>
                <a:ext uri="{C183D7F6-B498-43B3-948B-1728B52AA6E4}">
                  <adec:decorative xmlns:adec="http://schemas.microsoft.com/office/drawing/2017/decorative" val="1"/>
                </a:ext>
              </a:extLst>
            </p:cNvPr>
            <p:cNvGrpSpPr/>
            <p:nvPr/>
          </p:nvGrpSpPr>
          <p:grpSpPr>
            <a:xfrm>
              <a:off x="10974217" y="2519786"/>
              <a:ext cx="372767" cy="251017"/>
              <a:chOff x="8303420" y="3006302"/>
              <a:chExt cx="686166" cy="462057"/>
            </a:xfrm>
          </p:grpSpPr>
          <p:grpSp>
            <p:nvGrpSpPr>
              <p:cNvPr id="421" name="Graphic 460">
                <a:extLst>
                  <a:ext uri="{FF2B5EF4-FFF2-40B4-BE49-F238E27FC236}">
                    <a16:creationId xmlns:a16="http://schemas.microsoft.com/office/drawing/2014/main" id="{4A725118-E6FF-4CBD-AEA2-B4BF5F85A880}"/>
                  </a:ext>
                </a:extLst>
              </p:cNvPr>
              <p:cNvGrpSpPr/>
              <p:nvPr/>
            </p:nvGrpSpPr>
            <p:grpSpPr>
              <a:xfrm>
                <a:off x="8303420" y="3006302"/>
                <a:ext cx="686166" cy="462057"/>
                <a:chOff x="5876630" y="3267709"/>
                <a:chExt cx="686166" cy="462057"/>
              </a:xfrm>
            </p:grpSpPr>
            <p:sp>
              <p:nvSpPr>
                <p:cNvPr id="447" name="Freeform: Shape 446">
                  <a:extLst>
                    <a:ext uri="{FF2B5EF4-FFF2-40B4-BE49-F238E27FC236}">
                      <a16:creationId xmlns:a16="http://schemas.microsoft.com/office/drawing/2014/main" id="{54942421-7924-43AD-9295-A63A54E361A5}"/>
                    </a:ext>
                  </a:extLst>
                </p:cNvPr>
                <p:cNvSpPr/>
                <p:nvPr/>
              </p:nvSpPr>
              <p:spPr>
                <a:xfrm>
                  <a:off x="5876630" y="3267709"/>
                  <a:ext cx="686166" cy="462057"/>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8" name="Freeform: Shape 447">
                  <a:extLst>
                    <a:ext uri="{FF2B5EF4-FFF2-40B4-BE49-F238E27FC236}">
                      <a16:creationId xmlns:a16="http://schemas.microsoft.com/office/drawing/2014/main" id="{2F93E5AD-B2DE-44FA-AE51-57E0C1AEAB2C}"/>
                    </a:ext>
                  </a:extLst>
                </p:cNvPr>
                <p:cNvSpPr/>
                <p:nvPr/>
              </p:nvSpPr>
              <p:spPr>
                <a:xfrm>
                  <a:off x="5876630" y="3352196"/>
                  <a:ext cx="686166"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9" name="Freeform: Shape 448">
                  <a:extLst>
                    <a:ext uri="{FF2B5EF4-FFF2-40B4-BE49-F238E27FC236}">
                      <a16:creationId xmlns:a16="http://schemas.microsoft.com/office/drawing/2014/main" id="{7959948E-460A-4E36-94B2-529158150572}"/>
                    </a:ext>
                  </a:extLst>
                </p:cNvPr>
                <p:cNvSpPr/>
                <p:nvPr/>
              </p:nvSpPr>
              <p:spPr>
                <a:xfrm>
                  <a:off x="6381314" y="3295046"/>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0" name="Freeform: Shape 449">
                  <a:extLst>
                    <a:ext uri="{FF2B5EF4-FFF2-40B4-BE49-F238E27FC236}">
                      <a16:creationId xmlns:a16="http://schemas.microsoft.com/office/drawing/2014/main" id="{2F94A22F-249C-4064-980C-E1D4622B174E}"/>
                    </a:ext>
                  </a:extLst>
                </p:cNvPr>
                <p:cNvSpPr/>
                <p:nvPr/>
              </p:nvSpPr>
              <p:spPr>
                <a:xfrm>
                  <a:off x="642989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1" name="Freeform: Shape 450">
                  <a:extLst>
                    <a:ext uri="{FF2B5EF4-FFF2-40B4-BE49-F238E27FC236}">
                      <a16:creationId xmlns:a16="http://schemas.microsoft.com/office/drawing/2014/main" id="{9B0E77DC-26B2-4513-89D3-C6E7BB72604B}"/>
                    </a:ext>
                  </a:extLst>
                </p:cNvPr>
                <p:cNvSpPr/>
                <p:nvPr/>
              </p:nvSpPr>
              <p:spPr>
                <a:xfrm>
                  <a:off x="6485041"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22" name="Graphic 584">
                <a:extLst>
                  <a:ext uri="{FF2B5EF4-FFF2-40B4-BE49-F238E27FC236}">
                    <a16:creationId xmlns:a16="http://schemas.microsoft.com/office/drawing/2014/main" id="{9BFE1224-DFC6-46C3-8ECB-264A4D04C98F}"/>
                  </a:ext>
                </a:extLst>
              </p:cNvPr>
              <p:cNvGrpSpPr/>
              <p:nvPr/>
            </p:nvGrpSpPr>
            <p:grpSpPr>
              <a:xfrm>
                <a:off x="8404338" y="3140788"/>
                <a:ext cx="472756" cy="280074"/>
                <a:chOff x="6089078" y="3382390"/>
                <a:chExt cx="254031" cy="150495"/>
              </a:xfrm>
            </p:grpSpPr>
            <p:sp>
              <p:nvSpPr>
                <p:cNvPr id="426" name="Freeform: Shape 425">
                  <a:extLst>
                    <a:ext uri="{FF2B5EF4-FFF2-40B4-BE49-F238E27FC236}">
                      <a16:creationId xmlns:a16="http://schemas.microsoft.com/office/drawing/2014/main" id="{2C18C840-9DAA-41FD-8BB8-956C1A87CB85}"/>
                    </a:ext>
                  </a:extLst>
                </p:cNvPr>
                <p:cNvSpPr/>
                <p:nvPr/>
              </p:nvSpPr>
              <p:spPr>
                <a:xfrm>
                  <a:off x="6089078" y="3522121"/>
                  <a:ext cx="125634" cy="9525"/>
                </a:xfrm>
                <a:custGeom>
                  <a:avLst/>
                  <a:gdLst>
                    <a:gd name="connsiteX0" fmla="*/ 125635 w 125634"/>
                    <a:gd name="connsiteY0" fmla="*/ 0 h 9525"/>
                    <a:gd name="connsiteX1" fmla="*/ 0 w 125634"/>
                    <a:gd name="connsiteY1" fmla="*/ 0 h 9525"/>
                  </a:gdLst>
                  <a:ahLst/>
                  <a:cxnLst>
                    <a:cxn ang="0">
                      <a:pos x="connsiteX0" y="connsiteY0"/>
                    </a:cxn>
                    <a:cxn ang="0">
                      <a:pos x="connsiteX1" y="connsiteY1"/>
                    </a:cxn>
                  </a:cxnLst>
                  <a:rect l="l" t="t" r="r" b="b"/>
                  <a:pathLst>
                    <a:path w="125634" h="9525">
                      <a:moveTo>
                        <a:pt x="125635" y="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7" name="Freeform: Shape 426">
                  <a:extLst>
                    <a:ext uri="{FF2B5EF4-FFF2-40B4-BE49-F238E27FC236}">
                      <a16:creationId xmlns:a16="http://schemas.microsoft.com/office/drawing/2014/main" id="{0531A5C1-E614-4DE5-AC1F-13F82AB97A31}"/>
                    </a:ext>
                  </a:extLst>
                </p:cNvPr>
                <p:cNvSpPr/>
                <p:nvPr/>
              </p:nvSpPr>
              <p:spPr>
                <a:xfrm>
                  <a:off x="6103937" y="3459637"/>
                  <a:ext cx="9525" cy="62483"/>
                </a:xfrm>
                <a:custGeom>
                  <a:avLst/>
                  <a:gdLst>
                    <a:gd name="connsiteX0" fmla="*/ 0 w 9525"/>
                    <a:gd name="connsiteY0" fmla="*/ 62484 h 62483"/>
                    <a:gd name="connsiteX1" fmla="*/ 0 w 9525"/>
                    <a:gd name="connsiteY1" fmla="*/ 0 h 62483"/>
                  </a:gdLst>
                  <a:ahLst/>
                  <a:cxnLst>
                    <a:cxn ang="0">
                      <a:pos x="connsiteX0" y="connsiteY0"/>
                    </a:cxn>
                    <a:cxn ang="0">
                      <a:pos x="connsiteX1" y="connsiteY1"/>
                    </a:cxn>
                  </a:cxnLst>
                  <a:rect l="l" t="t" r="r" b="b"/>
                  <a:pathLst>
                    <a:path w="9525" h="62483">
                      <a:moveTo>
                        <a:pt x="0" y="62484"/>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0" name="Freeform: Shape 429">
                  <a:extLst>
                    <a:ext uri="{FF2B5EF4-FFF2-40B4-BE49-F238E27FC236}">
                      <a16:creationId xmlns:a16="http://schemas.microsoft.com/office/drawing/2014/main" id="{D06992DB-6EE0-47F2-AE35-9D180AACA7EB}"/>
                    </a:ext>
                  </a:extLst>
                </p:cNvPr>
                <p:cNvSpPr/>
                <p:nvPr/>
              </p:nvSpPr>
              <p:spPr>
                <a:xfrm>
                  <a:off x="6133750" y="3480402"/>
                  <a:ext cx="9525" cy="41719"/>
                </a:xfrm>
                <a:custGeom>
                  <a:avLst/>
                  <a:gdLst>
                    <a:gd name="connsiteX0" fmla="*/ 0 w 9525"/>
                    <a:gd name="connsiteY0" fmla="*/ 41720 h 41719"/>
                    <a:gd name="connsiteX1" fmla="*/ 0 w 9525"/>
                    <a:gd name="connsiteY1" fmla="*/ 0 h 41719"/>
                  </a:gdLst>
                  <a:ahLst/>
                  <a:cxnLst>
                    <a:cxn ang="0">
                      <a:pos x="connsiteX0" y="connsiteY0"/>
                    </a:cxn>
                    <a:cxn ang="0">
                      <a:pos x="connsiteX1" y="connsiteY1"/>
                    </a:cxn>
                  </a:cxnLst>
                  <a:rect l="l" t="t" r="r" b="b"/>
                  <a:pathLst>
                    <a:path w="9525" h="41719">
                      <a:moveTo>
                        <a:pt x="0" y="41720"/>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1" name="Freeform: Shape 430">
                  <a:extLst>
                    <a:ext uri="{FF2B5EF4-FFF2-40B4-BE49-F238E27FC236}">
                      <a16:creationId xmlns:a16="http://schemas.microsoft.com/office/drawing/2014/main" id="{3A366CC1-0FBD-47EF-9845-9FD6F877650C}"/>
                    </a:ext>
                  </a:extLst>
                </p:cNvPr>
                <p:cNvSpPr/>
                <p:nvPr/>
              </p:nvSpPr>
              <p:spPr>
                <a:xfrm>
                  <a:off x="6163468" y="3475163"/>
                  <a:ext cx="9525" cy="46958"/>
                </a:xfrm>
                <a:custGeom>
                  <a:avLst/>
                  <a:gdLst>
                    <a:gd name="connsiteX0" fmla="*/ 0 w 9525"/>
                    <a:gd name="connsiteY0" fmla="*/ 46958 h 46958"/>
                    <a:gd name="connsiteX1" fmla="*/ 0 w 9525"/>
                    <a:gd name="connsiteY1" fmla="*/ 0 h 46958"/>
                  </a:gdLst>
                  <a:ahLst/>
                  <a:cxnLst>
                    <a:cxn ang="0">
                      <a:pos x="connsiteX0" y="connsiteY0"/>
                    </a:cxn>
                    <a:cxn ang="0">
                      <a:pos x="connsiteX1" y="connsiteY1"/>
                    </a:cxn>
                  </a:cxnLst>
                  <a:rect l="l" t="t" r="r" b="b"/>
                  <a:pathLst>
                    <a:path w="9525" h="46958">
                      <a:moveTo>
                        <a:pt x="0" y="46958"/>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3" name="Freeform: Shape 432">
                  <a:extLst>
                    <a:ext uri="{FF2B5EF4-FFF2-40B4-BE49-F238E27FC236}">
                      <a16:creationId xmlns:a16="http://schemas.microsoft.com/office/drawing/2014/main" id="{3259CEA7-5ACE-4EFD-A67E-4AFD2AA24471}"/>
                    </a:ext>
                  </a:extLst>
                </p:cNvPr>
                <p:cNvSpPr/>
                <p:nvPr/>
              </p:nvSpPr>
              <p:spPr>
                <a:xfrm>
                  <a:off x="6193281" y="3500119"/>
                  <a:ext cx="9525" cy="22002"/>
                </a:xfrm>
                <a:custGeom>
                  <a:avLst/>
                  <a:gdLst>
                    <a:gd name="connsiteX0" fmla="*/ 0 w 9525"/>
                    <a:gd name="connsiteY0" fmla="*/ 22003 h 22002"/>
                    <a:gd name="connsiteX1" fmla="*/ 0 w 9525"/>
                    <a:gd name="connsiteY1" fmla="*/ 0 h 22002"/>
                  </a:gdLst>
                  <a:ahLst/>
                  <a:cxnLst>
                    <a:cxn ang="0">
                      <a:pos x="connsiteX0" y="connsiteY0"/>
                    </a:cxn>
                    <a:cxn ang="0">
                      <a:pos x="connsiteX1" y="connsiteY1"/>
                    </a:cxn>
                  </a:cxnLst>
                  <a:rect l="l" t="t" r="r" b="b"/>
                  <a:pathLst>
                    <a:path w="9525" h="22002">
                      <a:moveTo>
                        <a:pt x="0" y="22003"/>
                      </a:move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0" name="Freeform: Shape 439">
                  <a:extLst>
                    <a:ext uri="{FF2B5EF4-FFF2-40B4-BE49-F238E27FC236}">
                      <a16:creationId xmlns:a16="http://schemas.microsoft.com/office/drawing/2014/main" id="{506AA264-38F9-4C6A-9388-AD557854EECA}"/>
                    </a:ext>
                  </a:extLst>
                </p:cNvPr>
                <p:cNvSpPr/>
                <p:nvPr/>
              </p:nvSpPr>
              <p:spPr>
                <a:xfrm>
                  <a:off x="6100412" y="3390581"/>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1" name="Freeform: Shape 440">
                  <a:extLst>
                    <a:ext uri="{FF2B5EF4-FFF2-40B4-BE49-F238E27FC236}">
                      <a16:creationId xmlns:a16="http://schemas.microsoft.com/office/drawing/2014/main" id="{E09BCED2-8686-4842-9B26-50D279D69C96}"/>
                    </a:ext>
                  </a:extLst>
                </p:cNvPr>
                <p:cNvSpPr/>
                <p:nvPr/>
              </p:nvSpPr>
              <p:spPr>
                <a:xfrm>
                  <a:off x="6100412" y="3415060"/>
                  <a:ext cx="92868" cy="9525"/>
                </a:xfrm>
                <a:custGeom>
                  <a:avLst/>
                  <a:gdLst>
                    <a:gd name="connsiteX0" fmla="*/ 0 w 92868"/>
                    <a:gd name="connsiteY0" fmla="*/ 0 h 9525"/>
                    <a:gd name="connsiteX1" fmla="*/ 92869 w 92868"/>
                    <a:gd name="connsiteY1" fmla="*/ 0 h 9525"/>
                  </a:gdLst>
                  <a:ahLst/>
                  <a:cxnLst>
                    <a:cxn ang="0">
                      <a:pos x="connsiteX0" y="connsiteY0"/>
                    </a:cxn>
                    <a:cxn ang="0">
                      <a:pos x="connsiteX1" y="connsiteY1"/>
                    </a:cxn>
                  </a:cxnLst>
                  <a:rect l="l" t="t" r="r" b="b"/>
                  <a:pathLst>
                    <a:path w="92868" h="9525">
                      <a:moveTo>
                        <a:pt x="0" y="0"/>
                      </a:moveTo>
                      <a:lnTo>
                        <a:pt x="9286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2" name="Freeform: Shape 441">
                  <a:extLst>
                    <a:ext uri="{FF2B5EF4-FFF2-40B4-BE49-F238E27FC236}">
                      <a16:creationId xmlns:a16="http://schemas.microsoft.com/office/drawing/2014/main" id="{91089184-E729-40B7-8215-060B5C6A95C6}"/>
                    </a:ext>
                  </a:extLst>
                </p:cNvPr>
                <p:cNvSpPr/>
                <p:nvPr/>
              </p:nvSpPr>
              <p:spPr>
                <a:xfrm>
                  <a:off x="6260528" y="349888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3" name="Freeform: Shape 442">
                  <a:extLst>
                    <a:ext uri="{FF2B5EF4-FFF2-40B4-BE49-F238E27FC236}">
                      <a16:creationId xmlns:a16="http://schemas.microsoft.com/office/drawing/2014/main" id="{7137FD65-5CD8-489F-B56F-2D9E928350DA}"/>
                    </a:ext>
                  </a:extLst>
                </p:cNvPr>
                <p:cNvSpPr/>
                <p:nvPr/>
              </p:nvSpPr>
              <p:spPr>
                <a:xfrm>
                  <a:off x="6260528" y="3523360"/>
                  <a:ext cx="82581" cy="9525"/>
                </a:xfrm>
                <a:custGeom>
                  <a:avLst/>
                  <a:gdLst>
                    <a:gd name="connsiteX0" fmla="*/ 0 w 82581"/>
                    <a:gd name="connsiteY0" fmla="*/ 0 h 9525"/>
                    <a:gd name="connsiteX1" fmla="*/ 82582 w 82581"/>
                    <a:gd name="connsiteY1" fmla="*/ 0 h 9525"/>
                  </a:gdLst>
                  <a:ahLst/>
                  <a:cxnLst>
                    <a:cxn ang="0">
                      <a:pos x="connsiteX0" y="connsiteY0"/>
                    </a:cxn>
                    <a:cxn ang="0">
                      <a:pos x="connsiteX1" y="connsiteY1"/>
                    </a:cxn>
                  </a:cxnLst>
                  <a:rect l="l" t="t" r="r" b="b"/>
                  <a:pathLst>
                    <a:path w="82581" h="9525">
                      <a:moveTo>
                        <a:pt x="0" y="0"/>
                      </a:moveTo>
                      <a:lnTo>
                        <a:pt x="82582"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4" name="Freeform: Shape 443">
                  <a:extLst>
                    <a:ext uri="{FF2B5EF4-FFF2-40B4-BE49-F238E27FC236}">
                      <a16:creationId xmlns:a16="http://schemas.microsoft.com/office/drawing/2014/main" id="{2C59D963-0F41-4DAB-A662-4C47B0E5D501}"/>
                    </a:ext>
                  </a:extLst>
                </p:cNvPr>
                <p:cNvSpPr/>
                <p:nvPr/>
              </p:nvSpPr>
              <p:spPr>
                <a:xfrm>
                  <a:off x="6264814" y="3382390"/>
                  <a:ext cx="70294" cy="70294"/>
                </a:xfrm>
                <a:custGeom>
                  <a:avLst/>
                  <a:gdLst>
                    <a:gd name="connsiteX0" fmla="*/ 70295 w 70294"/>
                    <a:gd name="connsiteY0" fmla="*/ 35147 h 70294"/>
                    <a:gd name="connsiteX1" fmla="*/ 35147 w 70294"/>
                    <a:gd name="connsiteY1" fmla="*/ 70295 h 70294"/>
                    <a:gd name="connsiteX2" fmla="*/ 0 w 70294"/>
                    <a:gd name="connsiteY2" fmla="*/ 35147 h 70294"/>
                    <a:gd name="connsiteX3" fmla="*/ 35147 w 70294"/>
                    <a:gd name="connsiteY3" fmla="*/ 0 h 70294"/>
                    <a:gd name="connsiteX4" fmla="*/ 70295 w 70294"/>
                    <a:gd name="connsiteY4" fmla="*/ 35147 h 7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 h="70294">
                      <a:moveTo>
                        <a:pt x="70295" y="35147"/>
                      </a:moveTo>
                      <a:cubicBezTo>
                        <a:pt x="70295" y="54559"/>
                        <a:pt x="54559" y="70295"/>
                        <a:pt x="35147" y="70295"/>
                      </a:cubicBezTo>
                      <a:cubicBezTo>
                        <a:pt x="15736" y="70295"/>
                        <a:pt x="0" y="54559"/>
                        <a:pt x="0" y="35147"/>
                      </a:cubicBezTo>
                      <a:cubicBezTo>
                        <a:pt x="0" y="15736"/>
                        <a:pt x="15736" y="0"/>
                        <a:pt x="35147" y="0"/>
                      </a:cubicBezTo>
                      <a:cubicBezTo>
                        <a:pt x="54559" y="0"/>
                        <a:pt x="70295" y="15736"/>
                        <a:pt x="70295" y="3514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5" name="Freeform: Shape 444">
                  <a:extLst>
                    <a:ext uri="{FF2B5EF4-FFF2-40B4-BE49-F238E27FC236}">
                      <a16:creationId xmlns:a16="http://schemas.microsoft.com/office/drawing/2014/main" id="{7DB096AF-23CA-4C99-AFDA-C136FC70BC29}"/>
                    </a:ext>
                  </a:extLst>
                </p:cNvPr>
                <p:cNvSpPr/>
                <p:nvPr/>
              </p:nvSpPr>
              <p:spPr>
                <a:xfrm>
                  <a:off x="6303009" y="3390581"/>
                  <a:ext cx="17049" cy="25717"/>
                </a:xfrm>
                <a:custGeom>
                  <a:avLst/>
                  <a:gdLst>
                    <a:gd name="connsiteX0" fmla="*/ 17050 w 17049"/>
                    <a:gd name="connsiteY0" fmla="*/ 0 h 25717"/>
                    <a:gd name="connsiteX1" fmla="*/ 0 w 17049"/>
                    <a:gd name="connsiteY1" fmla="*/ 25718 h 25717"/>
                  </a:gdLst>
                  <a:ahLst/>
                  <a:cxnLst>
                    <a:cxn ang="0">
                      <a:pos x="connsiteX0" y="connsiteY0"/>
                    </a:cxn>
                    <a:cxn ang="0">
                      <a:pos x="connsiteX1" y="connsiteY1"/>
                    </a:cxn>
                  </a:cxnLst>
                  <a:rect l="l" t="t" r="r" b="b"/>
                  <a:pathLst>
                    <a:path w="17049" h="25717">
                      <a:moveTo>
                        <a:pt x="17050" y="0"/>
                      </a:moveTo>
                      <a:lnTo>
                        <a:pt x="0" y="25718"/>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6" name="Freeform: Shape 445">
                  <a:extLst>
                    <a:ext uri="{FF2B5EF4-FFF2-40B4-BE49-F238E27FC236}">
                      <a16:creationId xmlns:a16="http://schemas.microsoft.com/office/drawing/2014/main" id="{A800983A-D43E-44A2-9F38-6A3C6D882950}"/>
                    </a:ext>
                  </a:extLst>
                </p:cNvPr>
                <p:cNvSpPr/>
                <p:nvPr/>
              </p:nvSpPr>
              <p:spPr>
                <a:xfrm>
                  <a:off x="6291674" y="3384866"/>
                  <a:ext cx="33623" cy="53911"/>
                </a:xfrm>
                <a:custGeom>
                  <a:avLst/>
                  <a:gdLst>
                    <a:gd name="connsiteX0" fmla="*/ 0 w 33623"/>
                    <a:gd name="connsiteY0" fmla="*/ 0 h 53911"/>
                    <a:gd name="connsiteX1" fmla="*/ 8287 w 33623"/>
                    <a:gd name="connsiteY1" fmla="*/ 32671 h 53911"/>
                    <a:gd name="connsiteX2" fmla="*/ 33623 w 33623"/>
                    <a:gd name="connsiteY2" fmla="*/ 53911 h 53911"/>
                  </a:gdLst>
                  <a:ahLst/>
                  <a:cxnLst>
                    <a:cxn ang="0">
                      <a:pos x="connsiteX0" y="connsiteY0"/>
                    </a:cxn>
                    <a:cxn ang="0">
                      <a:pos x="connsiteX1" y="connsiteY1"/>
                    </a:cxn>
                    <a:cxn ang="0">
                      <a:pos x="connsiteX2" y="connsiteY2"/>
                    </a:cxn>
                  </a:cxnLst>
                  <a:rect l="l" t="t" r="r" b="b"/>
                  <a:pathLst>
                    <a:path w="33623" h="53911">
                      <a:moveTo>
                        <a:pt x="0" y="0"/>
                      </a:moveTo>
                      <a:lnTo>
                        <a:pt x="8287" y="32671"/>
                      </a:lnTo>
                      <a:lnTo>
                        <a:pt x="33623" y="5391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452" name="Graphic 103">
              <a:extLst>
                <a:ext uri="{FF2B5EF4-FFF2-40B4-BE49-F238E27FC236}">
                  <a16:creationId xmlns:a16="http://schemas.microsoft.com/office/drawing/2014/main" id="{346E8E34-064F-40BB-8E5B-B09EFB348849}"/>
                </a:ext>
                <a:ext uri="{C183D7F6-B498-43B3-948B-1728B52AA6E4}">
                  <adec:decorative xmlns:adec="http://schemas.microsoft.com/office/drawing/2017/decorative" val="1"/>
                </a:ext>
              </a:extLst>
            </p:cNvPr>
            <p:cNvGrpSpPr/>
            <p:nvPr/>
          </p:nvGrpSpPr>
          <p:grpSpPr>
            <a:xfrm>
              <a:off x="8191733" y="2520208"/>
              <a:ext cx="337330" cy="292944"/>
              <a:chOff x="5464401" y="5731801"/>
              <a:chExt cx="465183" cy="403975"/>
            </a:xfrm>
          </p:grpSpPr>
          <p:sp>
            <p:nvSpPr>
              <p:cNvPr id="453" name="Freeform: Shape 452">
                <a:extLst>
                  <a:ext uri="{FF2B5EF4-FFF2-40B4-BE49-F238E27FC236}">
                    <a16:creationId xmlns:a16="http://schemas.microsoft.com/office/drawing/2014/main" id="{96143641-71AE-433E-BB3F-20B9490ADA45}"/>
                  </a:ext>
                </a:extLst>
              </p:cNvPr>
              <p:cNvSpPr/>
              <p:nvPr/>
            </p:nvSpPr>
            <p:spPr>
              <a:xfrm>
                <a:off x="5628439" y="5738166"/>
                <a:ext cx="298941" cy="298941"/>
              </a:xfrm>
              <a:custGeom>
                <a:avLst/>
                <a:gdLst>
                  <a:gd name="connsiteX0" fmla="*/ 298941 w 298941"/>
                  <a:gd name="connsiteY0" fmla="*/ 149471 h 298941"/>
                  <a:gd name="connsiteX1" fmla="*/ 149471 w 298941"/>
                  <a:gd name="connsiteY1" fmla="*/ 298941 h 298941"/>
                  <a:gd name="connsiteX2" fmla="*/ 0 w 298941"/>
                  <a:gd name="connsiteY2" fmla="*/ 149471 h 298941"/>
                  <a:gd name="connsiteX3" fmla="*/ 149471 w 298941"/>
                  <a:gd name="connsiteY3" fmla="*/ 0 h 298941"/>
                  <a:gd name="connsiteX4" fmla="*/ 298941 w 298941"/>
                  <a:gd name="connsiteY4" fmla="*/ 149471 h 29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941" h="298941">
                    <a:moveTo>
                      <a:pt x="298941" y="149471"/>
                    </a:moveTo>
                    <a:cubicBezTo>
                      <a:pt x="298941" y="232021"/>
                      <a:pt x="232021" y="298941"/>
                      <a:pt x="149471" y="298941"/>
                    </a:cubicBezTo>
                    <a:cubicBezTo>
                      <a:pt x="66920" y="298941"/>
                      <a:pt x="0" y="232021"/>
                      <a:pt x="0" y="149471"/>
                    </a:cubicBezTo>
                    <a:cubicBezTo>
                      <a:pt x="0" y="66920"/>
                      <a:pt x="66920" y="0"/>
                      <a:pt x="149471" y="0"/>
                    </a:cubicBezTo>
                    <a:cubicBezTo>
                      <a:pt x="232021" y="0"/>
                      <a:pt x="298941" y="66920"/>
                      <a:pt x="298941" y="149471"/>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4" name="Freeform: Shape 453">
                <a:extLst>
                  <a:ext uri="{FF2B5EF4-FFF2-40B4-BE49-F238E27FC236}">
                    <a16:creationId xmlns:a16="http://schemas.microsoft.com/office/drawing/2014/main" id="{D77822F0-6800-4956-8EB8-A2605CB91FEE}"/>
                  </a:ext>
                </a:extLst>
              </p:cNvPr>
              <p:cNvSpPr/>
              <p:nvPr/>
            </p:nvSpPr>
            <p:spPr>
              <a:xfrm>
                <a:off x="5771911" y="5800354"/>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5" name="Freeform: Shape 454">
                <a:extLst>
                  <a:ext uri="{FF2B5EF4-FFF2-40B4-BE49-F238E27FC236}">
                    <a16:creationId xmlns:a16="http://schemas.microsoft.com/office/drawing/2014/main" id="{B1F091FB-C809-4B86-AB9B-C0F3EF1EBA95}"/>
                  </a:ext>
                </a:extLst>
              </p:cNvPr>
              <p:cNvSpPr/>
              <p:nvPr/>
            </p:nvSpPr>
            <p:spPr>
              <a:xfrm>
                <a:off x="5680099" y="588641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6" name="Freeform: Shape 455">
                <a:extLst>
                  <a:ext uri="{FF2B5EF4-FFF2-40B4-BE49-F238E27FC236}">
                    <a16:creationId xmlns:a16="http://schemas.microsoft.com/office/drawing/2014/main" id="{BBDDFDD9-3C38-4D13-B06A-61C40359E08F}"/>
                  </a:ext>
                </a:extLst>
              </p:cNvPr>
              <p:cNvSpPr/>
              <p:nvPr/>
            </p:nvSpPr>
            <p:spPr>
              <a:xfrm>
                <a:off x="5550215" y="5818594"/>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7" name="Freeform: Shape 456">
                <a:extLst>
                  <a:ext uri="{FF2B5EF4-FFF2-40B4-BE49-F238E27FC236}">
                    <a16:creationId xmlns:a16="http://schemas.microsoft.com/office/drawing/2014/main" id="{FD94A08A-45B1-4D9A-807A-52E2B2A1D227}"/>
                  </a:ext>
                </a:extLst>
              </p:cNvPr>
              <p:cNvSpPr/>
              <p:nvPr/>
            </p:nvSpPr>
            <p:spPr>
              <a:xfrm>
                <a:off x="5470644" y="592338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8" name="Freeform: Shape 457">
                <a:extLst>
                  <a:ext uri="{FF2B5EF4-FFF2-40B4-BE49-F238E27FC236}">
                    <a16:creationId xmlns:a16="http://schemas.microsoft.com/office/drawing/2014/main" id="{81762B70-65EF-4653-9BF8-27B988D79FFE}"/>
                  </a:ext>
                </a:extLst>
              </p:cNvPr>
              <p:cNvSpPr/>
              <p:nvPr/>
            </p:nvSpPr>
            <p:spPr>
              <a:xfrm>
                <a:off x="5867273" y="5923383"/>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9" name="Freeform: Shape 458">
                <a:extLst>
                  <a:ext uri="{FF2B5EF4-FFF2-40B4-BE49-F238E27FC236}">
                    <a16:creationId xmlns:a16="http://schemas.microsoft.com/office/drawing/2014/main" id="{BBDFFFD0-3223-49AB-918D-EFC1AA0AF91C}"/>
                  </a:ext>
                </a:extLst>
              </p:cNvPr>
              <p:cNvSpPr/>
              <p:nvPr/>
            </p:nvSpPr>
            <p:spPr>
              <a:xfrm>
                <a:off x="5565272" y="6001117"/>
                <a:ext cx="115438" cy="129394"/>
              </a:xfrm>
              <a:custGeom>
                <a:avLst/>
                <a:gdLst>
                  <a:gd name="connsiteX0" fmla="*/ 115439 w 115438"/>
                  <a:gd name="connsiteY0" fmla="*/ 0 h 129394"/>
                  <a:gd name="connsiteX1" fmla="*/ 0 w 115438"/>
                  <a:gd name="connsiteY1" fmla="*/ 129394 h 129394"/>
                </a:gdLst>
                <a:ahLst/>
                <a:cxnLst>
                  <a:cxn ang="0">
                    <a:pos x="connsiteX0" y="connsiteY0"/>
                  </a:cxn>
                  <a:cxn ang="0">
                    <a:pos x="connsiteX1" y="connsiteY1"/>
                  </a:cxn>
                </a:cxnLst>
                <a:rect l="l" t="t" r="r" b="b"/>
                <a:pathLst>
                  <a:path w="115438" h="129394">
                    <a:moveTo>
                      <a:pt x="115439" y="0"/>
                    </a:moveTo>
                    <a:lnTo>
                      <a:pt x="0" y="129394"/>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0" name="Freeform: Shape 459">
                <a:extLst>
                  <a:ext uri="{FF2B5EF4-FFF2-40B4-BE49-F238E27FC236}">
                    <a16:creationId xmlns:a16="http://schemas.microsoft.com/office/drawing/2014/main" id="{814A7EB9-B368-472E-902A-0B9B3415FA3A}"/>
                  </a:ext>
                </a:extLst>
              </p:cNvPr>
              <p:cNvSpPr/>
              <p:nvPr/>
            </p:nvSpPr>
            <p:spPr>
              <a:xfrm>
                <a:off x="5498432" y="5851402"/>
                <a:ext cx="59616" cy="7663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1" name="Freeform: Shape 460">
                <a:extLst>
                  <a:ext uri="{FF2B5EF4-FFF2-40B4-BE49-F238E27FC236}">
                    <a16:creationId xmlns:a16="http://schemas.microsoft.com/office/drawing/2014/main" id="{1602A2FB-8830-4D4D-A6D9-D97A4CC9EE8D}"/>
                  </a:ext>
                </a:extLst>
              </p:cNvPr>
              <p:cNvSpPr/>
              <p:nvPr/>
            </p:nvSpPr>
            <p:spPr>
              <a:xfrm>
                <a:off x="5583022" y="5845281"/>
                <a:ext cx="97076" cy="53863"/>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2" name="Freeform: Shape 461">
                <a:extLst>
                  <a:ext uri="{FF2B5EF4-FFF2-40B4-BE49-F238E27FC236}">
                    <a16:creationId xmlns:a16="http://schemas.microsoft.com/office/drawing/2014/main" id="{2A7954F8-18B9-4587-884B-0A2CC0F6F7D0}"/>
                  </a:ext>
                </a:extLst>
              </p:cNvPr>
              <p:cNvSpPr/>
              <p:nvPr/>
            </p:nvSpPr>
            <p:spPr>
              <a:xfrm>
                <a:off x="5709111" y="5825204"/>
                <a:ext cx="62799" cy="67206"/>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3" name="Freeform: Shape 462">
                <a:extLst>
                  <a:ext uri="{FF2B5EF4-FFF2-40B4-BE49-F238E27FC236}">
                    <a16:creationId xmlns:a16="http://schemas.microsoft.com/office/drawing/2014/main" id="{29B6F1EA-030D-4BE8-B830-AD3FED6E4FB3}"/>
                  </a:ext>
                </a:extLst>
              </p:cNvPr>
              <p:cNvSpPr/>
              <p:nvPr/>
            </p:nvSpPr>
            <p:spPr>
              <a:xfrm>
                <a:off x="5798965" y="5829122"/>
                <a:ext cx="75163" cy="94383"/>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464" name="Group 463">
              <a:extLst>
                <a:ext uri="{FF2B5EF4-FFF2-40B4-BE49-F238E27FC236}">
                  <a16:creationId xmlns:a16="http://schemas.microsoft.com/office/drawing/2014/main" id="{B572D269-72FA-4093-A19B-90ECE751E74F}"/>
                </a:ext>
                <a:ext uri="{C183D7F6-B498-43B3-948B-1728B52AA6E4}">
                  <adec:decorative xmlns:adec="http://schemas.microsoft.com/office/drawing/2017/decorative" val="1"/>
                </a:ext>
              </a:extLst>
            </p:cNvPr>
            <p:cNvGrpSpPr/>
            <p:nvPr/>
          </p:nvGrpSpPr>
          <p:grpSpPr>
            <a:xfrm>
              <a:off x="6919770" y="3395632"/>
              <a:ext cx="276871" cy="280066"/>
              <a:chOff x="2551096" y="4928951"/>
              <a:chExt cx="493503" cy="499198"/>
            </a:xfrm>
          </p:grpSpPr>
          <p:sp>
            <p:nvSpPr>
              <p:cNvPr id="465" name="Freeform: Shape 464">
                <a:extLst>
                  <a:ext uri="{FF2B5EF4-FFF2-40B4-BE49-F238E27FC236}">
                    <a16:creationId xmlns:a16="http://schemas.microsoft.com/office/drawing/2014/main" id="{B1CBB19D-8C61-4B62-A266-10A70AEF8A7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6" name="Freeform: Shape 465">
                <a:extLst>
                  <a:ext uri="{FF2B5EF4-FFF2-40B4-BE49-F238E27FC236}">
                    <a16:creationId xmlns:a16="http://schemas.microsoft.com/office/drawing/2014/main" id="{CFD75D02-4AEA-410B-AD17-A6F17F4EF6F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467" name="Freeform: Shape 466">
              <a:extLst>
                <a:ext uri="{FF2B5EF4-FFF2-40B4-BE49-F238E27FC236}">
                  <a16:creationId xmlns:a16="http://schemas.microsoft.com/office/drawing/2014/main" id="{DFBD36DE-A571-4C4A-9C14-F6F73B69E4B2}"/>
                </a:ext>
                <a:ext uri="{C183D7F6-B498-43B3-948B-1728B52AA6E4}">
                  <adec:decorative xmlns:adec="http://schemas.microsoft.com/office/drawing/2017/decorative" val="1"/>
                </a:ext>
              </a:extLst>
            </p:cNvPr>
            <p:cNvSpPr/>
            <p:nvPr/>
          </p:nvSpPr>
          <p:spPr>
            <a:xfrm>
              <a:off x="9716823" y="3015460"/>
              <a:ext cx="322154" cy="327510"/>
            </a:xfrm>
            <a:custGeom>
              <a:avLst/>
              <a:gdLst>
                <a:gd name="connsiteX0" fmla="*/ 443865 w 458152"/>
                <a:gd name="connsiteY0" fmla="*/ 194310 h 465772"/>
                <a:gd name="connsiteX1" fmla="*/ 458153 w 458152"/>
                <a:gd name="connsiteY1" fmla="*/ 210502 h 465772"/>
                <a:gd name="connsiteX2" fmla="*/ 458153 w 458152"/>
                <a:gd name="connsiteY2" fmla="*/ 232410 h 465772"/>
                <a:gd name="connsiteX3" fmla="*/ 458153 w 458152"/>
                <a:gd name="connsiteY3" fmla="*/ 254318 h 465772"/>
                <a:gd name="connsiteX4" fmla="*/ 443865 w 458152"/>
                <a:gd name="connsiteY4" fmla="*/ 270510 h 465772"/>
                <a:gd name="connsiteX5" fmla="*/ 401003 w 458152"/>
                <a:gd name="connsiteY5" fmla="*/ 278130 h 465772"/>
                <a:gd name="connsiteX6" fmla="*/ 381953 w 458152"/>
                <a:gd name="connsiteY6" fmla="*/ 324803 h 465772"/>
                <a:gd name="connsiteX7" fmla="*/ 407670 w 458152"/>
                <a:gd name="connsiteY7" fmla="*/ 360998 h 465772"/>
                <a:gd name="connsiteX8" fmla="*/ 405765 w 458152"/>
                <a:gd name="connsiteY8" fmla="*/ 382905 h 465772"/>
                <a:gd name="connsiteX9" fmla="*/ 391478 w 458152"/>
                <a:gd name="connsiteY9" fmla="*/ 398145 h 465772"/>
                <a:gd name="connsiteX10" fmla="*/ 377190 w 458152"/>
                <a:gd name="connsiteY10" fmla="*/ 413385 h 465772"/>
                <a:gd name="connsiteX11" fmla="*/ 356235 w 458152"/>
                <a:gd name="connsiteY11" fmla="*/ 415290 h 465772"/>
                <a:gd name="connsiteX12" fmla="*/ 320993 w 458152"/>
                <a:gd name="connsiteY12" fmla="*/ 389573 h 465772"/>
                <a:gd name="connsiteX13" fmla="*/ 276225 w 458152"/>
                <a:gd name="connsiteY13" fmla="*/ 408623 h 465772"/>
                <a:gd name="connsiteX14" fmla="*/ 268605 w 458152"/>
                <a:gd name="connsiteY14" fmla="*/ 451485 h 465772"/>
                <a:gd name="connsiteX15" fmla="*/ 252413 w 458152"/>
                <a:gd name="connsiteY15" fmla="*/ 465773 h 465772"/>
                <a:gd name="connsiteX16" fmla="*/ 230505 w 458152"/>
                <a:gd name="connsiteY16" fmla="*/ 465773 h 465772"/>
                <a:gd name="connsiteX17" fmla="*/ 209550 w 458152"/>
                <a:gd name="connsiteY17" fmla="*/ 465773 h 465772"/>
                <a:gd name="connsiteX18" fmla="*/ 193357 w 458152"/>
                <a:gd name="connsiteY18" fmla="*/ 451485 h 465772"/>
                <a:gd name="connsiteX19" fmla="*/ 185738 w 458152"/>
                <a:gd name="connsiteY19" fmla="*/ 408623 h 465772"/>
                <a:gd name="connsiteX20" fmla="*/ 140018 w 458152"/>
                <a:gd name="connsiteY20" fmla="*/ 389573 h 465772"/>
                <a:gd name="connsiteX21" fmla="*/ 104775 w 458152"/>
                <a:gd name="connsiteY21" fmla="*/ 415290 h 465772"/>
                <a:gd name="connsiteX22" fmla="*/ 83820 w 458152"/>
                <a:gd name="connsiteY22" fmla="*/ 413385 h 465772"/>
                <a:gd name="connsiteX23" fmla="*/ 69532 w 458152"/>
                <a:gd name="connsiteY23" fmla="*/ 398145 h 465772"/>
                <a:gd name="connsiteX24" fmla="*/ 55245 w 458152"/>
                <a:gd name="connsiteY24" fmla="*/ 382905 h 465772"/>
                <a:gd name="connsiteX25" fmla="*/ 52388 w 458152"/>
                <a:gd name="connsiteY25" fmla="*/ 362903 h 465772"/>
                <a:gd name="connsiteX26" fmla="*/ 77153 w 458152"/>
                <a:gd name="connsiteY26" fmla="*/ 326708 h 465772"/>
                <a:gd name="connsiteX27" fmla="*/ 57150 w 458152"/>
                <a:gd name="connsiteY27" fmla="*/ 280035 h 465772"/>
                <a:gd name="connsiteX28" fmla="*/ 14288 w 458152"/>
                <a:gd name="connsiteY28" fmla="*/ 272415 h 465772"/>
                <a:gd name="connsiteX29" fmla="*/ 0 w 458152"/>
                <a:gd name="connsiteY29" fmla="*/ 256223 h 465772"/>
                <a:gd name="connsiteX30" fmla="*/ 0 w 458152"/>
                <a:gd name="connsiteY30" fmla="*/ 234315 h 465772"/>
                <a:gd name="connsiteX31" fmla="*/ 0 w 458152"/>
                <a:gd name="connsiteY31" fmla="*/ 212408 h 465772"/>
                <a:gd name="connsiteX32" fmla="*/ 14288 w 458152"/>
                <a:gd name="connsiteY32" fmla="*/ 196215 h 465772"/>
                <a:gd name="connsiteX33" fmla="*/ 57150 w 458152"/>
                <a:gd name="connsiteY33" fmla="*/ 189548 h 465772"/>
                <a:gd name="connsiteX34" fmla="*/ 76200 w 458152"/>
                <a:gd name="connsiteY34" fmla="*/ 142875 h 465772"/>
                <a:gd name="connsiteX35" fmla="*/ 51435 w 458152"/>
                <a:gd name="connsiteY35" fmla="*/ 106680 h 465772"/>
                <a:gd name="connsiteX36" fmla="*/ 53340 w 458152"/>
                <a:gd name="connsiteY36" fmla="*/ 84773 h 465772"/>
                <a:gd name="connsiteX37" fmla="*/ 67628 w 458152"/>
                <a:gd name="connsiteY37" fmla="*/ 69532 h 465772"/>
                <a:gd name="connsiteX38" fmla="*/ 81915 w 458152"/>
                <a:gd name="connsiteY38" fmla="*/ 54293 h 465772"/>
                <a:gd name="connsiteX39" fmla="*/ 102870 w 458152"/>
                <a:gd name="connsiteY39" fmla="*/ 52388 h 465772"/>
                <a:gd name="connsiteX40" fmla="*/ 138113 w 458152"/>
                <a:gd name="connsiteY40" fmla="*/ 77152 h 465772"/>
                <a:gd name="connsiteX41" fmla="*/ 184785 w 458152"/>
                <a:gd name="connsiteY41" fmla="*/ 57150 h 465772"/>
                <a:gd name="connsiteX42" fmla="*/ 192405 w 458152"/>
                <a:gd name="connsiteY42" fmla="*/ 14288 h 465772"/>
                <a:gd name="connsiteX43" fmla="*/ 208598 w 458152"/>
                <a:gd name="connsiteY43" fmla="*/ 0 h 465772"/>
                <a:gd name="connsiteX44" fmla="*/ 229553 w 458152"/>
                <a:gd name="connsiteY44" fmla="*/ 0 h 465772"/>
                <a:gd name="connsiteX45" fmla="*/ 250507 w 458152"/>
                <a:gd name="connsiteY45" fmla="*/ 0 h 465772"/>
                <a:gd name="connsiteX46" fmla="*/ 266700 w 458152"/>
                <a:gd name="connsiteY46" fmla="*/ 14288 h 465772"/>
                <a:gd name="connsiteX47" fmla="*/ 274320 w 458152"/>
                <a:gd name="connsiteY47" fmla="*/ 58103 h 465772"/>
                <a:gd name="connsiteX48" fmla="*/ 320040 w 458152"/>
                <a:gd name="connsiteY48" fmla="*/ 77152 h 465772"/>
                <a:gd name="connsiteX49" fmla="*/ 355282 w 458152"/>
                <a:gd name="connsiteY49" fmla="*/ 51435 h 465772"/>
                <a:gd name="connsiteX50" fmla="*/ 376238 w 458152"/>
                <a:gd name="connsiteY50" fmla="*/ 53340 h 465772"/>
                <a:gd name="connsiteX51" fmla="*/ 390525 w 458152"/>
                <a:gd name="connsiteY51" fmla="*/ 68580 h 465772"/>
                <a:gd name="connsiteX52" fmla="*/ 406718 w 458152"/>
                <a:gd name="connsiteY52" fmla="*/ 83820 h 465772"/>
                <a:gd name="connsiteX53" fmla="*/ 408623 w 458152"/>
                <a:gd name="connsiteY53" fmla="*/ 105727 h 465772"/>
                <a:gd name="connsiteX54" fmla="*/ 382905 w 458152"/>
                <a:gd name="connsiteY54" fmla="*/ 141923 h 465772"/>
                <a:gd name="connsiteX55" fmla="*/ 401955 w 458152"/>
                <a:gd name="connsiteY55" fmla="*/ 188595 h 465772"/>
                <a:gd name="connsiteX56" fmla="*/ 443865 w 458152"/>
                <a:gd name="connsiteY56" fmla="*/ 194310 h 465772"/>
                <a:gd name="connsiteX57" fmla="*/ 443865 w 458152"/>
                <a:gd name="connsiteY57" fmla="*/ 194310 h 465772"/>
                <a:gd name="connsiteX58" fmla="*/ 112395 w 458152"/>
                <a:gd name="connsiteY58" fmla="*/ 272415 h 465772"/>
                <a:gd name="connsiteX59" fmla="*/ 232410 w 458152"/>
                <a:gd name="connsiteY59" fmla="*/ 360045 h 465772"/>
                <a:gd name="connsiteX60" fmla="*/ 355282 w 458152"/>
                <a:gd name="connsiteY60" fmla="*/ 263843 h 465772"/>
                <a:gd name="connsiteX61" fmla="*/ 112395 w 458152"/>
                <a:gd name="connsiteY61" fmla="*/ 196215 h 465772"/>
                <a:gd name="connsiteX62" fmla="*/ 233363 w 458152"/>
                <a:gd name="connsiteY62" fmla="*/ 106680 h 465772"/>
                <a:gd name="connsiteX63" fmla="*/ 351473 w 458152"/>
                <a:gd name="connsiteY63" fmla="*/ 188595 h 465772"/>
                <a:gd name="connsiteX64" fmla="*/ 346710 w 458152"/>
                <a:gd name="connsiteY64" fmla="*/ 188595 h 465772"/>
                <a:gd name="connsiteX65" fmla="*/ 292418 w 458152"/>
                <a:gd name="connsiteY65" fmla="*/ 188595 h 465772"/>
                <a:gd name="connsiteX66" fmla="*/ 350520 w 458152"/>
                <a:gd name="connsiteY66" fmla="*/ 129540 h 465772"/>
                <a:gd name="connsiteX67" fmla="*/ 350520 w 458152"/>
                <a:gd name="connsiteY67" fmla="*/ 188595 h 465772"/>
                <a:gd name="connsiteX68" fmla="*/ 343853 w 458152"/>
                <a:gd name="connsiteY68" fmla="*/ 188595 h 465772"/>
                <a:gd name="connsiteX69" fmla="*/ 119063 w 458152"/>
                <a:gd name="connsiteY69" fmla="*/ 272415 h 465772"/>
                <a:gd name="connsiteX70" fmla="*/ 170498 w 458152"/>
                <a:gd name="connsiteY70" fmla="*/ 272415 h 465772"/>
                <a:gd name="connsiteX71" fmla="*/ 112395 w 458152"/>
                <a:gd name="connsiteY71" fmla="*/ 331470 h 465772"/>
                <a:gd name="connsiteX72" fmla="*/ 112395 w 458152"/>
                <a:gd name="connsiteY72" fmla="*/ 272415 h 465772"/>
                <a:gd name="connsiteX73" fmla="*/ 119063 w 458152"/>
                <a:gd name="connsiteY73" fmla="*/ 272415 h 46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8152" h="465772">
                  <a:moveTo>
                    <a:pt x="443865" y="194310"/>
                  </a:moveTo>
                  <a:cubicBezTo>
                    <a:pt x="452438" y="196215"/>
                    <a:pt x="458153" y="202883"/>
                    <a:pt x="458153" y="210502"/>
                  </a:cubicBezTo>
                  <a:lnTo>
                    <a:pt x="458153" y="232410"/>
                  </a:lnTo>
                  <a:lnTo>
                    <a:pt x="458153" y="254318"/>
                  </a:lnTo>
                  <a:cubicBezTo>
                    <a:pt x="458153" y="262890"/>
                    <a:pt x="452438" y="269558"/>
                    <a:pt x="443865" y="270510"/>
                  </a:cubicBezTo>
                  <a:lnTo>
                    <a:pt x="401003" y="278130"/>
                  </a:lnTo>
                  <a:cubicBezTo>
                    <a:pt x="397193" y="294323"/>
                    <a:pt x="390525" y="309563"/>
                    <a:pt x="381953" y="324803"/>
                  </a:cubicBezTo>
                  <a:lnTo>
                    <a:pt x="407670" y="360998"/>
                  </a:lnTo>
                  <a:cubicBezTo>
                    <a:pt x="412432" y="367665"/>
                    <a:pt x="411480" y="377190"/>
                    <a:pt x="405765" y="382905"/>
                  </a:cubicBezTo>
                  <a:lnTo>
                    <a:pt x="391478" y="398145"/>
                  </a:lnTo>
                  <a:lnTo>
                    <a:pt x="377190" y="413385"/>
                  </a:lnTo>
                  <a:cubicBezTo>
                    <a:pt x="371475" y="419100"/>
                    <a:pt x="362903" y="420053"/>
                    <a:pt x="356235" y="415290"/>
                  </a:cubicBezTo>
                  <a:lnTo>
                    <a:pt x="320993" y="389573"/>
                  </a:lnTo>
                  <a:cubicBezTo>
                    <a:pt x="306705" y="398145"/>
                    <a:pt x="291465" y="404813"/>
                    <a:pt x="276225" y="408623"/>
                  </a:cubicBezTo>
                  <a:lnTo>
                    <a:pt x="268605" y="451485"/>
                  </a:lnTo>
                  <a:cubicBezTo>
                    <a:pt x="266700" y="460058"/>
                    <a:pt x="260032" y="465773"/>
                    <a:pt x="252413" y="465773"/>
                  </a:cubicBezTo>
                  <a:lnTo>
                    <a:pt x="230505" y="465773"/>
                  </a:lnTo>
                  <a:lnTo>
                    <a:pt x="209550" y="465773"/>
                  </a:lnTo>
                  <a:cubicBezTo>
                    <a:pt x="200978" y="465773"/>
                    <a:pt x="195263" y="460058"/>
                    <a:pt x="193357" y="451485"/>
                  </a:cubicBezTo>
                  <a:lnTo>
                    <a:pt x="185738" y="408623"/>
                  </a:lnTo>
                  <a:cubicBezTo>
                    <a:pt x="170498" y="404813"/>
                    <a:pt x="154305" y="398145"/>
                    <a:pt x="140018" y="389573"/>
                  </a:cubicBezTo>
                  <a:lnTo>
                    <a:pt x="104775" y="415290"/>
                  </a:lnTo>
                  <a:cubicBezTo>
                    <a:pt x="98107" y="420053"/>
                    <a:pt x="89535" y="419100"/>
                    <a:pt x="83820" y="413385"/>
                  </a:cubicBezTo>
                  <a:lnTo>
                    <a:pt x="69532" y="398145"/>
                  </a:lnTo>
                  <a:lnTo>
                    <a:pt x="55245" y="382905"/>
                  </a:lnTo>
                  <a:cubicBezTo>
                    <a:pt x="49530" y="377190"/>
                    <a:pt x="48578" y="367665"/>
                    <a:pt x="52388" y="362903"/>
                  </a:cubicBezTo>
                  <a:lnTo>
                    <a:pt x="77153" y="326708"/>
                  </a:lnTo>
                  <a:cubicBezTo>
                    <a:pt x="68580" y="311468"/>
                    <a:pt x="61913" y="296228"/>
                    <a:pt x="57150" y="280035"/>
                  </a:cubicBezTo>
                  <a:lnTo>
                    <a:pt x="14288" y="272415"/>
                  </a:lnTo>
                  <a:cubicBezTo>
                    <a:pt x="5715" y="270510"/>
                    <a:pt x="0" y="263843"/>
                    <a:pt x="0" y="256223"/>
                  </a:cubicBezTo>
                  <a:lnTo>
                    <a:pt x="0" y="234315"/>
                  </a:lnTo>
                  <a:lnTo>
                    <a:pt x="0" y="212408"/>
                  </a:lnTo>
                  <a:cubicBezTo>
                    <a:pt x="0" y="203835"/>
                    <a:pt x="5715" y="197168"/>
                    <a:pt x="14288" y="196215"/>
                  </a:cubicBezTo>
                  <a:lnTo>
                    <a:pt x="57150" y="189548"/>
                  </a:lnTo>
                  <a:cubicBezTo>
                    <a:pt x="60960" y="173355"/>
                    <a:pt x="67628" y="158115"/>
                    <a:pt x="76200" y="142875"/>
                  </a:cubicBezTo>
                  <a:lnTo>
                    <a:pt x="51435" y="106680"/>
                  </a:lnTo>
                  <a:cubicBezTo>
                    <a:pt x="46673" y="100013"/>
                    <a:pt x="47625" y="90488"/>
                    <a:pt x="53340" y="84773"/>
                  </a:cubicBezTo>
                  <a:lnTo>
                    <a:pt x="67628" y="69532"/>
                  </a:lnTo>
                  <a:lnTo>
                    <a:pt x="81915" y="54293"/>
                  </a:lnTo>
                  <a:cubicBezTo>
                    <a:pt x="87630" y="48578"/>
                    <a:pt x="96203" y="47625"/>
                    <a:pt x="102870" y="52388"/>
                  </a:cubicBezTo>
                  <a:lnTo>
                    <a:pt x="138113" y="77152"/>
                  </a:lnTo>
                  <a:cubicBezTo>
                    <a:pt x="152400" y="67628"/>
                    <a:pt x="168593" y="60960"/>
                    <a:pt x="184785" y="57150"/>
                  </a:cubicBezTo>
                  <a:lnTo>
                    <a:pt x="192405" y="14288"/>
                  </a:lnTo>
                  <a:cubicBezTo>
                    <a:pt x="194310" y="5715"/>
                    <a:pt x="200978" y="0"/>
                    <a:pt x="208598" y="0"/>
                  </a:cubicBezTo>
                  <a:lnTo>
                    <a:pt x="229553" y="0"/>
                  </a:lnTo>
                  <a:lnTo>
                    <a:pt x="250507" y="0"/>
                  </a:lnTo>
                  <a:cubicBezTo>
                    <a:pt x="259080" y="0"/>
                    <a:pt x="264795" y="5715"/>
                    <a:pt x="266700" y="14288"/>
                  </a:cubicBezTo>
                  <a:lnTo>
                    <a:pt x="274320" y="58103"/>
                  </a:lnTo>
                  <a:cubicBezTo>
                    <a:pt x="289560" y="61913"/>
                    <a:pt x="305753" y="68580"/>
                    <a:pt x="320040" y="77152"/>
                  </a:cubicBezTo>
                  <a:lnTo>
                    <a:pt x="355282" y="51435"/>
                  </a:lnTo>
                  <a:cubicBezTo>
                    <a:pt x="361950" y="47625"/>
                    <a:pt x="370523" y="47625"/>
                    <a:pt x="376238" y="53340"/>
                  </a:cubicBezTo>
                  <a:lnTo>
                    <a:pt x="390525" y="68580"/>
                  </a:lnTo>
                  <a:lnTo>
                    <a:pt x="406718" y="83820"/>
                  </a:lnTo>
                  <a:cubicBezTo>
                    <a:pt x="412432" y="89535"/>
                    <a:pt x="413385" y="99060"/>
                    <a:pt x="408623" y="105727"/>
                  </a:cubicBezTo>
                  <a:lnTo>
                    <a:pt x="382905" y="141923"/>
                  </a:lnTo>
                  <a:cubicBezTo>
                    <a:pt x="391478" y="157163"/>
                    <a:pt x="397193" y="171450"/>
                    <a:pt x="401955" y="188595"/>
                  </a:cubicBezTo>
                  <a:lnTo>
                    <a:pt x="443865" y="194310"/>
                  </a:lnTo>
                  <a:lnTo>
                    <a:pt x="443865" y="194310"/>
                  </a:lnTo>
                  <a:close/>
                  <a:moveTo>
                    <a:pt x="112395" y="272415"/>
                  </a:moveTo>
                  <a:cubicBezTo>
                    <a:pt x="128588" y="322898"/>
                    <a:pt x="177165" y="360045"/>
                    <a:pt x="232410" y="360045"/>
                  </a:cubicBezTo>
                  <a:cubicBezTo>
                    <a:pt x="291465" y="360045"/>
                    <a:pt x="341948" y="319088"/>
                    <a:pt x="355282" y="263843"/>
                  </a:cubicBezTo>
                  <a:moveTo>
                    <a:pt x="112395" y="196215"/>
                  </a:moveTo>
                  <a:cubicBezTo>
                    <a:pt x="127635" y="144780"/>
                    <a:pt x="177165" y="106680"/>
                    <a:pt x="233363" y="106680"/>
                  </a:cubicBezTo>
                  <a:cubicBezTo>
                    <a:pt x="287655" y="106680"/>
                    <a:pt x="333375" y="140018"/>
                    <a:pt x="351473" y="188595"/>
                  </a:cubicBezTo>
                  <a:moveTo>
                    <a:pt x="346710" y="188595"/>
                  </a:moveTo>
                  <a:cubicBezTo>
                    <a:pt x="292418" y="188595"/>
                    <a:pt x="292418" y="188595"/>
                    <a:pt x="292418" y="188595"/>
                  </a:cubicBezTo>
                  <a:moveTo>
                    <a:pt x="350520" y="129540"/>
                  </a:moveTo>
                  <a:cubicBezTo>
                    <a:pt x="350520" y="129540"/>
                    <a:pt x="350520" y="129540"/>
                    <a:pt x="350520" y="188595"/>
                  </a:cubicBezTo>
                  <a:cubicBezTo>
                    <a:pt x="350520" y="188595"/>
                    <a:pt x="350520" y="188595"/>
                    <a:pt x="343853" y="188595"/>
                  </a:cubicBezTo>
                  <a:moveTo>
                    <a:pt x="119063" y="272415"/>
                  </a:moveTo>
                  <a:cubicBezTo>
                    <a:pt x="170498" y="272415"/>
                    <a:pt x="170498" y="272415"/>
                    <a:pt x="170498" y="272415"/>
                  </a:cubicBezTo>
                  <a:moveTo>
                    <a:pt x="112395" y="331470"/>
                  </a:moveTo>
                  <a:cubicBezTo>
                    <a:pt x="112395" y="331470"/>
                    <a:pt x="112395" y="331470"/>
                    <a:pt x="112395" y="272415"/>
                  </a:cubicBezTo>
                  <a:cubicBezTo>
                    <a:pt x="112395" y="272415"/>
                    <a:pt x="112395" y="272415"/>
                    <a:pt x="119063" y="272415"/>
                  </a:cubicBez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8" name="Graphic 1">
              <a:extLst>
                <a:ext uri="{FF2B5EF4-FFF2-40B4-BE49-F238E27FC236}">
                  <a16:creationId xmlns:a16="http://schemas.microsoft.com/office/drawing/2014/main" id="{C9490F2D-181B-43C3-AE93-9DE536CC9B97}"/>
                </a:ext>
                <a:ext uri="{C183D7F6-B498-43B3-948B-1728B52AA6E4}">
                  <adec:decorative xmlns:adec="http://schemas.microsoft.com/office/drawing/2017/decorative" val="1"/>
                </a:ext>
              </a:extLst>
            </p:cNvPr>
            <p:cNvSpPr/>
            <p:nvPr/>
          </p:nvSpPr>
          <p:spPr>
            <a:xfrm>
              <a:off x="7247129" y="2221163"/>
              <a:ext cx="308543" cy="326940"/>
            </a:xfrm>
            <a:custGeom>
              <a:avLst/>
              <a:gdLst>
                <a:gd name="connsiteX0" fmla="*/ 414877 w 498415"/>
                <a:gd name="connsiteY0" fmla="*/ 471497 h 528133"/>
                <a:gd name="connsiteX1" fmla="*/ 395055 w 498415"/>
                <a:gd name="connsiteY1" fmla="*/ 479993 h 528133"/>
                <a:gd name="connsiteX2" fmla="*/ 386559 w 498415"/>
                <a:gd name="connsiteY2" fmla="*/ 499816 h 528133"/>
                <a:gd name="connsiteX3" fmla="*/ 395055 w 498415"/>
                <a:gd name="connsiteY3" fmla="*/ 519638 h 528133"/>
                <a:gd name="connsiteX4" fmla="*/ 414877 w 498415"/>
                <a:gd name="connsiteY4" fmla="*/ 528134 h 528133"/>
                <a:gd name="connsiteX5" fmla="*/ 246384 w 498415"/>
                <a:gd name="connsiteY5" fmla="*/ 526718 h 528133"/>
                <a:gd name="connsiteX6" fmla="*/ 226561 w 498415"/>
                <a:gd name="connsiteY6" fmla="*/ 518222 h 528133"/>
                <a:gd name="connsiteX7" fmla="*/ 218066 w 498415"/>
                <a:gd name="connsiteY7" fmla="*/ 498400 h 528133"/>
                <a:gd name="connsiteX8" fmla="*/ 226561 w 498415"/>
                <a:gd name="connsiteY8" fmla="*/ 478577 h 528133"/>
                <a:gd name="connsiteX9" fmla="*/ 246384 w 498415"/>
                <a:gd name="connsiteY9" fmla="*/ 470081 h 528133"/>
                <a:gd name="connsiteX10" fmla="*/ 414877 w 498415"/>
                <a:gd name="connsiteY10" fmla="*/ 470081 h 528133"/>
                <a:gd name="connsiteX11" fmla="*/ 470098 w 498415"/>
                <a:gd name="connsiteY11" fmla="*/ 249200 h 528133"/>
                <a:gd name="connsiteX12" fmla="*/ 283198 w 498415"/>
                <a:gd name="connsiteY12" fmla="*/ 249200 h 528133"/>
                <a:gd name="connsiteX13" fmla="*/ 254880 w 498415"/>
                <a:gd name="connsiteY13" fmla="*/ 277518 h 528133"/>
                <a:gd name="connsiteX14" fmla="*/ 254880 w 498415"/>
                <a:gd name="connsiteY14" fmla="*/ 471497 h 528133"/>
                <a:gd name="connsiteX15" fmla="*/ 441780 w 498415"/>
                <a:gd name="connsiteY15" fmla="*/ 304420 h 528133"/>
                <a:gd name="connsiteX16" fmla="*/ 470098 w 498415"/>
                <a:gd name="connsiteY16" fmla="*/ 304420 h 528133"/>
                <a:gd name="connsiteX17" fmla="*/ 498416 w 498415"/>
                <a:gd name="connsiteY17" fmla="*/ 276102 h 528133"/>
                <a:gd name="connsiteX18" fmla="*/ 470098 w 498415"/>
                <a:gd name="connsiteY18" fmla="*/ 247784 h 528133"/>
                <a:gd name="connsiteX19" fmla="*/ 441780 w 498415"/>
                <a:gd name="connsiteY19" fmla="*/ 276102 h 528133"/>
                <a:gd name="connsiteX20" fmla="*/ 441780 w 498415"/>
                <a:gd name="connsiteY20" fmla="*/ 423356 h 528133"/>
                <a:gd name="connsiteX21" fmla="*/ 441780 w 498415"/>
                <a:gd name="connsiteY21" fmla="*/ 424772 h 528133"/>
                <a:gd name="connsiteX22" fmla="*/ 441780 w 498415"/>
                <a:gd name="connsiteY22" fmla="*/ 498400 h 528133"/>
                <a:gd name="connsiteX23" fmla="*/ 246384 w 498415"/>
                <a:gd name="connsiteY23" fmla="*/ 526718 h 528133"/>
                <a:gd name="connsiteX24" fmla="*/ 414877 w 498415"/>
                <a:gd name="connsiteY24" fmla="*/ 526718 h 528133"/>
                <a:gd name="connsiteX25" fmla="*/ 443195 w 498415"/>
                <a:gd name="connsiteY25" fmla="*/ 498400 h 528133"/>
                <a:gd name="connsiteX26" fmla="*/ 283198 w 498415"/>
                <a:gd name="connsiteY26" fmla="*/ 304420 h 528133"/>
                <a:gd name="connsiteX27" fmla="*/ 413461 w 498415"/>
                <a:gd name="connsiteY27" fmla="*/ 304420 h 528133"/>
                <a:gd name="connsiteX28" fmla="*/ 283198 w 498415"/>
                <a:gd name="connsiteY28" fmla="*/ 341234 h 528133"/>
                <a:gd name="connsiteX29" fmla="*/ 413461 w 498415"/>
                <a:gd name="connsiteY29" fmla="*/ 341234 h 528133"/>
                <a:gd name="connsiteX30" fmla="*/ 283198 w 498415"/>
                <a:gd name="connsiteY30" fmla="*/ 378047 h 528133"/>
                <a:gd name="connsiteX31" fmla="*/ 413461 w 498415"/>
                <a:gd name="connsiteY31" fmla="*/ 378047 h 528133"/>
                <a:gd name="connsiteX32" fmla="*/ 283198 w 498415"/>
                <a:gd name="connsiteY32" fmla="*/ 416277 h 528133"/>
                <a:gd name="connsiteX33" fmla="*/ 413461 w 498415"/>
                <a:gd name="connsiteY33" fmla="*/ 416277 h 528133"/>
                <a:gd name="connsiteX34" fmla="*/ 205323 w 498415"/>
                <a:gd name="connsiteY34" fmla="*/ 416277 h 528133"/>
                <a:gd name="connsiteX35" fmla="*/ 16 w 498415"/>
                <a:gd name="connsiteY35" fmla="*/ 209554 h 528133"/>
                <a:gd name="connsiteX36" fmla="*/ 16 w 498415"/>
                <a:gd name="connsiteY36" fmla="*/ 209554 h 528133"/>
                <a:gd name="connsiteX37" fmla="*/ 16 w 498415"/>
                <a:gd name="connsiteY37" fmla="*/ 209554 h 528133"/>
                <a:gd name="connsiteX38" fmla="*/ 16 w 498415"/>
                <a:gd name="connsiteY38" fmla="*/ 209554 h 528133"/>
                <a:gd name="connsiteX39" fmla="*/ 205323 w 498415"/>
                <a:gd name="connsiteY39" fmla="*/ 0 h 528133"/>
                <a:gd name="connsiteX40" fmla="*/ 409214 w 498415"/>
                <a:gd name="connsiteY40" fmla="*/ 208138 h 528133"/>
                <a:gd name="connsiteX41" fmla="*/ 310100 w 498415"/>
                <a:gd name="connsiteY41" fmla="*/ 208138 h 528133"/>
                <a:gd name="connsiteX42" fmla="*/ 205323 w 498415"/>
                <a:gd name="connsiteY42" fmla="*/ 0 h 528133"/>
                <a:gd name="connsiteX43" fmla="*/ 100546 w 498415"/>
                <a:gd name="connsiteY43" fmla="*/ 208138 h 528133"/>
                <a:gd name="connsiteX44" fmla="*/ 205323 w 498415"/>
                <a:gd name="connsiteY44" fmla="*/ 414861 h 528133"/>
                <a:gd name="connsiteX45" fmla="*/ 205323 w 498415"/>
                <a:gd name="connsiteY45" fmla="*/ 414861 h 528133"/>
                <a:gd name="connsiteX46" fmla="*/ 205323 w 498415"/>
                <a:gd name="connsiteY46" fmla="*/ 414861 h 528133"/>
                <a:gd name="connsiteX47" fmla="*/ 205323 w 498415"/>
                <a:gd name="connsiteY47" fmla="*/ 414861 h 528133"/>
                <a:gd name="connsiteX48" fmla="*/ 8512 w 498415"/>
                <a:gd name="connsiteY48" fmla="*/ 144423 h 528133"/>
                <a:gd name="connsiteX49" fmla="*/ 399302 w 498415"/>
                <a:gd name="connsiteY49" fmla="*/ 144423 h 528133"/>
                <a:gd name="connsiteX50" fmla="*/ 8512 w 498415"/>
                <a:gd name="connsiteY50" fmla="*/ 281766 h 528133"/>
                <a:gd name="connsiteX51" fmla="*/ 205323 w 498415"/>
                <a:gd name="connsiteY51" fmla="*/ 281766 h 52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8415" h="528133">
                  <a:moveTo>
                    <a:pt x="414877" y="471497"/>
                  </a:moveTo>
                  <a:cubicBezTo>
                    <a:pt x="407798" y="471497"/>
                    <a:pt x="400718" y="474329"/>
                    <a:pt x="395055" y="479993"/>
                  </a:cubicBezTo>
                  <a:cubicBezTo>
                    <a:pt x="389391" y="485656"/>
                    <a:pt x="386559" y="491320"/>
                    <a:pt x="386559" y="499816"/>
                  </a:cubicBezTo>
                  <a:cubicBezTo>
                    <a:pt x="386559" y="506895"/>
                    <a:pt x="389391" y="513975"/>
                    <a:pt x="395055" y="519638"/>
                  </a:cubicBezTo>
                  <a:cubicBezTo>
                    <a:pt x="400718" y="525302"/>
                    <a:pt x="407798" y="528134"/>
                    <a:pt x="414877" y="528134"/>
                  </a:cubicBezTo>
                  <a:moveTo>
                    <a:pt x="246384" y="526718"/>
                  </a:moveTo>
                  <a:cubicBezTo>
                    <a:pt x="237889" y="526718"/>
                    <a:pt x="232225" y="523886"/>
                    <a:pt x="226561" y="518222"/>
                  </a:cubicBezTo>
                  <a:cubicBezTo>
                    <a:pt x="220898" y="512559"/>
                    <a:pt x="218066" y="506895"/>
                    <a:pt x="218066" y="498400"/>
                  </a:cubicBezTo>
                  <a:cubicBezTo>
                    <a:pt x="218066" y="491320"/>
                    <a:pt x="220898" y="484240"/>
                    <a:pt x="226561" y="478577"/>
                  </a:cubicBezTo>
                  <a:cubicBezTo>
                    <a:pt x="232225" y="472913"/>
                    <a:pt x="239305" y="470081"/>
                    <a:pt x="246384" y="470081"/>
                  </a:cubicBezTo>
                  <a:cubicBezTo>
                    <a:pt x="414877" y="470081"/>
                    <a:pt x="414877" y="470081"/>
                    <a:pt x="414877" y="470081"/>
                  </a:cubicBezTo>
                  <a:moveTo>
                    <a:pt x="470098" y="249200"/>
                  </a:moveTo>
                  <a:cubicBezTo>
                    <a:pt x="283198" y="249200"/>
                    <a:pt x="283198" y="249200"/>
                    <a:pt x="283198" y="249200"/>
                  </a:cubicBezTo>
                  <a:cubicBezTo>
                    <a:pt x="267623" y="249200"/>
                    <a:pt x="254880" y="261943"/>
                    <a:pt x="254880" y="277518"/>
                  </a:cubicBezTo>
                  <a:cubicBezTo>
                    <a:pt x="254880" y="471497"/>
                    <a:pt x="254880" y="471497"/>
                    <a:pt x="254880" y="471497"/>
                  </a:cubicBezTo>
                  <a:moveTo>
                    <a:pt x="441780" y="304420"/>
                  </a:moveTo>
                  <a:cubicBezTo>
                    <a:pt x="470098" y="304420"/>
                    <a:pt x="470098" y="304420"/>
                    <a:pt x="470098" y="304420"/>
                  </a:cubicBezTo>
                  <a:cubicBezTo>
                    <a:pt x="485673" y="304420"/>
                    <a:pt x="498416" y="291677"/>
                    <a:pt x="498416" y="276102"/>
                  </a:cubicBezTo>
                  <a:cubicBezTo>
                    <a:pt x="498416" y="260527"/>
                    <a:pt x="485673" y="247784"/>
                    <a:pt x="470098" y="247784"/>
                  </a:cubicBezTo>
                  <a:cubicBezTo>
                    <a:pt x="454523" y="247784"/>
                    <a:pt x="441780" y="260527"/>
                    <a:pt x="441780" y="276102"/>
                  </a:cubicBezTo>
                  <a:cubicBezTo>
                    <a:pt x="441780" y="423356"/>
                    <a:pt x="441780" y="423356"/>
                    <a:pt x="441780" y="423356"/>
                  </a:cubicBezTo>
                  <a:moveTo>
                    <a:pt x="441780" y="424772"/>
                  </a:moveTo>
                  <a:cubicBezTo>
                    <a:pt x="441780" y="498400"/>
                    <a:pt x="441780" y="498400"/>
                    <a:pt x="441780" y="498400"/>
                  </a:cubicBezTo>
                  <a:moveTo>
                    <a:pt x="246384" y="526718"/>
                  </a:moveTo>
                  <a:cubicBezTo>
                    <a:pt x="414877" y="526718"/>
                    <a:pt x="414877" y="526718"/>
                    <a:pt x="414877" y="526718"/>
                  </a:cubicBezTo>
                  <a:cubicBezTo>
                    <a:pt x="430452" y="526718"/>
                    <a:pt x="443195" y="513975"/>
                    <a:pt x="443195" y="498400"/>
                  </a:cubicBezTo>
                  <a:moveTo>
                    <a:pt x="283198" y="304420"/>
                  </a:moveTo>
                  <a:cubicBezTo>
                    <a:pt x="413461" y="304420"/>
                    <a:pt x="413461" y="304420"/>
                    <a:pt x="413461" y="304420"/>
                  </a:cubicBezTo>
                  <a:moveTo>
                    <a:pt x="283198" y="341234"/>
                  </a:moveTo>
                  <a:cubicBezTo>
                    <a:pt x="413461" y="341234"/>
                    <a:pt x="413461" y="341234"/>
                    <a:pt x="413461" y="341234"/>
                  </a:cubicBezTo>
                  <a:moveTo>
                    <a:pt x="283198" y="378047"/>
                  </a:moveTo>
                  <a:cubicBezTo>
                    <a:pt x="413461" y="378047"/>
                    <a:pt x="413461" y="378047"/>
                    <a:pt x="413461" y="378047"/>
                  </a:cubicBezTo>
                  <a:moveTo>
                    <a:pt x="283198" y="416277"/>
                  </a:moveTo>
                  <a:cubicBezTo>
                    <a:pt x="413461" y="416277"/>
                    <a:pt x="413461" y="416277"/>
                    <a:pt x="413461" y="416277"/>
                  </a:cubicBezTo>
                  <a:moveTo>
                    <a:pt x="205323" y="416277"/>
                  </a:moveTo>
                  <a:cubicBezTo>
                    <a:pt x="92050" y="416277"/>
                    <a:pt x="16" y="322827"/>
                    <a:pt x="16" y="209554"/>
                  </a:cubicBezTo>
                  <a:lnTo>
                    <a:pt x="16" y="209554"/>
                  </a:lnTo>
                  <a:lnTo>
                    <a:pt x="16" y="209554"/>
                  </a:lnTo>
                  <a:lnTo>
                    <a:pt x="16" y="209554"/>
                  </a:lnTo>
                  <a:cubicBezTo>
                    <a:pt x="-1400" y="93450"/>
                    <a:pt x="90634" y="0"/>
                    <a:pt x="205323" y="0"/>
                  </a:cubicBezTo>
                  <a:cubicBezTo>
                    <a:pt x="318596" y="0"/>
                    <a:pt x="409214" y="93450"/>
                    <a:pt x="409214" y="208138"/>
                  </a:cubicBezTo>
                  <a:moveTo>
                    <a:pt x="310100" y="208138"/>
                  </a:moveTo>
                  <a:cubicBezTo>
                    <a:pt x="310100" y="93450"/>
                    <a:pt x="263375" y="0"/>
                    <a:pt x="205323" y="0"/>
                  </a:cubicBezTo>
                  <a:cubicBezTo>
                    <a:pt x="147271" y="0"/>
                    <a:pt x="100546" y="93450"/>
                    <a:pt x="100546" y="208138"/>
                  </a:cubicBezTo>
                  <a:cubicBezTo>
                    <a:pt x="100546" y="321411"/>
                    <a:pt x="147271" y="414861"/>
                    <a:pt x="205323" y="414861"/>
                  </a:cubicBezTo>
                  <a:lnTo>
                    <a:pt x="205323" y="414861"/>
                  </a:lnTo>
                  <a:lnTo>
                    <a:pt x="205323" y="414861"/>
                  </a:lnTo>
                  <a:lnTo>
                    <a:pt x="205323" y="414861"/>
                  </a:lnTo>
                  <a:moveTo>
                    <a:pt x="8512" y="144423"/>
                  </a:moveTo>
                  <a:cubicBezTo>
                    <a:pt x="399302" y="144423"/>
                    <a:pt x="399302" y="144423"/>
                    <a:pt x="399302" y="144423"/>
                  </a:cubicBezTo>
                  <a:moveTo>
                    <a:pt x="8512" y="281766"/>
                  </a:moveTo>
                  <a:lnTo>
                    <a:pt x="205323" y="28176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9" name="Freeform: Shape 468">
              <a:extLst>
                <a:ext uri="{FF2B5EF4-FFF2-40B4-BE49-F238E27FC236}">
                  <a16:creationId xmlns:a16="http://schemas.microsoft.com/office/drawing/2014/main" id="{70907F52-8617-458A-968D-838554B171FC}"/>
                </a:ext>
                <a:ext uri="{C183D7F6-B498-43B3-948B-1728B52AA6E4}">
                  <adec:decorative xmlns:adec="http://schemas.microsoft.com/office/drawing/2017/decorative" val="1"/>
                </a:ext>
              </a:extLst>
            </p:cNvPr>
            <p:cNvSpPr/>
            <p:nvPr/>
          </p:nvSpPr>
          <p:spPr>
            <a:xfrm>
              <a:off x="10844930" y="3548576"/>
              <a:ext cx="326540" cy="381023"/>
            </a:xfrm>
            <a:custGeom>
              <a:avLst/>
              <a:gdLst>
                <a:gd name="connsiteX0" fmla="*/ 410247 w 431562"/>
                <a:gd name="connsiteY0" fmla="*/ 342796 h 503568"/>
                <a:gd name="connsiteX1" fmla="*/ 410247 w 431562"/>
                <a:gd name="connsiteY1" fmla="*/ 160772 h 503568"/>
                <a:gd name="connsiteX2" fmla="*/ 237463 w 431562"/>
                <a:gd name="connsiteY2" fmla="*/ 466610 h 503568"/>
                <a:gd name="connsiteX3" fmla="*/ 396387 w 431562"/>
                <a:gd name="connsiteY3" fmla="*/ 378832 h 503568"/>
                <a:gd name="connsiteX4" fmla="*/ 43427 w 431562"/>
                <a:gd name="connsiteY4" fmla="*/ 378832 h 503568"/>
                <a:gd name="connsiteX5" fmla="*/ 202351 w 431562"/>
                <a:gd name="connsiteY5" fmla="*/ 466610 h 503568"/>
                <a:gd name="connsiteX6" fmla="*/ 21251 w 431562"/>
                <a:gd name="connsiteY6" fmla="*/ 160772 h 503568"/>
                <a:gd name="connsiteX7" fmla="*/ 21251 w 431562"/>
                <a:gd name="connsiteY7" fmla="*/ 342796 h 503568"/>
                <a:gd name="connsiteX8" fmla="*/ 201427 w 431562"/>
                <a:gd name="connsiteY8" fmla="*/ 36035 h 503568"/>
                <a:gd name="connsiteX9" fmla="*/ 42503 w 431562"/>
                <a:gd name="connsiteY9" fmla="*/ 123813 h 503568"/>
                <a:gd name="connsiteX10" fmla="*/ 216211 w 431562"/>
                <a:gd name="connsiteY10" fmla="*/ 0 h 503568"/>
                <a:gd name="connsiteX11" fmla="*/ 194959 w 431562"/>
                <a:gd name="connsiteY11" fmla="*/ 22175 h 503568"/>
                <a:gd name="connsiteX12" fmla="*/ 196808 w 431562"/>
                <a:gd name="connsiteY12" fmla="*/ 31415 h 503568"/>
                <a:gd name="connsiteX13" fmla="*/ 216211 w 431562"/>
                <a:gd name="connsiteY13" fmla="*/ 43427 h 503568"/>
                <a:gd name="connsiteX14" fmla="*/ 235615 w 431562"/>
                <a:gd name="connsiteY14" fmla="*/ 31415 h 503568"/>
                <a:gd name="connsiteX15" fmla="*/ 238387 w 431562"/>
                <a:gd name="connsiteY15" fmla="*/ 21251 h 503568"/>
                <a:gd name="connsiteX16" fmla="*/ 216211 w 431562"/>
                <a:gd name="connsiteY16" fmla="*/ 0 h 503568"/>
                <a:gd name="connsiteX17" fmla="*/ 216211 w 431562"/>
                <a:gd name="connsiteY17" fmla="*/ 0 h 503568"/>
                <a:gd name="connsiteX18" fmla="*/ 216211 w 431562"/>
                <a:gd name="connsiteY18" fmla="*/ 459218 h 503568"/>
                <a:gd name="connsiteX19" fmla="*/ 197731 w 431562"/>
                <a:gd name="connsiteY19" fmla="*/ 470306 h 503568"/>
                <a:gd name="connsiteX20" fmla="*/ 194959 w 431562"/>
                <a:gd name="connsiteY20" fmla="*/ 481393 h 503568"/>
                <a:gd name="connsiteX21" fmla="*/ 216211 w 431562"/>
                <a:gd name="connsiteY21" fmla="*/ 503569 h 503568"/>
                <a:gd name="connsiteX22" fmla="*/ 237463 w 431562"/>
                <a:gd name="connsiteY22" fmla="*/ 481393 h 503568"/>
                <a:gd name="connsiteX23" fmla="*/ 234690 w 431562"/>
                <a:gd name="connsiteY23" fmla="*/ 470306 h 503568"/>
                <a:gd name="connsiteX24" fmla="*/ 216211 w 431562"/>
                <a:gd name="connsiteY24" fmla="*/ 459218 h 503568"/>
                <a:gd name="connsiteX25" fmla="*/ 216211 w 431562"/>
                <a:gd name="connsiteY25" fmla="*/ 459218 h 503568"/>
                <a:gd name="connsiteX26" fmla="*/ 22175 w 431562"/>
                <a:gd name="connsiteY26" fmla="*/ 342796 h 503568"/>
                <a:gd name="connsiteX27" fmla="*/ 22175 w 431562"/>
                <a:gd name="connsiteY27" fmla="*/ 342796 h 503568"/>
                <a:gd name="connsiteX28" fmla="*/ 0 w 431562"/>
                <a:gd name="connsiteY28" fmla="*/ 364972 h 503568"/>
                <a:gd name="connsiteX29" fmla="*/ 21251 w 431562"/>
                <a:gd name="connsiteY29" fmla="*/ 387147 h 503568"/>
                <a:gd name="connsiteX30" fmla="*/ 39731 w 431562"/>
                <a:gd name="connsiteY30" fmla="*/ 376060 h 503568"/>
                <a:gd name="connsiteX31" fmla="*/ 42503 w 431562"/>
                <a:gd name="connsiteY31" fmla="*/ 364972 h 503568"/>
                <a:gd name="connsiteX32" fmla="*/ 22175 w 431562"/>
                <a:gd name="connsiteY32" fmla="*/ 342796 h 503568"/>
                <a:gd name="connsiteX33" fmla="*/ 22175 w 431562"/>
                <a:gd name="connsiteY33" fmla="*/ 342796 h 503568"/>
                <a:gd name="connsiteX34" fmla="*/ 21251 w 431562"/>
                <a:gd name="connsiteY34" fmla="*/ 116421 h 503568"/>
                <a:gd name="connsiteX35" fmla="*/ 0 w 431562"/>
                <a:gd name="connsiteY35" fmla="*/ 138597 h 503568"/>
                <a:gd name="connsiteX36" fmla="*/ 21251 w 431562"/>
                <a:gd name="connsiteY36" fmla="*/ 160772 h 503568"/>
                <a:gd name="connsiteX37" fmla="*/ 21251 w 431562"/>
                <a:gd name="connsiteY37" fmla="*/ 160772 h 503568"/>
                <a:gd name="connsiteX38" fmla="*/ 42503 w 431562"/>
                <a:gd name="connsiteY38" fmla="*/ 138597 h 503568"/>
                <a:gd name="connsiteX39" fmla="*/ 39731 w 431562"/>
                <a:gd name="connsiteY39" fmla="*/ 128433 h 503568"/>
                <a:gd name="connsiteX40" fmla="*/ 21251 w 431562"/>
                <a:gd name="connsiteY40" fmla="*/ 116421 h 503568"/>
                <a:gd name="connsiteX41" fmla="*/ 21251 w 431562"/>
                <a:gd name="connsiteY41" fmla="*/ 116421 h 503568"/>
                <a:gd name="connsiteX42" fmla="*/ 411171 w 431562"/>
                <a:gd name="connsiteY42" fmla="*/ 342796 h 503568"/>
                <a:gd name="connsiteX43" fmla="*/ 411171 w 431562"/>
                <a:gd name="connsiteY43" fmla="*/ 342796 h 503568"/>
                <a:gd name="connsiteX44" fmla="*/ 388995 w 431562"/>
                <a:gd name="connsiteY44" fmla="*/ 364972 h 503568"/>
                <a:gd name="connsiteX45" fmla="*/ 391767 w 431562"/>
                <a:gd name="connsiteY45" fmla="*/ 376060 h 503568"/>
                <a:gd name="connsiteX46" fmla="*/ 410247 w 431562"/>
                <a:gd name="connsiteY46" fmla="*/ 387147 h 503568"/>
                <a:gd name="connsiteX47" fmla="*/ 431499 w 431562"/>
                <a:gd name="connsiteY47" fmla="*/ 364972 h 503568"/>
                <a:gd name="connsiteX48" fmla="*/ 411171 w 431562"/>
                <a:gd name="connsiteY48" fmla="*/ 342796 h 503568"/>
                <a:gd name="connsiteX49" fmla="*/ 411171 w 431562"/>
                <a:gd name="connsiteY49" fmla="*/ 342796 h 503568"/>
                <a:gd name="connsiteX50" fmla="*/ 410247 w 431562"/>
                <a:gd name="connsiteY50" fmla="*/ 160772 h 503568"/>
                <a:gd name="connsiteX51" fmla="*/ 410247 w 431562"/>
                <a:gd name="connsiteY51" fmla="*/ 160772 h 503568"/>
                <a:gd name="connsiteX52" fmla="*/ 431499 w 431562"/>
                <a:gd name="connsiteY52" fmla="*/ 138597 h 503568"/>
                <a:gd name="connsiteX53" fmla="*/ 410247 w 431562"/>
                <a:gd name="connsiteY53" fmla="*/ 116421 h 503568"/>
                <a:gd name="connsiteX54" fmla="*/ 391767 w 431562"/>
                <a:gd name="connsiteY54" fmla="*/ 127509 h 503568"/>
                <a:gd name="connsiteX55" fmla="*/ 388995 w 431562"/>
                <a:gd name="connsiteY55" fmla="*/ 138597 h 503568"/>
                <a:gd name="connsiteX56" fmla="*/ 410247 w 431562"/>
                <a:gd name="connsiteY56" fmla="*/ 160772 h 503568"/>
                <a:gd name="connsiteX57" fmla="*/ 410247 w 431562"/>
                <a:gd name="connsiteY57" fmla="*/ 160772 h 503568"/>
                <a:gd name="connsiteX58" fmla="*/ 104410 w 431562"/>
                <a:gd name="connsiteY58" fmla="*/ 180176 h 503568"/>
                <a:gd name="connsiteX59" fmla="*/ 104410 w 431562"/>
                <a:gd name="connsiteY59" fmla="*/ 352036 h 503568"/>
                <a:gd name="connsiteX60" fmla="*/ 326165 w 431562"/>
                <a:gd name="connsiteY60" fmla="*/ 352036 h 503568"/>
                <a:gd name="connsiteX61" fmla="*/ 129357 w 431562"/>
                <a:gd name="connsiteY61" fmla="*/ 352036 h 503568"/>
                <a:gd name="connsiteX62" fmla="*/ 162620 w 431562"/>
                <a:gd name="connsiteY62" fmla="*/ 276270 h 503568"/>
                <a:gd name="connsiteX63" fmla="*/ 223603 w 431562"/>
                <a:gd name="connsiteY63" fmla="*/ 300293 h 503568"/>
                <a:gd name="connsiteX64" fmla="*/ 312305 w 431562"/>
                <a:gd name="connsiteY64" fmla="*/ 170936 h 50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1562" h="503568">
                  <a:moveTo>
                    <a:pt x="410247" y="342796"/>
                  </a:moveTo>
                  <a:lnTo>
                    <a:pt x="410247" y="160772"/>
                  </a:lnTo>
                  <a:moveTo>
                    <a:pt x="237463" y="466610"/>
                  </a:moveTo>
                  <a:lnTo>
                    <a:pt x="396387" y="378832"/>
                  </a:lnTo>
                  <a:moveTo>
                    <a:pt x="43427" y="378832"/>
                  </a:moveTo>
                  <a:lnTo>
                    <a:pt x="202351" y="466610"/>
                  </a:lnTo>
                  <a:moveTo>
                    <a:pt x="21251" y="160772"/>
                  </a:moveTo>
                  <a:lnTo>
                    <a:pt x="21251" y="342796"/>
                  </a:lnTo>
                  <a:moveTo>
                    <a:pt x="201427" y="36035"/>
                  </a:moveTo>
                  <a:lnTo>
                    <a:pt x="42503" y="123813"/>
                  </a:lnTo>
                  <a:moveTo>
                    <a:pt x="216211" y="0"/>
                  </a:moveTo>
                  <a:cubicBezTo>
                    <a:pt x="204199" y="0"/>
                    <a:pt x="194959" y="10164"/>
                    <a:pt x="194959" y="22175"/>
                  </a:cubicBezTo>
                  <a:cubicBezTo>
                    <a:pt x="194959" y="25871"/>
                    <a:pt x="195884" y="28643"/>
                    <a:pt x="196808" y="31415"/>
                  </a:cubicBezTo>
                  <a:cubicBezTo>
                    <a:pt x="200504" y="38807"/>
                    <a:pt x="207895" y="43427"/>
                    <a:pt x="216211" y="43427"/>
                  </a:cubicBezTo>
                  <a:cubicBezTo>
                    <a:pt x="224527" y="43427"/>
                    <a:pt x="231919" y="38807"/>
                    <a:pt x="235615" y="31415"/>
                  </a:cubicBezTo>
                  <a:cubicBezTo>
                    <a:pt x="237463" y="28643"/>
                    <a:pt x="238387" y="24947"/>
                    <a:pt x="238387" y="21251"/>
                  </a:cubicBezTo>
                  <a:cubicBezTo>
                    <a:pt x="237463" y="10164"/>
                    <a:pt x="228223" y="0"/>
                    <a:pt x="216211" y="0"/>
                  </a:cubicBezTo>
                  <a:lnTo>
                    <a:pt x="216211" y="0"/>
                  </a:lnTo>
                  <a:close/>
                  <a:moveTo>
                    <a:pt x="216211" y="459218"/>
                  </a:moveTo>
                  <a:cubicBezTo>
                    <a:pt x="207895" y="459218"/>
                    <a:pt x="201427" y="463838"/>
                    <a:pt x="197731" y="470306"/>
                  </a:cubicBezTo>
                  <a:cubicBezTo>
                    <a:pt x="195884" y="473077"/>
                    <a:pt x="194959" y="476774"/>
                    <a:pt x="194959" y="481393"/>
                  </a:cubicBezTo>
                  <a:cubicBezTo>
                    <a:pt x="194959" y="493405"/>
                    <a:pt x="204199" y="503569"/>
                    <a:pt x="216211" y="503569"/>
                  </a:cubicBezTo>
                  <a:cubicBezTo>
                    <a:pt x="228223" y="503569"/>
                    <a:pt x="237463" y="493405"/>
                    <a:pt x="237463" y="481393"/>
                  </a:cubicBezTo>
                  <a:cubicBezTo>
                    <a:pt x="237463" y="477697"/>
                    <a:pt x="236539" y="474001"/>
                    <a:pt x="234690" y="470306"/>
                  </a:cubicBezTo>
                  <a:cubicBezTo>
                    <a:pt x="230995" y="463838"/>
                    <a:pt x="224527" y="459218"/>
                    <a:pt x="216211" y="459218"/>
                  </a:cubicBezTo>
                  <a:lnTo>
                    <a:pt x="216211" y="459218"/>
                  </a:lnTo>
                  <a:close/>
                  <a:moveTo>
                    <a:pt x="22175" y="342796"/>
                  </a:moveTo>
                  <a:cubicBezTo>
                    <a:pt x="22175" y="342796"/>
                    <a:pt x="22175" y="342796"/>
                    <a:pt x="22175" y="342796"/>
                  </a:cubicBezTo>
                  <a:cubicBezTo>
                    <a:pt x="10164" y="342796"/>
                    <a:pt x="0" y="352960"/>
                    <a:pt x="0" y="364972"/>
                  </a:cubicBezTo>
                  <a:cubicBezTo>
                    <a:pt x="0" y="376984"/>
                    <a:pt x="9240" y="387147"/>
                    <a:pt x="21251" y="387147"/>
                  </a:cubicBezTo>
                  <a:cubicBezTo>
                    <a:pt x="29567" y="387147"/>
                    <a:pt x="36035" y="382527"/>
                    <a:pt x="39731" y="376060"/>
                  </a:cubicBezTo>
                  <a:cubicBezTo>
                    <a:pt x="41579" y="373288"/>
                    <a:pt x="42503" y="369592"/>
                    <a:pt x="42503" y="364972"/>
                  </a:cubicBezTo>
                  <a:cubicBezTo>
                    <a:pt x="43427" y="352960"/>
                    <a:pt x="33263" y="342796"/>
                    <a:pt x="22175" y="342796"/>
                  </a:cubicBezTo>
                  <a:lnTo>
                    <a:pt x="22175" y="342796"/>
                  </a:lnTo>
                  <a:close/>
                  <a:moveTo>
                    <a:pt x="21251" y="116421"/>
                  </a:moveTo>
                  <a:cubicBezTo>
                    <a:pt x="9240" y="116421"/>
                    <a:pt x="0" y="126585"/>
                    <a:pt x="0" y="138597"/>
                  </a:cubicBezTo>
                  <a:cubicBezTo>
                    <a:pt x="0" y="150609"/>
                    <a:pt x="10164" y="160772"/>
                    <a:pt x="21251" y="160772"/>
                  </a:cubicBezTo>
                  <a:cubicBezTo>
                    <a:pt x="21251" y="160772"/>
                    <a:pt x="21251" y="160772"/>
                    <a:pt x="21251" y="160772"/>
                  </a:cubicBezTo>
                  <a:cubicBezTo>
                    <a:pt x="33263" y="160772"/>
                    <a:pt x="42503" y="150609"/>
                    <a:pt x="42503" y="138597"/>
                  </a:cubicBezTo>
                  <a:cubicBezTo>
                    <a:pt x="42503" y="134901"/>
                    <a:pt x="41579" y="131205"/>
                    <a:pt x="39731" y="128433"/>
                  </a:cubicBezTo>
                  <a:cubicBezTo>
                    <a:pt x="36959" y="121041"/>
                    <a:pt x="29567" y="116421"/>
                    <a:pt x="21251" y="116421"/>
                  </a:cubicBezTo>
                  <a:lnTo>
                    <a:pt x="21251" y="116421"/>
                  </a:lnTo>
                  <a:close/>
                  <a:moveTo>
                    <a:pt x="411171" y="342796"/>
                  </a:moveTo>
                  <a:cubicBezTo>
                    <a:pt x="411171" y="342796"/>
                    <a:pt x="411171" y="342796"/>
                    <a:pt x="411171" y="342796"/>
                  </a:cubicBezTo>
                  <a:cubicBezTo>
                    <a:pt x="399159" y="342796"/>
                    <a:pt x="388995" y="352960"/>
                    <a:pt x="388995" y="364972"/>
                  </a:cubicBezTo>
                  <a:cubicBezTo>
                    <a:pt x="388995" y="368668"/>
                    <a:pt x="389919" y="372364"/>
                    <a:pt x="391767" y="376060"/>
                  </a:cubicBezTo>
                  <a:cubicBezTo>
                    <a:pt x="395463" y="382527"/>
                    <a:pt x="401931" y="387147"/>
                    <a:pt x="410247" y="387147"/>
                  </a:cubicBezTo>
                  <a:cubicBezTo>
                    <a:pt x="422259" y="387147"/>
                    <a:pt x="431499" y="376984"/>
                    <a:pt x="431499" y="364972"/>
                  </a:cubicBezTo>
                  <a:cubicBezTo>
                    <a:pt x="432422" y="352960"/>
                    <a:pt x="423183" y="342796"/>
                    <a:pt x="411171" y="342796"/>
                  </a:cubicBezTo>
                  <a:lnTo>
                    <a:pt x="411171" y="342796"/>
                  </a:lnTo>
                  <a:close/>
                  <a:moveTo>
                    <a:pt x="410247" y="160772"/>
                  </a:moveTo>
                  <a:cubicBezTo>
                    <a:pt x="411171" y="160772"/>
                    <a:pt x="411171" y="160772"/>
                    <a:pt x="410247" y="160772"/>
                  </a:cubicBezTo>
                  <a:cubicBezTo>
                    <a:pt x="422259" y="160772"/>
                    <a:pt x="431499" y="150609"/>
                    <a:pt x="431499" y="138597"/>
                  </a:cubicBezTo>
                  <a:cubicBezTo>
                    <a:pt x="431499" y="126585"/>
                    <a:pt x="421334" y="116421"/>
                    <a:pt x="410247" y="116421"/>
                  </a:cubicBezTo>
                  <a:cubicBezTo>
                    <a:pt x="401931" y="116421"/>
                    <a:pt x="395463" y="121041"/>
                    <a:pt x="391767" y="127509"/>
                  </a:cubicBezTo>
                  <a:cubicBezTo>
                    <a:pt x="389919" y="130281"/>
                    <a:pt x="388995" y="133977"/>
                    <a:pt x="388995" y="138597"/>
                  </a:cubicBezTo>
                  <a:cubicBezTo>
                    <a:pt x="388995" y="150609"/>
                    <a:pt x="399159" y="160772"/>
                    <a:pt x="410247" y="160772"/>
                  </a:cubicBezTo>
                  <a:lnTo>
                    <a:pt x="410247" y="160772"/>
                  </a:lnTo>
                  <a:close/>
                  <a:moveTo>
                    <a:pt x="104410" y="180176"/>
                  </a:moveTo>
                  <a:lnTo>
                    <a:pt x="104410" y="352036"/>
                  </a:lnTo>
                  <a:lnTo>
                    <a:pt x="326165" y="352036"/>
                  </a:lnTo>
                  <a:moveTo>
                    <a:pt x="129357" y="352036"/>
                  </a:moveTo>
                  <a:lnTo>
                    <a:pt x="162620" y="276270"/>
                  </a:lnTo>
                  <a:lnTo>
                    <a:pt x="223603" y="300293"/>
                  </a:lnTo>
                  <a:lnTo>
                    <a:pt x="312305" y="170936"/>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Tree>
    <p:extLst>
      <p:ext uri="{BB962C8B-B14F-4D97-AF65-F5344CB8AC3E}">
        <p14:creationId xmlns:p14="http://schemas.microsoft.com/office/powerpoint/2010/main" val="1779330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hank_You_v4">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9F1091C-543B-79F9-56C4-5CE06DC3DFBB}"/>
              </a:ext>
            </a:extLst>
          </p:cNvPr>
          <p:cNvSpPr/>
          <p:nvPr userDrawn="1"/>
        </p:nvSpPr>
        <p:spPr bwMode="auto">
          <a:xfrm>
            <a:off x="21637" y="0"/>
            <a:ext cx="12192000" cy="685800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FF32021-1C6D-6FE8-580C-E8A6E7A883BE}"/>
              </a:ext>
            </a:extLst>
          </p:cNvPr>
          <p:cNvPicPr>
            <a:picLocks noChangeAspect="1"/>
          </p:cNvPicPr>
          <p:nvPr userDrawn="1"/>
        </p:nvPicPr>
        <p:blipFill>
          <a:blip r:embed="rId2">
            <a:alphaModFix amt="40000"/>
            <a:extLst>
              <a:ext uri="{96DAC541-7B7A-43D3-8B79-37D633B846F1}">
                <asvg:svgBlip xmlns:asvg="http://schemas.microsoft.com/office/drawing/2016/SVG/main" r:embed="rId3"/>
              </a:ext>
            </a:extLst>
          </a:blip>
          <a:srcRect r="3226" b="30326"/>
          <a:stretch/>
        </p:blipFill>
        <p:spPr>
          <a:xfrm flipH="1">
            <a:off x="0" y="1727807"/>
            <a:ext cx="12192000" cy="5130193"/>
          </a:xfrm>
          <a:prstGeom prst="rect">
            <a:avLst/>
          </a:prstGeom>
        </p:spPr>
      </p:pic>
      <p:pic>
        <p:nvPicPr>
          <p:cNvPr id="11" name="Graphic 10">
            <a:extLst>
              <a:ext uri="{FF2B5EF4-FFF2-40B4-BE49-F238E27FC236}">
                <a16:creationId xmlns:a16="http://schemas.microsoft.com/office/drawing/2014/main" id="{5E06A1DB-677A-E4CD-72F9-6BA694839D20}"/>
              </a:ext>
            </a:extLst>
          </p:cNvPr>
          <p:cNvPicPr>
            <a:picLocks noChangeAspect="1"/>
          </p:cNvPicPr>
          <p:nvPr userDrawn="1"/>
        </p:nvPicPr>
        <p:blipFill>
          <a:blip r:embed="rId2">
            <a:alphaModFix amt="40000"/>
            <a:extLst>
              <a:ext uri="{96DAC541-7B7A-43D3-8B79-37D633B846F1}">
                <asvg:svgBlip xmlns:asvg="http://schemas.microsoft.com/office/drawing/2016/SVG/main" r:embed="rId3"/>
              </a:ext>
            </a:extLst>
          </a:blip>
          <a:srcRect r="3226" b="30326"/>
          <a:stretch/>
        </p:blipFill>
        <p:spPr>
          <a:xfrm flipV="1">
            <a:off x="0" y="0"/>
            <a:ext cx="12192000" cy="5130193"/>
          </a:xfrm>
          <a:prstGeom prst="rect">
            <a:avLst/>
          </a:prstGeom>
        </p:spPr>
      </p:pic>
      <p:grpSp>
        <p:nvGrpSpPr>
          <p:cNvPr id="4" name="Group 3">
            <a:extLst>
              <a:ext uri="{FF2B5EF4-FFF2-40B4-BE49-F238E27FC236}">
                <a16:creationId xmlns:a16="http://schemas.microsoft.com/office/drawing/2014/main" id="{D96E1531-AC4F-97CF-22BB-8435B81FC42F}"/>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454AF9A7-2F9C-9897-8696-B5963079E5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lose-up of a logo&#10;&#10;Description automatically generated">
              <a:extLst>
                <a:ext uri="{FF2B5EF4-FFF2-40B4-BE49-F238E27FC236}">
                  <a16:creationId xmlns:a16="http://schemas.microsoft.com/office/drawing/2014/main" id="{252C6234-C5E0-3848-1E35-2FAD4916D2EC}"/>
                </a:ext>
              </a:extLst>
            </p:cNvPr>
            <p:cNvPicPr>
              <a:picLocks noChangeAspect="1"/>
            </p:cNvPicPr>
            <p:nvPr userDrawn="1"/>
          </p:nvPicPr>
          <p:blipFill>
            <a:blip r:embed="rId5"/>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EFE6D470-00BD-7A49-DE39-5C7705026F08}"/>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 Placeholder 11">
            <a:extLst>
              <a:ext uri="{FF2B5EF4-FFF2-40B4-BE49-F238E27FC236}">
                <a16:creationId xmlns:a16="http://schemas.microsoft.com/office/drawing/2014/main" id="{DC5D248E-CE66-5969-DE4D-9217DE9F680D}"/>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
        <p:nvSpPr>
          <p:cNvPr id="2" name="Footer Placeholder 1">
            <a:extLst>
              <a:ext uri="{FF2B5EF4-FFF2-40B4-BE49-F238E27FC236}">
                <a16:creationId xmlns:a16="http://schemas.microsoft.com/office/drawing/2014/main" id="{58E60D0A-A580-0C95-D47D-20D01C08E20B}"/>
              </a:ext>
            </a:extLst>
          </p:cNvPr>
          <p:cNvSpPr>
            <a:spLocks noGrp="1"/>
          </p:cNvSpPr>
          <p:nvPr>
            <p:ph type="ftr" sz="quarter" idx="12"/>
          </p:nvPr>
        </p:nvSpPr>
        <p:spPr>
          <a:xfrm>
            <a:off x="584200" y="6477356"/>
            <a:ext cx="4114800" cy="123111"/>
          </a:xfrm>
          <a:prstGeom prst="rect">
            <a:avLst/>
          </a:prstGeom>
        </p:spPr>
        <p:txBody>
          <a:bodyPr anchor="ctr"/>
          <a:lstStyle>
            <a:lvl1pPr>
              <a:defRPr sz="800">
                <a:solidFill>
                  <a:schemeClr val="bg1"/>
                </a:solidFill>
              </a:defRPr>
            </a:lvl1pPr>
          </a:lstStyle>
          <a:p>
            <a:r>
              <a:rPr lang="en-US"/>
              <a:t>© 2025 Microsoft. All rights reserved. Internal Microsoft use only.</a:t>
            </a:r>
          </a:p>
        </p:txBody>
      </p:sp>
    </p:spTree>
    <p:extLst>
      <p:ext uri="{BB962C8B-B14F-4D97-AF65-F5344CB8AC3E}">
        <p14:creationId xmlns:p14="http://schemas.microsoft.com/office/powerpoint/2010/main" val="1970755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92769"/>
            <a:ext cx="3810180" cy="724246"/>
          </a:xfrm>
          <a:noFill/>
        </p:spPr>
        <p:txBody>
          <a:bodyPr lIns="0" tIns="91440" rIns="0" bIns="91440" anchor="b" anchorCtr="0"/>
          <a:lstStyle>
            <a:lvl1pPr>
              <a:defRPr sz="3529" b="1" spc="-98" baseline="0">
                <a:solidFill>
                  <a:schemeClr val="accent3"/>
                </a:solidFill>
              </a:defRPr>
            </a:lvl1pPr>
          </a:lstStyle>
          <a:p>
            <a:r>
              <a:rPr lang="en-US"/>
              <a:t>Presentation title</a:t>
            </a:r>
          </a:p>
        </p:txBody>
      </p:sp>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89"/>
            <a:ext cx="3827949"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p:nvPicPr>
        <p:blipFill>
          <a:blip r:embed="rId2"/>
          <a:stretch>
            <a:fillRect/>
          </a:stretch>
        </p:blipFill>
        <p:spPr bwMode="black">
          <a:xfrm>
            <a:off x="572717" y="574354"/>
            <a:ext cx="1339387" cy="286897"/>
          </a:xfrm>
          <a:prstGeom prst="rect">
            <a:avLst/>
          </a:prstGeom>
        </p:spPr>
      </p:pic>
      <p:sp>
        <p:nvSpPr>
          <p:cNvPr id="191" name="Rectangle 190">
            <a:extLst>
              <a:ext uri="{FF2B5EF4-FFF2-40B4-BE49-F238E27FC236}">
                <a16:creationId xmlns:a16="http://schemas.microsoft.com/office/drawing/2014/main" id="{52B8253C-872E-4B16-97C2-163C70491B21}"/>
              </a:ext>
            </a:extLst>
          </p:cNvPr>
          <p:cNvSpPr/>
          <p:nvPr/>
        </p:nvSpPr>
        <p:spPr>
          <a:xfrm>
            <a:off x="588263" y="6598452"/>
            <a:ext cx="1232049" cy="135796"/>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Sans Text"/>
                <a:ea typeface="+mn-ea"/>
                <a:cs typeface="+mn-cs"/>
              </a:rPr>
              <a:t>Microsoft Confidential</a:t>
            </a:r>
          </a:p>
        </p:txBody>
      </p:sp>
      <p:grpSp>
        <p:nvGrpSpPr>
          <p:cNvPr id="2" name="Group 1">
            <a:extLst>
              <a:ext uri="{FF2B5EF4-FFF2-40B4-BE49-F238E27FC236}">
                <a16:creationId xmlns:a16="http://schemas.microsoft.com/office/drawing/2014/main" id="{8A9BC49A-4C29-468A-9BB6-5069DBB020DF}"/>
              </a:ext>
              <a:ext uri="{C183D7F6-B498-43B3-948B-1728B52AA6E4}">
                <adec:decorative xmlns:adec="http://schemas.microsoft.com/office/drawing/2017/decorative" val="1"/>
              </a:ext>
            </a:extLst>
          </p:cNvPr>
          <p:cNvGrpSpPr/>
          <p:nvPr userDrawn="1"/>
        </p:nvGrpSpPr>
        <p:grpSpPr>
          <a:xfrm>
            <a:off x="4070307" y="1"/>
            <a:ext cx="8121694" cy="6858000"/>
            <a:chOff x="4151925" y="1"/>
            <a:chExt cx="8284551" cy="6994525"/>
          </a:xfrm>
        </p:grpSpPr>
        <p:sp>
          <p:nvSpPr>
            <p:cNvPr id="1164" name="Freeform: Shape 1163">
              <a:extLst>
                <a:ext uri="{FF2B5EF4-FFF2-40B4-BE49-F238E27FC236}">
                  <a16:creationId xmlns:a16="http://schemas.microsoft.com/office/drawing/2014/main" id="{5EA46812-E7FF-4DEB-AEF6-A898128F39AD}"/>
                </a:ext>
                <a:ext uri="{C183D7F6-B498-43B3-948B-1728B52AA6E4}">
                  <adec:decorative xmlns:adec="http://schemas.microsoft.com/office/drawing/2017/decorative" val="1"/>
                </a:ext>
              </a:extLst>
            </p:cNvPr>
            <p:cNvSpPr/>
            <p:nvPr userDrawn="1"/>
          </p:nvSpPr>
          <p:spPr>
            <a:xfrm flipH="1" flipV="1">
              <a:off x="4151925" y="1"/>
              <a:ext cx="2626806" cy="3905171"/>
            </a:xfrm>
            <a:custGeom>
              <a:avLst/>
              <a:gdLst>
                <a:gd name="connsiteX0" fmla="*/ 1200667 w 2626806"/>
                <a:gd name="connsiteY0" fmla="*/ 3105 h 3905171"/>
                <a:gd name="connsiteX1" fmla="*/ 1199844 w 2626806"/>
                <a:gd name="connsiteY1" fmla="*/ 361 h 3905171"/>
                <a:gd name="connsiteX2" fmla="*/ 1200667 w 2626806"/>
                <a:gd name="connsiteY2" fmla="*/ 909 h 3905171"/>
                <a:gd name="connsiteX3" fmla="*/ 1200667 w 2626806"/>
                <a:gd name="connsiteY3" fmla="*/ 3105 h 3905171"/>
                <a:gd name="connsiteX4" fmla="*/ 1126038 w 2626806"/>
                <a:gd name="connsiteY4" fmla="*/ 115049 h 3905171"/>
                <a:gd name="connsiteX5" fmla="*/ 1121648 w 2626806"/>
                <a:gd name="connsiteY5" fmla="*/ 110659 h 3905171"/>
                <a:gd name="connsiteX6" fmla="*/ 1126038 w 2626806"/>
                <a:gd name="connsiteY6" fmla="*/ 106269 h 3905171"/>
                <a:gd name="connsiteX7" fmla="*/ 1130428 w 2626806"/>
                <a:gd name="connsiteY7" fmla="*/ 110659 h 3905171"/>
                <a:gd name="connsiteX8" fmla="*/ 1126038 w 2626806"/>
                <a:gd name="connsiteY8" fmla="*/ 115049 h 3905171"/>
                <a:gd name="connsiteX9" fmla="*/ 924097 w 2626806"/>
                <a:gd name="connsiteY9" fmla="*/ 167725 h 3905171"/>
                <a:gd name="connsiteX10" fmla="*/ 917512 w 2626806"/>
                <a:gd name="connsiteY10" fmla="*/ 161140 h 3905171"/>
                <a:gd name="connsiteX11" fmla="*/ 924097 w 2626806"/>
                <a:gd name="connsiteY11" fmla="*/ 154555 h 3905171"/>
                <a:gd name="connsiteX12" fmla="*/ 930682 w 2626806"/>
                <a:gd name="connsiteY12" fmla="*/ 161140 h 3905171"/>
                <a:gd name="connsiteX13" fmla="*/ 924097 w 2626806"/>
                <a:gd name="connsiteY13" fmla="*/ 167725 h 3905171"/>
                <a:gd name="connsiteX14" fmla="*/ 1259933 w 2626806"/>
                <a:gd name="connsiteY14" fmla="*/ 178707 h 3905171"/>
                <a:gd name="connsiteX15" fmla="*/ 1257738 w 2626806"/>
                <a:gd name="connsiteY15" fmla="*/ 176512 h 3905171"/>
                <a:gd name="connsiteX16" fmla="*/ 1259933 w 2626806"/>
                <a:gd name="connsiteY16" fmla="*/ 174318 h 3905171"/>
                <a:gd name="connsiteX17" fmla="*/ 1262128 w 2626806"/>
                <a:gd name="connsiteY17" fmla="*/ 176512 h 3905171"/>
                <a:gd name="connsiteX18" fmla="*/ 1259933 w 2626806"/>
                <a:gd name="connsiteY18" fmla="*/ 178707 h 3905171"/>
                <a:gd name="connsiteX19" fmla="*/ 1057992 w 2626806"/>
                <a:gd name="connsiteY19" fmla="*/ 229189 h 3905171"/>
                <a:gd name="connsiteX20" fmla="*/ 1053602 w 2626806"/>
                <a:gd name="connsiteY20" fmla="*/ 224799 h 3905171"/>
                <a:gd name="connsiteX21" fmla="*/ 1057992 w 2626806"/>
                <a:gd name="connsiteY21" fmla="*/ 220409 h 3905171"/>
                <a:gd name="connsiteX22" fmla="*/ 1062382 w 2626806"/>
                <a:gd name="connsiteY22" fmla="*/ 224799 h 3905171"/>
                <a:gd name="connsiteX23" fmla="*/ 1057992 w 2626806"/>
                <a:gd name="connsiteY23" fmla="*/ 229189 h 3905171"/>
                <a:gd name="connsiteX24" fmla="*/ 862637 w 2626806"/>
                <a:gd name="connsiteY24" fmla="*/ 284060 h 3905171"/>
                <a:gd name="connsiteX25" fmla="*/ 856052 w 2626806"/>
                <a:gd name="connsiteY25" fmla="*/ 277476 h 3905171"/>
                <a:gd name="connsiteX26" fmla="*/ 862637 w 2626806"/>
                <a:gd name="connsiteY26" fmla="*/ 270890 h 3905171"/>
                <a:gd name="connsiteX27" fmla="*/ 869222 w 2626806"/>
                <a:gd name="connsiteY27" fmla="*/ 277476 h 3905171"/>
                <a:gd name="connsiteX28" fmla="*/ 862637 w 2626806"/>
                <a:gd name="connsiteY28" fmla="*/ 284060 h 3905171"/>
                <a:gd name="connsiteX29" fmla="*/ 676061 w 2626806"/>
                <a:gd name="connsiteY29" fmla="*/ 338932 h 3905171"/>
                <a:gd name="connsiteX30" fmla="*/ 671671 w 2626806"/>
                <a:gd name="connsiteY30" fmla="*/ 334542 h 3905171"/>
                <a:gd name="connsiteX31" fmla="*/ 676061 w 2626806"/>
                <a:gd name="connsiteY31" fmla="*/ 330153 h 3905171"/>
                <a:gd name="connsiteX32" fmla="*/ 680451 w 2626806"/>
                <a:gd name="connsiteY32" fmla="*/ 334542 h 3905171"/>
                <a:gd name="connsiteX33" fmla="*/ 676061 w 2626806"/>
                <a:gd name="connsiteY33" fmla="*/ 338932 h 3905171"/>
                <a:gd name="connsiteX34" fmla="*/ 996532 w 2626806"/>
                <a:gd name="connsiteY34" fmla="*/ 352109 h 3905171"/>
                <a:gd name="connsiteX35" fmla="*/ 987752 w 2626806"/>
                <a:gd name="connsiteY35" fmla="*/ 343329 h 3905171"/>
                <a:gd name="connsiteX36" fmla="*/ 996532 w 2626806"/>
                <a:gd name="connsiteY36" fmla="*/ 334548 h 3905171"/>
                <a:gd name="connsiteX37" fmla="*/ 1005312 w 2626806"/>
                <a:gd name="connsiteY37" fmla="*/ 343329 h 3905171"/>
                <a:gd name="connsiteX38" fmla="*/ 996532 w 2626806"/>
                <a:gd name="connsiteY38" fmla="*/ 352109 h 3905171"/>
                <a:gd name="connsiteX39" fmla="*/ 807762 w 2626806"/>
                <a:gd name="connsiteY39" fmla="*/ 404785 h 3905171"/>
                <a:gd name="connsiteX40" fmla="*/ 803372 w 2626806"/>
                <a:gd name="connsiteY40" fmla="*/ 400395 h 3905171"/>
                <a:gd name="connsiteX41" fmla="*/ 807762 w 2626806"/>
                <a:gd name="connsiteY41" fmla="*/ 396005 h 3905171"/>
                <a:gd name="connsiteX42" fmla="*/ 812152 w 2626806"/>
                <a:gd name="connsiteY42" fmla="*/ 400395 h 3905171"/>
                <a:gd name="connsiteX43" fmla="*/ 807762 w 2626806"/>
                <a:gd name="connsiteY43" fmla="*/ 404785 h 3905171"/>
                <a:gd name="connsiteX44" fmla="*/ 1130428 w 2626806"/>
                <a:gd name="connsiteY44" fmla="*/ 409182 h 3905171"/>
                <a:gd name="connsiteX45" fmla="*/ 1128232 w 2626806"/>
                <a:gd name="connsiteY45" fmla="*/ 406987 h 3905171"/>
                <a:gd name="connsiteX46" fmla="*/ 1130428 w 2626806"/>
                <a:gd name="connsiteY46" fmla="*/ 404792 h 3905171"/>
                <a:gd name="connsiteX47" fmla="*/ 1132623 w 2626806"/>
                <a:gd name="connsiteY47" fmla="*/ 406987 h 3905171"/>
                <a:gd name="connsiteX48" fmla="*/ 1130428 w 2626806"/>
                <a:gd name="connsiteY48" fmla="*/ 409182 h 3905171"/>
                <a:gd name="connsiteX49" fmla="*/ 627771 w 2626806"/>
                <a:gd name="connsiteY49" fmla="*/ 466241 h 3905171"/>
                <a:gd name="connsiteX50" fmla="*/ 621186 w 2626806"/>
                <a:gd name="connsiteY50" fmla="*/ 459656 h 3905171"/>
                <a:gd name="connsiteX51" fmla="*/ 627771 w 2626806"/>
                <a:gd name="connsiteY51" fmla="*/ 453072 h 3905171"/>
                <a:gd name="connsiteX52" fmla="*/ 634356 w 2626806"/>
                <a:gd name="connsiteY52" fmla="*/ 459656 h 3905171"/>
                <a:gd name="connsiteX53" fmla="*/ 627771 w 2626806"/>
                <a:gd name="connsiteY53" fmla="*/ 466241 h 3905171"/>
                <a:gd name="connsiteX54" fmla="*/ 941657 w 2626806"/>
                <a:gd name="connsiteY54" fmla="*/ 470639 h 3905171"/>
                <a:gd name="connsiteX55" fmla="*/ 935072 w 2626806"/>
                <a:gd name="connsiteY55" fmla="*/ 464053 h 3905171"/>
                <a:gd name="connsiteX56" fmla="*/ 941657 w 2626806"/>
                <a:gd name="connsiteY56" fmla="*/ 457468 h 3905171"/>
                <a:gd name="connsiteX57" fmla="*/ 948242 w 2626806"/>
                <a:gd name="connsiteY57" fmla="*/ 464053 h 3905171"/>
                <a:gd name="connsiteX58" fmla="*/ 941657 w 2626806"/>
                <a:gd name="connsiteY58" fmla="*/ 470639 h 3905171"/>
                <a:gd name="connsiteX59" fmla="*/ 761667 w 2626806"/>
                <a:gd name="connsiteY59" fmla="*/ 529905 h 3905171"/>
                <a:gd name="connsiteX60" fmla="*/ 755082 w 2626806"/>
                <a:gd name="connsiteY60" fmla="*/ 523320 h 3905171"/>
                <a:gd name="connsiteX61" fmla="*/ 761667 w 2626806"/>
                <a:gd name="connsiteY61" fmla="*/ 516734 h 3905171"/>
                <a:gd name="connsiteX62" fmla="*/ 768252 w 2626806"/>
                <a:gd name="connsiteY62" fmla="*/ 523320 h 3905171"/>
                <a:gd name="connsiteX63" fmla="*/ 761667 w 2626806"/>
                <a:gd name="connsiteY63" fmla="*/ 529905 h 3905171"/>
                <a:gd name="connsiteX64" fmla="*/ 586066 w 2626806"/>
                <a:gd name="connsiteY64" fmla="*/ 593557 h 3905171"/>
                <a:gd name="connsiteX65" fmla="*/ 579481 w 2626806"/>
                <a:gd name="connsiteY65" fmla="*/ 586972 h 3905171"/>
                <a:gd name="connsiteX66" fmla="*/ 586066 w 2626806"/>
                <a:gd name="connsiteY66" fmla="*/ 580387 h 3905171"/>
                <a:gd name="connsiteX67" fmla="*/ 592651 w 2626806"/>
                <a:gd name="connsiteY67" fmla="*/ 586972 h 3905171"/>
                <a:gd name="connsiteX68" fmla="*/ 586066 w 2626806"/>
                <a:gd name="connsiteY68" fmla="*/ 593557 h 3905171"/>
                <a:gd name="connsiteX69" fmla="*/ 895563 w 2626806"/>
                <a:gd name="connsiteY69" fmla="*/ 593563 h 3905171"/>
                <a:gd name="connsiteX70" fmla="*/ 891173 w 2626806"/>
                <a:gd name="connsiteY70" fmla="*/ 589174 h 3905171"/>
                <a:gd name="connsiteX71" fmla="*/ 895563 w 2626806"/>
                <a:gd name="connsiteY71" fmla="*/ 584784 h 3905171"/>
                <a:gd name="connsiteX72" fmla="*/ 899953 w 2626806"/>
                <a:gd name="connsiteY72" fmla="*/ 589174 h 3905171"/>
                <a:gd name="connsiteX73" fmla="*/ 895563 w 2626806"/>
                <a:gd name="connsiteY73" fmla="*/ 593563 h 3905171"/>
                <a:gd name="connsiteX74" fmla="*/ 1029457 w 2626806"/>
                <a:gd name="connsiteY74" fmla="*/ 657221 h 3905171"/>
                <a:gd name="connsiteX75" fmla="*/ 1025067 w 2626806"/>
                <a:gd name="connsiteY75" fmla="*/ 652833 h 3905171"/>
                <a:gd name="connsiteX76" fmla="*/ 1029457 w 2626806"/>
                <a:gd name="connsiteY76" fmla="*/ 648443 h 3905171"/>
                <a:gd name="connsiteX77" fmla="*/ 1033847 w 2626806"/>
                <a:gd name="connsiteY77" fmla="*/ 652833 h 3905171"/>
                <a:gd name="connsiteX78" fmla="*/ 1029457 w 2626806"/>
                <a:gd name="connsiteY78" fmla="*/ 657221 h 3905171"/>
                <a:gd name="connsiteX79" fmla="*/ 719962 w 2626806"/>
                <a:gd name="connsiteY79" fmla="*/ 661605 h 3905171"/>
                <a:gd name="connsiteX80" fmla="*/ 708987 w 2626806"/>
                <a:gd name="connsiteY80" fmla="*/ 650631 h 3905171"/>
                <a:gd name="connsiteX81" fmla="*/ 719962 w 2626806"/>
                <a:gd name="connsiteY81" fmla="*/ 639656 h 3905171"/>
                <a:gd name="connsiteX82" fmla="*/ 730936 w 2626806"/>
                <a:gd name="connsiteY82" fmla="*/ 650631 h 3905171"/>
                <a:gd name="connsiteX83" fmla="*/ 719962 w 2626806"/>
                <a:gd name="connsiteY83" fmla="*/ 661605 h 3905171"/>
                <a:gd name="connsiteX84" fmla="*/ 550946 w 2626806"/>
                <a:gd name="connsiteY84" fmla="*/ 720866 h 3905171"/>
                <a:gd name="connsiteX85" fmla="*/ 544361 w 2626806"/>
                <a:gd name="connsiteY85" fmla="*/ 714282 h 3905171"/>
                <a:gd name="connsiteX86" fmla="*/ 550946 w 2626806"/>
                <a:gd name="connsiteY86" fmla="*/ 707697 h 3905171"/>
                <a:gd name="connsiteX87" fmla="*/ 557531 w 2626806"/>
                <a:gd name="connsiteY87" fmla="*/ 714282 h 3905171"/>
                <a:gd name="connsiteX88" fmla="*/ 550946 w 2626806"/>
                <a:gd name="connsiteY88" fmla="*/ 720866 h 3905171"/>
                <a:gd name="connsiteX89" fmla="*/ 856052 w 2626806"/>
                <a:gd name="connsiteY89" fmla="*/ 723070 h 3905171"/>
                <a:gd name="connsiteX90" fmla="*/ 849467 w 2626806"/>
                <a:gd name="connsiteY90" fmla="*/ 716484 h 3905171"/>
                <a:gd name="connsiteX91" fmla="*/ 856052 w 2626806"/>
                <a:gd name="connsiteY91" fmla="*/ 709900 h 3905171"/>
                <a:gd name="connsiteX92" fmla="*/ 862637 w 2626806"/>
                <a:gd name="connsiteY92" fmla="*/ 716484 h 3905171"/>
                <a:gd name="connsiteX93" fmla="*/ 856052 w 2626806"/>
                <a:gd name="connsiteY93" fmla="*/ 723070 h 3905171"/>
                <a:gd name="connsiteX94" fmla="*/ 384126 w 2626806"/>
                <a:gd name="connsiteY94" fmla="*/ 782321 h 3905171"/>
                <a:gd name="connsiteX95" fmla="*/ 379736 w 2626806"/>
                <a:gd name="connsiteY95" fmla="*/ 777931 h 3905171"/>
                <a:gd name="connsiteX96" fmla="*/ 384126 w 2626806"/>
                <a:gd name="connsiteY96" fmla="*/ 773541 h 3905171"/>
                <a:gd name="connsiteX97" fmla="*/ 388516 w 2626806"/>
                <a:gd name="connsiteY97" fmla="*/ 777931 h 3905171"/>
                <a:gd name="connsiteX98" fmla="*/ 384126 w 2626806"/>
                <a:gd name="connsiteY98" fmla="*/ 782321 h 3905171"/>
                <a:gd name="connsiteX99" fmla="*/ 992142 w 2626806"/>
                <a:gd name="connsiteY99" fmla="*/ 784532 h 3905171"/>
                <a:gd name="connsiteX100" fmla="*/ 989947 w 2626806"/>
                <a:gd name="connsiteY100" fmla="*/ 782337 h 3905171"/>
                <a:gd name="connsiteX101" fmla="*/ 992142 w 2626806"/>
                <a:gd name="connsiteY101" fmla="*/ 780142 h 3905171"/>
                <a:gd name="connsiteX102" fmla="*/ 994337 w 2626806"/>
                <a:gd name="connsiteY102" fmla="*/ 782337 h 3905171"/>
                <a:gd name="connsiteX103" fmla="*/ 992142 w 2626806"/>
                <a:gd name="connsiteY103" fmla="*/ 784532 h 3905171"/>
                <a:gd name="connsiteX104" fmla="*/ 687037 w 2626806"/>
                <a:gd name="connsiteY104" fmla="*/ 788915 h 3905171"/>
                <a:gd name="connsiteX105" fmla="*/ 678257 w 2626806"/>
                <a:gd name="connsiteY105" fmla="*/ 780135 h 3905171"/>
                <a:gd name="connsiteX106" fmla="*/ 687037 w 2626806"/>
                <a:gd name="connsiteY106" fmla="*/ 771355 h 3905171"/>
                <a:gd name="connsiteX107" fmla="*/ 695817 w 2626806"/>
                <a:gd name="connsiteY107" fmla="*/ 780135 h 3905171"/>
                <a:gd name="connsiteX108" fmla="*/ 687037 w 2626806"/>
                <a:gd name="connsiteY108" fmla="*/ 788915 h 3905171"/>
                <a:gd name="connsiteX109" fmla="*/ 1128232 w 2626806"/>
                <a:gd name="connsiteY109" fmla="*/ 848193 h 3905171"/>
                <a:gd name="connsiteX110" fmla="*/ 1126038 w 2626806"/>
                <a:gd name="connsiteY110" fmla="*/ 845997 h 3905171"/>
                <a:gd name="connsiteX111" fmla="*/ 1128232 w 2626806"/>
                <a:gd name="connsiteY111" fmla="*/ 843803 h 3905171"/>
                <a:gd name="connsiteX112" fmla="*/ 1130428 w 2626806"/>
                <a:gd name="connsiteY112" fmla="*/ 845997 h 3905171"/>
                <a:gd name="connsiteX113" fmla="*/ 1128232 w 2626806"/>
                <a:gd name="connsiteY113" fmla="*/ 848193 h 3905171"/>
                <a:gd name="connsiteX114" fmla="*/ 825322 w 2626806"/>
                <a:gd name="connsiteY114" fmla="*/ 852574 h 3905171"/>
                <a:gd name="connsiteX115" fmla="*/ 818737 w 2626806"/>
                <a:gd name="connsiteY115" fmla="*/ 845989 h 3905171"/>
                <a:gd name="connsiteX116" fmla="*/ 825322 w 2626806"/>
                <a:gd name="connsiteY116" fmla="*/ 839403 h 3905171"/>
                <a:gd name="connsiteX117" fmla="*/ 831907 w 2626806"/>
                <a:gd name="connsiteY117" fmla="*/ 845989 h 3905171"/>
                <a:gd name="connsiteX118" fmla="*/ 825322 w 2626806"/>
                <a:gd name="connsiteY118" fmla="*/ 852574 h 3905171"/>
                <a:gd name="connsiteX119" fmla="*/ 522412 w 2626806"/>
                <a:gd name="connsiteY119" fmla="*/ 854761 h 3905171"/>
                <a:gd name="connsiteX120" fmla="*/ 511437 w 2626806"/>
                <a:gd name="connsiteY120" fmla="*/ 843786 h 3905171"/>
                <a:gd name="connsiteX121" fmla="*/ 522412 w 2626806"/>
                <a:gd name="connsiteY121" fmla="*/ 832812 h 3905171"/>
                <a:gd name="connsiteX122" fmla="*/ 533386 w 2626806"/>
                <a:gd name="connsiteY122" fmla="*/ 843786 h 3905171"/>
                <a:gd name="connsiteX123" fmla="*/ 522412 w 2626806"/>
                <a:gd name="connsiteY123" fmla="*/ 854761 h 3905171"/>
                <a:gd name="connsiteX124" fmla="*/ 963607 w 2626806"/>
                <a:gd name="connsiteY124" fmla="*/ 914039 h 3905171"/>
                <a:gd name="connsiteX125" fmla="*/ 959217 w 2626806"/>
                <a:gd name="connsiteY125" fmla="*/ 909650 h 3905171"/>
                <a:gd name="connsiteX126" fmla="*/ 963607 w 2626806"/>
                <a:gd name="connsiteY126" fmla="*/ 905260 h 3905171"/>
                <a:gd name="connsiteX127" fmla="*/ 967997 w 2626806"/>
                <a:gd name="connsiteY127" fmla="*/ 909650 h 3905171"/>
                <a:gd name="connsiteX128" fmla="*/ 963607 w 2626806"/>
                <a:gd name="connsiteY128" fmla="*/ 914039 h 3905171"/>
                <a:gd name="connsiteX129" fmla="*/ 362176 w 2626806"/>
                <a:gd name="connsiteY129" fmla="*/ 918413 h 3905171"/>
                <a:gd name="connsiteX130" fmla="*/ 353396 w 2626806"/>
                <a:gd name="connsiteY130" fmla="*/ 909633 h 3905171"/>
                <a:gd name="connsiteX131" fmla="*/ 362176 w 2626806"/>
                <a:gd name="connsiteY131" fmla="*/ 900853 h 3905171"/>
                <a:gd name="connsiteX132" fmla="*/ 370956 w 2626806"/>
                <a:gd name="connsiteY132" fmla="*/ 909633 h 3905171"/>
                <a:gd name="connsiteX133" fmla="*/ 362176 w 2626806"/>
                <a:gd name="connsiteY133" fmla="*/ 918413 h 3905171"/>
                <a:gd name="connsiteX134" fmla="*/ 662892 w 2626806"/>
                <a:gd name="connsiteY134" fmla="*/ 922812 h 3905171"/>
                <a:gd name="connsiteX135" fmla="*/ 649722 w 2626806"/>
                <a:gd name="connsiteY135" fmla="*/ 909641 h 3905171"/>
                <a:gd name="connsiteX136" fmla="*/ 662892 w 2626806"/>
                <a:gd name="connsiteY136" fmla="*/ 896470 h 3905171"/>
                <a:gd name="connsiteX137" fmla="*/ 676061 w 2626806"/>
                <a:gd name="connsiteY137" fmla="*/ 909641 h 3905171"/>
                <a:gd name="connsiteX138" fmla="*/ 662892 w 2626806"/>
                <a:gd name="connsiteY138" fmla="*/ 922812 h 3905171"/>
                <a:gd name="connsiteX139" fmla="*/ 801177 w 2626806"/>
                <a:gd name="connsiteY139" fmla="*/ 982080 h 3905171"/>
                <a:gd name="connsiteX140" fmla="*/ 792397 w 2626806"/>
                <a:gd name="connsiteY140" fmla="*/ 973300 h 3905171"/>
                <a:gd name="connsiteX141" fmla="*/ 801177 w 2626806"/>
                <a:gd name="connsiteY141" fmla="*/ 964521 h 3905171"/>
                <a:gd name="connsiteX142" fmla="*/ 809957 w 2626806"/>
                <a:gd name="connsiteY142" fmla="*/ 973300 h 3905171"/>
                <a:gd name="connsiteX143" fmla="*/ 801177 w 2626806"/>
                <a:gd name="connsiteY143" fmla="*/ 982080 h 3905171"/>
                <a:gd name="connsiteX144" fmla="*/ 502657 w 2626806"/>
                <a:gd name="connsiteY144" fmla="*/ 990852 h 3905171"/>
                <a:gd name="connsiteX145" fmla="*/ 487291 w 2626806"/>
                <a:gd name="connsiteY145" fmla="*/ 975487 h 3905171"/>
                <a:gd name="connsiteX146" fmla="*/ 502657 w 2626806"/>
                <a:gd name="connsiteY146" fmla="*/ 960123 h 3905171"/>
                <a:gd name="connsiteX147" fmla="*/ 518022 w 2626806"/>
                <a:gd name="connsiteY147" fmla="*/ 975487 h 3905171"/>
                <a:gd name="connsiteX148" fmla="*/ 502657 w 2626806"/>
                <a:gd name="connsiteY148" fmla="*/ 990852 h 3905171"/>
                <a:gd name="connsiteX149" fmla="*/ 941657 w 2626806"/>
                <a:gd name="connsiteY149" fmla="*/ 1047934 h 3905171"/>
                <a:gd name="connsiteX150" fmla="*/ 935072 w 2626806"/>
                <a:gd name="connsiteY150" fmla="*/ 1041349 h 3905171"/>
                <a:gd name="connsiteX151" fmla="*/ 941657 w 2626806"/>
                <a:gd name="connsiteY151" fmla="*/ 1034764 h 3905171"/>
                <a:gd name="connsiteX152" fmla="*/ 948242 w 2626806"/>
                <a:gd name="connsiteY152" fmla="*/ 1041349 h 3905171"/>
                <a:gd name="connsiteX153" fmla="*/ 941657 w 2626806"/>
                <a:gd name="connsiteY153" fmla="*/ 1047934 h 3905171"/>
                <a:gd name="connsiteX154" fmla="*/ 344616 w 2626806"/>
                <a:gd name="connsiteY154" fmla="*/ 1052308 h 3905171"/>
                <a:gd name="connsiteX155" fmla="*/ 333641 w 2626806"/>
                <a:gd name="connsiteY155" fmla="*/ 1041333 h 3905171"/>
                <a:gd name="connsiteX156" fmla="*/ 344616 w 2626806"/>
                <a:gd name="connsiteY156" fmla="*/ 1030358 h 3905171"/>
                <a:gd name="connsiteX157" fmla="*/ 355591 w 2626806"/>
                <a:gd name="connsiteY157" fmla="*/ 1041333 h 3905171"/>
                <a:gd name="connsiteX158" fmla="*/ 344616 w 2626806"/>
                <a:gd name="connsiteY158" fmla="*/ 1052308 h 3905171"/>
                <a:gd name="connsiteX159" fmla="*/ 643136 w 2626806"/>
                <a:gd name="connsiteY159" fmla="*/ 1052315 h 3905171"/>
                <a:gd name="connsiteX160" fmla="*/ 629966 w 2626806"/>
                <a:gd name="connsiteY160" fmla="*/ 1041339 h 3905171"/>
                <a:gd name="connsiteX161" fmla="*/ 643136 w 2626806"/>
                <a:gd name="connsiteY161" fmla="*/ 1028170 h 3905171"/>
                <a:gd name="connsiteX162" fmla="*/ 656306 w 2626806"/>
                <a:gd name="connsiteY162" fmla="*/ 1039145 h 3905171"/>
                <a:gd name="connsiteX163" fmla="*/ 643136 w 2626806"/>
                <a:gd name="connsiteY163" fmla="*/ 1052315 h 3905171"/>
                <a:gd name="connsiteX164" fmla="*/ 190966 w 2626806"/>
                <a:gd name="connsiteY164" fmla="*/ 1111568 h 3905171"/>
                <a:gd name="connsiteX165" fmla="*/ 186576 w 2626806"/>
                <a:gd name="connsiteY165" fmla="*/ 1107179 h 3905171"/>
                <a:gd name="connsiteX166" fmla="*/ 190966 w 2626806"/>
                <a:gd name="connsiteY166" fmla="*/ 1102790 h 3905171"/>
                <a:gd name="connsiteX167" fmla="*/ 195356 w 2626806"/>
                <a:gd name="connsiteY167" fmla="*/ 1107179 h 3905171"/>
                <a:gd name="connsiteX168" fmla="*/ 190966 w 2626806"/>
                <a:gd name="connsiteY168" fmla="*/ 1111568 h 3905171"/>
                <a:gd name="connsiteX169" fmla="*/ 1082137 w 2626806"/>
                <a:gd name="connsiteY169" fmla="*/ 1111597 h 3905171"/>
                <a:gd name="connsiteX170" fmla="*/ 1077747 w 2626806"/>
                <a:gd name="connsiteY170" fmla="*/ 1107205 h 3905171"/>
                <a:gd name="connsiteX171" fmla="*/ 1082137 w 2626806"/>
                <a:gd name="connsiteY171" fmla="*/ 1102815 h 3905171"/>
                <a:gd name="connsiteX172" fmla="*/ 1086527 w 2626806"/>
                <a:gd name="connsiteY172" fmla="*/ 1107205 h 3905171"/>
                <a:gd name="connsiteX173" fmla="*/ 1082137 w 2626806"/>
                <a:gd name="connsiteY173" fmla="*/ 1111597 h 3905171"/>
                <a:gd name="connsiteX174" fmla="*/ 785812 w 2626806"/>
                <a:gd name="connsiteY174" fmla="*/ 1113780 h 3905171"/>
                <a:gd name="connsiteX175" fmla="*/ 779227 w 2626806"/>
                <a:gd name="connsiteY175" fmla="*/ 1107195 h 3905171"/>
                <a:gd name="connsiteX176" fmla="*/ 785812 w 2626806"/>
                <a:gd name="connsiteY176" fmla="*/ 1100611 h 3905171"/>
                <a:gd name="connsiteX177" fmla="*/ 792397 w 2626806"/>
                <a:gd name="connsiteY177" fmla="*/ 1107195 h 3905171"/>
                <a:gd name="connsiteX178" fmla="*/ 785812 w 2626806"/>
                <a:gd name="connsiteY178" fmla="*/ 1113780 h 3905171"/>
                <a:gd name="connsiteX179" fmla="*/ 487291 w 2626806"/>
                <a:gd name="connsiteY179" fmla="*/ 1118161 h 3905171"/>
                <a:gd name="connsiteX180" fmla="*/ 476316 w 2626806"/>
                <a:gd name="connsiteY180" fmla="*/ 1107187 h 3905171"/>
                <a:gd name="connsiteX181" fmla="*/ 487291 w 2626806"/>
                <a:gd name="connsiteY181" fmla="*/ 1096211 h 3905171"/>
                <a:gd name="connsiteX182" fmla="*/ 498267 w 2626806"/>
                <a:gd name="connsiteY182" fmla="*/ 1107187 h 3905171"/>
                <a:gd name="connsiteX183" fmla="*/ 487291 w 2626806"/>
                <a:gd name="connsiteY183" fmla="*/ 1118161 h 3905171"/>
                <a:gd name="connsiteX184" fmla="*/ 928488 w 2626806"/>
                <a:gd name="connsiteY184" fmla="*/ 1179636 h 3905171"/>
                <a:gd name="connsiteX185" fmla="*/ 921902 w 2626806"/>
                <a:gd name="connsiteY185" fmla="*/ 1173050 h 3905171"/>
                <a:gd name="connsiteX186" fmla="*/ 928488 w 2626806"/>
                <a:gd name="connsiteY186" fmla="*/ 1166466 h 3905171"/>
                <a:gd name="connsiteX187" fmla="*/ 935072 w 2626806"/>
                <a:gd name="connsiteY187" fmla="*/ 1173050 h 3905171"/>
                <a:gd name="connsiteX188" fmla="*/ 928488 w 2626806"/>
                <a:gd name="connsiteY188" fmla="*/ 1179636 h 3905171"/>
                <a:gd name="connsiteX189" fmla="*/ 335836 w 2626806"/>
                <a:gd name="connsiteY189" fmla="*/ 1184007 h 3905171"/>
                <a:gd name="connsiteX190" fmla="*/ 324861 w 2626806"/>
                <a:gd name="connsiteY190" fmla="*/ 1173034 h 3905171"/>
                <a:gd name="connsiteX191" fmla="*/ 335836 w 2626806"/>
                <a:gd name="connsiteY191" fmla="*/ 1162058 h 3905171"/>
                <a:gd name="connsiteX192" fmla="*/ 346811 w 2626806"/>
                <a:gd name="connsiteY192" fmla="*/ 1173034 h 3905171"/>
                <a:gd name="connsiteX193" fmla="*/ 335836 w 2626806"/>
                <a:gd name="connsiteY193" fmla="*/ 1184007 h 3905171"/>
                <a:gd name="connsiteX194" fmla="*/ 632161 w 2626806"/>
                <a:gd name="connsiteY194" fmla="*/ 1186210 h 3905171"/>
                <a:gd name="connsiteX195" fmla="*/ 618991 w 2626806"/>
                <a:gd name="connsiteY195" fmla="*/ 1173040 h 3905171"/>
                <a:gd name="connsiteX196" fmla="*/ 632161 w 2626806"/>
                <a:gd name="connsiteY196" fmla="*/ 1159871 h 3905171"/>
                <a:gd name="connsiteX197" fmla="*/ 645332 w 2626806"/>
                <a:gd name="connsiteY197" fmla="*/ 1173040 h 3905171"/>
                <a:gd name="connsiteX198" fmla="*/ 632161 w 2626806"/>
                <a:gd name="connsiteY198" fmla="*/ 1186210 h 3905171"/>
                <a:gd name="connsiteX199" fmla="*/ 1073357 w 2626806"/>
                <a:gd name="connsiteY199" fmla="*/ 1243268 h 3905171"/>
                <a:gd name="connsiteX200" fmla="*/ 1068967 w 2626806"/>
                <a:gd name="connsiteY200" fmla="*/ 1238878 h 3905171"/>
                <a:gd name="connsiteX201" fmla="*/ 1073357 w 2626806"/>
                <a:gd name="connsiteY201" fmla="*/ 1234489 h 3905171"/>
                <a:gd name="connsiteX202" fmla="*/ 1077747 w 2626806"/>
                <a:gd name="connsiteY202" fmla="*/ 1238878 h 3905171"/>
                <a:gd name="connsiteX203" fmla="*/ 1073357 w 2626806"/>
                <a:gd name="connsiteY203" fmla="*/ 1243268 h 3905171"/>
                <a:gd name="connsiteX204" fmla="*/ 184380 w 2626806"/>
                <a:gd name="connsiteY204" fmla="*/ 1247655 h 3905171"/>
                <a:gd name="connsiteX205" fmla="*/ 175600 w 2626806"/>
                <a:gd name="connsiteY205" fmla="*/ 1238875 h 3905171"/>
                <a:gd name="connsiteX206" fmla="*/ 184380 w 2626806"/>
                <a:gd name="connsiteY206" fmla="*/ 1230096 h 3905171"/>
                <a:gd name="connsiteX207" fmla="*/ 193160 w 2626806"/>
                <a:gd name="connsiteY207" fmla="*/ 1238875 h 3905171"/>
                <a:gd name="connsiteX208" fmla="*/ 184380 w 2626806"/>
                <a:gd name="connsiteY208" fmla="*/ 1247655 h 3905171"/>
                <a:gd name="connsiteX209" fmla="*/ 777032 w 2626806"/>
                <a:gd name="connsiteY209" fmla="*/ 1249851 h 3905171"/>
                <a:gd name="connsiteX210" fmla="*/ 768252 w 2626806"/>
                <a:gd name="connsiteY210" fmla="*/ 1241072 h 3905171"/>
                <a:gd name="connsiteX211" fmla="*/ 777032 w 2626806"/>
                <a:gd name="connsiteY211" fmla="*/ 1232294 h 3905171"/>
                <a:gd name="connsiteX212" fmla="*/ 785812 w 2626806"/>
                <a:gd name="connsiteY212" fmla="*/ 1241072 h 3905171"/>
                <a:gd name="connsiteX213" fmla="*/ 777032 w 2626806"/>
                <a:gd name="connsiteY213" fmla="*/ 1249851 h 3905171"/>
                <a:gd name="connsiteX214" fmla="*/ 480706 w 2626806"/>
                <a:gd name="connsiteY214" fmla="*/ 1252047 h 3905171"/>
                <a:gd name="connsiteX215" fmla="*/ 467536 w 2626806"/>
                <a:gd name="connsiteY215" fmla="*/ 1238878 h 3905171"/>
                <a:gd name="connsiteX216" fmla="*/ 480706 w 2626806"/>
                <a:gd name="connsiteY216" fmla="*/ 1225707 h 3905171"/>
                <a:gd name="connsiteX217" fmla="*/ 493877 w 2626806"/>
                <a:gd name="connsiteY217" fmla="*/ 1238878 h 3905171"/>
                <a:gd name="connsiteX218" fmla="*/ 480706 w 2626806"/>
                <a:gd name="connsiteY218" fmla="*/ 1252047 h 3905171"/>
                <a:gd name="connsiteX219" fmla="*/ 1220423 w 2626806"/>
                <a:gd name="connsiteY219" fmla="*/ 1309118 h 3905171"/>
                <a:gd name="connsiteX220" fmla="*/ 1218228 w 2626806"/>
                <a:gd name="connsiteY220" fmla="*/ 1306923 h 3905171"/>
                <a:gd name="connsiteX221" fmla="*/ 1220423 w 2626806"/>
                <a:gd name="connsiteY221" fmla="*/ 1304729 h 3905171"/>
                <a:gd name="connsiteX222" fmla="*/ 1222618 w 2626806"/>
                <a:gd name="connsiteY222" fmla="*/ 1306923 h 3905171"/>
                <a:gd name="connsiteX223" fmla="*/ 1220423 w 2626806"/>
                <a:gd name="connsiteY223" fmla="*/ 1309118 h 3905171"/>
                <a:gd name="connsiteX224" fmla="*/ 924097 w 2626806"/>
                <a:gd name="connsiteY224" fmla="*/ 1313508 h 3905171"/>
                <a:gd name="connsiteX225" fmla="*/ 917512 w 2626806"/>
                <a:gd name="connsiteY225" fmla="*/ 1306923 h 3905171"/>
                <a:gd name="connsiteX226" fmla="*/ 924097 w 2626806"/>
                <a:gd name="connsiteY226" fmla="*/ 1300336 h 3905171"/>
                <a:gd name="connsiteX227" fmla="*/ 930682 w 2626806"/>
                <a:gd name="connsiteY227" fmla="*/ 1306923 h 3905171"/>
                <a:gd name="connsiteX228" fmla="*/ 924097 w 2626806"/>
                <a:gd name="connsiteY228" fmla="*/ 1313508 h 3905171"/>
                <a:gd name="connsiteX229" fmla="*/ 331446 w 2626806"/>
                <a:gd name="connsiteY229" fmla="*/ 1317896 h 3905171"/>
                <a:gd name="connsiteX230" fmla="*/ 320471 w 2626806"/>
                <a:gd name="connsiteY230" fmla="*/ 1306921 h 3905171"/>
                <a:gd name="connsiteX231" fmla="*/ 331446 w 2626806"/>
                <a:gd name="connsiteY231" fmla="*/ 1295947 h 3905171"/>
                <a:gd name="connsiteX232" fmla="*/ 342421 w 2626806"/>
                <a:gd name="connsiteY232" fmla="*/ 1306921 h 3905171"/>
                <a:gd name="connsiteX233" fmla="*/ 331446 w 2626806"/>
                <a:gd name="connsiteY233" fmla="*/ 1317896 h 3905171"/>
                <a:gd name="connsiteX234" fmla="*/ 627771 w 2626806"/>
                <a:gd name="connsiteY234" fmla="*/ 1322289 h 3905171"/>
                <a:gd name="connsiteX235" fmla="*/ 612407 w 2626806"/>
                <a:gd name="connsiteY235" fmla="*/ 1306923 h 3905171"/>
                <a:gd name="connsiteX236" fmla="*/ 627771 w 2626806"/>
                <a:gd name="connsiteY236" fmla="*/ 1291557 h 3905171"/>
                <a:gd name="connsiteX237" fmla="*/ 643136 w 2626806"/>
                <a:gd name="connsiteY237" fmla="*/ 1306923 h 3905171"/>
                <a:gd name="connsiteX238" fmla="*/ 627771 w 2626806"/>
                <a:gd name="connsiteY238" fmla="*/ 1322289 h 3905171"/>
                <a:gd name="connsiteX239" fmla="*/ 1073357 w 2626806"/>
                <a:gd name="connsiteY239" fmla="*/ 1374967 h 3905171"/>
                <a:gd name="connsiteX240" fmla="*/ 1071162 w 2626806"/>
                <a:gd name="connsiteY240" fmla="*/ 1372772 h 3905171"/>
                <a:gd name="connsiteX241" fmla="*/ 1073357 w 2626806"/>
                <a:gd name="connsiteY241" fmla="*/ 1370577 h 3905171"/>
                <a:gd name="connsiteX242" fmla="*/ 1075553 w 2626806"/>
                <a:gd name="connsiteY242" fmla="*/ 1372772 h 3905171"/>
                <a:gd name="connsiteX243" fmla="*/ 1073357 w 2626806"/>
                <a:gd name="connsiteY243" fmla="*/ 1374967 h 3905171"/>
                <a:gd name="connsiteX244" fmla="*/ 184380 w 2626806"/>
                <a:gd name="connsiteY244" fmla="*/ 1383745 h 3905171"/>
                <a:gd name="connsiteX245" fmla="*/ 173405 w 2626806"/>
                <a:gd name="connsiteY245" fmla="*/ 1372769 h 3905171"/>
                <a:gd name="connsiteX246" fmla="*/ 184380 w 2626806"/>
                <a:gd name="connsiteY246" fmla="*/ 1361794 h 3905171"/>
                <a:gd name="connsiteX247" fmla="*/ 195356 w 2626806"/>
                <a:gd name="connsiteY247" fmla="*/ 1372769 h 3905171"/>
                <a:gd name="connsiteX248" fmla="*/ 184380 w 2626806"/>
                <a:gd name="connsiteY248" fmla="*/ 1383745 h 3905171"/>
                <a:gd name="connsiteX249" fmla="*/ 777032 w 2626806"/>
                <a:gd name="connsiteY249" fmla="*/ 1383748 h 3905171"/>
                <a:gd name="connsiteX250" fmla="*/ 766057 w 2626806"/>
                <a:gd name="connsiteY250" fmla="*/ 1372772 h 3905171"/>
                <a:gd name="connsiteX251" fmla="*/ 777032 w 2626806"/>
                <a:gd name="connsiteY251" fmla="*/ 1361796 h 3905171"/>
                <a:gd name="connsiteX252" fmla="*/ 788007 w 2626806"/>
                <a:gd name="connsiteY252" fmla="*/ 1372772 h 3905171"/>
                <a:gd name="connsiteX253" fmla="*/ 777032 w 2626806"/>
                <a:gd name="connsiteY253" fmla="*/ 1383748 h 3905171"/>
                <a:gd name="connsiteX254" fmla="*/ 480706 w 2626806"/>
                <a:gd name="connsiteY254" fmla="*/ 1385943 h 3905171"/>
                <a:gd name="connsiteX255" fmla="*/ 467536 w 2626806"/>
                <a:gd name="connsiteY255" fmla="*/ 1372772 h 3905171"/>
                <a:gd name="connsiteX256" fmla="*/ 480706 w 2626806"/>
                <a:gd name="connsiteY256" fmla="*/ 1359601 h 3905171"/>
                <a:gd name="connsiteX257" fmla="*/ 493877 w 2626806"/>
                <a:gd name="connsiteY257" fmla="*/ 1372772 h 3905171"/>
                <a:gd name="connsiteX258" fmla="*/ 480706 w 2626806"/>
                <a:gd name="connsiteY258" fmla="*/ 1385943 h 3905171"/>
                <a:gd name="connsiteX259" fmla="*/ 1224813 w 2626806"/>
                <a:gd name="connsiteY259" fmla="*/ 1443018 h 3905171"/>
                <a:gd name="connsiteX260" fmla="*/ 1220423 w 2626806"/>
                <a:gd name="connsiteY260" fmla="*/ 1438627 h 3905171"/>
                <a:gd name="connsiteX261" fmla="*/ 1224813 w 2626806"/>
                <a:gd name="connsiteY261" fmla="*/ 1434235 h 3905171"/>
                <a:gd name="connsiteX262" fmla="*/ 1229203 w 2626806"/>
                <a:gd name="connsiteY262" fmla="*/ 1438627 h 3905171"/>
                <a:gd name="connsiteX263" fmla="*/ 1224813 w 2626806"/>
                <a:gd name="connsiteY263" fmla="*/ 1443018 h 3905171"/>
                <a:gd name="connsiteX264" fmla="*/ 928488 w 2626806"/>
                <a:gd name="connsiteY264" fmla="*/ 1447408 h 3905171"/>
                <a:gd name="connsiteX265" fmla="*/ 919708 w 2626806"/>
                <a:gd name="connsiteY265" fmla="*/ 1438627 h 3905171"/>
                <a:gd name="connsiteX266" fmla="*/ 928488 w 2626806"/>
                <a:gd name="connsiteY266" fmla="*/ 1429847 h 3905171"/>
                <a:gd name="connsiteX267" fmla="*/ 937268 w 2626806"/>
                <a:gd name="connsiteY267" fmla="*/ 1438627 h 3905171"/>
                <a:gd name="connsiteX268" fmla="*/ 928488 w 2626806"/>
                <a:gd name="connsiteY268" fmla="*/ 1447408 h 3905171"/>
                <a:gd name="connsiteX269" fmla="*/ 335836 w 2626806"/>
                <a:gd name="connsiteY269" fmla="*/ 1449601 h 3905171"/>
                <a:gd name="connsiteX270" fmla="*/ 324861 w 2626806"/>
                <a:gd name="connsiteY270" fmla="*/ 1438625 h 3905171"/>
                <a:gd name="connsiteX271" fmla="*/ 335836 w 2626806"/>
                <a:gd name="connsiteY271" fmla="*/ 1427650 h 3905171"/>
                <a:gd name="connsiteX272" fmla="*/ 346811 w 2626806"/>
                <a:gd name="connsiteY272" fmla="*/ 1438625 h 3905171"/>
                <a:gd name="connsiteX273" fmla="*/ 335836 w 2626806"/>
                <a:gd name="connsiteY273" fmla="*/ 1449601 h 3905171"/>
                <a:gd name="connsiteX274" fmla="*/ 632161 w 2626806"/>
                <a:gd name="connsiteY274" fmla="*/ 1453993 h 3905171"/>
                <a:gd name="connsiteX275" fmla="*/ 616797 w 2626806"/>
                <a:gd name="connsiteY275" fmla="*/ 1438627 h 3905171"/>
                <a:gd name="connsiteX276" fmla="*/ 632161 w 2626806"/>
                <a:gd name="connsiteY276" fmla="*/ 1423261 h 3905171"/>
                <a:gd name="connsiteX277" fmla="*/ 647526 w 2626806"/>
                <a:gd name="connsiteY277" fmla="*/ 1438627 h 3905171"/>
                <a:gd name="connsiteX278" fmla="*/ 632161 w 2626806"/>
                <a:gd name="connsiteY278" fmla="*/ 1453993 h 3905171"/>
                <a:gd name="connsiteX279" fmla="*/ 1380658 w 2626806"/>
                <a:gd name="connsiteY279" fmla="*/ 1508871 h 3905171"/>
                <a:gd name="connsiteX280" fmla="*/ 1378462 w 2626806"/>
                <a:gd name="connsiteY280" fmla="*/ 1506674 h 3905171"/>
                <a:gd name="connsiteX281" fmla="*/ 1380658 w 2626806"/>
                <a:gd name="connsiteY281" fmla="*/ 1504479 h 3905171"/>
                <a:gd name="connsiteX282" fmla="*/ 1382853 w 2626806"/>
                <a:gd name="connsiteY282" fmla="*/ 1506674 h 3905171"/>
                <a:gd name="connsiteX283" fmla="*/ 1380658 w 2626806"/>
                <a:gd name="connsiteY283" fmla="*/ 1508871 h 3905171"/>
                <a:gd name="connsiteX284" fmla="*/ 1082137 w 2626806"/>
                <a:gd name="connsiteY284" fmla="*/ 1511065 h 3905171"/>
                <a:gd name="connsiteX285" fmla="*/ 1077747 w 2626806"/>
                <a:gd name="connsiteY285" fmla="*/ 1506674 h 3905171"/>
                <a:gd name="connsiteX286" fmla="*/ 1082137 w 2626806"/>
                <a:gd name="connsiteY286" fmla="*/ 1502284 h 3905171"/>
                <a:gd name="connsiteX287" fmla="*/ 1086527 w 2626806"/>
                <a:gd name="connsiteY287" fmla="*/ 1506674 h 3905171"/>
                <a:gd name="connsiteX288" fmla="*/ 1082137 w 2626806"/>
                <a:gd name="connsiteY288" fmla="*/ 1511065 h 3905171"/>
                <a:gd name="connsiteX289" fmla="*/ 785812 w 2626806"/>
                <a:gd name="connsiteY289" fmla="*/ 1515453 h 3905171"/>
                <a:gd name="connsiteX290" fmla="*/ 774837 w 2626806"/>
                <a:gd name="connsiteY290" fmla="*/ 1504479 h 3905171"/>
                <a:gd name="connsiteX291" fmla="*/ 785812 w 2626806"/>
                <a:gd name="connsiteY291" fmla="*/ 1493504 h 3905171"/>
                <a:gd name="connsiteX292" fmla="*/ 796787 w 2626806"/>
                <a:gd name="connsiteY292" fmla="*/ 1504479 h 3905171"/>
                <a:gd name="connsiteX293" fmla="*/ 785812 w 2626806"/>
                <a:gd name="connsiteY293" fmla="*/ 1515453 h 3905171"/>
                <a:gd name="connsiteX294" fmla="*/ 487291 w 2626806"/>
                <a:gd name="connsiteY294" fmla="*/ 1519845 h 3905171"/>
                <a:gd name="connsiteX295" fmla="*/ 474122 w 2626806"/>
                <a:gd name="connsiteY295" fmla="*/ 1506673 h 3905171"/>
                <a:gd name="connsiteX296" fmla="*/ 487291 w 2626806"/>
                <a:gd name="connsiteY296" fmla="*/ 1493504 h 3905171"/>
                <a:gd name="connsiteX297" fmla="*/ 500461 w 2626806"/>
                <a:gd name="connsiteY297" fmla="*/ 1506673 h 3905171"/>
                <a:gd name="connsiteX298" fmla="*/ 487291 w 2626806"/>
                <a:gd name="connsiteY298" fmla="*/ 1519845 h 3905171"/>
                <a:gd name="connsiteX299" fmla="*/ 190966 w 2626806"/>
                <a:gd name="connsiteY299" fmla="*/ 1522037 h 3905171"/>
                <a:gd name="connsiteX300" fmla="*/ 175600 w 2626806"/>
                <a:gd name="connsiteY300" fmla="*/ 1506672 h 3905171"/>
                <a:gd name="connsiteX301" fmla="*/ 190966 w 2626806"/>
                <a:gd name="connsiteY301" fmla="*/ 1491306 h 3905171"/>
                <a:gd name="connsiteX302" fmla="*/ 206330 w 2626806"/>
                <a:gd name="connsiteY302" fmla="*/ 1506672 h 3905171"/>
                <a:gd name="connsiteX303" fmla="*/ 190966 w 2626806"/>
                <a:gd name="connsiteY303" fmla="*/ 1522037 h 3905171"/>
                <a:gd name="connsiteX304" fmla="*/ 48291 w 2626806"/>
                <a:gd name="connsiteY304" fmla="*/ 1574711 h 3905171"/>
                <a:gd name="connsiteX305" fmla="*/ 46095 w 2626806"/>
                <a:gd name="connsiteY305" fmla="*/ 1572515 h 3905171"/>
                <a:gd name="connsiteX306" fmla="*/ 48291 w 2626806"/>
                <a:gd name="connsiteY306" fmla="*/ 1570320 h 3905171"/>
                <a:gd name="connsiteX307" fmla="*/ 50485 w 2626806"/>
                <a:gd name="connsiteY307" fmla="*/ 1572515 h 3905171"/>
                <a:gd name="connsiteX308" fmla="*/ 48291 w 2626806"/>
                <a:gd name="connsiteY308" fmla="*/ 1574711 h 3905171"/>
                <a:gd name="connsiteX309" fmla="*/ 1240178 w 2626806"/>
                <a:gd name="connsiteY309" fmla="*/ 1574718 h 3905171"/>
                <a:gd name="connsiteX310" fmla="*/ 1235788 w 2626806"/>
                <a:gd name="connsiteY310" fmla="*/ 1570330 h 3905171"/>
                <a:gd name="connsiteX311" fmla="*/ 1240178 w 2626806"/>
                <a:gd name="connsiteY311" fmla="*/ 1565939 h 3905171"/>
                <a:gd name="connsiteX312" fmla="*/ 1244568 w 2626806"/>
                <a:gd name="connsiteY312" fmla="*/ 1570330 h 3905171"/>
                <a:gd name="connsiteX313" fmla="*/ 1240178 w 2626806"/>
                <a:gd name="connsiteY313" fmla="*/ 1574718 h 3905171"/>
                <a:gd name="connsiteX314" fmla="*/ 941658 w 2626806"/>
                <a:gd name="connsiteY314" fmla="*/ 1581301 h 3905171"/>
                <a:gd name="connsiteX315" fmla="*/ 930682 w 2626806"/>
                <a:gd name="connsiteY315" fmla="*/ 1570330 h 3905171"/>
                <a:gd name="connsiteX316" fmla="*/ 941658 w 2626806"/>
                <a:gd name="connsiteY316" fmla="*/ 1559352 h 3905171"/>
                <a:gd name="connsiteX317" fmla="*/ 952633 w 2626806"/>
                <a:gd name="connsiteY317" fmla="*/ 1570330 h 3905171"/>
                <a:gd name="connsiteX318" fmla="*/ 941658 w 2626806"/>
                <a:gd name="connsiteY318" fmla="*/ 1581301 h 3905171"/>
                <a:gd name="connsiteX319" fmla="*/ 344616 w 2626806"/>
                <a:gd name="connsiteY319" fmla="*/ 1583497 h 3905171"/>
                <a:gd name="connsiteX320" fmla="*/ 331446 w 2626806"/>
                <a:gd name="connsiteY320" fmla="*/ 1570326 h 3905171"/>
                <a:gd name="connsiteX321" fmla="*/ 344616 w 2626806"/>
                <a:gd name="connsiteY321" fmla="*/ 1557157 h 3905171"/>
                <a:gd name="connsiteX322" fmla="*/ 357786 w 2626806"/>
                <a:gd name="connsiteY322" fmla="*/ 1570326 h 3905171"/>
                <a:gd name="connsiteX323" fmla="*/ 344616 w 2626806"/>
                <a:gd name="connsiteY323" fmla="*/ 1583497 h 3905171"/>
                <a:gd name="connsiteX324" fmla="*/ 643136 w 2626806"/>
                <a:gd name="connsiteY324" fmla="*/ 1587890 h 3905171"/>
                <a:gd name="connsiteX325" fmla="*/ 627771 w 2626806"/>
                <a:gd name="connsiteY325" fmla="*/ 1572522 h 3905171"/>
                <a:gd name="connsiteX326" fmla="*/ 643136 w 2626806"/>
                <a:gd name="connsiteY326" fmla="*/ 1557159 h 3905171"/>
                <a:gd name="connsiteX327" fmla="*/ 658502 w 2626806"/>
                <a:gd name="connsiteY327" fmla="*/ 1572522 h 3905171"/>
                <a:gd name="connsiteX328" fmla="*/ 643136 w 2626806"/>
                <a:gd name="connsiteY328" fmla="*/ 1587890 h 3905171"/>
                <a:gd name="connsiteX329" fmla="*/ 1402608 w 2626806"/>
                <a:gd name="connsiteY329" fmla="*/ 1640569 h 3905171"/>
                <a:gd name="connsiteX330" fmla="*/ 1398218 w 2626806"/>
                <a:gd name="connsiteY330" fmla="*/ 1636179 h 3905171"/>
                <a:gd name="connsiteX331" fmla="*/ 1402608 w 2626806"/>
                <a:gd name="connsiteY331" fmla="*/ 1631790 h 3905171"/>
                <a:gd name="connsiteX332" fmla="*/ 1406998 w 2626806"/>
                <a:gd name="connsiteY332" fmla="*/ 1636179 h 3905171"/>
                <a:gd name="connsiteX333" fmla="*/ 1402608 w 2626806"/>
                <a:gd name="connsiteY333" fmla="*/ 1640569 h 3905171"/>
                <a:gd name="connsiteX334" fmla="*/ 1101892 w 2626806"/>
                <a:gd name="connsiteY334" fmla="*/ 1642767 h 3905171"/>
                <a:gd name="connsiteX335" fmla="*/ 1095307 w 2626806"/>
                <a:gd name="connsiteY335" fmla="*/ 1636179 h 3905171"/>
                <a:gd name="connsiteX336" fmla="*/ 1101892 w 2626806"/>
                <a:gd name="connsiteY336" fmla="*/ 1629595 h 3905171"/>
                <a:gd name="connsiteX337" fmla="*/ 1108478 w 2626806"/>
                <a:gd name="connsiteY337" fmla="*/ 1636179 h 3905171"/>
                <a:gd name="connsiteX338" fmla="*/ 1101892 w 2626806"/>
                <a:gd name="connsiteY338" fmla="*/ 1642767 h 3905171"/>
                <a:gd name="connsiteX339" fmla="*/ 801177 w 2626806"/>
                <a:gd name="connsiteY339" fmla="*/ 1647154 h 3905171"/>
                <a:gd name="connsiteX340" fmla="*/ 790202 w 2626806"/>
                <a:gd name="connsiteY340" fmla="*/ 1636179 h 3905171"/>
                <a:gd name="connsiteX341" fmla="*/ 801177 w 2626806"/>
                <a:gd name="connsiteY341" fmla="*/ 1625205 h 3905171"/>
                <a:gd name="connsiteX342" fmla="*/ 812152 w 2626806"/>
                <a:gd name="connsiteY342" fmla="*/ 1636179 h 3905171"/>
                <a:gd name="connsiteX343" fmla="*/ 801177 w 2626806"/>
                <a:gd name="connsiteY343" fmla="*/ 1647154 h 3905171"/>
                <a:gd name="connsiteX344" fmla="*/ 204135 w 2626806"/>
                <a:gd name="connsiteY344" fmla="*/ 1653735 h 3905171"/>
                <a:gd name="connsiteX345" fmla="*/ 188770 w 2626806"/>
                <a:gd name="connsiteY345" fmla="*/ 1638372 h 3905171"/>
                <a:gd name="connsiteX346" fmla="*/ 204135 w 2626806"/>
                <a:gd name="connsiteY346" fmla="*/ 1623006 h 3905171"/>
                <a:gd name="connsiteX347" fmla="*/ 219501 w 2626806"/>
                <a:gd name="connsiteY347" fmla="*/ 1638372 h 3905171"/>
                <a:gd name="connsiteX348" fmla="*/ 204135 w 2626806"/>
                <a:gd name="connsiteY348" fmla="*/ 1653735 h 3905171"/>
                <a:gd name="connsiteX349" fmla="*/ 502657 w 2626806"/>
                <a:gd name="connsiteY349" fmla="*/ 1653740 h 3905171"/>
                <a:gd name="connsiteX350" fmla="*/ 485096 w 2626806"/>
                <a:gd name="connsiteY350" fmla="*/ 1638375 h 3905171"/>
                <a:gd name="connsiteX351" fmla="*/ 502657 w 2626806"/>
                <a:gd name="connsiteY351" fmla="*/ 1620814 h 3905171"/>
                <a:gd name="connsiteX352" fmla="*/ 520217 w 2626806"/>
                <a:gd name="connsiteY352" fmla="*/ 1636179 h 3905171"/>
                <a:gd name="connsiteX353" fmla="*/ 502657 w 2626806"/>
                <a:gd name="connsiteY353" fmla="*/ 1653740 h 3905171"/>
                <a:gd name="connsiteX354" fmla="*/ 1264323 w 2626806"/>
                <a:gd name="connsiteY354" fmla="*/ 1706417 h 3905171"/>
                <a:gd name="connsiteX355" fmla="*/ 1259933 w 2626806"/>
                <a:gd name="connsiteY355" fmla="*/ 1702029 h 3905171"/>
                <a:gd name="connsiteX356" fmla="*/ 1264323 w 2626806"/>
                <a:gd name="connsiteY356" fmla="*/ 1697638 h 3905171"/>
                <a:gd name="connsiteX357" fmla="*/ 1268713 w 2626806"/>
                <a:gd name="connsiteY357" fmla="*/ 1702029 h 3905171"/>
                <a:gd name="connsiteX358" fmla="*/ 1264323 w 2626806"/>
                <a:gd name="connsiteY358" fmla="*/ 1706417 h 3905171"/>
                <a:gd name="connsiteX359" fmla="*/ 63656 w 2626806"/>
                <a:gd name="connsiteY359" fmla="*/ 1708606 h 3905171"/>
                <a:gd name="connsiteX360" fmla="*/ 59265 w 2626806"/>
                <a:gd name="connsiteY360" fmla="*/ 1704216 h 3905171"/>
                <a:gd name="connsiteX361" fmla="*/ 63656 w 2626806"/>
                <a:gd name="connsiteY361" fmla="*/ 1699826 h 3905171"/>
                <a:gd name="connsiteX362" fmla="*/ 68046 w 2626806"/>
                <a:gd name="connsiteY362" fmla="*/ 1704216 h 3905171"/>
                <a:gd name="connsiteX363" fmla="*/ 63656 w 2626806"/>
                <a:gd name="connsiteY363" fmla="*/ 1708606 h 3905171"/>
                <a:gd name="connsiteX364" fmla="*/ 963607 w 2626806"/>
                <a:gd name="connsiteY364" fmla="*/ 1710809 h 3905171"/>
                <a:gd name="connsiteX365" fmla="*/ 954827 w 2626806"/>
                <a:gd name="connsiteY365" fmla="*/ 1702029 h 3905171"/>
                <a:gd name="connsiteX366" fmla="*/ 963607 w 2626806"/>
                <a:gd name="connsiteY366" fmla="*/ 1693250 h 3905171"/>
                <a:gd name="connsiteX367" fmla="*/ 972387 w 2626806"/>
                <a:gd name="connsiteY367" fmla="*/ 1702029 h 3905171"/>
                <a:gd name="connsiteX368" fmla="*/ 963607 w 2626806"/>
                <a:gd name="connsiteY368" fmla="*/ 1710809 h 3905171"/>
                <a:gd name="connsiteX369" fmla="*/ 362176 w 2626806"/>
                <a:gd name="connsiteY369" fmla="*/ 1715196 h 3905171"/>
                <a:gd name="connsiteX370" fmla="*/ 351201 w 2626806"/>
                <a:gd name="connsiteY370" fmla="*/ 1704223 h 3905171"/>
                <a:gd name="connsiteX371" fmla="*/ 362176 w 2626806"/>
                <a:gd name="connsiteY371" fmla="*/ 1693247 h 3905171"/>
                <a:gd name="connsiteX372" fmla="*/ 373151 w 2626806"/>
                <a:gd name="connsiteY372" fmla="*/ 1704223 h 3905171"/>
                <a:gd name="connsiteX373" fmla="*/ 362176 w 2626806"/>
                <a:gd name="connsiteY373" fmla="*/ 1715196 h 3905171"/>
                <a:gd name="connsiteX374" fmla="*/ 662892 w 2626806"/>
                <a:gd name="connsiteY374" fmla="*/ 1719588 h 3905171"/>
                <a:gd name="connsiteX375" fmla="*/ 647526 w 2626806"/>
                <a:gd name="connsiteY375" fmla="*/ 1704223 h 3905171"/>
                <a:gd name="connsiteX376" fmla="*/ 662892 w 2626806"/>
                <a:gd name="connsiteY376" fmla="*/ 1688860 h 3905171"/>
                <a:gd name="connsiteX377" fmla="*/ 678257 w 2626806"/>
                <a:gd name="connsiteY377" fmla="*/ 1704223 h 3905171"/>
                <a:gd name="connsiteX378" fmla="*/ 662892 w 2626806"/>
                <a:gd name="connsiteY378" fmla="*/ 1719588 h 3905171"/>
                <a:gd name="connsiteX379" fmla="*/ 1435533 w 2626806"/>
                <a:gd name="connsiteY379" fmla="*/ 1767878 h 3905171"/>
                <a:gd name="connsiteX380" fmla="*/ 1431143 w 2626806"/>
                <a:gd name="connsiteY380" fmla="*/ 1763487 h 3905171"/>
                <a:gd name="connsiteX381" fmla="*/ 1435533 w 2626806"/>
                <a:gd name="connsiteY381" fmla="*/ 1759098 h 3905171"/>
                <a:gd name="connsiteX382" fmla="*/ 1439923 w 2626806"/>
                <a:gd name="connsiteY382" fmla="*/ 1763487 h 3905171"/>
                <a:gd name="connsiteX383" fmla="*/ 1435533 w 2626806"/>
                <a:gd name="connsiteY383" fmla="*/ 1767878 h 3905171"/>
                <a:gd name="connsiteX384" fmla="*/ 1128232 w 2626806"/>
                <a:gd name="connsiteY384" fmla="*/ 1772266 h 3905171"/>
                <a:gd name="connsiteX385" fmla="*/ 1121648 w 2626806"/>
                <a:gd name="connsiteY385" fmla="*/ 1765682 h 3905171"/>
                <a:gd name="connsiteX386" fmla="*/ 1128232 w 2626806"/>
                <a:gd name="connsiteY386" fmla="*/ 1759098 h 3905171"/>
                <a:gd name="connsiteX387" fmla="*/ 1134817 w 2626806"/>
                <a:gd name="connsiteY387" fmla="*/ 1765682 h 3905171"/>
                <a:gd name="connsiteX388" fmla="*/ 1128232 w 2626806"/>
                <a:gd name="connsiteY388" fmla="*/ 1772266 h 3905171"/>
                <a:gd name="connsiteX389" fmla="*/ 825322 w 2626806"/>
                <a:gd name="connsiteY389" fmla="*/ 1778852 h 3905171"/>
                <a:gd name="connsiteX390" fmla="*/ 814347 w 2626806"/>
                <a:gd name="connsiteY390" fmla="*/ 1767878 h 3905171"/>
                <a:gd name="connsiteX391" fmla="*/ 825322 w 2626806"/>
                <a:gd name="connsiteY391" fmla="*/ 1756902 h 3905171"/>
                <a:gd name="connsiteX392" fmla="*/ 836297 w 2626806"/>
                <a:gd name="connsiteY392" fmla="*/ 1767878 h 3905171"/>
                <a:gd name="connsiteX393" fmla="*/ 825322 w 2626806"/>
                <a:gd name="connsiteY393" fmla="*/ 1778852 h 3905171"/>
                <a:gd name="connsiteX394" fmla="*/ 522412 w 2626806"/>
                <a:gd name="connsiteY394" fmla="*/ 1781047 h 3905171"/>
                <a:gd name="connsiteX395" fmla="*/ 509241 w 2626806"/>
                <a:gd name="connsiteY395" fmla="*/ 1767878 h 3905171"/>
                <a:gd name="connsiteX396" fmla="*/ 522412 w 2626806"/>
                <a:gd name="connsiteY396" fmla="*/ 1754706 h 3905171"/>
                <a:gd name="connsiteX397" fmla="*/ 535582 w 2626806"/>
                <a:gd name="connsiteY397" fmla="*/ 1767878 h 3905171"/>
                <a:gd name="connsiteX398" fmla="*/ 522412 w 2626806"/>
                <a:gd name="connsiteY398" fmla="*/ 1781047 h 3905171"/>
                <a:gd name="connsiteX399" fmla="*/ 221695 w 2626806"/>
                <a:gd name="connsiteY399" fmla="*/ 1785434 h 3905171"/>
                <a:gd name="connsiteX400" fmla="*/ 204135 w 2626806"/>
                <a:gd name="connsiteY400" fmla="*/ 1767874 h 3905171"/>
                <a:gd name="connsiteX401" fmla="*/ 221695 w 2626806"/>
                <a:gd name="connsiteY401" fmla="*/ 1750314 h 3905171"/>
                <a:gd name="connsiteX402" fmla="*/ 239255 w 2626806"/>
                <a:gd name="connsiteY402" fmla="*/ 1767874 h 3905171"/>
                <a:gd name="connsiteX403" fmla="*/ 221695 w 2626806"/>
                <a:gd name="connsiteY403" fmla="*/ 1785434 h 3905171"/>
                <a:gd name="connsiteX404" fmla="*/ 1611134 w 2626806"/>
                <a:gd name="connsiteY404" fmla="*/ 1829335 h 3905171"/>
                <a:gd name="connsiteX405" fmla="*/ 1608939 w 2626806"/>
                <a:gd name="connsiteY405" fmla="*/ 1827141 h 3905171"/>
                <a:gd name="connsiteX406" fmla="*/ 1611134 w 2626806"/>
                <a:gd name="connsiteY406" fmla="*/ 1824945 h 3905171"/>
                <a:gd name="connsiteX407" fmla="*/ 1613329 w 2626806"/>
                <a:gd name="connsiteY407" fmla="*/ 1827141 h 3905171"/>
                <a:gd name="connsiteX408" fmla="*/ 1611134 w 2626806"/>
                <a:gd name="connsiteY408" fmla="*/ 1829335 h 3905171"/>
                <a:gd name="connsiteX409" fmla="*/ 1299443 w 2626806"/>
                <a:gd name="connsiteY409" fmla="*/ 1833728 h 3905171"/>
                <a:gd name="connsiteX410" fmla="*/ 1295053 w 2626806"/>
                <a:gd name="connsiteY410" fmla="*/ 1829335 h 3905171"/>
                <a:gd name="connsiteX411" fmla="*/ 1299443 w 2626806"/>
                <a:gd name="connsiteY411" fmla="*/ 1824945 h 3905171"/>
                <a:gd name="connsiteX412" fmla="*/ 1303833 w 2626806"/>
                <a:gd name="connsiteY412" fmla="*/ 1829335 h 3905171"/>
                <a:gd name="connsiteX413" fmla="*/ 1299443 w 2626806"/>
                <a:gd name="connsiteY413" fmla="*/ 1833728 h 3905171"/>
                <a:gd name="connsiteX414" fmla="*/ 83410 w 2626806"/>
                <a:gd name="connsiteY414" fmla="*/ 1840308 h 3905171"/>
                <a:gd name="connsiteX415" fmla="*/ 76826 w 2626806"/>
                <a:gd name="connsiteY415" fmla="*/ 1833722 h 3905171"/>
                <a:gd name="connsiteX416" fmla="*/ 83410 w 2626806"/>
                <a:gd name="connsiteY416" fmla="*/ 1827136 h 3905171"/>
                <a:gd name="connsiteX417" fmla="*/ 89996 w 2626806"/>
                <a:gd name="connsiteY417" fmla="*/ 1833722 h 3905171"/>
                <a:gd name="connsiteX418" fmla="*/ 83410 w 2626806"/>
                <a:gd name="connsiteY418" fmla="*/ 1840308 h 3905171"/>
                <a:gd name="connsiteX419" fmla="*/ 992142 w 2626806"/>
                <a:gd name="connsiteY419" fmla="*/ 1840312 h 3905171"/>
                <a:gd name="connsiteX420" fmla="*/ 983362 w 2626806"/>
                <a:gd name="connsiteY420" fmla="*/ 1831531 h 3905171"/>
                <a:gd name="connsiteX421" fmla="*/ 992142 w 2626806"/>
                <a:gd name="connsiteY421" fmla="*/ 1822751 h 3905171"/>
                <a:gd name="connsiteX422" fmla="*/ 1000922 w 2626806"/>
                <a:gd name="connsiteY422" fmla="*/ 1831531 h 3905171"/>
                <a:gd name="connsiteX423" fmla="*/ 992142 w 2626806"/>
                <a:gd name="connsiteY423" fmla="*/ 1840312 h 3905171"/>
                <a:gd name="connsiteX424" fmla="*/ 384126 w 2626806"/>
                <a:gd name="connsiteY424" fmla="*/ 1849091 h 3905171"/>
                <a:gd name="connsiteX425" fmla="*/ 368761 w 2626806"/>
                <a:gd name="connsiteY425" fmla="*/ 1833725 h 3905171"/>
                <a:gd name="connsiteX426" fmla="*/ 384126 w 2626806"/>
                <a:gd name="connsiteY426" fmla="*/ 1818360 h 3905171"/>
                <a:gd name="connsiteX427" fmla="*/ 399491 w 2626806"/>
                <a:gd name="connsiteY427" fmla="*/ 1833725 h 3905171"/>
                <a:gd name="connsiteX428" fmla="*/ 384126 w 2626806"/>
                <a:gd name="connsiteY428" fmla="*/ 1849091 h 3905171"/>
                <a:gd name="connsiteX429" fmla="*/ 687037 w 2626806"/>
                <a:gd name="connsiteY429" fmla="*/ 1851287 h 3905171"/>
                <a:gd name="connsiteX430" fmla="*/ 669476 w 2626806"/>
                <a:gd name="connsiteY430" fmla="*/ 1833728 h 3905171"/>
                <a:gd name="connsiteX431" fmla="*/ 687037 w 2626806"/>
                <a:gd name="connsiteY431" fmla="*/ 1816165 h 3905171"/>
                <a:gd name="connsiteX432" fmla="*/ 704597 w 2626806"/>
                <a:gd name="connsiteY432" fmla="*/ 1833728 h 3905171"/>
                <a:gd name="connsiteX433" fmla="*/ 687037 w 2626806"/>
                <a:gd name="connsiteY433" fmla="*/ 1851287 h 3905171"/>
                <a:gd name="connsiteX434" fmla="*/ 1477238 w 2626806"/>
                <a:gd name="connsiteY434" fmla="*/ 1895184 h 3905171"/>
                <a:gd name="connsiteX435" fmla="*/ 1472848 w 2626806"/>
                <a:gd name="connsiteY435" fmla="*/ 1890793 h 3905171"/>
                <a:gd name="connsiteX436" fmla="*/ 1477238 w 2626806"/>
                <a:gd name="connsiteY436" fmla="*/ 1886403 h 3905171"/>
                <a:gd name="connsiteX437" fmla="*/ 1481628 w 2626806"/>
                <a:gd name="connsiteY437" fmla="*/ 1890793 h 3905171"/>
                <a:gd name="connsiteX438" fmla="*/ 1477238 w 2626806"/>
                <a:gd name="connsiteY438" fmla="*/ 1895184 h 3905171"/>
                <a:gd name="connsiteX439" fmla="*/ 1165548 w 2626806"/>
                <a:gd name="connsiteY439" fmla="*/ 1899573 h 3905171"/>
                <a:gd name="connsiteX440" fmla="*/ 1158963 w 2626806"/>
                <a:gd name="connsiteY440" fmla="*/ 1892988 h 3905171"/>
                <a:gd name="connsiteX441" fmla="*/ 1165548 w 2626806"/>
                <a:gd name="connsiteY441" fmla="*/ 1886403 h 3905171"/>
                <a:gd name="connsiteX442" fmla="*/ 1172133 w 2626806"/>
                <a:gd name="connsiteY442" fmla="*/ 1892988 h 3905171"/>
                <a:gd name="connsiteX443" fmla="*/ 1165548 w 2626806"/>
                <a:gd name="connsiteY443" fmla="*/ 1899573 h 3905171"/>
                <a:gd name="connsiteX444" fmla="*/ 550947 w 2626806"/>
                <a:gd name="connsiteY444" fmla="*/ 1910549 h 3905171"/>
                <a:gd name="connsiteX445" fmla="*/ 537776 w 2626806"/>
                <a:gd name="connsiteY445" fmla="*/ 1897379 h 3905171"/>
                <a:gd name="connsiteX446" fmla="*/ 550947 w 2626806"/>
                <a:gd name="connsiteY446" fmla="*/ 1884210 h 3905171"/>
                <a:gd name="connsiteX447" fmla="*/ 564117 w 2626806"/>
                <a:gd name="connsiteY447" fmla="*/ 1897379 h 3905171"/>
                <a:gd name="connsiteX448" fmla="*/ 550947 w 2626806"/>
                <a:gd name="connsiteY448" fmla="*/ 1910549 h 3905171"/>
                <a:gd name="connsiteX449" fmla="*/ 856052 w 2626806"/>
                <a:gd name="connsiteY449" fmla="*/ 1912745 h 3905171"/>
                <a:gd name="connsiteX450" fmla="*/ 840687 w 2626806"/>
                <a:gd name="connsiteY450" fmla="*/ 1897379 h 3905171"/>
                <a:gd name="connsiteX451" fmla="*/ 856052 w 2626806"/>
                <a:gd name="connsiteY451" fmla="*/ 1882014 h 3905171"/>
                <a:gd name="connsiteX452" fmla="*/ 871417 w 2626806"/>
                <a:gd name="connsiteY452" fmla="*/ 1897379 h 3905171"/>
                <a:gd name="connsiteX453" fmla="*/ 856052 w 2626806"/>
                <a:gd name="connsiteY453" fmla="*/ 1912745 h 3905171"/>
                <a:gd name="connsiteX454" fmla="*/ 248036 w 2626806"/>
                <a:gd name="connsiteY454" fmla="*/ 1917135 h 3905171"/>
                <a:gd name="connsiteX455" fmla="*/ 230475 w 2626806"/>
                <a:gd name="connsiteY455" fmla="*/ 1899573 h 3905171"/>
                <a:gd name="connsiteX456" fmla="*/ 248036 w 2626806"/>
                <a:gd name="connsiteY456" fmla="*/ 1882013 h 3905171"/>
                <a:gd name="connsiteX457" fmla="*/ 265596 w 2626806"/>
                <a:gd name="connsiteY457" fmla="*/ 1899573 h 3905171"/>
                <a:gd name="connsiteX458" fmla="*/ 248036 w 2626806"/>
                <a:gd name="connsiteY458" fmla="*/ 1917135 h 3905171"/>
                <a:gd name="connsiteX459" fmla="*/ 1343343 w 2626806"/>
                <a:gd name="connsiteY459" fmla="*/ 1958840 h 3905171"/>
                <a:gd name="connsiteX460" fmla="*/ 1338953 w 2626806"/>
                <a:gd name="connsiteY460" fmla="*/ 1954449 h 3905171"/>
                <a:gd name="connsiteX461" fmla="*/ 1343343 w 2626806"/>
                <a:gd name="connsiteY461" fmla="*/ 1950060 h 3905171"/>
                <a:gd name="connsiteX462" fmla="*/ 1347733 w 2626806"/>
                <a:gd name="connsiteY462" fmla="*/ 1954449 h 3905171"/>
                <a:gd name="connsiteX463" fmla="*/ 1343343 w 2626806"/>
                <a:gd name="connsiteY463" fmla="*/ 1958840 h 3905171"/>
                <a:gd name="connsiteX464" fmla="*/ 1029457 w 2626806"/>
                <a:gd name="connsiteY464" fmla="*/ 1972010 h 3905171"/>
                <a:gd name="connsiteX465" fmla="*/ 1016287 w 2626806"/>
                <a:gd name="connsiteY465" fmla="*/ 1958840 h 3905171"/>
                <a:gd name="connsiteX466" fmla="*/ 1029457 w 2626806"/>
                <a:gd name="connsiteY466" fmla="*/ 1945670 h 3905171"/>
                <a:gd name="connsiteX467" fmla="*/ 1042627 w 2626806"/>
                <a:gd name="connsiteY467" fmla="*/ 1958840 h 3905171"/>
                <a:gd name="connsiteX468" fmla="*/ 1029457 w 2626806"/>
                <a:gd name="connsiteY468" fmla="*/ 1972010 h 3905171"/>
                <a:gd name="connsiteX469" fmla="*/ 109751 w 2626806"/>
                <a:gd name="connsiteY469" fmla="*/ 1974202 h 3905171"/>
                <a:gd name="connsiteX470" fmla="*/ 100971 w 2626806"/>
                <a:gd name="connsiteY470" fmla="*/ 1965424 h 3905171"/>
                <a:gd name="connsiteX471" fmla="*/ 109751 w 2626806"/>
                <a:gd name="connsiteY471" fmla="*/ 1956642 h 3905171"/>
                <a:gd name="connsiteX472" fmla="*/ 118531 w 2626806"/>
                <a:gd name="connsiteY472" fmla="*/ 1965424 h 3905171"/>
                <a:gd name="connsiteX473" fmla="*/ 109751 w 2626806"/>
                <a:gd name="connsiteY473" fmla="*/ 1974202 h 3905171"/>
                <a:gd name="connsiteX474" fmla="*/ 414856 w 2626806"/>
                <a:gd name="connsiteY474" fmla="*/ 1980788 h 3905171"/>
                <a:gd name="connsiteX475" fmla="*/ 397296 w 2626806"/>
                <a:gd name="connsiteY475" fmla="*/ 1963228 h 3905171"/>
                <a:gd name="connsiteX476" fmla="*/ 414856 w 2626806"/>
                <a:gd name="connsiteY476" fmla="*/ 1945670 h 3905171"/>
                <a:gd name="connsiteX477" fmla="*/ 432416 w 2626806"/>
                <a:gd name="connsiteY477" fmla="*/ 1963228 h 3905171"/>
                <a:gd name="connsiteX478" fmla="*/ 414856 w 2626806"/>
                <a:gd name="connsiteY478" fmla="*/ 1980788 h 3905171"/>
                <a:gd name="connsiteX479" fmla="*/ 719962 w 2626806"/>
                <a:gd name="connsiteY479" fmla="*/ 1985177 h 3905171"/>
                <a:gd name="connsiteX480" fmla="*/ 695817 w 2626806"/>
                <a:gd name="connsiteY480" fmla="*/ 1961036 h 3905171"/>
                <a:gd name="connsiteX481" fmla="*/ 719962 w 2626806"/>
                <a:gd name="connsiteY481" fmla="*/ 1936888 h 3905171"/>
                <a:gd name="connsiteX482" fmla="*/ 744107 w 2626806"/>
                <a:gd name="connsiteY482" fmla="*/ 1961036 h 3905171"/>
                <a:gd name="connsiteX483" fmla="*/ 719962 w 2626806"/>
                <a:gd name="connsiteY483" fmla="*/ 1985177 h 3905171"/>
                <a:gd name="connsiteX484" fmla="*/ 1529919 w 2626806"/>
                <a:gd name="connsiteY484" fmla="*/ 2018101 h 3905171"/>
                <a:gd name="connsiteX485" fmla="*/ 1525528 w 2626806"/>
                <a:gd name="connsiteY485" fmla="*/ 2013711 h 3905171"/>
                <a:gd name="connsiteX486" fmla="*/ 1529919 w 2626806"/>
                <a:gd name="connsiteY486" fmla="*/ 2009323 h 3905171"/>
                <a:gd name="connsiteX487" fmla="*/ 1534309 w 2626806"/>
                <a:gd name="connsiteY487" fmla="*/ 2013711 h 3905171"/>
                <a:gd name="connsiteX488" fmla="*/ 1529919 w 2626806"/>
                <a:gd name="connsiteY488" fmla="*/ 2018101 h 3905171"/>
                <a:gd name="connsiteX489" fmla="*/ 1209448 w 2626806"/>
                <a:gd name="connsiteY489" fmla="*/ 2024688 h 3905171"/>
                <a:gd name="connsiteX490" fmla="*/ 1205058 w 2626806"/>
                <a:gd name="connsiteY490" fmla="*/ 2020297 h 3905171"/>
                <a:gd name="connsiteX491" fmla="*/ 1209448 w 2626806"/>
                <a:gd name="connsiteY491" fmla="*/ 2015906 h 3905171"/>
                <a:gd name="connsiteX492" fmla="*/ 1213838 w 2626806"/>
                <a:gd name="connsiteY492" fmla="*/ 2020297 h 3905171"/>
                <a:gd name="connsiteX493" fmla="*/ 1209448 w 2626806"/>
                <a:gd name="connsiteY493" fmla="*/ 2024688 h 3905171"/>
                <a:gd name="connsiteX494" fmla="*/ 895563 w 2626806"/>
                <a:gd name="connsiteY494" fmla="*/ 2037856 h 3905171"/>
                <a:gd name="connsiteX495" fmla="*/ 882393 w 2626806"/>
                <a:gd name="connsiteY495" fmla="*/ 2024688 h 3905171"/>
                <a:gd name="connsiteX496" fmla="*/ 895563 w 2626806"/>
                <a:gd name="connsiteY496" fmla="*/ 2011516 h 3905171"/>
                <a:gd name="connsiteX497" fmla="*/ 908732 w 2626806"/>
                <a:gd name="connsiteY497" fmla="*/ 2024688 h 3905171"/>
                <a:gd name="connsiteX498" fmla="*/ 895563 w 2626806"/>
                <a:gd name="connsiteY498" fmla="*/ 2037856 h 3905171"/>
                <a:gd name="connsiteX499" fmla="*/ 586066 w 2626806"/>
                <a:gd name="connsiteY499" fmla="*/ 2042247 h 3905171"/>
                <a:gd name="connsiteX500" fmla="*/ 570701 w 2626806"/>
                <a:gd name="connsiteY500" fmla="*/ 2026880 h 3905171"/>
                <a:gd name="connsiteX501" fmla="*/ 586066 w 2626806"/>
                <a:gd name="connsiteY501" fmla="*/ 2011516 h 3905171"/>
                <a:gd name="connsiteX502" fmla="*/ 601431 w 2626806"/>
                <a:gd name="connsiteY502" fmla="*/ 2026880 h 3905171"/>
                <a:gd name="connsiteX503" fmla="*/ 586066 w 2626806"/>
                <a:gd name="connsiteY503" fmla="*/ 2042247 h 3905171"/>
                <a:gd name="connsiteX504" fmla="*/ 278766 w 2626806"/>
                <a:gd name="connsiteY504" fmla="*/ 2046634 h 3905171"/>
                <a:gd name="connsiteX505" fmla="*/ 259010 w 2626806"/>
                <a:gd name="connsiteY505" fmla="*/ 2026880 h 3905171"/>
                <a:gd name="connsiteX506" fmla="*/ 278766 w 2626806"/>
                <a:gd name="connsiteY506" fmla="*/ 2007125 h 3905171"/>
                <a:gd name="connsiteX507" fmla="*/ 298521 w 2626806"/>
                <a:gd name="connsiteY507" fmla="*/ 2026880 h 3905171"/>
                <a:gd name="connsiteX508" fmla="*/ 278766 w 2626806"/>
                <a:gd name="connsiteY508" fmla="*/ 2046634 h 3905171"/>
                <a:gd name="connsiteX509" fmla="*/ 1725273 w 2626806"/>
                <a:gd name="connsiteY509" fmla="*/ 2068584 h 3905171"/>
                <a:gd name="connsiteX510" fmla="*/ 1720883 w 2626806"/>
                <a:gd name="connsiteY510" fmla="*/ 2064194 h 3905171"/>
                <a:gd name="connsiteX511" fmla="*/ 1725273 w 2626806"/>
                <a:gd name="connsiteY511" fmla="*/ 2059803 h 3905171"/>
                <a:gd name="connsiteX512" fmla="*/ 1729663 w 2626806"/>
                <a:gd name="connsiteY512" fmla="*/ 2064194 h 3905171"/>
                <a:gd name="connsiteX513" fmla="*/ 1725273 w 2626806"/>
                <a:gd name="connsiteY513" fmla="*/ 2068584 h 3905171"/>
                <a:gd name="connsiteX514" fmla="*/ 1396023 w 2626806"/>
                <a:gd name="connsiteY514" fmla="*/ 2081753 h 3905171"/>
                <a:gd name="connsiteX515" fmla="*/ 1391633 w 2626806"/>
                <a:gd name="connsiteY515" fmla="*/ 2077362 h 3905171"/>
                <a:gd name="connsiteX516" fmla="*/ 1396023 w 2626806"/>
                <a:gd name="connsiteY516" fmla="*/ 2072974 h 3905171"/>
                <a:gd name="connsiteX517" fmla="*/ 1400413 w 2626806"/>
                <a:gd name="connsiteY517" fmla="*/ 2077362 h 3905171"/>
                <a:gd name="connsiteX518" fmla="*/ 1396023 w 2626806"/>
                <a:gd name="connsiteY518" fmla="*/ 2081753 h 3905171"/>
                <a:gd name="connsiteX519" fmla="*/ 1075553 w 2626806"/>
                <a:gd name="connsiteY519" fmla="*/ 2097117 h 3905171"/>
                <a:gd name="connsiteX520" fmla="*/ 1062382 w 2626806"/>
                <a:gd name="connsiteY520" fmla="*/ 2083948 h 3905171"/>
                <a:gd name="connsiteX521" fmla="*/ 1075553 w 2626806"/>
                <a:gd name="connsiteY521" fmla="*/ 2070780 h 3905171"/>
                <a:gd name="connsiteX522" fmla="*/ 1088722 w 2626806"/>
                <a:gd name="connsiteY522" fmla="*/ 2083948 h 3905171"/>
                <a:gd name="connsiteX523" fmla="*/ 1075553 w 2626806"/>
                <a:gd name="connsiteY523" fmla="*/ 2097117 h 3905171"/>
                <a:gd name="connsiteX524" fmla="*/ 142676 w 2626806"/>
                <a:gd name="connsiteY524" fmla="*/ 2099312 h 3905171"/>
                <a:gd name="connsiteX525" fmla="*/ 136091 w 2626806"/>
                <a:gd name="connsiteY525" fmla="*/ 2092727 h 3905171"/>
                <a:gd name="connsiteX526" fmla="*/ 142676 w 2626806"/>
                <a:gd name="connsiteY526" fmla="*/ 2086143 h 3905171"/>
                <a:gd name="connsiteX527" fmla="*/ 149261 w 2626806"/>
                <a:gd name="connsiteY527" fmla="*/ 2092727 h 3905171"/>
                <a:gd name="connsiteX528" fmla="*/ 142676 w 2626806"/>
                <a:gd name="connsiteY528" fmla="*/ 2099312 h 3905171"/>
                <a:gd name="connsiteX529" fmla="*/ 449976 w 2626806"/>
                <a:gd name="connsiteY529" fmla="*/ 2110286 h 3905171"/>
                <a:gd name="connsiteX530" fmla="*/ 430221 w 2626806"/>
                <a:gd name="connsiteY530" fmla="*/ 2090534 h 3905171"/>
                <a:gd name="connsiteX531" fmla="*/ 449976 w 2626806"/>
                <a:gd name="connsiteY531" fmla="*/ 2070780 h 3905171"/>
                <a:gd name="connsiteX532" fmla="*/ 469732 w 2626806"/>
                <a:gd name="connsiteY532" fmla="*/ 2090534 h 3905171"/>
                <a:gd name="connsiteX533" fmla="*/ 449976 w 2626806"/>
                <a:gd name="connsiteY533" fmla="*/ 2110286 h 3905171"/>
                <a:gd name="connsiteX534" fmla="*/ 761667 w 2626806"/>
                <a:gd name="connsiteY534" fmla="*/ 2110286 h 3905171"/>
                <a:gd name="connsiteX535" fmla="*/ 739717 w 2626806"/>
                <a:gd name="connsiteY535" fmla="*/ 2088339 h 3905171"/>
                <a:gd name="connsiteX536" fmla="*/ 761667 w 2626806"/>
                <a:gd name="connsiteY536" fmla="*/ 2066389 h 3905171"/>
                <a:gd name="connsiteX537" fmla="*/ 783617 w 2626806"/>
                <a:gd name="connsiteY537" fmla="*/ 2088339 h 3905171"/>
                <a:gd name="connsiteX538" fmla="*/ 761667 w 2626806"/>
                <a:gd name="connsiteY538" fmla="*/ 2110286 h 3905171"/>
                <a:gd name="connsiteX539" fmla="*/ 1591378 w 2626806"/>
                <a:gd name="connsiteY539" fmla="*/ 2136627 h 3905171"/>
                <a:gd name="connsiteX540" fmla="*/ 1584794 w 2626806"/>
                <a:gd name="connsiteY540" fmla="*/ 2130041 h 3905171"/>
                <a:gd name="connsiteX541" fmla="*/ 1591378 w 2626806"/>
                <a:gd name="connsiteY541" fmla="*/ 2123457 h 3905171"/>
                <a:gd name="connsiteX542" fmla="*/ 1597964 w 2626806"/>
                <a:gd name="connsiteY542" fmla="*/ 2130041 h 3905171"/>
                <a:gd name="connsiteX543" fmla="*/ 1591378 w 2626806"/>
                <a:gd name="connsiteY543" fmla="*/ 2136627 h 3905171"/>
                <a:gd name="connsiteX544" fmla="*/ 1262128 w 2626806"/>
                <a:gd name="connsiteY544" fmla="*/ 2147601 h 3905171"/>
                <a:gd name="connsiteX545" fmla="*/ 1255543 w 2626806"/>
                <a:gd name="connsiteY545" fmla="*/ 2141017 h 3905171"/>
                <a:gd name="connsiteX546" fmla="*/ 1262128 w 2626806"/>
                <a:gd name="connsiteY546" fmla="*/ 2134430 h 3905171"/>
                <a:gd name="connsiteX547" fmla="*/ 1268713 w 2626806"/>
                <a:gd name="connsiteY547" fmla="*/ 2141017 h 3905171"/>
                <a:gd name="connsiteX548" fmla="*/ 1262128 w 2626806"/>
                <a:gd name="connsiteY548" fmla="*/ 2147601 h 3905171"/>
                <a:gd name="connsiteX549" fmla="*/ 6586 w 2626806"/>
                <a:gd name="connsiteY549" fmla="*/ 2165160 h 3905171"/>
                <a:gd name="connsiteX550" fmla="*/ 0 w 2626806"/>
                <a:gd name="connsiteY550" fmla="*/ 2158574 h 3905171"/>
                <a:gd name="connsiteX551" fmla="*/ 6586 w 2626806"/>
                <a:gd name="connsiteY551" fmla="*/ 2151990 h 3905171"/>
                <a:gd name="connsiteX552" fmla="*/ 13170 w 2626806"/>
                <a:gd name="connsiteY552" fmla="*/ 2158574 h 3905171"/>
                <a:gd name="connsiteX553" fmla="*/ 6586 w 2626806"/>
                <a:gd name="connsiteY553" fmla="*/ 2165160 h 3905171"/>
                <a:gd name="connsiteX554" fmla="*/ 941658 w 2626806"/>
                <a:gd name="connsiteY554" fmla="*/ 2165160 h 3905171"/>
                <a:gd name="connsiteX555" fmla="*/ 926292 w 2626806"/>
                <a:gd name="connsiteY555" fmla="*/ 2149796 h 3905171"/>
                <a:gd name="connsiteX556" fmla="*/ 941658 w 2626806"/>
                <a:gd name="connsiteY556" fmla="*/ 2134430 h 3905171"/>
                <a:gd name="connsiteX557" fmla="*/ 957023 w 2626806"/>
                <a:gd name="connsiteY557" fmla="*/ 2149796 h 3905171"/>
                <a:gd name="connsiteX558" fmla="*/ 941658 w 2626806"/>
                <a:gd name="connsiteY558" fmla="*/ 2165160 h 3905171"/>
                <a:gd name="connsiteX559" fmla="*/ 627771 w 2626806"/>
                <a:gd name="connsiteY559" fmla="*/ 2171744 h 3905171"/>
                <a:gd name="connsiteX560" fmla="*/ 608016 w 2626806"/>
                <a:gd name="connsiteY560" fmla="*/ 2151990 h 3905171"/>
                <a:gd name="connsiteX561" fmla="*/ 627771 w 2626806"/>
                <a:gd name="connsiteY561" fmla="*/ 2132235 h 3905171"/>
                <a:gd name="connsiteX562" fmla="*/ 647526 w 2626806"/>
                <a:gd name="connsiteY562" fmla="*/ 2151990 h 3905171"/>
                <a:gd name="connsiteX563" fmla="*/ 627771 w 2626806"/>
                <a:gd name="connsiteY563" fmla="*/ 2171744 h 3905171"/>
                <a:gd name="connsiteX564" fmla="*/ 316081 w 2626806"/>
                <a:gd name="connsiteY564" fmla="*/ 2173938 h 3905171"/>
                <a:gd name="connsiteX565" fmla="*/ 298521 w 2626806"/>
                <a:gd name="connsiteY565" fmla="*/ 2156380 h 3905171"/>
                <a:gd name="connsiteX566" fmla="*/ 316081 w 2626806"/>
                <a:gd name="connsiteY566" fmla="*/ 2138821 h 3905171"/>
                <a:gd name="connsiteX567" fmla="*/ 333641 w 2626806"/>
                <a:gd name="connsiteY567" fmla="*/ 2156380 h 3905171"/>
                <a:gd name="connsiteX568" fmla="*/ 316081 w 2626806"/>
                <a:gd name="connsiteY568" fmla="*/ 2173938 h 3905171"/>
                <a:gd name="connsiteX569" fmla="*/ 1799903 w 2626806"/>
                <a:gd name="connsiteY569" fmla="*/ 2178330 h 3905171"/>
                <a:gd name="connsiteX570" fmla="*/ 1798257 w 2626806"/>
                <a:gd name="connsiteY570" fmla="*/ 2175586 h 3905171"/>
                <a:gd name="connsiteX571" fmla="*/ 1799903 w 2626806"/>
                <a:gd name="connsiteY571" fmla="*/ 2176135 h 3905171"/>
                <a:gd name="connsiteX572" fmla="*/ 1799903 w 2626806"/>
                <a:gd name="connsiteY572" fmla="*/ 2177507 h 3905171"/>
                <a:gd name="connsiteX573" fmla="*/ 1457483 w 2626806"/>
                <a:gd name="connsiteY573" fmla="*/ 2200279 h 3905171"/>
                <a:gd name="connsiteX574" fmla="*/ 1453093 w 2626806"/>
                <a:gd name="connsiteY574" fmla="*/ 2195891 h 3905171"/>
                <a:gd name="connsiteX575" fmla="*/ 1457483 w 2626806"/>
                <a:gd name="connsiteY575" fmla="*/ 2191500 h 3905171"/>
                <a:gd name="connsiteX576" fmla="*/ 1461873 w 2626806"/>
                <a:gd name="connsiteY576" fmla="*/ 2195891 h 3905171"/>
                <a:gd name="connsiteX577" fmla="*/ 1457483 w 2626806"/>
                <a:gd name="connsiteY577" fmla="*/ 2200279 h 3905171"/>
                <a:gd name="connsiteX578" fmla="*/ 1130428 w 2626806"/>
                <a:gd name="connsiteY578" fmla="*/ 2217839 h 3905171"/>
                <a:gd name="connsiteX579" fmla="*/ 1117258 w 2626806"/>
                <a:gd name="connsiteY579" fmla="*/ 2204671 h 3905171"/>
                <a:gd name="connsiteX580" fmla="*/ 1130428 w 2626806"/>
                <a:gd name="connsiteY580" fmla="*/ 2191500 h 3905171"/>
                <a:gd name="connsiteX581" fmla="*/ 1143597 w 2626806"/>
                <a:gd name="connsiteY581" fmla="*/ 2204671 h 3905171"/>
                <a:gd name="connsiteX582" fmla="*/ 1130428 w 2626806"/>
                <a:gd name="connsiteY582" fmla="*/ 2217839 h 3905171"/>
                <a:gd name="connsiteX583" fmla="*/ 493877 w 2626806"/>
                <a:gd name="connsiteY583" fmla="*/ 2237594 h 3905171"/>
                <a:gd name="connsiteX584" fmla="*/ 474122 w 2626806"/>
                <a:gd name="connsiteY584" fmla="*/ 2217839 h 3905171"/>
                <a:gd name="connsiteX585" fmla="*/ 493877 w 2626806"/>
                <a:gd name="connsiteY585" fmla="*/ 2198085 h 3905171"/>
                <a:gd name="connsiteX586" fmla="*/ 513631 w 2626806"/>
                <a:gd name="connsiteY586" fmla="*/ 2217839 h 3905171"/>
                <a:gd name="connsiteX587" fmla="*/ 493877 w 2626806"/>
                <a:gd name="connsiteY587" fmla="*/ 2237594 h 3905171"/>
                <a:gd name="connsiteX588" fmla="*/ 807762 w 2626806"/>
                <a:gd name="connsiteY588" fmla="*/ 2239789 h 3905171"/>
                <a:gd name="connsiteX589" fmla="*/ 781422 w 2626806"/>
                <a:gd name="connsiteY589" fmla="*/ 2213449 h 3905171"/>
                <a:gd name="connsiteX590" fmla="*/ 807762 w 2626806"/>
                <a:gd name="connsiteY590" fmla="*/ 2187110 h 3905171"/>
                <a:gd name="connsiteX591" fmla="*/ 834102 w 2626806"/>
                <a:gd name="connsiteY591" fmla="*/ 2213449 h 3905171"/>
                <a:gd name="connsiteX592" fmla="*/ 807762 w 2626806"/>
                <a:gd name="connsiteY592" fmla="*/ 2239789 h 3905171"/>
                <a:gd name="connsiteX593" fmla="*/ 179991 w 2626806"/>
                <a:gd name="connsiteY593" fmla="*/ 2246374 h 3905171"/>
                <a:gd name="connsiteX594" fmla="*/ 155846 w 2626806"/>
                <a:gd name="connsiteY594" fmla="*/ 2222229 h 3905171"/>
                <a:gd name="connsiteX595" fmla="*/ 179991 w 2626806"/>
                <a:gd name="connsiteY595" fmla="*/ 2198085 h 3905171"/>
                <a:gd name="connsiteX596" fmla="*/ 204136 w 2626806"/>
                <a:gd name="connsiteY596" fmla="*/ 2222229 h 3905171"/>
                <a:gd name="connsiteX597" fmla="*/ 179991 w 2626806"/>
                <a:gd name="connsiteY597" fmla="*/ 2246374 h 3905171"/>
                <a:gd name="connsiteX598" fmla="*/ 1663814 w 2626806"/>
                <a:gd name="connsiteY598" fmla="*/ 2246374 h 3905171"/>
                <a:gd name="connsiteX599" fmla="*/ 1659424 w 2626806"/>
                <a:gd name="connsiteY599" fmla="*/ 2241984 h 3905171"/>
                <a:gd name="connsiteX600" fmla="*/ 1663814 w 2626806"/>
                <a:gd name="connsiteY600" fmla="*/ 2237594 h 3905171"/>
                <a:gd name="connsiteX601" fmla="*/ 1668204 w 2626806"/>
                <a:gd name="connsiteY601" fmla="*/ 2241984 h 3905171"/>
                <a:gd name="connsiteX602" fmla="*/ 1663814 w 2626806"/>
                <a:gd name="connsiteY602" fmla="*/ 2246374 h 3905171"/>
                <a:gd name="connsiteX603" fmla="*/ 1325783 w 2626806"/>
                <a:gd name="connsiteY603" fmla="*/ 2270519 h 3905171"/>
                <a:gd name="connsiteX604" fmla="*/ 1314808 w 2626806"/>
                <a:gd name="connsiteY604" fmla="*/ 2259544 h 3905171"/>
                <a:gd name="connsiteX605" fmla="*/ 1325783 w 2626806"/>
                <a:gd name="connsiteY605" fmla="*/ 2248569 h 3905171"/>
                <a:gd name="connsiteX606" fmla="*/ 1336759 w 2626806"/>
                <a:gd name="connsiteY606" fmla="*/ 2259544 h 3905171"/>
                <a:gd name="connsiteX607" fmla="*/ 1325783 w 2626806"/>
                <a:gd name="connsiteY607" fmla="*/ 2270519 h 3905171"/>
                <a:gd name="connsiteX608" fmla="*/ 1881119 w 2626806"/>
                <a:gd name="connsiteY608" fmla="*/ 2283689 h 3905171"/>
                <a:gd name="connsiteX609" fmla="*/ 1876729 w 2626806"/>
                <a:gd name="connsiteY609" fmla="*/ 2279299 h 3905171"/>
                <a:gd name="connsiteX610" fmla="*/ 1881119 w 2626806"/>
                <a:gd name="connsiteY610" fmla="*/ 2274909 h 3905171"/>
                <a:gd name="connsiteX611" fmla="*/ 1885509 w 2626806"/>
                <a:gd name="connsiteY611" fmla="*/ 2279299 h 3905171"/>
                <a:gd name="connsiteX612" fmla="*/ 1881119 w 2626806"/>
                <a:gd name="connsiteY612" fmla="*/ 2283689 h 3905171"/>
                <a:gd name="connsiteX613" fmla="*/ 46095 w 2626806"/>
                <a:gd name="connsiteY613" fmla="*/ 2288078 h 3905171"/>
                <a:gd name="connsiteX614" fmla="*/ 43901 w 2626806"/>
                <a:gd name="connsiteY614" fmla="*/ 2285884 h 3905171"/>
                <a:gd name="connsiteX615" fmla="*/ 46095 w 2626806"/>
                <a:gd name="connsiteY615" fmla="*/ 2283688 h 3905171"/>
                <a:gd name="connsiteX616" fmla="*/ 48291 w 2626806"/>
                <a:gd name="connsiteY616" fmla="*/ 2285884 h 3905171"/>
                <a:gd name="connsiteX617" fmla="*/ 46095 w 2626806"/>
                <a:gd name="connsiteY617" fmla="*/ 2288078 h 3905171"/>
                <a:gd name="connsiteX618" fmla="*/ 996532 w 2626806"/>
                <a:gd name="connsiteY618" fmla="*/ 2288079 h 3905171"/>
                <a:gd name="connsiteX619" fmla="*/ 976777 w 2626806"/>
                <a:gd name="connsiteY619" fmla="*/ 2268324 h 3905171"/>
                <a:gd name="connsiteX620" fmla="*/ 996532 w 2626806"/>
                <a:gd name="connsiteY620" fmla="*/ 2248569 h 3905171"/>
                <a:gd name="connsiteX621" fmla="*/ 1016287 w 2626806"/>
                <a:gd name="connsiteY621" fmla="*/ 2268324 h 3905171"/>
                <a:gd name="connsiteX622" fmla="*/ 996532 w 2626806"/>
                <a:gd name="connsiteY622" fmla="*/ 2288079 h 3905171"/>
                <a:gd name="connsiteX623" fmla="*/ 359981 w 2626806"/>
                <a:gd name="connsiteY623" fmla="*/ 2301248 h 3905171"/>
                <a:gd name="connsiteX624" fmla="*/ 340226 w 2626806"/>
                <a:gd name="connsiteY624" fmla="*/ 2281493 h 3905171"/>
                <a:gd name="connsiteX625" fmla="*/ 359981 w 2626806"/>
                <a:gd name="connsiteY625" fmla="*/ 2261738 h 3905171"/>
                <a:gd name="connsiteX626" fmla="*/ 379736 w 2626806"/>
                <a:gd name="connsiteY626" fmla="*/ 2281493 h 3905171"/>
                <a:gd name="connsiteX627" fmla="*/ 359981 w 2626806"/>
                <a:gd name="connsiteY627" fmla="*/ 2301248 h 3905171"/>
                <a:gd name="connsiteX628" fmla="*/ 676061 w 2626806"/>
                <a:gd name="connsiteY628" fmla="*/ 2301249 h 3905171"/>
                <a:gd name="connsiteX629" fmla="*/ 651916 w 2626806"/>
                <a:gd name="connsiteY629" fmla="*/ 2277104 h 3905171"/>
                <a:gd name="connsiteX630" fmla="*/ 676061 w 2626806"/>
                <a:gd name="connsiteY630" fmla="*/ 2252959 h 3905171"/>
                <a:gd name="connsiteX631" fmla="*/ 700207 w 2626806"/>
                <a:gd name="connsiteY631" fmla="*/ 2277104 h 3905171"/>
                <a:gd name="connsiteX632" fmla="*/ 676061 w 2626806"/>
                <a:gd name="connsiteY632" fmla="*/ 2301249 h 3905171"/>
                <a:gd name="connsiteX633" fmla="*/ 1529919 w 2626806"/>
                <a:gd name="connsiteY633" fmla="*/ 2312223 h 3905171"/>
                <a:gd name="connsiteX634" fmla="*/ 1523333 w 2626806"/>
                <a:gd name="connsiteY634" fmla="*/ 2305638 h 3905171"/>
                <a:gd name="connsiteX635" fmla="*/ 1529919 w 2626806"/>
                <a:gd name="connsiteY635" fmla="*/ 2299053 h 3905171"/>
                <a:gd name="connsiteX636" fmla="*/ 1536503 w 2626806"/>
                <a:gd name="connsiteY636" fmla="*/ 2305638 h 3905171"/>
                <a:gd name="connsiteX637" fmla="*/ 1529919 w 2626806"/>
                <a:gd name="connsiteY637" fmla="*/ 2312223 h 3905171"/>
                <a:gd name="connsiteX638" fmla="*/ 1191888 w 2626806"/>
                <a:gd name="connsiteY638" fmla="*/ 2334173 h 3905171"/>
                <a:gd name="connsiteX639" fmla="*/ 1180912 w 2626806"/>
                <a:gd name="connsiteY639" fmla="*/ 2323199 h 3905171"/>
                <a:gd name="connsiteX640" fmla="*/ 1191888 w 2626806"/>
                <a:gd name="connsiteY640" fmla="*/ 2312223 h 3905171"/>
                <a:gd name="connsiteX641" fmla="*/ 1202863 w 2626806"/>
                <a:gd name="connsiteY641" fmla="*/ 2323199 h 3905171"/>
                <a:gd name="connsiteX642" fmla="*/ 1191888 w 2626806"/>
                <a:gd name="connsiteY642" fmla="*/ 2334173 h 3905171"/>
                <a:gd name="connsiteX643" fmla="*/ 1745028 w 2626806"/>
                <a:gd name="connsiteY643" fmla="*/ 2351734 h 3905171"/>
                <a:gd name="connsiteX644" fmla="*/ 1740639 w 2626806"/>
                <a:gd name="connsiteY644" fmla="*/ 2347344 h 3905171"/>
                <a:gd name="connsiteX645" fmla="*/ 1745028 w 2626806"/>
                <a:gd name="connsiteY645" fmla="*/ 2342953 h 3905171"/>
                <a:gd name="connsiteX646" fmla="*/ 1749418 w 2626806"/>
                <a:gd name="connsiteY646" fmla="*/ 2347344 h 3905171"/>
                <a:gd name="connsiteX647" fmla="*/ 1745028 w 2626806"/>
                <a:gd name="connsiteY647" fmla="*/ 2351734 h 3905171"/>
                <a:gd name="connsiteX648" fmla="*/ 542166 w 2626806"/>
                <a:gd name="connsiteY648" fmla="*/ 2360514 h 3905171"/>
                <a:gd name="connsiteX649" fmla="*/ 522412 w 2626806"/>
                <a:gd name="connsiteY649" fmla="*/ 2340758 h 3905171"/>
                <a:gd name="connsiteX650" fmla="*/ 542166 w 2626806"/>
                <a:gd name="connsiteY650" fmla="*/ 2321003 h 3905171"/>
                <a:gd name="connsiteX651" fmla="*/ 561922 w 2626806"/>
                <a:gd name="connsiteY651" fmla="*/ 2340758 h 3905171"/>
                <a:gd name="connsiteX652" fmla="*/ 542166 w 2626806"/>
                <a:gd name="connsiteY652" fmla="*/ 2360514 h 3905171"/>
                <a:gd name="connsiteX653" fmla="*/ 862637 w 2626806"/>
                <a:gd name="connsiteY653" fmla="*/ 2360514 h 3905171"/>
                <a:gd name="connsiteX654" fmla="*/ 836297 w 2626806"/>
                <a:gd name="connsiteY654" fmla="*/ 2334174 h 3905171"/>
                <a:gd name="connsiteX655" fmla="*/ 862637 w 2626806"/>
                <a:gd name="connsiteY655" fmla="*/ 2307834 h 3905171"/>
                <a:gd name="connsiteX656" fmla="*/ 888977 w 2626806"/>
                <a:gd name="connsiteY656" fmla="*/ 2334174 h 3905171"/>
                <a:gd name="connsiteX657" fmla="*/ 862637 w 2626806"/>
                <a:gd name="connsiteY657" fmla="*/ 2360514 h 3905171"/>
                <a:gd name="connsiteX658" fmla="*/ 223891 w 2626806"/>
                <a:gd name="connsiteY658" fmla="*/ 2371488 h 3905171"/>
                <a:gd name="connsiteX659" fmla="*/ 199745 w 2626806"/>
                <a:gd name="connsiteY659" fmla="*/ 2347344 h 3905171"/>
                <a:gd name="connsiteX660" fmla="*/ 223891 w 2626806"/>
                <a:gd name="connsiteY660" fmla="*/ 2323199 h 3905171"/>
                <a:gd name="connsiteX661" fmla="*/ 248036 w 2626806"/>
                <a:gd name="connsiteY661" fmla="*/ 2347344 h 3905171"/>
                <a:gd name="connsiteX662" fmla="*/ 223891 w 2626806"/>
                <a:gd name="connsiteY662" fmla="*/ 2371488 h 3905171"/>
                <a:gd name="connsiteX663" fmla="*/ 1393828 w 2626806"/>
                <a:gd name="connsiteY663" fmla="*/ 2380269 h 3905171"/>
                <a:gd name="connsiteX664" fmla="*/ 1385048 w 2626806"/>
                <a:gd name="connsiteY664" fmla="*/ 2371488 h 3905171"/>
                <a:gd name="connsiteX665" fmla="*/ 1393828 w 2626806"/>
                <a:gd name="connsiteY665" fmla="*/ 2362708 h 3905171"/>
                <a:gd name="connsiteX666" fmla="*/ 1402608 w 2626806"/>
                <a:gd name="connsiteY666" fmla="*/ 2371488 h 3905171"/>
                <a:gd name="connsiteX667" fmla="*/ 1393828 w 2626806"/>
                <a:gd name="connsiteY667" fmla="*/ 2380269 h 3905171"/>
                <a:gd name="connsiteX668" fmla="*/ 1973310 w 2626806"/>
                <a:gd name="connsiteY668" fmla="*/ 2380269 h 3905171"/>
                <a:gd name="connsiteX669" fmla="*/ 1968920 w 2626806"/>
                <a:gd name="connsiteY669" fmla="*/ 2375879 h 3905171"/>
                <a:gd name="connsiteX670" fmla="*/ 1973310 w 2626806"/>
                <a:gd name="connsiteY670" fmla="*/ 2371488 h 3905171"/>
                <a:gd name="connsiteX671" fmla="*/ 1977700 w 2626806"/>
                <a:gd name="connsiteY671" fmla="*/ 2375879 h 3905171"/>
                <a:gd name="connsiteX672" fmla="*/ 1973310 w 2626806"/>
                <a:gd name="connsiteY672" fmla="*/ 2380269 h 3905171"/>
                <a:gd name="connsiteX673" fmla="*/ 1057992 w 2626806"/>
                <a:gd name="connsiteY673" fmla="*/ 2410999 h 3905171"/>
                <a:gd name="connsiteX674" fmla="*/ 1036042 w 2626806"/>
                <a:gd name="connsiteY674" fmla="*/ 2389049 h 3905171"/>
                <a:gd name="connsiteX675" fmla="*/ 1057992 w 2626806"/>
                <a:gd name="connsiteY675" fmla="*/ 2367098 h 3905171"/>
                <a:gd name="connsiteX676" fmla="*/ 1079943 w 2626806"/>
                <a:gd name="connsiteY676" fmla="*/ 2389049 h 3905171"/>
                <a:gd name="connsiteX677" fmla="*/ 1057992 w 2626806"/>
                <a:gd name="connsiteY677" fmla="*/ 2410999 h 3905171"/>
                <a:gd name="connsiteX678" fmla="*/ 728742 w 2626806"/>
                <a:gd name="connsiteY678" fmla="*/ 2419779 h 3905171"/>
                <a:gd name="connsiteX679" fmla="*/ 706792 w 2626806"/>
                <a:gd name="connsiteY679" fmla="*/ 2397829 h 3905171"/>
                <a:gd name="connsiteX680" fmla="*/ 728742 w 2626806"/>
                <a:gd name="connsiteY680" fmla="*/ 2375879 h 3905171"/>
                <a:gd name="connsiteX681" fmla="*/ 750692 w 2626806"/>
                <a:gd name="connsiteY681" fmla="*/ 2397829 h 3905171"/>
                <a:gd name="connsiteX682" fmla="*/ 728742 w 2626806"/>
                <a:gd name="connsiteY682" fmla="*/ 2419779 h 3905171"/>
                <a:gd name="connsiteX683" fmla="*/ 1608939 w 2626806"/>
                <a:gd name="connsiteY683" fmla="*/ 2419779 h 3905171"/>
                <a:gd name="connsiteX684" fmla="*/ 1604549 w 2626806"/>
                <a:gd name="connsiteY684" fmla="*/ 2415389 h 3905171"/>
                <a:gd name="connsiteX685" fmla="*/ 1608939 w 2626806"/>
                <a:gd name="connsiteY685" fmla="*/ 2410999 h 3905171"/>
                <a:gd name="connsiteX686" fmla="*/ 1613329 w 2626806"/>
                <a:gd name="connsiteY686" fmla="*/ 2415389 h 3905171"/>
                <a:gd name="connsiteX687" fmla="*/ 1608939 w 2626806"/>
                <a:gd name="connsiteY687" fmla="*/ 2419779 h 3905171"/>
                <a:gd name="connsiteX688" fmla="*/ 408271 w 2626806"/>
                <a:gd name="connsiteY688" fmla="*/ 2426364 h 3905171"/>
                <a:gd name="connsiteX689" fmla="*/ 388516 w 2626806"/>
                <a:gd name="connsiteY689" fmla="*/ 2406609 h 3905171"/>
                <a:gd name="connsiteX690" fmla="*/ 408271 w 2626806"/>
                <a:gd name="connsiteY690" fmla="*/ 2386853 h 3905171"/>
                <a:gd name="connsiteX691" fmla="*/ 428027 w 2626806"/>
                <a:gd name="connsiteY691" fmla="*/ 2406609 h 3905171"/>
                <a:gd name="connsiteX692" fmla="*/ 408271 w 2626806"/>
                <a:gd name="connsiteY692" fmla="*/ 2426364 h 3905171"/>
                <a:gd name="connsiteX693" fmla="*/ 1259933 w 2626806"/>
                <a:gd name="connsiteY693" fmla="*/ 2450509 h 3905171"/>
                <a:gd name="connsiteX694" fmla="*/ 1246763 w 2626806"/>
                <a:gd name="connsiteY694" fmla="*/ 2437339 h 3905171"/>
                <a:gd name="connsiteX695" fmla="*/ 1259933 w 2626806"/>
                <a:gd name="connsiteY695" fmla="*/ 2424169 h 3905171"/>
                <a:gd name="connsiteX696" fmla="*/ 1273103 w 2626806"/>
                <a:gd name="connsiteY696" fmla="*/ 2437339 h 3905171"/>
                <a:gd name="connsiteX697" fmla="*/ 1259933 w 2626806"/>
                <a:gd name="connsiteY697" fmla="*/ 2450509 h 3905171"/>
                <a:gd name="connsiteX698" fmla="*/ 1832829 w 2626806"/>
                <a:gd name="connsiteY698" fmla="*/ 2452704 h 3905171"/>
                <a:gd name="connsiteX699" fmla="*/ 1826244 w 2626806"/>
                <a:gd name="connsiteY699" fmla="*/ 2446119 h 3905171"/>
                <a:gd name="connsiteX700" fmla="*/ 1832829 w 2626806"/>
                <a:gd name="connsiteY700" fmla="*/ 2439534 h 3905171"/>
                <a:gd name="connsiteX701" fmla="*/ 1839414 w 2626806"/>
                <a:gd name="connsiteY701" fmla="*/ 2446119 h 3905171"/>
                <a:gd name="connsiteX702" fmla="*/ 1832829 w 2626806"/>
                <a:gd name="connsiteY702" fmla="*/ 2452704 h 3905171"/>
                <a:gd name="connsiteX703" fmla="*/ 2074279 w 2626806"/>
                <a:gd name="connsiteY703" fmla="*/ 2465874 h 3905171"/>
                <a:gd name="connsiteX704" fmla="*/ 2073456 w 2626806"/>
                <a:gd name="connsiteY704" fmla="*/ 2463130 h 3905171"/>
                <a:gd name="connsiteX705" fmla="*/ 2074279 w 2626806"/>
                <a:gd name="connsiteY705" fmla="*/ 2463679 h 3905171"/>
                <a:gd name="connsiteX706" fmla="*/ 2074279 w 2626806"/>
                <a:gd name="connsiteY706" fmla="*/ 2465874 h 3905171"/>
                <a:gd name="connsiteX707" fmla="*/ 924097 w 2626806"/>
                <a:gd name="connsiteY707" fmla="*/ 2476849 h 3905171"/>
                <a:gd name="connsiteX708" fmla="*/ 899953 w 2626806"/>
                <a:gd name="connsiteY708" fmla="*/ 2452704 h 3905171"/>
                <a:gd name="connsiteX709" fmla="*/ 924097 w 2626806"/>
                <a:gd name="connsiteY709" fmla="*/ 2428558 h 3905171"/>
                <a:gd name="connsiteX710" fmla="*/ 948242 w 2626806"/>
                <a:gd name="connsiteY710" fmla="*/ 2452704 h 3905171"/>
                <a:gd name="connsiteX711" fmla="*/ 924097 w 2626806"/>
                <a:gd name="connsiteY711" fmla="*/ 2476849 h 3905171"/>
                <a:gd name="connsiteX712" fmla="*/ 597041 w 2626806"/>
                <a:gd name="connsiteY712" fmla="*/ 2485629 h 3905171"/>
                <a:gd name="connsiteX713" fmla="*/ 575091 w 2626806"/>
                <a:gd name="connsiteY713" fmla="*/ 2463679 h 3905171"/>
                <a:gd name="connsiteX714" fmla="*/ 597041 w 2626806"/>
                <a:gd name="connsiteY714" fmla="*/ 2441729 h 3905171"/>
                <a:gd name="connsiteX715" fmla="*/ 618991 w 2626806"/>
                <a:gd name="connsiteY715" fmla="*/ 2463679 h 3905171"/>
                <a:gd name="connsiteX716" fmla="*/ 597041 w 2626806"/>
                <a:gd name="connsiteY716" fmla="*/ 2485629 h 3905171"/>
                <a:gd name="connsiteX717" fmla="*/ 1472848 w 2626806"/>
                <a:gd name="connsiteY717" fmla="*/ 2490019 h 3905171"/>
                <a:gd name="connsiteX718" fmla="*/ 1464068 w 2626806"/>
                <a:gd name="connsiteY718" fmla="*/ 2481239 h 3905171"/>
                <a:gd name="connsiteX719" fmla="*/ 1472848 w 2626806"/>
                <a:gd name="connsiteY719" fmla="*/ 2472459 h 3905171"/>
                <a:gd name="connsiteX720" fmla="*/ 1481628 w 2626806"/>
                <a:gd name="connsiteY720" fmla="*/ 2481239 h 3905171"/>
                <a:gd name="connsiteX721" fmla="*/ 1472848 w 2626806"/>
                <a:gd name="connsiteY721" fmla="*/ 2490019 h 3905171"/>
                <a:gd name="connsiteX722" fmla="*/ 274376 w 2626806"/>
                <a:gd name="connsiteY722" fmla="*/ 2494409 h 3905171"/>
                <a:gd name="connsiteX723" fmla="*/ 250230 w 2626806"/>
                <a:gd name="connsiteY723" fmla="*/ 2470264 h 3905171"/>
                <a:gd name="connsiteX724" fmla="*/ 274376 w 2626806"/>
                <a:gd name="connsiteY724" fmla="*/ 2446119 h 3905171"/>
                <a:gd name="connsiteX725" fmla="*/ 298521 w 2626806"/>
                <a:gd name="connsiteY725" fmla="*/ 2470264 h 3905171"/>
                <a:gd name="connsiteX726" fmla="*/ 274376 w 2626806"/>
                <a:gd name="connsiteY726" fmla="*/ 2494409 h 3905171"/>
                <a:gd name="connsiteX727" fmla="*/ 1126038 w 2626806"/>
                <a:gd name="connsiteY727" fmla="*/ 2522944 h 3905171"/>
                <a:gd name="connsiteX728" fmla="*/ 1104088 w 2626806"/>
                <a:gd name="connsiteY728" fmla="*/ 2500994 h 3905171"/>
                <a:gd name="connsiteX729" fmla="*/ 1126038 w 2626806"/>
                <a:gd name="connsiteY729" fmla="*/ 2479044 h 3905171"/>
                <a:gd name="connsiteX730" fmla="*/ 1147987 w 2626806"/>
                <a:gd name="connsiteY730" fmla="*/ 2500994 h 3905171"/>
                <a:gd name="connsiteX731" fmla="*/ 1126038 w 2626806"/>
                <a:gd name="connsiteY731" fmla="*/ 2522944 h 3905171"/>
                <a:gd name="connsiteX732" fmla="*/ 1694544 w 2626806"/>
                <a:gd name="connsiteY732" fmla="*/ 2522944 h 3905171"/>
                <a:gd name="connsiteX733" fmla="*/ 1685764 w 2626806"/>
                <a:gd name="connsiteY733" fmla="*/ 2514164 h 3905171"/>
                <a:gd name="connsiteX734" fmla="*/ 1694544 w 2626806"/>
                <a:gd name="connsiteY734" fmla="*/ 2505384 h 3905171"/>
                <a:gd name="connsiteX735" fmla="*/ 1703324 w 2626806"/>
                <a:gd name="connsiteY735" fmla="*/ 2514164 h 3905171"/>
                <a:gd name="connsiteX736" fmla="*/ 1694544 w 2626806"/>
                <a:gd name="connsiteY736" fmla="*/ 2522944 h 3905171"/>
                <a:gd name="connsiteX737" fmla="*/ 1931604 w 2626806"/>
                <a:gd name="connsiteY737" fmla="*/ 2542699 h 3905171"/>
                <a:gd name="connsiteX738" fmla="*/ 1925019 w 2626806"/>
                <a:gd name="connsiteY738" fmla="*/ 2536114 h 3905171"/>
                <a:gd name="connsiteX739" fmla="*/ 1931604 w 2626806"/>
                <a:gd name="connsiteY739" fmla="*/ 2529529 h 3905171"/>
                <a:gd name="connsiteX740" fmla="*/ 1938189 w 2626806"/>
                <a:gd name="connsiteY740" fmla="*/ 2536114 h 3905171"/>
                <a:gd name="connsiteX741" fmla="*/ 1931604 w 2626806"/>
                <a:gd name="connsiteY741" fmla="*/ 2542699 h 3905171"/>
                <a:gd name="connsiteX742" fmla="*/ 2181835 w 2626806"/>
                <a:gd name="connsiteY742" fmla="*/ 2544894 h 3905171"/>
                <a:gd name="connsiteX743" fmla="*/ 2179639 w 2626806"/>
                <a:gd name="connsiteY743" fmla="*/ 2542699 h 3905171"/>
                <a:gd name="connsiteX744" fmla="*/ 2181835 w 2626806"/>
                <a:gd name="connsiteY744" fmla="*/ 2540504 h 3905171"/>
                <a:gd name="connsiteX745" fmla="*/ 2184030 w 2626806"/>
                <a:gd name="connsiteY745" fmla="*/ 2542699 h 3905171"/>
                <a:gd name="connsiteX746" fmla="*/ 2181835 w 2626806"/>
                <a:gd name="connsiteY746" fmla="*/ 2544894 h 3905171"/>
                <a:gd name="connsiteX747" fmla="*/ 790202 w 2626806"/>
                <a:gd name="connsiteY747" fmla="*/ 2549284 h 3905171"/>
                <a:gd name="connsiteX748" fmla="*/ 757277 w 2626806"/>
                <a:gd name="connsiteY748" fmla="*/ 2516359 h 3905171"/>
                <a:gd name="connsiteX749" fmla="*/ 790202 w 2626806"/>
                <a:gd name="connsiteY749" fmla="*/ 2483434 h 3905171"/>
                <a:gd name="connsiteX750" fmla="*/ 823127 w 2626806"/>
                <a:gd name="connsiteY750" fmla="*/ 2516359 h 3905171"/>
                <a:gd name="connsiteX751" fmla="*/ 790202 w 2626806"/>
                <a:gd name="connsiteY751" fmla="*/ 2549284 h 3905171"/>
                <a:gd name="connsiteX752" fmla="*/ 463146 w 2626806"/>
                <a:gd name="connsiteY752" fmla="*/ 2553674 h 3905171"/>
                <a:gd name="connsiteX753" fmla="*/ 436806 w 2626806"/>
                <a:gd name="connsiteY753" fmla="*/ 2527334 h 3905171"/>
                <a:gd name="connsiteX754" fmla="*/ 463146 w 2626806"/>
                <a:gd name="connsiteY754" fmla="*/ 2500994 h 3905171"/>
                <a:gd name="connsiteX755" fmla="*/ 489487 w 2626806"/>
                <a:gd name="connsiteY755" fmla="*/ 2527334 h 3905171"/>
                <a:gd name="connsiteX756" fmla="*/ 463146 w 2626806"/>
                <a:gd name="connsiteY756" fmla="*/ 2553674 h 3905171"/>
                <a:gd name="connsiteX757" fmla="*/ 1336757 w 2626806"/>
                <a:gd name="connsiteY757" fmla="*/ 2562454 h 3905171"/>
                <a:gd name="connsiteX758" fmla="*/ 1321393 w 2626806"/>
                <a:gd name="connsiteY758" fmla="*/ 2547089 h 3905171"/>
                <a:gd name="connsiteX759" fmla="*/ 1336757 w 2626806"/>
                <a:gd name="connsiteY759" fmla="*/ 2531724 h 3905171"/>
                <a:gd name="connsiteX760" fmla="*/ 1352123 w 2626806"/>
                <a:gd name="connsiteY760" fmla="*/ 2547089 h 3905171"/>
                <a:gd name="connsiteX761" fmla="*/ 1336757 w 2626806"/>
                <a:gd name="connsiteY761" fmla="*/ 2562454 h 3905171"/>
                <a:gd name="connsiteX762" fmla="*/ 1556258 w 2626806"/>
                <a:gd name="connsiteY762" fmla="*/ 2593185 h 3905171"/>
                <a:gd name="connsiteX763" fmla="*/ 1545283 w 2626806"/>
                <a:gd name="connsiteY763" fmla="*/ 2582209 h 3905171"/>
                <a:gd name="connsiteX764" fmla="*/ 1556258 w 2626806"/>
                <a:gd name="connsiteY764" fmla="*/ 2571234 h 3905171"/>
                <a:gd name="connsiteX765" fmla="*/ 1567234 w 2626806"/>
                <a:gd name="connsiteY765" fmla="*/ 2582209 h 3905171"/>
                <a:gd name="connsiteX766" fmla="*/ 1556258 w 2626806"/>
                <a:gd name="connsiteY766" fmla="*/ 2593185 h 3905171"/>
                <a:gd name="connsiteX767" fmla="*/ 992142 w 2626806"/>
                <a:gd name="connsiteY767" fmla="*/ 2601965 h 3905171"/>
                <a:gd name="connsiteX768" fmla="*/ 957022 w 2626806"/>
                <a:gd name="connsiteY768" fmla="*/ 2566844 h 3905171"/>
                <a:gd name="connsiteX769" fmla="*/ 992142 w 2626806"/>
                <a:gd name="connsiteY769" fmla="*/ 2531724 h 3905171"/>
                <a:gd name="connsiteX770" fmla="*/ 1027262 w 2626806"/>
                <a:gd name="connsiteY770" fmla="*/ 2566844 h 3905171"/>
                <a:gd name="connsiteX771" fmla="*/ 992142 w 2626806"/>
                <a:gd name="connsiteY771" fmla="*/ 2601965 h 3905171"/>
                <a:gd name="connsiteX772" fmla="*/ 656306 w 2626806"/>
                <a:gd name="connsiteY772" fmla="*/ 2617330 h 3905171"/>
                <a:gd name="connsiteX773" fmla="*/ 618991 w 2626806"/>
                <a:gd name="connsiteY773" fmla="*/ 2580014 h 3905171"/>
                <a:gd name="connsiteX774" fmla="*/ 656306 w 2626806"/>
                <a:gd name="connsiteY774" fmla="*/ 2542699 h 3905171"/>
                <a:gd name="connsiteX775" fmla="*/ 693621 w 2626806"/>
                <a:gd name="connsiteY775" fmla="*/ 2580014 h 3905171"/>
                <a:gd name="connsiteX776" fmla="*/ 656306 w 2626806"/>
                <a:gd name="connsiteY776" fmla="*/ 2617330 h 3905171"/>
                <a:gd name="connsiteX777" fmla="*/ 1788929 w 2626806"/>
                <a:gd name="connsiteY777" fmla="*/ 2617330 h 3905171"/>
                <a:gd name="connsiteX778" fmla="*/ 1780149 w 2626806"/>
                <a:gd name="connsiteY778" fmla="*/ 2608549 h 3905171"/>
                <a:gd name="connsiteX779" fmla="*/ 1788929 w 2626806"/>
                <a:gd name="connsiteY779" fmla="*/ 2599769 h 3905171"/>
                <a:gd name="connsiteX780" fmla="*/ 1797709 w 2626806"/>
                <a:gd name="connsiteY780" fmla="*/ 2608549 h 3905171"/>
                <a:gd name="connsiteX781" fmla="*/ 1788929 w 2626806"/>
                <a:gd name="connsiteY781" fmla="*/ 2617330 h 3905171"/>
                <a:gd name="connsiteX782" fmla="*/ 329251 w 2626806"/>
                <a:gd name="connsiteY782" fmla="*/ 2619524 h 3905171"/>
                <a:gd name="connsiteX783" fmla="*/ 300715 w 2626806"/>
                <a:gd name="connsiteY783" fmla="*/ 2590989 h 3905171"/>
                <a:gd name="connsiteX784" fmla="*/ 329251 w 2626806"/>
                <a:gd name="connsiteY784" fmla="*/ 2562454 h 3905171"/>
                <a:gd name="connsiteX785" fmla="*/ 357786 w 2626806"/>
                <a:gd name="connsiteY785" fmla="*/ 2590989 h 3905171"/>
                <a:gd name="connsiteX786" fmla="*/ 329251 w 2626806"/>
                <a:gd name="connsiteY786" fmla="*/ 2619524 h 3905171"/>
                <a:gd name="connsiteX787" fmla="*/ 2034770 w 2626806"/>
                <a:gd name="connsiteY787" fmla="*/ 2626110 h 3905171"/>
                <a:gd name="connsiteX788" fmla="*/ 2028184 w 2626806"/>
                <a:gd name="connsiteY788" fmla="*/ 2619524 h 3905171"/>
                <a:gd name="connsiteX789" fmla="*/ 2034770 w 2626806"/>
                <a:gd name="connsiteY789" fmla="*/ 2612940 h 3905171"/>
                <a:gd name="connsiteX790" fmla="*/ 2041355 w 2626806"/>
                <a:gd name="connsiteY790" fmla="*/ 2619524 h 3905171"/>
                <a:gd name="connsiteX791" fmla="*/ 2034770 w 2626806"/>
                <a:gd name="connsiteY791" fmla="*/ 2626110 h 3905171"/>
                <a:gd name="connsiteX792" fmla="*/ 1200668 w 2626806"/>
                <a:gd name="connsiteY792" fmla="*/ 2632694 h 3905171"/>
                <a:gd name="connsiteX793" fmla="*/ 1178718 w 2626806"/>
                <a:gd name="connsiteY793" fmla="*/ 2610745 h 3905171"/>
                <a:gd name="connsiteX794" fmla="*/ 1200668 w 2626806"/>
                <a:gd name="connsiteY794" fmla="*/ 2588795 h 3905171"/>
                <a:gd name="connsiteX795" fmla="*/ 1222618 w 2626806"/>
                <a:gd name="connsiteY795" fmla="*/ 2610745 h 3905171"/>
                <a:gd name="connsiteX796" fmla="*/ 1200668 w 2626806"/>
                <a:gd name="connsiteY796" fmla="*/ 2632694 h 3905171"/>
                <a:gd name="connsiteX797" fmla="*/ 858247 w 2626806"/>
                <a:gd name="connsiteY797" fmla="*/ 2663425 h 3905171"/>
                <a:gd name="connsiteX798" fmla="*/ 825322 w 2626806"/>
                <a:gd name="connsiteY798" fmla="*/ 2630500 h 3905171"/>
                <a:gd name="connsiteX799" fmla="*/ 858247 w 2626806"/>
                <a:gd name="connsiteY799" fmla="*/ 2597575 h 3905171"/>
                <a:gd name="connsiteX800" fmla="*/ 891173 w 2626806"/>
                <a:gd name="connsiteY800" fmla="*/ 2630500 h 3905171"/>
                <a:gd name="connsiteX801" fmla="*/ 858247 w 2626806"/>
                <a:gd name="connsiteY801" fmla="*/ 2663425 h 3905171"/>
                <a:gd name="connsiteX802" fmla="*/ 1417973 w 2626806"/>
                <a:gd name="connsiteY802" fmla="*/ 2665619 h 3905171"/>
                <a:gd name="connsiteX803" fmla="*/ 1402608 w 2626806"/>
                <a:gd name="connsiteY803" fmla="*/ 2650254 h 3905171"/>
                <a:gd name="connsiteX804" fmla="*/ 1417973 w 2626806"/>
                <a:gd name="connsiteY804" fmla="*/ 2634889 h 3905171"/>
                <a:gd name="connsiteX805" fmla="*/ 1433338 w 2626806"/>
                <a:gd name="connsiteY805" fmla="*/ 2650254 h 3905171"/>
                <a:gd name="connsiteX806" fmla="*/ 1417973 w 2626806"/>
                <a:gd name="connsiteY806" fmla="*/ 2665619 h 3905171"/>
                <a:gd name="connsiteX807" fmla="*/ 2414506 w 2626806"/>
                <a:gd name="connsiteY807" fmla="*/ 2670010 h 3905171"/>
                <a:gd name="connsiteX808" fmla="*/ 2412311 w 2626806"/>
                <a:gd name="connsiteY808" fmla="*/ 2667815 h 3905171"/>
                <a:gd name="connsiteX809" fmla="*/ 2414506 w 2626806"/>
                <a:gd name="connsiteY809" fmla="*/ 2665619 h 3905171"/>
                <a:gd name="connsiteX810" fmla="*/ 2416700 w 2626806"/>
                <a:gd name="connsiteY810" fmla="*/ 2667815 h 3905171"/>
                <a:gd name="connsiteX811" fmla="*/ 2414506 w 2626806"/>
                <a:gd name="connsiteY811" fmla="*/ 2670010 h 3905171"/>
                <a:gd name="connsiteX812" fmla="*/ 522412 w 2626806"/>
                <a:gd name="connsiteY812" fmla="*/ 2672205 h 3905171"/>
                <a:gd name="connsiteX813" fmla="*/ 496071 w 2626806"/>
                <a:gd name="connsiteY813" fmla="*/ 2645865 h 3905171"/>
                <a:gd name="connsiteX814" fmla="*/ 522412 w 2626806"/>
                <a:gd name="connsiteY814" fmla="*/ 2619524 h 3905171"/>
                <a:gd name="connsiteX815" fmla="*/ 548752 w 2626806"/>
                <a:gd name="connsiteY815" fmla="*/ 2645865 h 3905171"/>
                <a:gd name="connsiteX816" fmla="*/ 522412 w 2626806"/>
                <a:gd name="connsiteY816" fmla="*/ 2672205 h 3905171"/>
                <a:gd name="connsiteX817" fmla="*/ 195356 w 2626806"/>
                <a:gd name="connsiteY817" fmla="*/ 2674399 h 3905171"/>
                <a:gd name="connsiteX818" fmla="*/ 175600 w 2626806"/>
                <a:gd name="connsiteY818" fmla="*/ 2654644 h 3905171"/>
                <a:gd name="connsiteX819" fmla="*/ 195356 w 2626806"/>
                <a:gd name="connsiteY819" fmla="*/ 2634889 h 3905171"/>
                <a:gd name="connsiteX820" fmla="*/ 215111 w 2626806"/>
                <a:gd name="connsiteY820" fmla="*/ 2654644 h 3905171"/>
                <a:gd name="connsiteX821" fmla="*/ 195356 w 2626806"/>
                <a:gd name="connsiteY821" fmla="*/ 2674399 h 3905171"/>
                <a:gd name="connsiteX822" fmla="*/ 1648449 w 2626806"/>
                <a:gd name="connsiteY822" fmla="*/ 2691960 h 3905171"/>
                <a:gd name="connsiteX823" fmla="*/ 1635279 w 2626806"/>
                <a:gd name="connsiteY823" fmla="*/ 2678790 h 3905171"/>
                <a:gd name="connsiteX824" fmla="*/ 1648449 w 2626806"/>
                <a:gd name="connsiteY824" fmla="*/ 2665619 h 3905171"/>
                <a:gd name="connsiteX825" fmla="*/ 1661619 w 2626806"/>
                <a:gd name="connsiteY825" fmla="*/ 2678790 h 3905171"/>
                <a:gd name="connsiteX826" fmla="*/ 1648449 w 2626806"/>
                <a:gd name="connsiteY826" fmla="*/ 2691960 h 3905171"/>
                <a:gd name="connsiteX827" fmla="*/ 2144518 w 2626806"/>
                <a:gd name="connsiteY827" fmla="*/ 2700740 h 3905171"/>
                <a:gd name="connsiteX828" fmla="*/ 2137934 w 2626806"/>
                <a:gd name="connsiteY828" fmla="*/ 2694155 h 3905171"/>
                <a:gd name="connsiteX829" fmla="*/ 2144518 w 2626806"/>
                <a:gd name="connsiteY829" fmla="*/ 2687570 h 3905171"/>
                <a:gd name="connsiteX830" fmla="*/ 2151104 w 2626806"/>
                <a:gd name="connsiteY830" fmla="*/ 2694155 h 3905171"/>
                <a:gd name="connsiteX831" fmla="*/ 2144518 w 2626806"/>
                <a:gd name="connsiteY831" fmla="*/ 2700740 h 3905171"/>
                <a:gd name="connsiteX832" fmla="*/ 1889899 w 2626806"/>
                <a:gd name="connsiteY832" fmla="*/ 2705129 h 3905171"/>
                <a:gd name="connsiteX833" fmla="*/ 1878924 w 2626806"/>
                <a:gd name="connsiteY833" fmla="*/ 2694154 h 3905171"/>
                <a:gd name="connsiteX834" fmla="*/ 1889899 w 2626806"/>
                <a:gd name="connsiteY834" fmla="*/ 2683179 h 3905171"/>
                <a:gd name="connsiteX835" fmla="*/ 1900874 w 2626806"/>
                <a:gd name="connsiteY835" fmla="*/ 2694154 h 3905171"/>
                <a:gd name="connsiteX836" fmla="*/ 1889899 w 2626806"/>
                <a:gd name="connsiteY836" fmla="*/ 2705129 h 3905171"/>
                <a:gd name="connsiteX837" fmla="*/ 1064577 w 2626806"/>
                <a:gd name="connsiteY837" fmla="*/ 2711715 h 3905171"/>
                <a:gd name="connsiteX838" fmla="*/ 1029457 w 2626806"/>
                <a:gd name="connsiteY838" fmla="*/ 2676595 h 3905171"/>
                <a:gd name="connsiteX839" fmla="*/ 1064577 w 2626806"/>
                <a:gd name="connsiteY839" fmla="*/ 2641475 h 3905171"/>
                <a:gd name="connsiteX840" fmla="*/ 1099698 w 2626806"/>
                <a:gd name="connsiteY840" fmla="*/ 2676595 h 3905171"/>
                <a:gd name="connsiteX841" fmla="*/ 1064577 w 2626806"/>
                <a:gd name="connsiteY841" fmla="*/ 2711715 h 3905171"/>
                <a:gd name="connsiteX842" fmla="*/ 2539620 w 2626806"/>
                <a:gd name="connsiteY842" fmla="*/ 2716105 h 3905171"/>
                <a:gd name="connsiteX843" fmla="*/ 2538797 w 2626806"/>
                <a:gd name="connsiteY843" fmla="*/ 2713362 h 3905171"/>
                <a:gd name="connsiteX844" fmla="*/ 2539620 w 2626806"/>
                <a:gd name="connsiteY844" fmla="*/ 2713910 h 3905171"/>
                <a:gd name="connsiteX845" fmla="*/ 2539620 w 2626806"/>
                <a:gd name="connsiteY845" fmla="*/ 2716105 h 3905171"/>
                <a:gd name="connsiteX846" fmla="*/ 722156 w 2626806"/>
                <a:gd name="connsiteY846" fmla="*/ 2733665 h 3905171"/>
                <a:gd name="connsiteX847" fmla="*/ 682647 w 2626806"/>
                <a:gd name="connsiteY847" fmla="*/ 2694155 h 3905171"/>
                <a:gd name="connsiteX848" fmla="*/ 722156 w 2626806"/>
                <a:gd name="connsiteY848" fmla="*/ 2654645 h 3905171"/>
                <a:gd name="connsiteX849" fmla="*/ 761667 w 2626806"/>
                <a:gd name="connsiteY849" fmla="*/ 2694155 h 3905171"/>
                <a:gd name="connsiteX850" fmla="*/ 722156 w 2626806"/>
                <a:gd name="connsiteY850" fmla="*/ 2733665 h 3905171"/>
                <a:gd name="connsiteX851" fmla="*/ 390711 w 2626806"/>
                <a:gd name="connsiteY851" fmla="*/ 2740250 h 3905171"/>
                <a:gd name="connsiteX852" fmla="*/ 359981 w 2626806"/>
                <a:gd name="connsiteY852" fmla="*/ 2709519 h 3905171"/>
                <a:gd name="connsiteX853" fmla="*/ 390711 w 2626806"/>
                <a:gd name="connsiteY853" fmla="*/ 2678789 h 3905171"/>
                <a:gd name="connsiteX854" fmla="*/ 421441 w 2626806"/>
                <a:gd name="connsiteY854" fmla="*/ 2709519 h 3905171"/>
                <a:gd name="connsiteX855" fmla="*/ 390711 w 2626806"/>
                <a:gd name="connsiteY855" fmla="*/ 2740250 h 3905171"/>
                <a:gd name="connsiteX856" fmla="*/ 1281883 w 2626806"/>
                <a:gd name="connsiteY856" fmla="*/ 2742444 h 3905171"/>
                <a:gd name="connsiteX857" fmla="*/ 1255543 w 2626806"/>
                <a:gd name="connsiteY857" fmla="*/ 2716104 h 3905171"/>
                <a:gd name="connsiteX858" fmla="*/ 1281883 w 2626806"/>
                <a:gd name="connsiteY858" fmla="*/ 2689764 h 3905171"/>
                <a:gd name="connsiteX859" fmla="*/ 1308223 w 2626806"/>
                <a:gd name="connsiteY859" fmla="*/ 2716104 h 3905171"/>
                <a:gd name="connsiteX860" fmla="*/ 1281883 w 2626806"/>
                <a:gd name="connsiteY860" fmla="*/ 2742444 h 3905171"/>
                <a:gd name="connsiteX861" fmla="*/ 2260855 w 2626806"/>
                <a:gd name="connsiteY861" fmla="*/ 2764395 h 3905171"/>
                <a:gd name="connsiteX862" fmla="*/ 2256465 w 2626806"/>
                <a:gd name="connsiteY862" fmla="*/ 2760004 h 3905171"/>
                <a:gd name="connsiteX863" fmla="*/ 2260855 w 2626806"/>
                <a:gd name="connsiteY863" fmla="*/ 2755614 h 3905171"/>
                <a:gd name="connsiteX864" fmla="*/ 2265245 w 2626806"/>
                <a:gd name="connsiteY864" fmla="*/ 2760004 h 3905171"/>
                <a:gd name="connsiteX865" fmla="*/ 2260855 w 2626806"/>
                <a:gd name="connsiteY865" fmla="*/ 2764395 h 3905171"/>
                <a:gd name="connsiteX866" fmla="*/ 1507968 w 2626806"/>
                <a:gd name="connsiteY866" fmla="*/ 2766589 h 3905171"/>
                <a:gd name="connsiteX867" fmla="*/ 1488214 w 2626806"/>
                <a:gd name="connsiteY867" fmla="*/ 2746834 h 3905171"/>
                <a:gd name="connsiteX868" fmla="*/ 1507968 w 2626806"/>
                <a:gd name="connsiteY868" fmla="*/ 2727079 h 3905171"/>
                <a:gd name="connsiteX869" fmla="*/ 1527723 w 2626806"/>
                <a:gd name="connsiteY869" fmla="*/ 2746834 h 3905171"/>
                <a:gd name="connsiteX870" fmla="*/ 1507968 w 2626806"/>
                <a:gd name="connsiteY870" fmla="*/ 2766589 h 3905171"/>
                <a:gd name="connsiteX871" fmla="*/ 930682 w 2626806"/>
                <a:gd name="connsiteY871" fmla="*/ 2777565 h 3905171"/>
                <a:gd name="connsiteX872" fmla="*/ 893367 w 2626806"/>
                <a:gd name="connsiteY872" fmla="*/ 2740250 h 3905171"/>
                <a:gd name="connsiteX873" fmla="*/ 930682 w 2626806"/>
                <a:gd name="connsiteY873" fmla="*/ 2702934 h 3905171"/>
                <a:gd name="connsiteX874" fmla="*/ 967997 w 2626806"/>
                <a:gd name="connsiteY874" fmla="*/ 2740250 h 3905171"/>
                <a:gd name="connsiteX875" fmla="*/ 930682 w 2626806"/>
                <a:gd name="connsiteY875" fmla="*/ 2777565 h 3905171"/>
                <a:gd name="connsiteX876" fmla="*/ 256816 w 2626806"/>
                <a:gd name="connsiteY876" fmla="*/ 2781955 h 3905171"/>
                <a:gd name="connsiteX877" fmla="*/ 248036 w 2626806"/>
                <a:gd name="connsiteY877" fmla="*/ 2773175 h 3905171"/>
                <a:gd name="connsiteX878" fmla="*/ 256816 w 2626806"/>
                <a:gd name="connsiteY878" fmla="*/ 2764395 h 3905171"/>
                <a:gd name="connsiteX879" fmla="*/ 265596 w 2626806"/>
                <a:gd name="connsiteY879" fmla="*/ 2773175 h 3905171"/>
                <a:gd name="connsiteX880" fmla="*/ 256816 w 2626806"/>
                <a:gd name="connsiteY880" fmla="*/ 2781955 h 3905171"/>
                <a:gd name="connsiteX881" fmla="*/ 1745028 w 2626806"/>
                <a:gd name="connsiteY881" fmla="*/ 2781955 h 3905171"/>
                <a:gd name="connsiteX882" fmla="*/ 1731859 w 2626806"/>
                <a:gd name="connsiteY882" fmla="*/ 2768785 h 3905171"/>
                <a:gd name="connsiteX883" fmla="*/ 1745028 w 2626806"/>
                <a:gd name="connsiteY883" fmla="*/ 2755614 h 3905171"/>
                <a:gd name="connsiteX884" fmla="*/ 1758198 w 2626806"/>
                <a:gd name="connsiteY884" fmla="*/ 2768785 h 3905171"/>
                <a:gd name="connsiteX885" fmla="*/ 1745028 w 2626806"/>
                <a:gd name="connsiteY885" fmla="*/ 2781955 h 3905171"/>
                <a:gd name="connsiteX886" fmla="*/ 1995259 w 2626806"/>
                <a:gd name="connsiteY886" fmla="*/ 2781955 h 3905171"/>
                <a:gd name="connsiteX887" fmla="*/ 1986479 w 2626806"/>
                <a:gd name="connsiteY887" fmla="*/ 2773175 h 3905171"/>
                <a:gd name="connsiteX888" fmla="*/ 1995259 w 2626806"/>
                <a:gd name="connsiteY888" fmla="*/ 2764395 h 3905171"/>
                <a:gd name="connsiteX889" fmla="*/ 2004039 w 2626806"/>
                <a:gd name="connsiteY889" fmla="*/ 2773175 h 3905171"/>
                <a:gd name="connsiteX890" fmla="*/ 1995259 w 2626806"/>
                <a:gd name="connsiteY890" fmla="*/ 2781955 h 3905171"/>
                <a:gd name="connsiteX891" fmla="*/ 588261 w 2626806"/>
                <a:gd name="connsiteY891" fmla="*/ 2795125 h 3905171"/>
                <a:gd name="connsiteX892" fmla="*/ 555336 w 2626806"/>
                <a:gd name="connsiteY892" fmla="*/ 2762199 h 3905171"/>
                <a:gd name="connsiteX893" fmla="*/ 588261 w 2626806"/>
                <a:gd name="connsiteY893" fmla="*/ 2729274 h 3905171"/>
                <a:gd name="connsiteX894" fmla="*/ 621186 w 2626806"/>
                <a:gd name="connsiteY894" fmla="*/ 2762199 h 3905171"/>
                <a:gd name="connsiteX895" fmla="*/ 588261 w 2626806"/>
                <a:gd name="connsiteY895" fmla="*/ 2795125 h 3905171"/>
                <a:gd name="connsiteX896" fmla="*/ 1145793 w 2626806"/>
                <a:gd name="connsiteY896" fmla="*/ 2817074 h 3905171"/>
                <a:gd name="connsiteX897" fmla="*/ 1110672 w 2626806"/>
                <a:gd name="connsiteY897" fmla="*/ 2781955 h 3905171"/>
                <a:gd name="connsiteX898" fmla="*/ 1145793 w 2626806"/>
                <a:gd name="connsiteY898" fmla="*/ 2746834 h 3905171"/>
                <a:gd name="connsiteX899" fmla="*/ 1180912 w 2626806"/>
                <a:gd name="connsiteY899" fmla="*/ 2781955 h 3905171"/>
                <a:gd name="connsiteX900" fmla="*/ 1145793 w 2626806"/>
                <a:gd name="connsiteY900" fmla="*/ 2817074 h 3905171"/>
                <a:gd name="connsiteX901" fmla="*/ 2381579 w 2626806"/>
                <a:gd name="connsiteY901" fmla="*/ 2823660 h 3905171"/>
                <a:gd name="connsiteX902" fmla="*/ 2372799 w 2626806"/>
                <a:gd name="connsiteY902" fmla="*/ 2814880 h 3905171"/>
                <a:gd name="connsiteX903" fmla="*/ 2381579 w 2626806"/>
                <a:gd name="connsiteY903" fmla="*/ 2806100 h 3905171"/>
                <a:gd name="connsiteX904" fmla="*/ 2390360 w 2626806"/>
                <a:gd name="connsiteY904" fmla="*/ 2814880 h 3905171"/>
                <a:gd name="connsiteX905" fmla="*/ 2381579 w 2626806"/>
                <a:gd name="connsiteY905" fmla="*/ 2823660 h 3905171"/>
                <a:gd name="connsiteX906" fmla="*/ 794592 w 2626806"/>
                <a:gd name="connsiteY906" fmla="*/ 2852195 h 3905171"/>
                <a:gd name="connsiteX907" fmla="*/ 748497 w 2626806"/>
                <a:gd name="connsiteY907" fmla="*/ 2806100 h 3905171"/>
                <a:gd name="connsiteX908" fmla="*/ 794592 w 2626806"/>
                <a:gd name="connsiteY908" fmla="*/ 2760004 h 3905171"/>
                <a:gd name="connsiteX909" fmla="*/ 840687 w 2626806"/>
                <a:gd name="connsiteY909" fmla="*/ 2806100 h 3905171"/>
                <a:gd name="connsiteX910" fmla="*/ 794592 w 2626806"/>
                <a:gd name="connsiteY910" fmla="*/ 2852195 h 3905171"/>
                <a:gd name="connsiteX911" fmla="*/ 1369682 w 2626806"/>
                <a:gd name="connsiteY911" fmla="*/ 2852195 h 3905171"/>
                <a:gd name="connsiteX912" fmla="*/ 1332367 w 2626806"/>
                <a:gd name="connsiteY912" fmla="*/ 2814880 h 3905171"/>
                <a:gd name="connsiteX913" fmla="*/ 1369682 w 2626806"/>
                <a:gd name="connsiteY913" fmla="*/ 2777565 h 3905171"/>
                <a:gd name="connsiteX914" fmla="*/ 1406998 w 2626806"/>
                <a:gd name="connsiteY914" fmla="*/ 2814880 h 3905171"/>
                <a:gd name="connsiteX915" fmla="*/ 1369682 w 2626806"/>
                <a:gd name="connsiteY915" fmla="*/ 2852195 h 3905171"/>
                <a:gd name="connsiteX916" fmla="*/ 2109399 w 2626806"/>
                <a:gd name="connsiteY916" fmla="*/ 2856585 h 3905171"/>
                <a:gd name="connsiteX917" fmla="*/ 2096230 w 2626806"/>
                <a:gd name="connsiteY917" fmla="*/ 2843415 h 3905171"/>
                <a:gd name="connsiteX918" fmla="*/ 2109399 w 2626806"/>
                <a:gd name="connsiteY918" fmla="*/ 2830245 h 3905171"/>
                <a:gd name="connsiteX919" fmla="*/ 2122570 w 2626806"/>
                <a:gd name="connsiteY919" fmla="*/ 2843415 h 3905171"/>
                <a:gd name="connsiteX920" fmla="*/ 2109399 w 2626806"/>
                <a:gd name="connsiteY920" fmla="*/ 2856585 h 3905171"/>
                <a:gd name="connsiteX921" fmla="*/ 454366 w 2626806"/>
                <a:gd name="connsiteY921" fmla="*/ 2858780 h 3905171"/>
                <a:gd name="connsiteX922" fmla="*/ 419246 w 2626806"/>
                <a:gd name="connsiteY922" fmla="*/ 2823660 h 3905171"/>
                <a:gd name="connsiteX923" fmla="*/ 454366 w 2626806"/>
                <a:gd name="connsiteY923" fmla="*/ 2788539 h 3905171"/>
                <a:gd name="connsiteX924" fmla="*/ 489487 w 2626806"/>
                <a:gd name="connsiteY924" fmla="*/ 2823660 h 3905171"/>
                <a:gd name="connsiteX925" fmla="*/ 454366 w 2626806"/>
                <a:gd name="connsiteY925" fmla="*/ 2858780 h 3905171"/>
                <a:gd name="connsiteX926" fmla="*/ 2506696 w 2626806"/>
                <a:gd name="connsiteY926" fmla="*/ 2867560 h 3905171"/>
                <a:gd name="connsiteX927" fmla="*/ 2497916 w 2626806"/>
                <a:gd name="connsiteY927" fmla="*/ 2858780 h 3905171"/>
                <a:gd name="connsiteX928" fmla="*/ 2506696 w 2626806"/>
                <a:gd name="connsiteY928" fmla="*/ 2849999 h 3905171"/>
                <a:gd name="connsiteX929" fmla="*/ 2515476 w 2626806"/>
                <a:gd name="connsiteY929" fmla="*/ 2858780 h 3905171"/>
                <a:gd name="connsiteX930" fmla="*/ 2506696 w 2626806"/>
                <a:gd name="connsiteY930" fmla="*/ 2867560 h 3905171"/>
                <a:gd name="connsiteX931" fmla="*/ 1604549 w 2626806"/>
                <a:gd name="connsiteY931" fmla="*/ 2869755 h 3905171"/>
                <a:gd name="connsiteX932" fmla="*/ 1576014 w 2626806"/>
                <a:gd name="connsiteY932" fmla="*/ 2841220 h 3905171"/>
                <a:gd name="connsiteX933" fmla="*/ 1604549 w 2626806"/>
                <a:gd name="connsiteY933" fmla="*/ 2812684 h 3905171"/>
                <a:gd name="connsiteX934" fmla="*/ 1633084 w 2626806"/>
                <a:gd name="connsiteY934" fmla="*/ 2841220 h 3905171"/>
                <a:gd name="connsiteX935" fmla="*/ 1604549 w 2626806"/>
                <a:gd name="connsiteY935" fmla="*/ 2869755 h 3905171"/>
                <a:gd name="connsiteX936" fmla="*/ 1850389 w 2626806"/>
                <a:gd name="connsiteY936" fmla="*/ 2874144 h 3905171"/>
                <a:gd name="connsiteX937" fmla="*/ 1826244 w 2626806"/>
                <a:gd name="connsiteY937" fmla="*/ 2849999 h 3905171"/>
                <a:gd name="connsiteX938" fmla="*/ 1850389 w 2626806"/>
                <a:gd name="connsiteY938" fmla="*/ 2825855 h 3905171"/>
                <a:gd name="connsiteX939" fmla="*/ 1874534 w 2626806"/>
                <a:gd name="connsiteY939" fmla="*/ 2849999 h 3905171"/>
                <a:gd name="connsiteX940" fmla="*/ 1850389 w 2626806"/>
                <a:gd name="connsiteY940" fmla="*/ 2874144 h 3905171"/>
                <a:gd name="connsiteX941" fmla="*/ 1009702 w 2626806"/>
                <a:gd name="connsiteY941" fmla="*/ 2891704 h 3905171"/>
                <a:gd name="connsiteX942" fmla="*/ 967997 w 2626806"/>
                <a:gd name="connsiteY942" fmla="*/ 2849999 h 3905171"/>
                <a:gd name="connsiteX943" fmla="*/ 1009702 w 2626806"/>
                <a:gd name="connsiteY943" fmla="*/ 2808294 h 3905171"/>
                <a:gd name="connsiteX944" fmla="*/ 1051407 w 2626806"/>
                <a:gd name="connsiteY944" fmla="*/ 2849999 h 3905171"/>
                <a:gd name="connsiteX945" fmla="*/ 1009702 w 2626806"/>
                <a:gd name="connsiteY945" fmla="*/ 2891704 h 3905171"/>
                <a:gd name="connsiteX946" fmla="*/ 2225735 w 2626806"/>
                <a:gd name="connsiteY946" fmla="*/ 2915850 h 3905171"/>
                <a:gd name="connsiteX947" fmla="*/ 2216954 w 2626806"/>
                <a:gd name="connsiteY947" fmla="*/ 2907069 h 3905171"/>
                <a:gd name="connsiteX948" fmla="*/ 2225735 w 2626806"/>
                <a:gd name="connsiteY948" fmla="*/ 2898290 h 3905171"/>
                <a:gd name="connsiteX949" fmla="*/ 2234515 w 2626806"/>
                <a:gd name="connsiteY949" fmla="*/ 2907069 h 3905171"/>
                <a:gd name="connsiteX950" fmla="*/ 2225735 w 2626806"/>
                <a:gd name="connsiteY950" fmla="*/ 2915850 h 3905171"/>
                <a:gd name="connsiteX951" fmla="*/ 320471 w 2626806"/>
                <a:gd name="connsiteY951" fmla="*/ 2918045 h 3905171"/>
                <a:gd name="connsiteX952" fmla="*/ 291936 w 2626806"/>
                <a:gd name="connsiteY952" fmla="*/ 2889510 h 3905171"/>
                <a:gd name="connsiteX953" fmla="*/ 320471 w 2626806"/>
                <a:gd name="connsiteY953" fmla="*/ 2860975 h 3905171"/>
                <a:gd name="connsiteX954" fmla="*/ 349006 w 2626806"/>
                <a:gd name="connsiteY954" fmla="*/ 2889510 h 3905171"/>
                <a:gd name="connsiteX955" fmla="*/ 320471 w 2626806"/>
                <a:gd name="connsiteY955" fmla="*/ 2918045 h 3905171"/>
                <a:gd name="connsiteX956" fmla="*/ 660696 w 2626806"/>
                <a:gd name="connsiteY956" fmla="*/ 2918045 h 3905171"/>
                <a:gd name="connsiteX957" fmla="*/ 614601 w 2626806"/>
                <a:gd name="connsiteY957" fmla="*/ 2871950 h 3905171"/>
                <a:gd name="connsiteX958" fmla="*/ 660696 w 2626806"/>
                <a:gd name="connsiteY958" fmla="*/ 2825855 h 3905171"/>
                <a:gd name="connsiteX959" fmla="*/ 706792 w 2626806"/>
                <a:gd name="connsiteY959" fmla="*/ 2871950 h 3905171"/>
                <a:gd name="connsiteX960" fmla="*/ 660696 w 2626806"/>
                <a:gd name="connsiteY960" fmla="*/ 2918045 h 3905171"/>
                <a:gd name="connsiteX961" fmla="*/ 1231398 w 2626806"/>
                <a:gd name="connsiteY961" fmla="*/ 2924630 h 3905171"/>
                <a:gd name="connsiteX962" fmla="*/ 1189693 w 2626806"/>
                <a:gd name="connsiteY962" fmla="*/ 2882925 h 3905171"/>
                <a:gd name="connsiteX963" fmla="*/ 1231398 w 2626806"/>
                <a:gd name="connsiteY963" fmla="*/ 2841220 h 3905171"/>
                <a:gd name="connsiteX964" fmla="*/ 1273103 w 2626806"/>
                <a:gd name="connsiteY964" fmla="*/ 2882925 h 3905171"/>
                <a:gd name="connsiteX965" fmla="*/ 1231398 w 2626806"/>
                <a:gd name="connsiteY965" fmla="*/ 2924630 h 3905171"/>
                <a:gd name="connsiteX966" fmla="*/ 1960140 w 2626806"/>
                <a:gd name="connsiteY966" fmla="*/ 2946580 h 3905171"/>
                <a:gd name="connsiteX967" fmla="*/ 1940384 w 2626806"/>
                <a:gd name="connsiteY967" fmla="*/ 2926825 h 3905171"/>
                <a:gd name="connsiteX968" fmla="*/ 1960140 w 2626806"/>
                <a:gd name="connsiteY968" fmla="*/ 2907069 h 3905171"/>
                <a:gd name="connsiteX969" fmla="*/ 1979894 w 2626806"/>
                <a:gd name="connsiteY969" fmla="*/ 2926825 h 3905171"/>
                <a:gd name="connsiteX970" fmla="*/ 1960140 w 2626806"/>
                <a:gd name="connsiteY970" fmla="*/ 2946580 h 3905171"/>
                <a:gd name="connsiteX971" fmla="*/ 1461873 w 2626806"/>
                <a:gd name="connsiteY971" fmla="*/ 2948775 h 3905171"/>
                <a:gd name="connsiteX972" fmla="*/ 1424558 w 2626806"/>
                <a:gd name="connsiteY972" fmla="*/ 2911460 h 3905171"/>
                <a:gd name="connsiteX973" fmla="*/ 1461873 w 2626806"/>
                <a:gd name="connsiteY973" fmla="*/ 2874144 h 3905171"/>
                <a:gd name="connsiteX974" fmla="*/ 1499188 w 2626806"/>
                <a:gd name="connsiteY974" fmla="*/ 2911460 h 3905171"/>
                <a:gd name="connsiteX975" fmla="*/ 1461873 w 2626806"/>
                <a:gd name="connsiteY975" fmla="*/ 2948775 h 3905171"/>
                <a:gd name="connsiteX976" fmla="*/ 1705519 w 2626806"/>
                <a:gd name="connsiteY976" fmla="*/ 2953165 h 3905171"/>
                <a:gd name="connsiteX977" fmla="*/ 1679178 w 2626806"/>
                <a:gd name="connsiteY977" fmla="*/ 2926825 h 3905171"/>
                <a:gd name="connsiteX978" fmla="*/ 1705519 w 2626806"/>
                <a:gd name="connsiteY978" fmla="*/ 2900485 h 3905171"/>
                <a:gd name="connsiteX979" fmla="*/ 1731859 w 2626806"/>
                <a:gd name="connsiteY979" fmla="*/ 2926825 h 3905171"/>
                <a:gd name="connsiteX980" fmla="*/ 1705519 w 2626806"/>
                <a:gd name="connsiteY980" fmla="*/ 2953165 h 3905171"/>
                <a:gd name="connsiteX981" fmla="*/ 873612 w 2626806"/>
                <a:gd name="connsiteY981" fmla="*/ 2961945 h 3905171"/>
                <a:gd name="connsiteX982" fmla="*/ 827517 w 2626806"/>
                <a:gd name="connsiteY982" fmla="*/ 2915850 h 3905171"/>
                <a:gd name="connsiteX983" fmla="*/ 873612 w 2626806"/>
                <a:gd name="connsiteY983" fmla="*/ 2869755 h 3905171"/>
                <a:gd name="connsiteX984" fmla="*/ 919708 w 2626806"/>
                <a:gd name="connsiteY984" fmla="*/ 2915850 h 3905171"/>
                <a:gd name="connsiteX985" fmla="*/ 873612 w 2626806"/>
                <a:gd name="connsiteY985" fmla="*/ 2961945 h 3905171"/>
                <a:gd name="connsiteX986" fmla="*/ 526802 w 2626806"/>
                <a:gd name="connsiteY986" fmla="*/ 2972920 h 3905171"/>
                <a:gd name="connsiteX987" fmla="*/ 491681 w 2626806"/>
                <a:gd name="connsiteY987" fmla="*/ 2937800 h 3905171"/>
                <a:gd name="connsiteX988" fmla="*/ 526802 w 2626806"/>
                <a:gd name="connsiteY988" fmla="*/ 2902680 h 3905171"/>
                <a:gd name="connsiteX989" fmla="*/ 561922 w 2626806"/>
                <a:gd name="connsiteY989" fmla="*/ 2937800 h 3905171"/>
                <a:gd name="connsiteX990" fmla="*/ 526802 w 2626806"/>
                <a:gd name="connsiteY990" fmla="*/ 2972920 h 3905171"/>
                <a:gd name="connsiteX991" fmla="*/ 2348655 w 2626806"/>
                <a:gd name="connsiteY991" fmla="*/ 2972920 h 3905171"/>
                <a:gd name="connsiteX992" fmla="*/ 2335485 w 2626806"/>
                <a:gd name="connsiteY992" fmla="*/ 2959750 h 3905171"/>
                <a:gd name="connsiteX993" fmla="*/ 2348655 w 2626806"/>
                <a:gd name="connsiteY993" fmla="*/ 2946580 h 3905171"/>
                <a:gd name="connsiteX994" fmla="*/ 2361825 w 2626806"/>
                <a:gd name="connsiteY994" fmla="*/ 2959750 h 3905171"/>
                <a:gd name="connsiteX995" fmla="*/ 2348655 w 2626806"/>
                <a:gd name="connsiteY995" fmla="*/ 2972920 h 3905171"/>
                <a:gd name="connsiteX996" fmla="*/ 1093112 w 2626806"/>
                <a:gd name="connsiteY996" fmla="*/ 2990480 h 3905171"/>
                <a:gd name="connsiteX997" fmla="*/ 1055797 w 2626806"/>
                <a:gd name="connsiteY997" fmla="*/ 2953165 h 3905171"/>
                <a:gd name="connsiteX998" fmla="*/ 1093112 w 2626806"/>
                <a:gd name="connsiteY998" fmla="*/ 2915850 h 3905171"/>
                <a:gd name="connsiteX999" fmla="*/ 1130428 w 2626806"/>
                <a:gd name="connsiteY999" fmla="*/ 2953165 h 3905171"/>
                <a:gd name="connsiteX1000" fmla="*/ 1093112 w 2626806"/>
                <a:gd name="connsiteY1000" fmla="*/ 2990480 h 3905171"/>
                <a:gd name="connsiteX1001" fmla="*/ 2074279 w 2626806"/>
                <a:gd name="connsiteY1001" fmla="*/ 3012430 h 3905171"/>
                <a:gd name="connsiteX1002" fmla="*/ 2056718 w 2626806"/>
                <a:gd name="connsiteY1002" fmla="*/ 2994870 h 3905171"/>
                <a:gd name="connsiteX1003" fmla="*/ 2074279 w 2626806"/>
                <a:gd name="connsiteY1003" fmla="*/ 2977311 h 3905171"/>
                <a:gd name="connsiteX1004" fmla="*/ 2091839 w 2626806"/>
                <a:gd name="connsiteY1004" fmla="*/ 2994870 h 3905171"/>
                <a:gd name="connsiteX1005" fmla="*/ 2074279 w 2626806"/>
                <a:gd name="connsiteY1005" fmla="*/ 3012430 h 3905171"/>
                <a:gd name="connsiteX1006" fmla="*/ 2473770 w 2626806"/>
                <a:gd name="connsiteY1006" fmla="*/ 3016820 h 3905171"/>
                <a:gd name="connsiteX1007" fmla="*/ 2460600 w 2626806"/>
                <a:gd name="connsiteY1007" fmla="*/ 3003649 h 3905171"/>
                <a:gd name="connsiteX1008" fmla="*/ 2473770 w 2626806"/>
                <a:gd name="connsiteY1008" fmla="*/ 2990480 h 3905171"/>
                <a:gd name="connsiteX1009" fmla="*/ 2486940 w 2626806"/>
                <a:gd name="connsiteY1009" fmla="*/ 3003649 h 3905171"/>
                <a:gd name="connsiteX1010" fmla="*/ 2473770 w 2626806"/>
                <a:gd name="connsiteY1010" fmla="*/ 3016820 h 3905171"/>
                <a:gd name="connsiteX1011" fmla="*/ 390711 w 2626806"/>
                <a:gd name="connsiteY1011" fmla="*/ 3021210 h 3905171"/>
                <a:gd name="connsiteX1012" fmla="*/ 370956 w 2626806"/>
                <a:gd name="connsiteY1012" fmla="*/ 3001455 h 3905171"/>
                <a:gd name="connsiteX1013" fmla="*/ 390711 w 2626806"/>
                <a:gd name="connsiteY1013" fmla="*/ 2981700 h 3905171"/>
                <a:gd name="connsiteX1014" fmla="*/ 410466 w 2626806"/>
                <a:gd name="connsiteY1014" fmla="*/ 3001455 h 3905171"/>
                <a:gd name="connsiteX1015" fmla="*/ 390711 w 2626806"/>
                <a:gd name="connsiteY1015" fmla="*/ 3021210 h 3905171"/>
                <a:gd name="connsiteX1016" fmla="*/ 1321393 w 2626806"/>
                <a:gd name="connsiteY1016" fmla="*/ 3023405 h 3905171"/>
                <a:gd name="connsiteX1017" fmla="*/ 1279688 w 2626806"/>
                <a:gd name="connsiteY1017" fmla="*/ 2981700 h 3905171"/>
                <a:gd name="connsiteX1018" fmla="*/ 1321393 w 2626806"/>
                <a:gd name="connsiteY1018" fmla="*/ 2939995 h 3905171"/>
                <a:gd name="connsiteX1019" fmla="*/ 1363099 w 2626806"/>
                <a:gd name="connsiteY1019" fmla="*/ 2981700 h 3905171"/>
                <a:gd name="connsiteX1020" fmla="*/ 1321393 w 2626806"/>
                <a:gd name="connsiteY1020" fmla="*/ 3023405 h 3905171"/>
                <a:gd name="connsiteX1021" fmla="*/ 737522 w 2626806"/>
                <a:gd name="connsiteY1021" fmla="*/ 3029990 h 3905171"/>
                <a:gd name="connsiteX1022" fmla="*/ 689232 w 2626806"/>
                <a:gd name="connsiteY1022" fmla="*/ 2981700 h 3905171"/>
                <a:gd name="connsiteX1023" fmla="*/ 737522 w 2626806"/>
                <a:gd name="connsiteY1023" fmla="*/ 2933410 h 3905171"/>
                <a:gd name="connsiteX1024" fmla="*/ 785812 w 2626806"/>
                <a:gd name="connsiteY1024" fmla="*/ 2981700 h 3905171"/>
                <a:gd name="connsiteX1025" fmla="*/ 737522 w 2626806"/>
                <a:gd name="connsiteY1025" fmla="*/ 3029990 h 3905171"/>
                <a:gd name="connsiteX1026" fmla="*/ 1810879 w 2626806"/>
                <a:gd name="connsiteY1026" fmla="*/ 3036575 h 3905171"/>
                <a:gd name="connsiteX1027" fmla="*/ 1780149 w 2626806"/>
                <a:gd name="connsiteY1027" fmla="*/ 3005846 h 3905171"/>
                <a:gd name="connsiteX1028" fmla="*/ 1810879 w 2626806"/>
                <a:gd name="connsiteY1028" fmla="*/ 2975115 h 3905171"/>
                <a:gd name="connsiteX1029" fmla="*/ 1841609 w 2626806"/>
                <a:gd name="connsiteY1029" fmla="*/ 3005846 h 3905171"/>
                <a:gd name="connsiteX1030" fmla="*/ 1810879 w 2626806"/>
                <a:gd name="connsiteY1030" fmla="*/ 3036575 h 3905171"/>
                <a:gd name="connsiteX1031" fmla="*/ 1560648 w 2626806"/>
                <a:gd name="connsiteY1031" fmla="*/ 3040965 h 3905171"/>
                <a:gd name="connsiteX1032" fmla="*/ 1521139 w 2626806"/>
                <a:gd name="connsiteY1032" fmla="*/ 3001455 h 3905171"/>
                <a:gd name="connsiteX1033" fmla="*/ 1560648 w 2626806"/>
                <a:gd name="connsiteY1033" fmla="*/ 2961945 h 3905171"/>
                <a:gd name="connsiteX1034" fmla="*/ 1600159 w 2626806"/>
                <a:gd name="connsiteY1034" fmla="*/ 3001455 h 3905171"/>
                <a:gd name="connsiteX1035" fmla="*/ 1560648 w 2626806"/>
                <a:gd name="connsiteY1035" fmla="*/ 3040965 h 3905171"/>
                <a:gd name="connsiteX1036" fmla="*/ 2601080 w 2626806"/>
                <a:gd name="connsiteY1036" fmla="*/ 3047550 h 3905171"/>
                <a:gd name="connsiteX1037" fmla="*/ 2592300 w 2626806"/>
                <a:gd name="connsiteY1037" fmla="*/ 3038769 h 3905171"/>
                <a:gd name="connsiteX1038" fmla="*/ 2601080 w 2626806"/>
                <a:gd name="connsiteY1038" fmla="*/ 3029990 h 3905171"/>
                <a:gd name="connsiteX1039" fmla="*/ 2609860 w 2626806"/>
                <a:gd name="connsiteY1039" fmla="*/ 3038769 h 3905171"/>
                <a:gd name="connsiteX1040" fmla="*/ 2601080 w 2626806"/>
                <a:gd name="connsiteY1040" fmla="*/ 3047550 h 3905171"/>
                <a:gd name="connsiteX1041" fmla="*/ 954827 w 2626806"/>
                <a:gd name="connsiteY1041" fmla="*/ 3062915 h 3905171"/>
                <a:gd name="connsiteX1042" fmla="*/ 910927 w 2626806"/>
                <a:gd name="connsiteY1042" fmla="*/ 3019016 h 3905171"/>
                <a:gd name="connsiteX1043" fmla="*/ 954827 w 2626806"/>
                <a:gd name="connsiteY1043" fmla="*/ 2975115 h 3905171"/>
                <a:gd name="connsiteX1044" fmla="*/ 998728 w 2626806"/>
                <a:gd name="connsiteY1044" fmla="*/ 3019016 h 3905171"/>
                <a:gd name="connsiteX1045" fmla="*/ 954827 w 2626806"/>
                <a:gd name="connsiteY1045" fmla="*/ 3062915 h 3905171"/>
                <a:gd name="connsiteX1046" fmla="*/ 2192810 w 2626806"/>
                <a:gd name="connsiteY1046" fmla="*/ 3071696 h 3905171"/>
                <a:gd name="connsiteX1047" fmla="*/ 2175250 w 2626806"/>
                <a:gd name="connsiteY1047" fmla="*/ 3054135 h 3905171"/>
                <a:gd name="connsiteX1048" fmla="*/ 2192810 w 2626806"/>
                <a:gd name="connsiteY1048" fmla="*/ 3036575 h 3905171"/>
                <a:gd name="connsiteX1049" fmla="*/ 2210370 w 2626806"/>
                <a:gd name="connsiteY1049" fmla="*/ 3054135 h 3905171"/>
                <a:gd name="connsiteX1050" fmla="*/ 2192810 w 2626806"/>
                <a:gd name="connsiteY1050" fmla="*/ 3071696 h 3905171"/>
                <a:gd name="connsiteX1051" fmla="*/ 1183108 w 2626806"/>
                <a:gd name="connsiteY1051" fmla="*/ 3093646 h 3905171"/>
                <a:gd name="connsiteX1052" fmla="*/ 1141403 w 2626806"/>
                <a:gd name="connsiteY1052" fmla="*/ 3051941 h 3905171"/>
                <a:gd name="connsiteX1053" fmla="*/ 1183108 w 2626806"/>
                <a:gd name="connsiteY1053" fmla="*/ 3010236 h 3905171"/>
                <a:gd name="connsiteX1054" fmla="*/ 1224813 w 2626806"/>
                <a:gd name="connsiteY1054" fmla="*/ 3051941 h 3905171"/>
                <a:gd name="connsiteX1055" fmla="*/ 1183108 w 2626806"/>
                <a:gd name="connsiteY1055" fmla="*/ 3093646 h 3905171"/>
                <a:gd name="connsiteX1056" fmla="*/ 601432 w 2626806"/>
                <a:gd name="connsiteY1056" fmla="*/ 3095840 h 3905171"/>
                <a:gd name="connsiteX1057" fmla="*/ 553142 w 2626806"/>
                <a:gd name="connsiteY1057" fmla="*/ 3047551 h 3905171"/>
                <a:gd name="connsiteX1058" fmla="*/ 601432 w 2626806"/>
                <a:gd name="connsiteY1058" fmla="*/ 2999260 h 3905171"/>
                <a:gd name="connsiteX1059" fmla="*/ 649722 w 2626806"/>
                <a:gd name="connsiteY1059" fmla="*/ 3047551 h 3905171"/>
                <a:gd name="connsiteX1060" fmla="*/ 601432 w 2626806"/>
                <a:gd name="connsiteY1060" fmla="*/ 3095840 h 3905171"/>
                <a:gd name="connsiteX1061" fmla="*/ 1922824 w 2626806"/>
                <a:gd name="connsiteY1061" fmla="*/ 3109010 h 3905171"/>
                <a:gd name="connsiteX1062" fmla="*/ 1894289 w 2626806"/>
                <a:gd name="connsiteY1062" fmla="*/ 3080475 h 3905171"/>
                <a:gd name="connsiteX1063" fmla="*/ 1922824 w 2626806"/>
                <a:gd name="connsiteY1063" fmla="*/ 3051940 h 3905171"/>
                <a:gd name="connsiteX1064" fmla="*/ 1951360 w 2626806"/>
                <a:gd name="connsiteY1064" fmla="*/ 3080475 h 3905171"/>
                <a:gd name="connsiteX1065" fmla="*/ 1922824 w 2626806"/>
                <a:gd name="connsiteY1065" fmla="*/ 3109010 h 3905171"/>
                <a:gd name="connsiteX1066" fmla="*/ 1417973 w 2626806"/>
                <a:gd name="connsiteY1066" fmla="*/ 3113401 h 3905171"/>
                <a:gd name="connsiteX1067" fmla="*/ 1376268 w 2626806"/>
                <a:gd name="connsiteY1067" fmla="*/ 3071696 h 3905171"/>
                <a:gd name="connsiteX1068" fmla="*/ 1417973 w 2626806"/>
                <a:gd name="connsiteY1068" fmla="*/ 3029990 h 3905171"/>
                <a:gd name="connsiteX1069" fmla="*/ 1459678 w 2626806"/>
                <a:gd name="connsiteY1069" fmla="*/ 3071696 h 3905171"/>
                <a:gd name="connsiteX1070" fmla="*/ 1417973 w 2626806"/>
                <a:gd name="connsiteY1070" fmla="*/ 3113401 h 3905171"/>
                <a:gd name="connsiteX1071" fmla="*/ 1666009 w 2626806"/>
                <a:gd name="connsiteY1071" fmla="*/ 3115596 h 3905171"/>
                <a:gd name="connsiteX1072" fmla="*/ 1633084 w 2626806"/>
                <a:gd name="connsiteY1072" fmla="*/ 3082670 h 3905171"/>
                <a:gd name="connsiteX1073" fmla="*/ 1666009 w 2626806"/>
                <a:gd name="connsiteY1073" fmla="*/ 3049745 h 3905171"/>
                <a:gd name="connsiteX1074" fmla="*/ 1698934 w 2626806"/>
                <a:gd name="connsiteY1074" fmla="*/ 3082670 h 3905171"/>
                <a:gd name="connsiteX1075" fmla="*/ 1666009 w 2626806"/>
                <a:gd name="connsiteY1075" fmla="*/ 3115596 h 3905171"/>
                <a:gd name="connsiteX1076" fmla="*/ 2313535 w 2626806"/>
                <a:gd name="connsiteY1076" fmla="*/ 3126571 h 3905171"/>
                <a:gd name="connsiteX1077" fmla="*/ 2291585 w 2626806"/>
                <a:gd name="connsiteY1077" fmla="*/ 3104621 h 3905171"/>
                <a:gd name="connsiteX1078" fmla="*/ 2313535 w 2626806"/>
                <a:gd name="connsiteY1078" fmla="*/ 3082670 h 3905171"/>
                <a:gd name="connsiteX1079" fmla="*/ 2335485 w 2626806"/>
                <a:gd name="connsiteY1079" fmla="*/ 3104621 h 3905171"/>
                <a:gd name="connsiteX1080" fmla="*/ 2313535 w 2626806"/>
                <a:gd name="connsiteY1080" fmla="*/ 3126571 h 3905171"/>
                <a:gd name="connsiteX1081" fmla="*/ 818737 w 2626806"/>
                <a:gd name="connsiteY1081" fmla="*/ 3133156 h 3905171"/>
                <a:gd name="connsiteX1082" fmla="*/ 770447 w 2626806"/>
                <a:gd name="connsiteY1082" fmla="*/ 3084866 h 3905171"/>
                <a:gd name="connsiteX1083" fmla="*/ 818737 w 2626806"/>
                <a:gd name="connsiteY1083" fmla="*/ 3036575 h 3905171"/>
                <a:gd name="connsiteX1084" fmla="*/ 867027 w 2626806"/>
                <a:gd name="connsiteY1084" fmla="*/ 3084866 h 3905171"/>
                <a:gd name="connsiteX1085" fmla="*/ 818737 w 2626806"/>
                <a:gd name="connsiteY1085" fmla="*/ 3133156 h 3905171"/>
                <a:gd name="connsiteX1086" fmla="*/ 465342 w 2626806"/>
                <a:gd name="connsiteY1086" fmla="*/ 3150716 h 3905171"/>
                <a:gd name="connsiteX1087" fmla="*/ 425831 w 2626806"/>
                <a:gd name="connsiteY1087" fmla="*/ 3111206 h 3905171"/>
                <a:gd name="connsiteX1088" fmla="*/ 465342 w 2626806"/>
                <a:gd name="connsiteY1088" fmla="*/ 3071696 h 3905171"/>
                <a:gd name="connsiteX1089" fmla="*/ 504851 w 2626806"/>
                <a:gd name="connsiteY1089" fmla="*/ 3111206 h 3905171"/>
                <a:gd name="connsiteX1090" fmla="*/ 465342 w 2626806"/>
                <a:gd name="connsiteY1090" fmla="*/ 3150716 h 3905171"/>
                <a:gd name="connsiteX1091" fmla="*/ 1042627 w 2626806"/>
                <a:gd name="connsiteY1091" fmla="*/ 3161690 h 3905171"/>
                <a:gd name="connsiteX1092" fmla="*/ 1000922 w 2626806"/>
                <a:gd name="connsiteY1092" fmla="*/ 3119985 h 3905171"/>
                <a:gd name="connsiteX1093" fmla="*/ 1042627 w 2626806"/>
                <a:gd name="connsiteY1093" fmla="*/ 3078280 h 3905171"/>
                <a:gd name="connsiteX1094" fmla="*/ 1084333 w 2626806"/>
                <a:gd name="connsiteY1094" fmla="*/ 3119985 h 3905171"/>
                <a:gd name="connsiteX1095" fmla="*/ 1042627 w 2626806"/>
                <a:gd name="connsiteY1095" fmla="*/ 3161690 h 3905171"/>
                <a:gd name="connsiteX1096" fmla="*/ 2440845 w 2626806"/>
                <a:gd name="connsiteY1096" fmla="*/ 3166081 h 3905171"/>
                <a:gd name="connsiteX1097" fmla="*/ 2423286 w 2626806"/>
                <a:gd name="connsiteY1097" fmla="*/ 3148520 h 3905171"/>
                <a:gd name="connsiteX1098" fmla="*/ 2440845 w 2626806"/>
                <a:gd name="connsiteY1098" fmla="*/ 3130960 h 3905171"/>
                <a:gd name="connsiteX1099" fmla="*/ 2458405 w 2626806"/>
                <a:gd name="connsiteY1099" fmla="*/ 3148520 h 3905171"/>
                <a:gd name="connsiteX1100" fmla="*/ 2440845 w 2626806"/>
                <a:gd name="connsiteY1100" fmla="*/ 3166081 h 3905171"/>
                <a:gd name="connsiteX1101" fmla="*/ 2039159 w 2626806"/>
                <a:gd name="connsiteY1101" fmla="*/ 3177055 h 3905171"/>
                <a:gd name="connsiteX1102" fmla="*/ 2006235 w 2626806"/>
                <a:gd name="connsiteY1102" fmla="*/ 3144130 h 3905171"/>
                <a:gd name="connsiteX1103" fmla="*/ 2039159 w 2626806"/>
                <a:gd name="connsiteY1103" fmla="*/ 3111205 h 3905171"/>
                <a:gd name="connsiteX1104" fmla="*/ 2072084 w 2626806"/>
                <a:gd name="connsiteY1104" fmla="*/ 3144130 h 3905171"/>
                <a:gd name="connsiteX1105" fmla="*/ 2039159 w 2626806"/>
                <a:gd name="connsiteY1105" fmla="*/ 3177055 h 3905171"/>
                <a:gd name="connsiteX1106" fmla="*/ 331446 w 2626806"/>
                <a:gd name="connsiteY1106" fmla="*/ 3181445 h 3905171"/>
                <a:gd name="connsiteX1107" fmla="*/ 327056 w 2626806"/>
                <a:gd name="connsiteY1107" fmla="*/ 3177055 h 3905171"/>
                <a:gd name="connsiteX1108" fmla="*/ 331446 w 2626806"/>
                <a:gd name="connsiteY1108" fmla="*/ 3172665 h 3905171"/>
                <a:gd name="connsiteX1109" fmla="*/ 335836 w 2626806"/>
                <a:gd name="connsiteY1109" fmla="*/ 3177055 h 3905171"/>
                <a:gd name="connsiteX1110" fmla="*/ 331446 w 2626806"/>
                <a:gd name="connsiteY1110" fmla="*/ 3181445 h 3905171"/>
                <a:gd name="connsiteX1111" fmla="*/ 1277493 w 2626806"/>
                <a:gd name="connsiteY1111" fmla="*/ 3185835 h 3905171"/>
                <a:gd name="connsiteX1112" fmla="*/ 1235788 w 2626806"/>
                <a:gd name="connsiteY1112" fmla="*/ 3144130 h 3905171"/>
                <a:gd name="connsiteX1113" fmla="*/ 1277493 w 2626806"/>
                <a:gd name="connsiteY1113" fmla="*/ 3102425 h 3905171"/>
                <a:gd name="connsiteX1114" fmla="*/ 1319198 w 2626806"/>
                <a:gd name="connsiteY1114" fmla="*/ 3144130 h 3905171"/>
                <a:gd name="connsiteX1115" fmla="*/ 1277493 w 2626806"/>
                <a:gd name="connsiteY1115" fmla="*/ 3185835 h 3905171"/>
                <a:gd name="connsiteX1116" fmla="*/ 2568156 w 2626806"/>
                <a:gd name="connsiteY1116" fmla="*/ 3192420 h 3905171"/>
                <a:gd name="connsiteX1117" fmla="*/ 2557181 w 2626806"/>
                <a:gd name="connsiteY1117" fmla="*/ 3181445 h 3905171"/>
                <a:gd name="connsiteX1118" fmla="*/ 2568156 w 2626806"/>
                <a:gd name="connsiteY1118" fmla="*/ 3170470 h 3905171"/>
                <a:gd name="connsiteX1119" fmla="*/ 2579131 w 2626806"/>
                <a:gd name="connsiteY1119" fmla="*/ 3181445 h 3905171"/>
                <a:gd name="connsiteX1120" fmla="*/ 2568156 w 2626806"/>
                <a:gd name="connsiteY1120" fmla="*/ 3192420 h 3905171"/>
                <a:gd name="connsiteX1121" fmla="*/ 1521139 w 2626806"/>
                <a:gd name="connsiteY1121" fmla="*/ 3196810 h 3905171"/>
                <a:gd name="connsiteX1122" fmla="*/ 1481628 w 2626806"/>
                <a:gd name="connsiteY1122" fmla="*/ 3157300 h 3905171"/>
                <a:gd name="connsiteX1123" fmla="*/ 1521139 w 2626806"/>
                <a:gd name="connsiteY1123" fmla="*/ 3117790 h 3905171"/>
                <a:gd name="connsiteX1124" fmla="*/ 1560648 w 2626806"/>
                <a:gd name="connsiteY1124" fmla="*/ 3157300 h 3905171"/>
                <a:gd name="connsiteX1125" fmla="*/ 1521139 w 2626806"/>
                <a:gd name="connsiteY1125" fmla="*/ 3196810 h 3905171"/>
                <a:gd name="connsiteX1126" fmla="*/ 1773564 w 2626806"/>
                <a:gd name="connsiteY1126" fmla="*/ 3196810 h 3905171"/>
                <a:gd name="connsiteX1127" fmla="*/ 1736249 w 2626806"/>
                <a:gd name="connsiteY1127" fmla="*/ 3159495 h 3905171"/>
                <a:gd name="connsiteX1128" fmla="*/ 1773564 w 2626806"/>
                <a:gd name="connsiteY1128" fmla="*/ 3122180 h 3905171"/>
                <a:gd name="connsiteX1129" fmla="*/ 1810879 w 2626806"/>
                <a:gd name="connsiteY1129" fmla="*/ 3159495 h 3905171"/>
                <a:gd name="connsiteX1130" fmla="*/ 1773564 w 2626806"/>
                <a:gd name="connsiteY1130" fmla="*/ 3196810 h 3905171"/>
                <a:gd name="connsiteX1131" fmla="*/ 682647 w 2626806"/>
                <a:gd name="connsiteY1131" fmla="*/ 3201201 h 3905171"/>
                <a:gd name="connsiteX1132" fmla="*/ 634356 w 2626806"/>
                <a:gd name="connsiteY1132" fmla="*/ 3152911 h 3905171"/>
                <a:gd name="connsiteX1133" fmla="*/ 682647 w 2626806"/>
                <a:gd name="connsiteY1133" fmla="*/ 3104621 h 3905171"/>
                <a:gd name="connsiteX1134" fmla="*/ 730936 w 2626806"/>
                <a:gd name="connsiteY1134" fmla="*/ 3152911 h 3905171"/>
                <a:gd name="connsiteX1135" fmla="*/ 682647 w 2626806"/>
                <a:gd name="connsiteY1135" fmla="*/ 3201201 h 3905171"/>
                <a:gd name="connsiteX1136" fmla="*/ 2157690 w 2626806"/>
                <a:gd name="connsiteY1136" fmla="*/ 3225345 h 3905171"/>
                <a:gd name="connsiteX1137" fmla="*/ 2133544 w 2626806"/>
                <a:gd name="connsiteY1137" fmla="*/ 3201200 h 3905171"/>
                <a:gd name="connsiteX1138" fmla="*/ 2157690 w 2626806"/>
                <a:gd name="connsiteY1138" fmla="*/ 3177055 h 3905171"/>
                <a:gd name="connsiteX1139" fmla="*/ 2181835 w 2626806"/>
                <a:gd name="connsiteY1139" fmla="*/ 3201200 h 3905171"/>
                <a:gd name="connsiteX1140" fmla="*/ 2157690 w 2626806"/>
                <a:gd name="connsiteY1140" fmla="*/ 3225345 h 3905171"/>
                <a:gd name="connsiteX1141" fmla="*/ 904342 w 2626806"/>
                <a:gd name="connsiteY1141" fmla="*/ 3231931 h 3905171"/>
                <a:gd name="connsiteX1142" fmla="*/ 858247 w 2626806"/>
                <a:gd name="connsiteY1142" fmla="*/ 3185835 h 3905171"/>
                <a:gd name="connsiteX1143" fmla="*/ 904342 w 2626806"/>
                <a:gd name="connsiteY1143" fmla="*/ 3139740 h 3905171"/>
                <a:gd name="connsiteX1144" fmla="*/ 950437 w 2626806"/>
                <a:gd name="connsiteY1144" fmla="*/ 3185835 h 3905171"/>
                <a:gd name="connsiteX1145" fmla="*/ 904342 w 2626806"/>
                <a:gd name="connsiteY1145" fmla="*/ 3231931 h 3905171"/>
                <a:gd name="connsiteX1146" fmla="*/ 1137013 w 2626806"/>
                <a:gd name="connsiteY1146" fmla="*/ 3256076 h 3905171"/>
                <a:gd name="connsiteX1147" fmla="*/ 1095307 w 2626806"/>
                <a:gd name="connsiteY1147" fmla="*/ 3214370 h 3905171"/>
                <a:gd name="connsiteX1148" fmla="*/ 1137013 w 2626806"/>
                <a:gd name="connsiteY1148" fmla="*/ 3172665 h 3905171"/>
                <a:gd name="connsiteX1149" fmla="*/ 1178718 w 2626806"/>
                <a:gd name="connsiteY1149" fmla="*/ 3214370 h 3905171"/>
                <a:gd name="connsiteX1150" fmla="*/ 1137013 w 2626806"/>
                <a:gd name="connsiteY1150" fmla="*/ 3256076 h 3905171"/>
                <a:gd name="connsiteX1151" fmla="*/ 546556 w 2626806"/>
                <a:gd name="connsiteY1151" fmla="*/ 3258270 h 3905171"/>
                <a:gd name="connsiteX1152" fmla="*/ 507047 w 2626806"/>
                <a:gd name="connsiteY1152" fmla="*/ 3218760 h 3905171"/>
                <a:gd name="connsiteX1153" fmla="*/ 546556 w 2626806"/>
                <a:gd name="connsiteY1153" fmla="*/ 3179250 h 3905171"/>
                <a:gd name="connsiteX1154" fmla="*/ 586067 w 2626806"/>
                <a:gd name="connsiteY1154" fmla="*/ 3218760 h 3905171"/>
                <a:gd name="connsiteX1155" fmla="*/ 546556 w 2626806"/>
                <a:gd name="connsiteY1155" fmla="*/ 3258270 h 3905171"/>
                <a:gd name="connsiteX1156" fmla="*/ 1887704 w 2626806"/>
                <a:gd name="connsiteY1156" fmla="*/ 3264856 h 3905171"/>
                <a:gd name="connsiteX1157" fmla="*/ 1852584 w 2626806"/>
                <a:gd name="connsiteY1157" fmla="*/ 3229735 h 3905171"/>
                <a:gd name="connsiteX1158" fmla="*/ 1887704 w 2626806"/>
                <a:gd name="connsiteY1158" fmla="*/ 3194615 h 3905171"/>
                <a:gd name="connsiteX1159" fmla="*/ 1922824 w 2626806"/>
                <a:gd name="connsiteY1159" fmla="*/ 3229735 h 3905171"/>
                <a:gd name="connsiteX1160" fmla="*/ 1887704 w 2626806"/>
                <a:gd name="connsiteY1160" fmla="*/ 3264856 h 3905171"/>
                <a:gd name="connsiteX1161" fmla="*/ 1376268 w 2626806"/>
                <a:gd name="connsiteY1161" fmla="*/ 3271440 h 3905171"/>
                <a:gd name="connsiteX1162" fmla="*/ 1336757 w 2626806"/>
                <a:gd name="connsiteY1162" fmla="*/ 3231931 h 3905171"/>
                <a:gd name="connsiteX1163" fmla="*/ 1376268 w 2626806"/>
                <a:gd name="connsiteY1163" fmla="*/ 3192420 h 3905171"/>
                <a:gd name="connsiteX1164" fmla="*/ 1415778 w 2626806"/>
                <a:gd name="connsiteY1164" fmla="*/ 3231931 h 3905171"/>
                <a:gd name="connsiteX1165" fmla="*/ 1376268 w 2626806"/>
                <a:gd name="connsiteY1165" fmla="*/ 3271440 h 3905171"/>
                <a:gd name="connsiteX1166" fmla="*/ 1626499 w 2626806"/>
                <a:gd name="connsiteY1166" fmla="*/ 3273635 h 3905171"/>
                <a:gd name="connsiteX1167" fmla="*/ 1589184 w 2626806"/>
                <a:gd name="connsiteY1167" fmla="*/ 3236321 h 3905171"/>
                <a:gd name="connsiteX1168" fmla="*/ 1626499 w 2626806"/>
                <a:gd name="connsiteY1168" fmla="*/ 3199006 h 3905171"/>
                <a:gd name="connsiteX1169" fmla="*/ 1663814 w 2626806"/>
                <a:gd name="connsiteY1169" fmla="*/ 3236321 h 3905171"/>
                <a:gd name="connsiteX1170" fmla="*/ 1626499 w 2626806"/>
                <a:gd name="connsiteY1170" fmla="*/ 3273635 h 3905171"/>
                <a:gd name="connsiteX1171" fmla="*/ 2280611 w 2626806"/>
                <a:gd name="connsiteY1171" fmla="*/ 3280220 h 3905171"/>
                <a:gd name="connsiteX1172" fmla="*/ 2252075 w 2626806"/>
                <a:gd name="connsiteY1172" fmla="*/ 3251686 h 3905171"/>
                <a:gd name="connsiteX1173" fmla="*/ 2280611 w 2626806"/>
                <a:gd name="connsiteY1173" fmla="*/ 3223151 h 3905171"/>
                <a:gd name="connsiteX1174" fmla="*/ 2309145 w 2626806"/>
                <a:gd name="connsiteY1174" fmla="*/ 3251686 h 3905171"/>
                <a:gd name="connsiteX1175" fmla="*/ 2280611 w 2626806"/>
                <a:gd name="connsiteY1175" fmla="*/ 3280220 h 3905171"/>
                <a:gd name="connsiteX1176" fmla="*/ 768252 w 2626806"/>
                <a:gd name="connsiteY1176" fmla="*/ 3302171 h 3905171"/>
                <a:gd name="connsiteX1177" fmla="*/ 719962 w 2626806"/>
                <a:gd name="connsiteY1177" fmla="*/ 3253880 h 3905171"/>
                <a:gd name="connsiteX1178" fmla="*/ 768252 w 2626806"/>
                <a:gd name="connsiteY1178" fmla="*/ 3205590 h 3905171"/>
                <a:gd name="connsiteX1179" fmla="*/ 816542 w 2626806"/>
                <a:gd name="connsiteY1179" fmla="*/ 3253880 h 3905171"/>
                <a:gd name="connsiteX1180" fmla="*/ 768252 w 2626806"/>
                <a:gd name="connsiteY1180" fmla="*/ 3302171 h 3905171"/>
                <a:gd name="connsiteX1181" fmla="*/ 2407920 w 2626806"/>
                <a:gd name="connsiteY1181" fmla="*/ 3317536 h 3905171"/>
                <a:gd name="connsiteX1182" fmla="*/ 2383775 w 2626806"/>
                <a:gd name="connsiteY1182" fmla="*/ 3293391 h 3905171"/>
                <a:gd name="connsiteX1183" fmla="*/ 2407920 w 2626806"/>
                <a:gd name="connsiteY1183" fmla="*/ 3269246 h 3905171"/>
                <a:gd name="connsiteX1184" fmla="*/ 2432066 w 2626806"/>
                <a:gd name="connsiteY1184" fmla="*/ 3293391 h 3905171"/>
                <a:gd name="connsiteX1185" fmla="*/ 2407920 w 2626806"/>
                <a:gd name="connsiteY1185" fmla="*/ 3317536 h 3905171"/>
                <a:gd name="connsiteX1186" fmla="*/ 996532 w 2626806"/>
                <a:gd name="connsiteY1186" fmla="*/ 3330706 h 3905171"/>
                <a:gd name="connsiteX1187" fmla="*/ 948242 w 2626806"/>
                <a:gd name="connsiteY1187" fmla="*/ 3282415 h 3905171"/>
                <a:gd name="connsiteX1188" fmla="*/ 996532 w 2626806"/>
                <a:gd name="connsiteY1188" fmla="*/ 3234125 h 3905171"/>
                <a:gd name="connsiteX1189" fmla="*/ 1044822 w 2626806"/>
                <a:gd name="connsiteY1189" fmla="*/ 3282415 h 3905171"/>
                <a:gd name="connsiteX1190" fmla="*/ 996532 w 2626806"/>
                <a:gd name="connsiteY1190" fmla="*/ 3330706 h 3905171"/>
                <a:gd name="connsiteX1191" fmla="*/ 2004039 w 2626806"/>
                <a:gd name="connsiteY1191" fmla="*/ 3330706 h 3905171"/>
                <a:gd name="connsiteX1192" fmla="*/ 1964530 w 2626806"/>
                <a:gd name="connsiteY1192" fmla="*/ 3291195 h 3905171"/>
                <a:gd name="connsiteX1193" fmla="*/ 2004039 w 2626806"/>
                <a:gd name="connsiteY1193" fmla="*/ 3251686 h 3905171"/>
                <a:gd name="connsiteX1194" fmla="*/ 2043550 w 2626806"/>
                <a:gd name="connsiteY1194" fmla="*/ 3291195 h 3905171"/>
                <a:gd name="connsiteX1195" fmla="*/ 2004039 w 2626806"/>
                <a:gd name="connsiteY1195" fmla="*/ 3330706 h 3905171"/>
                <a:gd name="connsiteX1196" fmla="*/ 2535230 w 2626806"/>
                <a:gd name="connsiteY1196" fmla="*/ 3346071 h 3905171"/>
                <a:gd name="connsiteX1197" fmla="*/ 2515476 w 2626806"/>
                <a:gd name="connsiteY1197" fmla="*/ 3326316 h 3905171"/>
                <a:gd name="connsiteX1198" fmla="*/ 2535230 w 2626806"/>
                <a:gd name="connsiteY1198" fmla="*/ 3306561 h 3905171"/>
                <a:gd name="connsiteX1199" fmla="*/ 2554985 w 2626806"/>
                <a:gd name="connsiteY1199" fmla="*/ 3326316 h 3905171"/>
                <a:gd name="connsiteX1200" fmla="*/ 2535230 w 2626806"/>
                <a:gd name="connsiteY1200" fmla="*/ 3346071 h 3905171"/>
                <a:gd name="connsiteX1201" fmla="*/ 1233593 w 2626806"/>
                <a:gd name="connsiteY1201" fmla="*/ 3350461 h 3905171"/>
                <a:gd name="connsiteX1202" fmla="*/ 1187498 w 2626806"/>
                <a:gd name="connsiteY1202" fmla="*/ 3304365 h 3905171"/>
                <a:gd name="connsiteX1203" fmla="*/ 1233593 w 2626806"/>
                <a:gd name="connsiteY1203" fmla="*/ 3258270 h 3905171"/>
                <a:gd name="connsiteX1204" fmla="*/ 1279688 w 2626806"/>
                <a:gd name="connsiteY1204" fmla="*/ 3304365 h 3905171"/>
                <a:gd name="connsiteX1205" fmla="*/ 1233593 w 2626806"/>
                <a:gd name="connsiteY1205" fmla="*/ 3350461 h 3905171"/>
                <a:gd name="connsiteX1206" fmla="*/ 1736249 w 2626806"/>
                <a:gd name="connsiteY1206" fmla="*/ 3352655 h 3905171"/>
                <a:gd name="connsiteX1207" fmla="*/ 1694544 w 2626806"/>
                <a:gd name="connsiteY1207" fmla="*/ 3310951 h 3905171"/>
                <a:gd name="connsiteX1208" fmla="*/ 1736249 w 2626806"/>
                <a:gd name="connsiteY1208" fmla="*/ 3269246 h 3905171"/>
                <a:gd name="connsiteX1209" fmla="*/ 1777954 w 2626806"/>
                <a:gd name="connsiteY1209" fmla="*/ 3310951 h 3905171"/>
                <a:gd name="connsiteX1210" fmla="*/ 1736249 w 2626806"/>
                <a:gd name="connsiteY1210" fmla="*/ 3352655 h 3905171"/>
                <a:gd name="connsiteX1211" fmla="*/ 1479433 w 2626806"/>
                <a:gd name="connsiteY1211" fmla="*/ 3359241 h 3905171"/>
                <a:gd name="connsiteX1212" fmla="*/ 1435533 w 2626806"/>
                <a:gd name="connsiteY1212" fmla="*/ 3315341 h 3905171"/>
                <a:gd name="connsiteX1213" fmla="*/ 1479433 w 2626806"/>
                <a:gd name="connsiteY1213" fmla="*/ 3271440 h 3905171"/>
                <a:gd name="connsiteX1214" fmla="*/ 1523333 w 2626806"/>
                <a:gd name="connsiteY1214" fmla="*/ 3315341 h 3905171"/>
                <a:gd name="connsiteX1215" fmla="*/ 1479433 w 2626806"/>
                <a:gd name="connsiteY1215" fmla="*/ 3359241 h 3905171"/>
                <a:gd name="connsiteX1216" fmla="*/ 629966 w 2626806"/>
                <a:gd name="connsiteY1216" fmla="*/ 3370215 h 3905171"/>
                <a:gd name="connsiteX1217" fmla="*/ 581676 w 2626806"/>
                <a:gd name="connsiteY1217" fmla="*/ 3321926 h 3905171"/>
                <a:gd name="connsiteX1218" fmla="*/ 629966 w 2626806"/>
                <a:gd name="connsiteY1218" fmla="*/ 3273635 h 3905171"/>
                <a:gd name="connsiteX1219" fmla="*/ 678257 w 2626806"/>
                <a:gd name="connsiteY1219" fmla="*/ 3321926 h 3905171"/>
                <a:gd name="connsiteX1220" fmla="*/ 629966 w 2626806"/>
                <a:gd name="connsiteY1220" fmla="*/ 3370215 h 3905171"/>
                <a:gd name="connsiteX1221" fmla="*/ 2124766 w 2626806"/>
                <a:gd name="connsiteY1221" fmla="*/ 3381191 h 3905171"/>
                <a:gd name="connsiteX1222" fmla="*/ 2091840 w 2626806"/>
                <a:gd name="connsiteY1222" fmla="*/ 3348266 h 3905171"/>
                <a:gd name="connsiteX1223" fmla="*/ 2124766 w 2626806"/>
                <a:gd name="connsiteY1223" fmla="*/ 3315341 h 3905171"/>
                <a:gd name="connsiteX1224" fmla="*/ 2157690 w 2626806"/>
                <a:gd name="connsiteY1224" fmla="*/ 3348266 h 3905171"/>
                <a:gd name="connsiteX1225" fmla="*/ 2124766 w 2626806"/>
                <a:gd name="connsiteY1225" fmla="*/ 3381191 h 3905171"/>
                <a:gd name="connsiteX1226" fmla="*/ 856052 w 2626806"/>
                <a:gd name="connsiteY1226" fmla="*/ 3400945 h 3905171"/>
                <a:gd name="connsiteX1227" fmla="*/ 807762 w 2626806"/>
                <a:gd name="connsiteY1227" fmla="*/ 3352656 h 3905171"/>
                <a:gd name="connsiteX1228" fmla="*/ 856052 w 2626806"/>
                <a:gd name="connsiteY1228" fmla="*/ 3304365 h 3905171"/>
                <a:gd name="connsiteX1229" fmla="*/ 904342 w 2626806"/>
                <a:gd name="connsiteY1229" fmla="*/ 3352656 h 3905171"/>
                <a:gd name="connsiteX1230" fmla="*/ 856052 w 2626806"/>
                <a:gd name="connsiteY1230" fmla="*/ 3400945 h 3905171"/>
                <a:gd name="connsiteX1231" fmla="*/ 491681 w 2626806"/>
                <a:gd name="connsiteY1231" fmla="*/ 3405336 h 3905171"/>
                <a:gd name="connsiteX1232" fmla="*/ 474122 w 2626806"/>
                <a:gd name="connsiteY1232" fmla="*/ 3387776 h 3905171"/>
                <a:gd name="connsiteX1233" fmla="*/ 491681 w 2626806"/>
                <a:gd name="connsiteY1233" fmla="*/ 3370215 h 3905171"/>
                <a:gd name="connsiteX1234" fmla="*/ 509241 w 2626806"/>
                <a:gd name="connsiteY1234" fmla="*/ 3387776 h 3905171"/>
                <a:gd name="connsiteX1235" fmla="*/ 491681 w 2626806"/>
                <a:gd name="connsiteY1235" fmla="*/ 3405336 h 3905171"/>
                <a:gd name="connsiteX1236" fmla="*/ 1850389 w 2626806"/>
                <a:gd name="connsiteY1236" fmla="*/ 3418506 h 3905171"/>
                <a:gd name="connsiteX1237" fmla="*/ 1810879 w 2626806"/>
                <a:gd name="connsiteY1237" fmla="*/ 3378996 h 3905171"/>
                <a:gd name="connsiteX1238" fmla="*/ 1850389 w 2626806"/>
                <a:gd name="connsiteY1238" fmla="*/ 3339486 h 3905171"/>
                <a:gd name="connsiteX1239" fmla="*/ 1887704 w 2626806"/>
                <a:gd name="connsiteY1239" fmla="*/ 3378996 h 3905171"/>
                <a:gd name="connsiteX1240" fmla="*/ 1850389 w 2626806"/>
                <a:gd name="connsiteY1240" fmla="*/ 3418506 h 3905171"/>
                <a:gd name="connsiteX1241" fmla="*/ 1090917 w 2626806"/>
                <a:gd name="connsiteY1241" fmla="*/ 3422896 h 3905171"/>
                <a:gd name="connsiteX1242" fmla="*/ 1044822 w 2626806"/>
                <a:gd name="connsiteY1242" fmla="*/ 3376801 h 3905171"/>
                <a:gd name="connsiteX1243" fmla="*/ 1090917 w 2626806"/>
                <a:gd name="connsiteY1243" fmla="*/ 3330706 h 3905171"/>
                <a:gd name="connsiteX1244" fmla="*/ 1137013 w 2626806"/>
                <a:gd name="connsiteY1244" fmla="*/ 3376801 h 3905171"/>
                <a:gd name="connsiteX1245" fmla="*/ 1090917 w 2626806"/>
                <a:gd name="connsiteY1245" fmla="*/ 3422896 h 3905171"/>
                <a:gd name="connsiteX1246" fmla="*/ 2247685 w 2626806"/>
                <a:gd name="connsiteY1246" fmla="*/ 3431676 h 3905171"/>
                <a:gd name="connsiteX1247" fmla="*/ 2212564 w 2626806"/>
                <a:gd name="connsiteY1247" fmla="*/ 3396556 h 3905171"/>
                <a:gd name="connsiteX1248" fmla="*/ 2247685 w 2626806"/>
                <a:gd name="connsiteY1248" fmla="*/ 3361436 h 3905171"/>
                <a:gd name="connsiteX1249" fmla="*/ 2282805 w 2626806"/>
                <a:gd name="connsiteY1249" fmla="*/ 3396556 h 3905171"/>
                <a:gd name="connsiteX1250" fmla="*/ 2247685 w 2626806"/>
                <a:gd name="connsiteY1250" fmla="*/ 3431676 h 3905171"/>
                <a:gd name="connsiteX1251" fmla="*/ 1334563 w 2626806"/>
                <a:gd name="connsiteY1251" fmla="*/ 3433871 h 3905171"/>
                <a:gd name="connsiteX1252" fmla="*/ 1290663 w 2626806"/>
                <a:gd name="connsiteY1252" fmla="*/ 3389971 h 3905171"/>
                <a:gd name="connsiteX1253" fmla="*/ 1334563 w 2626806"/>
                <a:gd name="connsiteY1253" fmla="*/ 3346071 h 3905171"/>
                <a:gd name="connsiteX1254" fmla="*/ 1378464 w 2626806"/>
                <a:gd name="connsiteY1254" fmla="*/ 3389971 h 3905171"/>
                <a:gd name="connsiteX1255" fmla="*/ 1334563 w 2626806"/>
                <a:gd name="connsiteY1255" fmla="*/ 3433871 h 3905171"/>
                <a:gd name="connsiteX1256" fmla="*/ 1589184 w 2626806"/>
                <a:gd name="connsiteY1256" fmla="*/ 3436066 h 3905171"/>
                <a:gd name="connsiteX1257" fmla="*/ 1545283 w 2626806"/>
                <a:gd name="connsiteY1257" fmla="*/ 3392166 h 3905171"/>
                <a:gd name="connsiteX1258" fmla="*/ 1589184 w 2626806"/>
                <a:gd name="connsiteY1258" fmla="*/ 3348266 h 3905171"/>
                <a:gd name="connsiteX1259" fmla="*/ 1633084 w 2626806"/>
                <a:gd name="connsiteY1259" fmla="*/ 3392166 h 3905171"/>
                <a:gd name="connsiteX1260" fmla="*/ 1589184 w 2626806"/>
                <a:gd name="connsiteY1260" fmla="*/ 3436066 h 3905171"/>
                <a:gd name="connsiteX1261" fmla="*/ 717766 w 2626806"/>
                <a:gd name="connsiteY1261" fmla="*/ 3460211 h 3905171"/>
                <a:gd name="connsiteX1262" fmla="*/ 678257 w 2626806"/>
                <a:gd name="connsiteY1262" fmla="*/ 3420701 h 3905171"/>
                <a:gd name="connsiteX1263" fmla="*/ 717766 w 2626806"/>
                <a:gd name="connsiteY1263" fmla="*/ 3381191 h 3905171"/>
                <a:gd name="connsiteX1264" fmla="*/ 757277 w 2626806"/>
                <a:gd name="connsiteY1264" fmla="*/ 3420701 h 3905171"/>
                <a:gd name="connsiteX1265" fmla="*/ 717766 w 2626806"/>
                <a:gd name="connsiteY1265" fmla="*/ 3460211 h 3905171"/>
                <a:gd name="connsiteX1266" fmla="*/ 2374995 w 2626806"/>
                <a:gd name="connsiteY1266" fmla="*/ 3468991 h 3905171"/>
                <a:gd name="connsiteX1267" fmla="*/ 2344265 w 2626806"/>
                <a:gd name="connsiteY1267" fmla="*/ 3438260 h 3905171"/>
                <a:gd name="connsiteX1268" fmla="*/ 2374995 w 2626806"/>
                <a:gd name="connsiteY1268" fmla="*/ 3407531 h 3905171"/>
                <a:gd name="connsiteX1269" fmla="*/ 2405726 w 2626806"/>
                <a:gd name="connsiteY1269" fmla="*/ 3438260 h 3905171"/>
                <a:gd name="connsiteX1270" fmla="*/ 2374995 w 2626806"/>
                <a:gd name="connsiteY1270" fmla="*/ 3468991 h 3905171"/>
                <a:gd name="connsiteX1271" fmla="*/ 1968920 w 2626806"/>
                <a:gd name="connsiteY1271" fmla="*/ 3477771 h 3905171"/>
                <a:gd name="connsiteX1272" fmla="*/ 1929409 w 2626806"/>
                <a:gd name="connsiteY1272" fmla="*/ 3438261 h 3905171"/>
                <a:gd name="connsiteX1273" fmla="*/ 1968920 w 2626806"/>
                <a:gd name="connsiteY1273" fmla="*/ 3398751 h 3905171"/>
                <a:gd name="connsiteX1274" fmla="*/ 2008430 w 2626806"/>
                <a:gd name="connsiteY1274" fmla="*/ 3438261 h 3905171"/>
                <a:gd name="connsiteX1275" fmla="*/ 1968920 w 2626806"/>
                <a:gd name="connsiteY1275" fmla="*/ 3477771 h 3905171"/>
                <a:gd name="connsiteX1276" fmla="*/ 579481 w 2626806"/>
                <a:gd name="connsiteY1276" fmla="*/ 3493135 h 3905171"/>
                <a:gd name="connsiteX1277" fmla="*/ 575091 w 2626806"/>
                <a:gd name="connsiteY1277" fmla="*/ 3488745 h 3905171"/>
                <a:gd name="connsiteX1278" fmla="*/ 579481 w 2626806"/>
                <a:gd name="connsiteY1278" fmla="*/ 3484355 h 3905171"/>
                <a:gd name="connsiteX1279" fmla="*/ 583871 w 2626806"/>
                <a:gd name="connsiteY1279" fmla="*/ 3488745 h 3905171"/>
                <a:gd name="connsiteX1280" fmla="*/ 579481 w 2626806"/>
                <a:gd name="connsiteY1280" fmla="*/ 3493135 h 3905171"/>
                <a:gd name="connsiteX1281" fmla="*/ 950437 w 2626806"/>
                <a:gd name="connsiteY1281" fmla="*/ 3497526 h 3905171"/>
                <a:gd name="connsiteX1282" fmla="*/ 899953 w 2626806"/>
                <a:gd name="connsiteY1282" fmla="*/ 3447040 h 3905171"/>
                <a:gd name="connsiteX1283" fmla="*/ 950437 w 2626806"/>
                <a:gd name="connsiteY1283" fmla="*/ 3396555 h 3905171"/>
                <a:gd name="connsiteX1284" fmla="*/ 1000922 w 2626806"/>
                <a:gd name="connsiteY1284" fmla="*/ 3447040 h 3905171"/>
                <a:gd name="connsiteX1285" fmla="*/ 950437 w 2626806"/>
                <a:gd name="connsiteY1285" fmla="*/ 3497526 h 3905171"/>
                <a:gd name="connsiteX1286" fmla="*/ 2502304 w 2626806"/>
                <a:gd name="connsiteY1286" fmla="*/ 3501916 h 3905171"/>
                <a:gd name="connsiteX1287" fmla="*/ 2471576 w 2626806"/>
                <a:gd name="connsiteY1287" fmla="*/ 3471185 h 3905171"/>
                <a:gd name="connsiteX1288" fmla="*/ 2502304 w 2626806"/>
                <a:gd name="connsiteY1288" fmla="*/ 3440456 h 3905171"/>
                <a:gd name="connsiteX1289" fmla="*/ 2533036 w 2626806"/>
                <a:gd name="connsiteY1289" fmla="*/ 3471185 h 3905171"/>
                <a:gd name="connsiteX1290" fmla="*/ 2502304 w 2626806"/>
                <a:gd name="connsiteY1290" fmla="*/ 3501916 h 3905171"/>
                <a:gd name="connsiteX1291" fmla="*/ 1191888 w 2626806"/>
                <a:gd name="connsiteY1291" fmla="*/ 3510696 h 3905171"/>
                <a:gd name="connsiteX1292" fmla="*/ 1145793 w 2626806"/>
                <a:gd name="connsiteY1292" fmla="*/ 3464600 h 3905171"/>
                <a:gd name="connsiteX1293" fmla="*/ 1191888 w 2626806"/>
                <a:gd name="connsiteY1293" fmla="*/ 3418505 h 3905171"/>
                <a:gd name="connsiteX1294" fmla="*/ 1237983 w 2626806"/>
                <a:gd name="connsiteY1294" fmla="*/ 3464600 h 3905171"/>
                <a:gd name="connsiteX1295" fmla="*/ 1191888 w 2626806"/>
                <a:gd name="connsiteY1295" fmla="*/ 3510696 h 3905171"/>
                <a:gd name="connsiteX1296" fmla="*/ 1701129 w 2626806"/>
                <a:gd name="connsiteY1296" fmla="*/ 3510696 h 3905171"/>
                <a:gd name="connsiteX1297" fmla="*/ 1652839 w 2626806"/>
                <a:gd name="connsiteY1297" fmla="*/ 3462405 h 3905171"/>
                <a:gd name="connsiteX1298" fmla="*/ 1701129 w 2626806"/>
                <a:gd name="connsiteY1298" fmla="*/ 3414115 h 3905171"/>
                <a:gd name="connsiteX1299" fmla="*/ 1749419 w 2626806"/>
                <a:gd name="connsiteY1299" fmla="*/ 3462405 h 3905171"/>
                <a:gd name="connsiteX1300" fmla="*/ 1701129 w 2626806"/>
                <a:gd name="connsiteY1300" fmla="*/ 3510696 h 3905171"/>
                <a:gd name="connsiteX1301" fmla="*/ 1442118 w 2626806"/>
                <a:gd name="connsiteY1301" fmla="*/ 3515086 h 3905171"/>
                <a:gd name="connsiteX1302" fmla="*/ 1396023 w 2626806"/>
                <a:gd name="connsiteY1302" fmla="*/ 3468991 h 3905171"/>
                <a:gd name="connsiteX1303" fmla="*/ 1442118 w 2626806"/>
                <a:gd name="connsiteY1303" fmla="*/ 3422896 h 3905171"/>
                <a:gd name="connsiteX1304" fmla="*/ 1488214 w 2626806"/>
                <a:gd name="connsiteY1304" fmla="*/ 3468991 h 3905171"/>
                <a:gd name="connsiteX1305" fmla="*/ 1442118 w 2626806"/>
                <a:gd name="connsiteY1305" fmla="*/ 3515086 h 3905171"/>
                <a:gd name="connsiteX1306" fmla="*/ 2626806 w 2626806"/>
                <a:gd name="connsiteY1306" fmla="*/ 3521105 h 3905171"/>
                <a:gd name="connsiteX1307" fmla="*/ 2613976 w 2626806"/>
                <a:gd name="connsiteY1307" fmla="*/ 3516184 h 3905171"/>
                <a:gd name="connsiteX1308" fmla="*/ 2605470 w 2626806"/>
                <a:gd name="connsiteY1308" fmla="*/ 3495331 h 3905171"/>
                <a:gd name="connsiteX1309" fmla="*/ 2613976 w 2626806"/>
                <a:gd name="connsiteY1309" fmla="*/ 3475302 h 3905171"/>
                <a:gd name="connsiteX1310" fmla="*/ 2626806 w 2626806"/>
                <a:gd name="connsiteY1310" fmla="*/ 3469853 h 3905171"/>
                <a:gd name="connsiteX1311" fmla="*/ 2089644 w 2626806"/>
                <a:gd name="connsiteY1311" fmla="*/ 3530452 h 3905171"/>
                <a:gd name="connsiteX1312" fmla="*/ 2054524 w 2626806"/>
                <a:gd name="connsiteY1312" fmla="*/ 3495331 h 3905171"/>
                <a:gd name="connsiteX1313" fmla="*/ 2089644 w 2626806"/>
                <a:gd name="connsiteY1313" fmla="*/ 3460211 h 3905171"/>
                <a:gd name="connsiteX1314" fmla="*/ 2124764 w 2626806"/>
                <a:gd name="connsiteY1314" fmla="*/ 3495331 h 3905171"/>
                <a:gd name="connsiteX1315" fmla="*/ 2089644 w 2626806"/>
                <a:gd name="connsiteY1315" fmla="*/ 3530452 h 3905171"/>
                <a:gd name="connsiteX1316" fmla="*/ 809957 w 2626806"/>
                <a:gd name="connsiteY1316" fmla="*/ 3565571 h 3905171"/>
                <a:gd name="connsiteX1317" fmla="*/ 759472 w 2626806"/>
                <a:gd name="connsiteY1317" fmla="*/ 3515086 h 3905171"/>
                <a:gd name="connsiteX1318" fmla="*/ 809957 w 2626806"/>
                <a:gd name="connsiteY1318" fmla="*/ 3464600 h 3905171"/>
                <a:gd name="connsiteX1319" fmla="*/ 860442 w 2626806"/>
                <a:gd name="connsiteY1319" fmla="*/ 3515086 h 3905171"/>
                <a:gd name="connsiteX1320" fmla="*/ 809957 w 2626806"/>
                <a:gd name="connsiteY1320" fmla="*/ 3565571 h 3905171"/>
                <a:gd name="connsiteX1321" fmla="*/ 1815269 w 2626806"/>
                <a:gd name="connsiteY1321" fmla="*/ 3569961 h 3905171"/>
                <a:gd name="connsiteX1322" fmla="*/ 1773564 w 2626806"/>
                <a:gd name="connsiteY1322" fmla="*/ 3528256 h 3905171"/>
                <a:gd name="connsiteX1323" fmla="*/ 1815269 w 2626806"/>
                <a:gd name="connsiteY1323" fmla="*/ 3486551 h 3905171"/>
                <a:gd name="connsiteX1324" fmla="*/ 1856974 w 2626806"/>
                <a:gd name="connsiteY1324" fmla="*/ 3528256 h 3905171"/>
                <a:gd name="connsiteX1325" fmla="*/ 1815269 w 2626806"/>
                <a:gd name="connsiteY1325" fmla="*/ 3569961 h 3905171"/>
                <a:gd name="connsiteX1326" fmla="*/ 2214759 w 2626806"/>
                <a:gd name="connsiteY1326" fmla="*/ 3578741 h 3905171"/>
                <a:gd name="connsiteX1327" fmla="*/ 2179639 w 2626806"/>
                <a:gd name="connsiteY1327" fmla="*/ 3543621 h 3905171"/>
                <a:gd name="connsiteX1328" fmla="*/ 2214759 w 2626806"/>
                <a:gd name="connsiteY1328" fmla="*/ 3508500 h 3905171"/>
                <a:gd name="connsiteX1329" fmla="*/ 2249879 w 2626806"/>
                <a:gd name="connsiteY1329" fmla="*/ 3543621 h 3905171"/>
                <a:gd name="connsiteX1330" fmla="*/ 2214759 w 2626806"/>
                <a:gd name="connsiteY1330" fmla="*/ 3578741 h 3905171"/>
                <a:gd name="connsiteX1331" fmla="*/ 1049212 w 2626806"/>
                <a:gd name="connsiteY1331" fmla="*/ 3585327 h 3905171"/>
                <a:gd name="connsiteX1332" fmla="*/ 1000922 w 2626806"/>
                <a:gd name="connsiteY1332" fmla="*/ 3537036 h 3905171"/>
                <a:gd name="connsiteX1333" fmla="*/ 1049212 w 2626806"/>
                <a:gd name="connsiteY1333" fmla="*/ 3488746 h 3905171"/>
                <a:gd name="connsiteX1334" fmla="*/ 1097502 w 2626806"/>
                <a:gd name="connsiteY1334" fmla="*/ 3537036 h 3905171"/>
                <a:gd name="connsiteX1335" fmla="*/ 1049212 w 2626806"/>
                <a:gd name="connsiteY1335" fmla="*/ 3585327 h 3905171"/>
                <a:gd name="connsiteX1336" fmla="*/ 1295053 w 2626806"/>
                <a:gd name="connsiteY1336" fmla="*/ 3594106 h 3905171"/>
                <a:gd name="connsiteX1337" fmla="*/ 1246763 w 2626806"/>
                <a:gd name="connsiteY1337" fmla="*/ 3545816 h 3905171"/>
                <a:gd name="connsiteX1338" fmla="*/ 1295053 w 2626806"/>
                <a:gd name="connsiteY1338" fmla="*/ 3497526 h 3905171"/>
                <a:gd name="connsiteX1339" fmla="*/ 1343343 w 2626806"/>
                <a:gd name="connsiteY1339" fmla="*/ 3545816 h 3905171"/>
                <a:gd name="connsiteX1340" fmla="*/ 1295053 w 2626806"/>
                <a:gd name="connsiteY1340" fmla="*/ 3594106 h 3905171"/>
                <a:gd name="connsiteX1341" fmla="*/ 1551869 w 2626806"/>
                <a:gd name="connsiteY1341" fmla="*/ 3594106 h 3905171"/>
                <a:gd name="connsiteX1342" fmla="*/ 1503578 w 2626806"/>
                <a:gd name="connsiteY1342" fmla="*/ 3545816 h 3905171"/>
                <a:gd name="connsiteX1343" fmla="*/ 1551869 w 2626806"/>
                <a:gd name="connsiteY1343" fmla="*/ 3497526 h 3905171"/>
                <a:gd name="connsiteX1344" fmla="*/ 1600159 w 2626806"/>
                <a:gd name="connsiteY1344" fmla="*/ 3545816 h 3905171"/>
                <a:gd name="connsiteX1345" fmla="*/ 1551869 w 2626806"/>
                <a:gd name="connsiteY1345" fmla="*/ 3594106 h 3905171"/>
                <a:gd name="connsiteX1346" fmla="*/ 671671 w 2626806"/>
                <a:gd name="connsiteY1346" fmla="*/ 3596301 h 3905171"/>
                <a:gd name="connsiteX1347" fmla="*/ 660696 w 2626806"/>
                <a:gd name="connsiteY1347" fmla="*/ 3585326 h 3905171"/>
                <a:gd name="connsiteX1348" fmla="*/ 671671 w 2626806"/>
                <a:gd name="connsiteY1348" fmla="*/ 3574351 h 3905171"/>
                <a:gd name="connsiteX1349" fmla="*/ 682647 w 2626806"/>
                <a:gd name="connsiteY1349" fmla="*/ 3585326 h 3905171"/>
                <a:gd name="connsiteX1350" fmla="*/ 671671 w 2626806"/>
                <a:gd name="connsiteY1350" fmla="*/ 3596301 h 3905171"/>
                <a:gd name="connsiteX1351" fmla="*/ 2342071 w 2626806"/>
                <a:gd name="connsiteY1351" fmla="*/ 3618251 h 3905171"/>
                <a:gd name="connsiteX1352" fmla="*/ 2304755 w 2626806"/>
                <a:gd name="connsiteY1352" fmla="*/ 3580936 h 3905171"/>
                <a:gd name="connsiteX1353" fmla="*/ 2342071 w 2626806"/>
                <a:gd name="connsiteY1353" fmla="*/ 3543621 h 3905171"/>
                <a:gd name="connsiteX1354" fmla="*/ 2379385 w 2626806"/>
                <a:gd name="connsiteY1354" fmla="*/ 3580936 h 3905171"/>
                <a:gd name="connsiteX1355" fmla="*/ 2342071 w 2626806"/>
                <a:gd name="connsiteY1355" fmla="*/ 3618251 h 3905171"/>
                <a:gd name="connsiteX1356" fmla="*/ 1935994 w 2626806"/>
                <a:gd name="connsiteY1356" fmla="*/ 3629226 h 3905171"/>
                <a:gd name="connsiteX1357" fmla="*/ 1894289 w 2626806"/>
                <a:gd name="connsiteY1357" fmla="*/ 3587521 h 3905171"/>
                <a:gd name="connsiteX1358" fmla="*/ 1935994 w 2626806"/>
                <a:gd name="connsiteY1358" fmla="*/ 3545816 h 3905171"/>
                <a:gd name="connsiteX1359" fmla="*/ 1977700 w 2626806"/>
                <a:gd name="connsiteY1359" fmla="*/ 3587521 h 3905171"/>
                <a:gd name="connsiteX1360" fmla="*/ 1935994 w 2626806"/>
                <a:gd name="connsiteY1360" fmla="*/ 3629226 h 3905171"/>
                <a:gd name="connsiteX1361" fmla="*/ 2469380 w 2626806"/>
                <a:gd name="connsiteY1361" fmla="*/ 3651176 h 3905171"/>
                <a:gd name="connsiteX1362" fmla="*/ 2434260 w 2626806"/>
                <a:gd name="connsiteY1362" fmla="*/ 3616056 h 3905171"/>
                <a:gd name="connsiteX1363" fmla="*/ 2469380 w 2626806"/>
                <a:gd name="connsiteY1363" fmla="*/ 3580936 h 3905171"/>
                <a:gd name="connsiteX1364" fmla="*/ 2504500 w 2626806"/>
                <a:gd name="connsiteY1364" fmla="*/ 3616056 h 3905171"/>
                <a:gd name="connsiteX1365" fmla="*/ 2469380 w 2626806"/>
                <a:gd name="connsiteY1365" fmla="*/ 3651176 h 3905171"/>
                <a:gd name="connsiteX1366" fmla="*/ 906537 w 2626806"/>
                <a:gd name="connsiteY1366" fmla="*/ 3655566 h 3905171"/>
                <a:gd name="connsiteX1367" fmla="*/ 858247 w 2626806"/>
                <a:gd name="connsiteY1367" fmla="*/ 3607276 h 3905171"/>
                <a:gd name="connsiteX1368" fmla="*/ 906537 w 2626806"/>
                <a:gd name="connsiteY1368" fmla="*/ 3558986 h 3905171"/>
                <a:gd name="connsiteX1369" fmla="*/ 954827 w 2626806"/>
                <a:gd name="connsiteY1369" fmla="*/ 3607276 h 3905171"/>
                <a:gd name="connsiteX1370" fmla="*/ 906537 w 2626806"/>
                <a:gd name="connsiteY1370" fmla="*/ 3655566 h 3905171"/>
                <a:gd name="connsiteX1371" fmla="*/ 1663814 w 2626806"/>
                <a:gd name="connsiteY1371" fmla="*/ 3662151 h 3905171"/>
                <a:gd name="connsiteX1372" fmla="*/ 1615523 w 2626806"/>
                <a:gd name="connsiteY1372" fmla="*/ 3613861 h 3905171"/>
                <a:gd name="connsiteX1373" fmla="*/ 1663814 w 2626806"/>
                <a:gd name="connsiteY1373" fmla="*/ 3565571 h 3905171"/>
                <a:gd name="connsiteX1374" fmla="*/ 1712104 w 2626806"/>
                <a:gd name="connsiteY1374" fmla="*/ 3613861 h 3905171"/>
                <a:gd name="connsiteX1375" fmla="*/ 1663814 w 2626806"/>
                <a:gd name="connsiteY1375" fmla="*/ 3662151 h 3905171"/>
                <a:gd name="connsiteX1376" fmla="*/ 1150183 w 2626806"/>
                <a:gd name="connsiteY1376" fmla="*/ 3670931 h 3905171"/>
                <a:gd name="connsiteX1377" fmla="*/ 1101892 w 2626806"/>
                <a:gd name="connsiteY1377" fmla="*/ 3622641 h 3905171"/>
                <a:gd name="connsiteX1378" fmla="*/ 1150183 w 2626806"/>
                <a:gd name="connsiteY1378" fmla="*/ 3574351 h 3905171"/>
                <a:gd name="connsiteX1379" fmla="*/ 1198473 w 2626806"/>
                <a:gd name="connsiteY1379" fmla="*/ 3622641 h 3905171"/>
                <a:gd name="connsiteX1380" fmla="*/ 1150183 w 2626806"/>
                <a:gd name="connsiteY1380" fmla="*/ 3670931 h 3905171"/>
                <a:gd name="connsiteX1381" fmla="*/ 1402608 w 2626806"/>
                <a:gd name="connsiteY1381" fmla="*/ 3670931 h 3905171"/>
                <a:gd name="connsiteX1382" fmla="*/ 1354318 w 2626806"/>
                <a:gd name="connsiteY1382" fmla="*/ 3622641 h 3905171"/>
                <a:gd name="connsiteX1383" fmla="*/ 1402608 w 2626806"/>
                <a:gd name="connsiteY1383" fmla="*/ 3574351 h 3905171"/>
                <a:gd name="connsiteX1384" fmla="*/ 1450898 w 2626806"/>
                <a:gd name="connsiteY1384" fmla="*/ 3622641 h 3905171"/>
                <a:gd name="connsiteX1385" fmla="*/ 1402608 w 2626806"/>
                <a:gd name="connsiteY1385" fmla="*/ 3670931 h 3905171"/>
                <a:gd name="connsiteX1386" fmla="*/ 2601080 w 2626806"/>
                <a:gd name="connsiteY1386" fmla="*/ 3679711 h 3905171"/>
                <a:gd name="connsiteX1387" fmla="*/ 2561570 w 2626806"/>
                <a:gd name="connsiteY1387" fmla="*/ 3640201 h 3905171"/>
                <a:gd name="connsiteX1388" fmla="*/ 2601080 w 2626806"/>
                <a:gd name="connsiteY1388" fmla="*/ 3600691 h 3905171"/>
                <a:gd name="connsiteX1389" fmla="*/ 2616514 w 2626806"/>
                <a:gd name="connsiteY1389" fmla="*/ 3603778 h 3905171"/>
                <a:gd name="connsiteX1390" fmla="*/ 2626806 w 2626806"/>
                <a:gd name="connsiteY1390" fmla="*/ 3610695 h 3905171"/>
                <a:gd name="connsiteX1391" fmla="*/ 2626806 w 2626806"/>
                <a:gd name="connsiteY1391" fmla="*/ 3669707 h 3905171"/>
                <a:gd name="connsiteX1392" fmla="*/ 2616514 w 2626806"/>
                <a:gd name="connsiteY1392" fmla="*/ 3676625 h 3905171"/>
                <a:gd name="connsiteX1393" fmla="*/ 2601080 w 2626806"/>
                <a:gd name="connsiteY1393" fmla="*/ 3679711 h 3905171"/>
                <a:gd name="connsiteX1394" fmla="*/ 2056720 w 2626806"/>
                <a:gd name="connsiteY1394" fmla="*/ 3681905 h 3905171"/>
                <a:gd name="connsiteX1395" fmla="*/ 2015015 w 2626806"/>
                <a:gd name="connsiteY1395" fmla="*/ 3640201 h 3905171"/>
                <a:gd name="connsiteX1396" fmla="*/ 2056720 w 2626806"/>
                <a:gd name="connsiteY1396" fmla="*/ 3598496 h 3905171"/>
                <a:gd name="connsiteX1397" fmla="*/ 2098425 w 2626806"/>
                <a:gd name="connsiteY1397" fmla="*/ 3640201 h 3905171"/>
                <a:gd name="connsiteX1398" fmla="*/ 2056720 w 2626806"/>
                <a:gd name="connsiteY1398" fmla="*/ 3681905 h 3905171"/>
                <a:gd name="connsiteX1399" fmla="*/ 766057 w 2626806"/>
                <a:gd name="connsiteY1399" fmla="*/ 3721416 h 3905171"/>
                <a:gd name="connsiteX1400" fmla="*/ 722156 w 2626806"/>
                <a:gd name="connsiteY1400" fmla="*/ 3677516 h 3905171"/>
                <a:gd name="connsiteX1401" fmla="*/ 766057 w 2626806"/>
                <a:gd name="connsiteY1401" fmla="*/ 3633616 h 3905171"/>
                <a:gd name="connsiteX1402" fmla="*/ 809957 w 2626806"/>
                <a:gd name="connsiteY1402" fmla="*/ 3677516 h 3905171"/>
                <a:gd name="connsiteX1403" fmla="*/ 766057 w 2626806"/>
                <a:gd name="connsiteY1403" fmla="*/ 3721416 h 3905171"/>
                <a:gd name="connsiteX1404" fmla="*/ 1782344 w 2626806"/>
                <a:gd name="connsiteY1404" fmla="*/ 3723612 h 3905171"/>
                <a:gd name="connsiteX1405" fmla="*/ 1736249 w 2626806"/>
                <a:gd name="connsiteY1405" fmla="*/ 3677516 h 3905171"/>
                <a:gd name="connsiteX1406" fmla="*/ 1782344 w 2626806"/>
                <a:gd name="connsiteY1406" fmla="*/ 3631421 h 3905171"/>
                <a:gd name="connsiteX1407" fmla="*/ 1828439 w 2626806"/>
                <a:gd name="connsiteY1407" fmla="*/ 3677516 h 3905171"/>
                <a:gd name="connsiteX1408" fmla="*/ 1782344 w 2626806"/>
                <a:gd name="connsiteY1408" fmla="*/ 3723612 h 3905171"/>
                <a:gd name="connsiteX1409" fmla="*/ 2181835 w 2626806"/>
                <a:gd name="connsiteY1409" fmla="*/ 3730196 h 3905171"/>
                <a:gd name="connsiteX1410" fmla="*/ 2137934 w 2626806"/>
                <a:gd name="connsiteY1410" fmla="*/ 3686297 h 3905171"/>
                <a:gd name="connsiteX1411" fmla="*/ 2181835 w 2626806"/>
                <a:gd name="connsiteY1411" fmla="*/ 3642396 h 3905171"/>
                <a:gd name="connsiteX1412" fmla="*/ 2225735 w 2626806"/>
                <a:gd name="connsiteY1412" fmla="*/ 3686297 h 3905171"/>
                <a:gd name="connsiteX1413" fmla="*/ 2181835 w 2626806"/>
                <a:gd name="connsiteY1413" fmla="*/ 3730196 h 3905171"/>
                <a:gd name="connsiteX1414" fmla="*/ 1007507 w 2626806"/>
                <a:gd name="connsiteY1414" fmla="*/ 3738977 h 3905171"/>
                <a:gd name="connsiteX1415" fmla="*/ 963607 w 2626806"/>
                <a:gd name="connsiteY1415" fmla="*/ 3695076 h 3905171"/>
                <a:gd name="connsiteX1416" fmla="*/ 1007507 w 2626806"/>
                <a:gd name="connsiteY1416" fmla="*/ 3651176 h 3905171"/>
                <a:gd name="connsiteX1417" fmla="*/ 1051407 w 2626806"/>
                <a:gd name="connsiteY1417" fmla="*/ 3695076 h 3905171"/>
                <a:gd name="connsiteX1418" fmla="*/ 1007507 w 2626806"/>
                <a:gd name="connsiteY1418" fmla="*/ 3738977 h 3905171"/>
                <a:gd name="connsiteX1419" fmla="*/ 1514553 w 2626806"/>
                <a:gd name="connsiteY1419" fmla="*/ 3743367 h 3905171"/>
                <a:gd name="connsiteX1420" fmla="*/ 1468458 w 2626806"/>
                <a:gd name="connsiteY1420" fmla="*/ 3697271 h 3905171"/>
                <a:gd name="connsiteX1421" fmla="*/ 1514553 w 2626806"/>
                <a:gd name="connsiteY1421" fmla="*/ 3651176 h 3905171"/>
                <a:gd name="connsiteX1422" fmla="*/ 1560648 w 2626806"/>
                <a:gd name="connsiteY1422" fmla="*/ 3697271 h 3905171"/>
                <a:gd name="connsiteX1423" fmla="*/ 1514553 w 2626806"/>
                <a:gd name="connsiteY1423" fmla="*/ 3743367 h 3905171"/>
                <a:gd name="connsiteX1424" fmla="*/ 1257738 w 2626806"/>
                <a:gd name="connsiteY1424" fmla="*/ 3749951 h 3905171"/>
                <a:gd name="connsiteX1425" fmla="*/ 1209448 w 2626806"/>
                <a:gd name="connsiteY1425" fmla="*/ 3701661 h 3905171"/>
                <a:gd name="connsiteX1426" fmla="*/ 1257738 w 2626806"/>
                <a:gd name="connsiteY1426" fmla="*/ 3653371 h 3905171"/>
                <a:gd name="connsiteX1427" fmla="*/ 1306028 w 2626806"/>
                <a:gd name="connsiteY1427" fmla="*/ 3701661 h 3905171"/>
                <a:gd name="connsiteX1428" fmla="*/ 1257738 w 2626806"/>
                <a:gd name="connsiteY1428" fmla="*/ 3749951 h 3905171"/>
                <a:gd name="connsiteX1429" fmla="*/ 2309145 w 2626806"/>
                <a:gd name="connsiteY1429" fmla="*/ 3771902 h 3905171"/>
                <a:gd name="connsiteX1430" fmla="*/ 2263051 w 2626806"/>
                <a:gd name="connsiteY1430" fmla="*/ 3725806 h 3905171"/>
                <a:gd name="connsiteX1431" fmla="*/ 2309145 w 2626806"/>
                <a:gd name="connsiteY1431" fmla="*/ 3679711 h 3905171"/>
                <a:gd name="connsiteX1432" fmla="*/ 2355239 w 2626806"/>
                <a:gd name="connsiteY1432" fmla="*/ 3725806 h 3905171"/>
                <a:gd name="connsiteX1433" fmla="*/ 2309145 w 2626806"/>
                <a:gd name="connsiteY1433" fmla="*/ 3771902 h 3905171"/>
                <a:gd name="connsiteX1434" fmla="*/ 1900874 w 2626806"/>
                <a:gd name="connsiteY1434" fmla="*/ 3782876 h 3905171"/>
                <a:gd name="connsiteX1435" fmla="*/ 1852584 w 2626806"/>
                <a:gd name="connsiteY1435" fmla="*/ 3734586 h 3905171"/>
                <a:gd name="connsiteX1436" fmla="*/ 1900874 w 2626806"/>
                <a:gd name="connsiteY1436" fmla="*/ 3686297 h 3905171"/>
                <a:gd name="connsiteX1437" fmla="*/ 1949164 w 2626806"/>
                <a:gd name="connsiteY1437" fmla="*/ 3734586 h 3905171"/>
                <a:gd name="connsiteX1438" fmla="*/ 1900874 w 2626806"/>
                <a:gd name="connsiteY1438" fmla="*/ 3782876 h 3905171"/>
                <a:gd name="connsiteX1439" fmla="*/ 864832 w 2626806"/>
                <a:gd name="connsiteY1439" fmla="*/ 3798242 h 3905171"/>
                <a:gd name="connsiteX1440" fmla="*/ 834102 w 2626806"/>
                <a:gd name="connsiteY1440" fmla="*/ 3767511 h 3905171"/>
                <a:gd name="connsiteX1441" fmla="*/ 864832 w 2626806"/>
                <a:gd name="connsiteY1441" fmla="*/ 3736781 h 3905171"/>
                <a:gd name="connsiteX1442" fmla="*/ 895563 w 2626806"/>
                <a:gd name="connsiteY1442" fmla="*/ 3767511 h 3905171"/>
                <a:gd name="connsiteX1443" fmla="*/ 864832 w 2626806"/>
                <a:gd name="connsiteY1443" fmla="*/ 3798242 h 3905171"/>
                <a:gd name="connsiteX1444" fmla="*/ 2436456 w 2626806"/>
                <a:gd name="connsiteY1444" fmla="*/ 3800437 h 3905171"/>
                <a:gd name="connsiteX1445" fmla="*/ 2394751 w 2626806"/>
                <a:gd name="connsiteY1445" fmla="*/ 3758731 h 3905171"/>
                <a:gd name="connsiteX1446" fmla="*/ 2436456 w 2626806"/>
                <a:gd name="connsiteY1446" fmla="*/ 3717026 h 3905171"/>
                <a:gd name="connsiteX1447" fmla="*/ 2478160 w 2626806"/>
                <a:gd name="connsiteY1447" fmla="*/ 3758731 h 3905171"/>
                <a:gd name="connsiteX1448" fmla="*/ 2436456 w 2626806"/>
                <a:gd name="connsiteY1448" fmla="*/ 3800437 h 3905171"/>
                <a:gd name="connsiteX1449" fmla="*/ 1628694 w 2626806"/>
                <a:gd name="connsiteY1449" fmla="*/ 3811412 h 3905171"/>
                <a:gd name="connsiteX1450" fmla="*/ 1580404 w 2626806"/>
                <a:gd name="connsiteY1450" fmla="*/ 3763121 h 3905171"/>
                <a:gd name="connsiteX1451" fmla="*/ 1628694 w 2626806"/>
                <a:gd name="connsiteY1451" fmla="*/ 3714832 h 3905171"/>
                <a:gd name="connsiteX1452" fmla="*/ 1676984 w 2626806"/>
                <a:gd name="connsiteY1452" fmla="*/ 3763121 h 3905171"/>
                <a:gd name="connsiteX1453" fmla="*/ 1628694 w 2626806"/>
                <a:gd name="connsiteY1453" fmla="*/ 3811412 h 3905171"/>
                <a:gd name="connsiteX1454" fmla="*/ 2568156 w 2626806"/>
                <a:gd name="connsiteY1454" fmla="*/ 3822387 h 3905171"/>
                <a:gd name="connsiteX1455" fmla="*/ 2530840 w 2626806"/>
                <a:gd name="connsiteY1455" fmla="*/ 3785072 h 3905171"/>
                <a:gd name="connsiteX1456" fmla="*/ 2568156 w 2626806"/>
                <a:gd name="connsiteY1456" fmla="*/ 3747757 h 3905171"/>
                <a:gd name="connsiteX1457" fmla="*/ 2605470 w 2626806"/>
                <a:gd name="connsiteY1457" fmla="*/ 3785072 h 3905171"/>
                <a:gd name="connsiteX1458" fmla="*/ 2568156 w 2626806"/>
                <a:gd name="connsiteY1458" fmla="*/ 3822387 h 3905171"/>
                <a:gd name="connsiteX1459" fmla="*/ 1365293 w 2626806"/>
                <a:gd name="connsiteY1459" fmla="*/ 3824582 h 3905171"/>
                <a:gd name="connsiteX1460" fmla="*/ 1319198 w 2626806"/>
                <a:gd name="connsiteY1460" fmla="*/ 3778487 h 3905171"/>
                <a:gd name="connsiteX1461" fmla="*/ 1365293 w 2626806"/>
                <a:gd name="connsiteY1461" fmla="*/ 3732392 h 3905171"/>
                <a:gd name="connsiteX1462" fmla="*/ 1411388 w 2626806"/>
                <a:gd name="connsiteY1462" fmla="*/ 3778487 h 3905171"/>
                <a:gd name="connsiteX1463" fmla="*/ 1365293 w 2626806"/>
                <a:gd name="connsiteY1463" fmla="*/ 3824582 h 3905171"/>
                <a:gd name="connsiteX1464" fmla="*/ 1110672 w 2626806"/>
                <a:gd name="connsiteY1464" fmla="*/ 3828971 h 3905171"/>
                <a:gd name="connsiteX1465" fmla="*/ 1057992 w 2626806"/>
                <a:gd name="connsiteY1465" fmla="*/ 3776292 h 3905171"/>
                <a:gd name="connsiteX1466" fmla="*/ 1110672 w 2626806"/>
                <a:gd name="connsiteY1466" fmla="*/ 3723612 h 3905171"/>
                <a:gd name="connsiteX1467" fmla="*/ 1163353 w 2626806"/>
                <a:gd name="connsiteY1467" fmla="*/ 3776292 h 3905171"/>
                <a:gd name="connsiteX1468" fmla="*/ 1110672 w 2626806"/>
                <a:gd name="connsiteY1468" fmla="*/ 3828971 h 3905171"/>
                <a:gd name="connsiteX1469" fmla="*/ 2023795 w 2626806"/>
                <a:gd name="connsiteY1469" fmla="*/ 3833362 h 3905171"/>
                <a:gd name="connsiteX1470" fmla="*/ 1977700 w 2626806"/>
                <a:gd name="connsiteY1470" fmla="*/ 3787266 h 3905171"/>
                <a:gd name="connsiteX1471" fmla="*/ 2023795 w 2626806"/>
                <a:gd name="connsiteY1471" fmla="*/ 3741171 h 3905171"/>
                <a:gd name="connsiteX1472" fmla="*/ 2069890 w 2626806"/>
                <a:gd name="connsiteY1472" fmla="*/ 3787266 h 3905171"/>
                <a:gd name="connsiteX1473" fmla="*/ 2023795 w 2626806"/>
                <a:gd name="connsiteY1473" fmla="*/ 3833362 h 3905171"/>
                <a:gd name="connsiteX1474" fmla="*/ 1747224 w 2626806"/>
                <a:gd name="connsiteY1474" fmla="*/ 3872872 h 3905171"/>
                <a:gd name="connsiteX1475" fmla="*/ 1698933 w 2626806"/>
                <a:gd name="connsiteY1475" fmla="*/ 3824582 h 3905171"/>
                <a:gd name="connsiteX1476" fmla="*/ 1747224 w 2626806"/>
                <a:gd name="connsiteY1476" fmla="*/ 3776292 h 3905171"/>
                <a:gd name="connsiteX1477" fmla="*/ 1795514 w 2626806"/>
                <a:gd name="connsiteY1477" fmla="*/ 3824582 h 3905171"/>
                <a:gd name="connsiteX1478" fmla="*/ 1747224 w 2626806"/>
                <a:gd name="connsiteY1478" fmla="*/ 3872872 h 3905171"/>
                <a:gd name="connsiteX1479" fmla="*/ 965802 w 2626806"/>
                <a:gd name="connsiteY1479" fmla="*/ 3879457 h 3905171"/>
                <a:gd name="connsiteX1480" fmla="*/ 939462 w 2626806"/>
                <a:gd name="connsiteY1480" fmla="*/ 3853117 h 3905171"/>
                <a:gd name="connsiteX1481" fmla="*/ 965802 w 2626806"/>
                <a:gd name="connsiteY1481" fmla="*/ 3826777 h 3905171"/>
                <a:gd name="connsiteX1482" fmla="*/ 992142 w 2626806"/>
                <a:gd name="connsiteY1482" fmla="*/ 3853117 h 3905171"/>
                <a:gd name="connsiteX1483" fmla="*/ 965802 w 2626806"/>
                <a:gd name="connsiteY1483" fmla="*/ 3879457 h 3905171"/>
                <a:gd name="connsiteX1484" fmla="*/ 2148910 w 2626806"/>
                <a:gd name="connsiteY1484" fmla="*/ 3879457 h 3905171"/>
                <a:gd name="connsiteX1485" fmla="*/ 2102815 w 2626806"/>
                <a:gd name="connsiteY1485" fmla="*/ 3833362 h 3905171"/>
                <a:gd name="connsiteX1486" fmla="*/ 2148910 w 2626806"/>
                <a:gd name="connsiteY1486" fmla="*/ 3787266 h 3905171"/>
                <a:gd name="connsiteX1487" fmla="*/ 2195006 w 2626806"/>
                <a:gd name="connsiteY1487" fmla="*/ 3833362 h 3905171"/>
                <a:gd name="connsiteX1488" fmla="*/ 2148910 w 2626806"/>
                <a:gd name="connsiteY1488" fmla="*/ 3879457 h 3905171"/>
                <a:gd name="connsiteX1489" fmla="*/ 1479433 w 2626806"/>
                <a:gd name="connsiteY1489" fmla="*/ 3890431 h 3905171"/>
                <a:gd name="connsiteX1490" fmla="*/ 1435533 w 2626806"/>
                <a:gd name="connsiteY1490" fmla="*/ 3846531 h 3905171"/>
                <a:gd name="connsiteX1491" fmla="*/ 1479433 w 2626806"/>
                <a:gd name="connsiteY1491" fmla="*/ 3802631 h 3905171"/>
                <a:gd name="connsiteX1492" fmla="*/ 1523333 w 2626806"/>
                <a:gd name="connsiteY1492" fmla="*/ 3846531 h 3905171"/>
                <a:gd name="connsiteX1493" fmla="*/ 1479433 w 2626806"/>
                <a:gd name="connsiteY1493" fmla="*/ 3890431 h 3905171"/>
                <a:gd name="connsiteX1494" fmla="*/ 1106195 w 2626806"/>
                <a:gd name="connsiteY1494" fmla="*/ 3905171 h 3905171"/>
                <a:gd name="connsiteX1495" fmla="*/ 1034905 w 2626806"/>
                <a:gd name="connsiteY1495" fmla="*/ 3905171 h 3905171"/>
                <a:gd name="connsiteX1496" fmla="*/ 1039060 w 2626806"/>
                <a:gd name="connsiteY1496" fmla="*/ 3899211 h 3905171"/>
                <a:gd name="connsiteX1497" fmla="*/ 1071162 w 2626806"/>
                <a:gd name="connsiteY1497" fmla="*/ 3886041 h 3905171"/>
                <a:gd name="connsiteX1498" fmla="*/ 1104087 w 2626806"/>
                <a:gd name="connsiteY1498" fmla="*/ 3900035 h 3905171"/>
                <a:gd name="connsiteX1499" fmla="*/ 1225200 w 2626806"/>
                <a:gd name="connsiteY1499" fmla="*/ 3905171 h 3905171"/>
                <a:gd name="connsiteX1500" fmla="*/ 1211629 w 2626806"/>
                <a:gd name="connsiteY1500" fmla="*/ 3905171 h 3905171"/>
                <a:gd name="connsiteX1501" fmla="*/ 1182285 w 2626806"/>
                <a:gd name="connsiteY1501" fmla="*/ 3892627 h 3905171"/>
                <a:gd name="connsiteX1502" fmla="*/ 1167743 w 2626806"/>
                <a:gd name="connsiteY1502" fmla="*/ 3857506 h 3905171"/>
                <a:gd name="connsiteX1503" fmla="*/ 1218228 w 2626806"/>
                <a:gd name="connsiteY1503" fmla="*/ 3807022 h 3905171"/>
                <a:gd name="connsiteX1504" fmla="*/ 1268713 w 2626806"/>
                <a:gd name="connsiteY1504" fmla="*/ 3857506 h 3905171"/>
                <a:gd name="connsiteX1505" fmla="*/ 1254171 w 2626806"/>
                <a:gd name="connsiteY1505" fmla="*/ 3893450 h 3905171"/>
                <a:gd name="connsiteX1506" fmla="*/ 1371361 w 2626806"/>
                <a:gd name="connsiteY1506" fmla="*/ 3905171 h 3905171"/>
                <a:gd name="connsiteX1507" fmla="*/ 1284594 w 2626806"/>
                <a:gd name="connsiteY1507" fmla="*/ 3905171 h 3905171"/>
                <a:gd name="connsiteX1508" fmla="*/ 1292034 w 2626806"/>
                <a:gd name="connsiteY1508" fmla="*/ 3893998 h 3905171"/>
                <a:gd name="connsiteX1509" fmla="*/ 1327977 w 2626806"/>
                <a:gd name="connsiteY1509" fmla="*/ 3879456 h 3905171"/>
                <a:gd name="connsiteX1510" fmla="*/ 1363920 w 2626806"/>
                <a:gd name="connsiteY1510" fmla="*/ 3893998 h 3905171"/>
                <a:gd name="connsiteX1511" fmla="*/ 1634475 w 2626806"/>
                <a:gd name="connsiteY1511" fmla="*/ 3905171 h 3905171"/>
                <a:gd name="connsiteX1512" fmla="*/ 1552672 w 2626806"/>
                <a:gd name="connsiteY1512" fmla="*/ 3905171 h 3905171"/>
                <a:gd name="connsiteX1513" fmla="*/ 1562569 w 2626806"/>
                <a:gd name="connsiteY1513" fmla="*/ 3881377 h 3905171"/>
                <a:gd name="connsiteX1514" fmla="*/ 1593574 w 2626806"/>
                <a:gd name="connsiteY1514" fmla="*/ 3868481 h 3905171"/>
                <a:gd name="connsiteX1515" fmla="*/ 1624578 w 2626806"/>
                <a:gd name="connsiteY1515" fmla="*/ 3881377 h 3905171"/>
                <a:gd name="connsiteX1516" fmla="*/ 1909099 w 2626806"/>
                <a:gd name="connsiteY1516" fmla="*/ 3905171 h 3905171"/>
                <a:gd name="connsiteX1517" fmla="*/ 1824848 w 2626806"/>
                <a:gd name="connsiteY1517" fmla="*/ 3905171 h 3905171"/>
                <a:gd name="connsiteX1518" fmla="*/ 1822266 w 2626806"/>
                <a:gd name="connsiteY1518" fmla="*/ 3901235 h 3905171"/>
                <a:gd name="connsiteX1519" fmla="*/ 1819659 w 2626806"/>
                <a:gd name="connsiteY1519" fmla="*/ 3881652 h 3905171"/>
                <a:gd name="connsiteX1520" fmla="*/ 1867949 w 2626806"/>
                <a:gd name="connsiteY1520" fmla="*/ 3833362 h 3905171"/>
                <a:gd name="connsiteX1521" fmla="*/ 1916239 w 2626806"/>
                <a:gd name="connsiteY1521" fmla="*/ 3881652 h 3905171"/>
                <a:gd name="connsiteX1522" fmla="*/ 1912398 w 2626806"/>
                <a:gd name="connsiteY1522" fmla="*/ 3900310 h 3905171"/>
                <a:gd name="connsiteX1523" fmla="*/ 2029680 w 2626806"/>
                <a:gd name="connsiteY1523" fmla="*/ 3905171 h 3905171"/>
                <a:gd name="connsiteX1524" fmla="*/ 1952059 w 2626806"/>
                <a:gd name="connsiteY1524" fmla="*/ 3905171 h 3905171"/>
                <a:gd name="connsiteX1525" fmla="*/ 1956847 w 2626806"/>
                <a:gd name="connsiteY1525" fmla="*/ 3898115 h 3905171"/>
                <a:gd name="connsiteX1526" fmla="*/ 1990869 w 2626806"/>
                <a:gd name="connsiteY1526" fmla="*/ 3883847 h 3905171"/>
                <a:gd name="connsiteX1527" fmla="*/ 2024892 w 2626806"/>
                <a:gd name="connsiteY1527" fmla="*/ 3898115 h 3905171"/>
                <a:gd name="connsiteX1528" fmla="*/ 2304497 w 2626806"/>
                <a:gd name="connsiteY1528" fmla="*/ 3905171 h 3905171"/>
                <a:gd name="connsiteX1529" fmla="*/ 2247217 w 2626806"/>
                <a:gd name="connsiteY1529" fmla="*/ 3905171 h 3905171"/>
                <a:gd name="connsiteX1530" fmla="*/ 2243294 w 2626806"/>
                <a:gd name="connsiteY1530" fmla="*/ 3903602 h 3905171"/>
                <a:gd name="connsiteX1531" fmla="*/ 2230124 w 2626806"/>
                <a:gd name="connsiteY1531" fmla="*/ 3870677 h 3905171"/>
                <a:gd name="connsiteX1532" fmla="*/ 2276219 w 2626806"/>
                <a:gd name="connsiteY1532" fmla="*/ 3824581 h 3905171"/>
                <a:gd name="connsiteX1533" fmla="*/ 2322315 w 2626806"/>
                <a:gd name="connsiteY1533" fmla="*/ 3870677 h 3905171"/>
                <a:gd name="connsiteX1534" fmla="*/ 2308322 w 2626806"/>
                <a:gd name="connsiteY1534" fmla="*/ 3903602 h 3905171"/>
                <a:gd name="connsiteX1535" fmla="*/ 2448998 w 2626806"/>
                <a:gd name="connsiteY1535" fmla="*/ 3905171 h 3905171"/>
                <a:gd name="connsiteX1536" fmla="*/ 2357761 w 2626806"/>
                <a:gd name="connsiteY1536" fmla="*/ 3905171 h 3905171"/>
                <a:gd name="connsiteX1537" fmla="*/ 2357435 w 2626806"/>
                <a:gd name="connsiteY1537" fmla="*/ 3903602 h 3905171"/>
                <a:gd name="connsiteX1538" fmla="*/ 2403531 w 2626806"/>
                <a:gd name="connsiteY1538" fmla="*/ 3857506 h 3905171"/>
                <a:gd name="connsiteX1539" fmla="*/ 2449625 w 2626806"/>
                <a:gd name="connsiteY1539" fmla="*/ 3903602 h 3905171"/>
                <a:gd name="connsiteX1540" fmla="*/ 2565556 w 2626806"/>
                <a:gd name="connsiteY1540" fmla="*/ 3905171 h 3905171"/>
                <a:gd name="connsiteX1541" fmla="*/ 2504463 w 2626806"/>
                <a:gd name="connsiteY1541" fmla="*/ 3905171 h 3905171"/>
                <a:gd name="connsiteX1542" fmla="*/ 2505322 w 2626806"/>
                <a:gd name="connsiteY1542" fmla="*/ 3903053 h 3905171"/>
                <a:gd name="connsiteX1543" fmla="*/ 2535230 w 2626806"/>
                <a:gd name="connsiteY1543" fmla="*/ 3890431 h 3905171"/>
                <a:gd name="connsiteX1544" fmla="*/ 2564315 w 2626806"/>
                <a:gd name="connsiteY1544" fmla="*/ 3902230 h 390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Lst>
              <a:rect l="l" t="t" r="r" b="b"/>
              <a:pathLst>
                <a:path w="2626806" h="3905171">
                  <a:moveTo>
                    <a:pt x="1200667" y="3105"/>
                  </a:moveTo>
                  <a:cubicBezTo>
                    <a:pt x="1199570" y="2007"/>
                    <a:pt x="1199570" y="909"/>
                    <a:pt x="1199844" y="361"/>
                  </a:cubicBezTo>
                  <a:cubicBezTo>
                    <a:pt x="1200118" y="-188"/>
                    <a:pt x="1200667" y="-188"/>
                    <a:pt x="1200667" y="909"/>
                  </a:cubicBezTo>
                  <a:cubicBezTo>
                    <a:pt x="1200667" y="909"/>
                    <a:pt x="1202862" y="909"/>
                    <a:pt x="1200667" y="3105"/>
                  </a:cubicBezTo>
                  <a:close/>
                  <a:moveTo>
                    <a:pt x="1126038" y="115049"/>
                  </a:moveTo>
                  <a:cubicBezTo>
                    <a:pt x="1123842" y="115049"/>
                    <a:pt x="1121648" y="112853"/>
                    <a:pt x="1121648" y="110659"/>
                  </a:cubicBezTo>
                  <a:cubicBezTo>
                    <a:pt x="1121648" y="108463"/>
                    <a:pt x="1123842" y="106269"/>
                    <a:pt x="1126038" y="106269"/>
                  </a:cubicBezTo>
                  <a:cubicBezTo>
                    <a:pt x="1128232" y="106269"/>
                    <a:pt x="1130428" y="108463"/>
                    <a:pt x="1130428" y="110659"/>
                  </a:cubicBezTo>
                  <a:cubicBezTo>
                    <a:pt x="1130428" y="112853"/>
                    <a:pt x="1128232" y="115049"/>
                    <a:pt x="1126038" y="115049"/>
                  </a:cubicBezTo>
                  <a:close/>
                  <a:moveTo>
                    <a:pt x="924097" y="167725"/>
                  </a:moveTo>
                  <a:cubicBezTo>
                    <a:pt x="919707" y="167725"/>
                    <a:pt x="917512" y="163335"/>
                    <a:pt x="917512" y="161140"/>
                  </a:cubicBezTo>
                  <a:cubicBezTo>
                    <a:pt x="917512" y="156750"/>
                    <a:pt x="919707" y="154555"/>
                    <a:pt x="924097" y="154555"/>
                  </a:cubicBezTo>
                  <a:cubicBezTo>
                    <a:pt x="928487" y="154555"/>
                    <a:pt x="930682" y="156750"/>
                    <a:pt x="930682" y="161140"/>
                  </a:cubicBezTo>
                  <a:cubicBezTo>
                    <a:pt x="930682" y="165530"/>
                    <a:pt x="928487" y="167725"/>
                    <a:pt x="924097" y="167725"/>
                  </a:cubicBezTo>
                  <a:close/>
                  <a:moveTo>
                    <a:pt x="1259933" y="178707"/>
                  </a:moveTo>
                  <a:cubicBezTo>
                    <a:pt x="1257738" y="178707"/>
                    <a:pt x="1257738" y="176512"/>
                    <a:pt x="1257738" y="176512"/>
                  </a:cubicBezTo>
                  <a:cubicBezTo>
                    <a:pt x="1257738" y="176512"/>
                    <a:pt x="1257738" y="174318"/>
                    <a:pt x="1259933" y="174318"/>
                  </a:cubicBezTo>
                  <a:cubicBezTo>
                    <a:pt x="1259933" y="174318"/>
                    <a:pt x="1262128" y="174318"/>
                    <a:pt x="1262128" y="176512"/>
                  </a:cubicBezTo>
                  <a:cubicBezTo>
                    <a:pt x="1262128" y="176512"/>
                    <a:pt x="1262128" y="178707"/>
                    <a:pt x="1259933" y="178707"/>
                  </a:cubicBezTo>
                  <a:close/>
                  <a:moveTo>
                    <a:pt x="1057992" y="229189"/>
                  </a:moveTo>
                  <a:cubicBezTo>
                    <a:pt x="1055797" y="229189"/>
                    <a:pt x="1053602" y="226994"/>
                    <a:pt x="1053602" y="224799"/>
                  </a:cubicBezTo>
                  <a:cubicBezTo>
                    <a:pt x="1053602" y="222604"/>
                    <a:pt x="1055797" y="220409"/>
                    <a:pt x="1057992" y="220409"/>
                  </a:cubicBezTo>
                  <a:cubicBezTo>
                    <a:pt x="1060187" y="220409"/>
                    <a:pt x="1062382" y="222604"/>
                    <a:pt x="1062382" y="224799"/>
                  </a:cubicBezTo>
                  <a:cubicBezTo>
                    <a:pt x="1062382" y="226994"/>
                    <a:pt x="1060187" y="229189"/>
                    <a:pt x="1057992" y="229189"/>
                  </a:cubicBezTo>
                  <a:close/>
                  <a:moveTo>
                    <a:pt x="862637" y="284060"/>
                  </a:moveTo>
                  <a:cubicBezTo>
                    <a:pt x="860442" y="284060"/>
                    <a:pt x="856052" y="281865"/>
                    <a:pt x="856052" y="277476"/>
                  </a:cubicBezTo>
                  <a:cubicBezTo>
                    <a:pt x="856052" y="273086"/>
                    <a:pt x="858247" y="270890"/>
                    <a:pt x="862637" y="270890"/>
                  </a:cubicBezTo>
                  <a:cubicBezTo>
                    <a:pt x="867027" y="270890"/>
                    <a:pt x="869222" y="273086"/>
                    <a:pt x="869222" y="277476"/>
                  </a:cubicBezTo>
                  <a:cubicBezTo>
                    <a:pt x="869222" y="281865"/>
                    <a:pt x="867027" y="284060"/>
                    <a:pt x="862637" y="284060"/>
                  </a:cubicBezTo>
                  <a:close/>
                  <a:moveTo>
                    <a:pt x="676061" y="338932"/>
                  </a:moveTo>
                  <a:cubicBezTo>
                    <a:pt x="673866" y="338932"/>
                    <a:pt x="671671" y="336737"/>
                    <a:pt x="671671" y="334542"/>
                  </a:cubicBezTo>
                  <a:cubicBezTo>
                    <a:pt x="671671" y="332347"/>
                    <a:pt x="673866" y="330153"/>
                    <a:pt x="676061" y="330153"/>
                  </a:cubicBezTo>
                  <a:cubicBezTo>
                    <a:pt x="678257" y="330153"/>
                    <a:pt x="680451" y="332347"/>
                    <a:pt x="680451" y="334542"/>
                  </a:cubicBezTo>
                  <a:cubicBezTo>
                    <a:pt x="680451" y="336737"/>
                    <a:pt x="678257" y="338932"/>
                    <a:pt x="676061" y="338932"/>
                  </a:cubicBezTo>
                  <a:close/>
                  <a:moveTo>
                    <a:pt x="996532" y="352109"/>
                  </a:moveTo>
                  <a:cubicBezTo>
                    <a:pt x="992142" y="352109"/>
                    <a:pt x="987752" y="347718"/>
                    <a:pt x="987752" y="343329"/>
                  </a:cubicBezTo>
                  <a:cubicBezTo>
                    <a:pt x="987752" y="338938"/>
                    <a:pt x="992142" y="334548"/>
                    <a:pt x="996532" y="334548"/>
                  </a:cubicBezTo>
                  <a:cubicBezTo>
                    <a:pt x="1000922" y="334548"/>
                    <a:pt x="1005312" y="338938"/>
                    <a:pt x="1005312" y="343329"/>
                  </a:cubicBezTo>
                  <a:cubicBezTo>
                    <a:pt x="1005312" y="347718"/>
                    <a:pt x="1000922" y="352109"/>
                    <a:pt x="996532" y="352109"/>
                  </a:cubicBezTo>
                  <a:close/>
                  <a:moveTo>
                    <a:pt x="807762" y="404785"/>
                  </a:moveTo>
                  <a:cubicBezTo>
                    <a:pt x="805567" y="404785"/>
                    <a:pt x="803372" y="402590"/>
                    <a:pt x="803372" y="400395"/>
                  </a:cubicBezTo>
                  <a:cubicBezTo>
                    <a:pt x="803372" y="398200"/>
                    <a:pt x="805567" y="396005"/>
                    <a:pt x="807762" y="396005"/>
                  </a:cubicBezTo>
                  <a:cubicBezTo>
                    <a:pt x="809957" y="396005"/>
                    <a:pt x="812152" y="398200"/>
                    <a:pt x="812152" y="400395"/>
                  </a:cubicBezTo>
                  <a:cubicBezTo>
                    <a:pt x="812152" y="402590"/>
                    <a:pt x="809957" y="404785"/>
                    <a:pt x="807762" y="404785"/>
                  </a:cubicBezTo>
                  <a:close/>
                  <a:moveTo>
                    <a:pt x="1130428" y="409182"/>
                  </a:moveTo>
                  <a:cubicBezTo>
                    <a:pt x="1128232" y="409182"/>
                    <a:pt x="1126038" y="409182"/>
                    <a:pt x="1128232" y="406987"/>
                  </a:cubicBezTo>
                  <a:cubicBezTo>
                    <a:pt x="1128232" y="406987"/>
                    <a:pt x="1130428" y="404792"/>
                    <a:pt x="1130428" y="404792"/>
                  </a:cubicBezTo>
                  <a:cubicBezTo>
                    <a:pt x="1130428" y="404792"/>
                    <a:pt x="1132623" y="404792"/>
                    <a:pt x="1132623" y="406987"/>
                  </a:cubicBezTo>
                  <a:cubicBezTo>
                    <a:pt x="1132623" y="406987"/>
                    <a:pt x="1132623" y="409182"/>
                    <a:pt x="1130428" y="409182"/>
                  </a:cubicBezTo>
                  <a:close/>
                  <a:moveTo>
                    <a:pt x="627771" y="466241"/>
                  </a:moveTo>
                  <a:cubicBezTo>
                    <a:pt x="623381" y="466241"/>
                    <a:pt x="618991" y="464046"/>
                    <a:pt x="621186" y="459656"/>
                  </a:cubicBezTo>
                  <a:cubicBezTo>
                    <a:pt x="621186" y="457462"/>
                    <a:pt x="623381" y="453072"/>
                    <a:pt x="627771" y="453072"/>
                  </a:cubicBezTo>
                  <a:cubicBezTo>
                    <a:pt x="629966" y="453072"/>
                    <a:pt x="634356" y="455266"/>
                    <a:pt x="634356" y="459656"/>
                  </a:cubicBezTo>
                  <a:cubicBezTo>
                    <a:pt x="634356" y="461852"/>
                    <a:pt x="632161" y="466241"/>
                    <a:pt x="627771" y="466241"/>
                  </a:cubicBezTo>
                  <a:close/>
                  <a:moveTo>
                    <a:pt x="941657" y="470639"/>
                  </a:moveTo>
                  <a:cubicBezTo>
                    <a:pt x="939462" y="470639"/>
                    <a:pt x="935072" y="468444"/>
                    <a:pt x="935072" y="464053"/>
                  </a:cubicBezTo>
                  <a:cubicBezTo>
                    <a:pt x="935072" y="459664"/>
                    <a:pt x="939462" y="457468"/>
                    <a:pt x="941657" y="457468"/>
                  </a:cubicBezTo>
                  <a:cubicBezTo>
                    <a:pt x="946047" y="457468"/>
                    <a:pt x="948242" y="459664"/>
                    <a:pt x="948242" y="464053"/>
                  </a:cubicBezTo>
                  <a:cubicBezTo>
                    <a:pt x="948242" y="468444"/>
                    <a:pt x="943852" y="470639"/>
                    <a:pt x="941657" y="470639"/>
                  </a:cubicBezTo>
                  <a:close/>
                  <a:moveTo>
                    <a:pt x="761667" y="529905"/>
                  </a:moveTo>
                  <a:cubicBezTo>
                    <a:pt x="757277" y="529905"/>
                    <a:pt x="755082" y="527710"/>
                    <a:pt x="755082" y="523320"/>
                  </a:cubicBezTo>
                  <a:cubicBezTo>
                    <a:pt x="755082" y="518931"/>
                    <a:pt x="757277" y="516734"/>
                    <a:pt x="761667" y="516734"/>
                  </a:cubicBezTo>
                  <a:cubicBezTo>
                    <a:pt x="766057" y="516734"/>
                    <a:pt x="768252" y="518931"/>
                    <a:pt x="768252" y="523320"/>
                  </a:cubicBezTo>
                  <a:cubicBezTo>
                    <a:pt x="768252" y="527710"/>
                    <a:pt x="766057" y="529905"/>
                    <a:pt x="761667" y="529905"/>
                  </a:cubicBezTo>
                  <a:close/>
                  <a:moveTo>
                    <a:pt x="586066" y="593557"/>
                  </a:moveTo>
                  <a:cubicBezTo>
                    <a:pt x="581676" y="593557"/>
                    <a:pt x="577286" y="589166"/>
                    <a:pt x="579481" y="586972"/>
                  </a:cubicBezTo>
                  <a:cubicBezTo>
                    <a:pt x="579481" y="584776"/>
                    <a:pt x="581676" y="580387"/>
                    <a:pt x="586066" y="580387"/>
                  </a:cubicBezTo>
                  <a:cubicBezTo>
                    <a:pt x="588261" y="580387"/>
                    <a:pt x="592651" y="582582"/>
                    <a:pt x="592651" y="586972"/>
                  </a:cubicBezTo>
                  <a:cubicBezTo>
                    <a:pt x="592651" y="589166"/>
                    <a:pt x="590456" y="593557"/>
                    <a:pt x="586066" y="593557"/>
                  </a:cubicBezTo>
                  <a:close/>
                  <a:moveTo>
                    <a:pt x="895563" y="593563"/>
                  </a:moveTo>
                  <a:cubicBezTo>
                    <a:pt x="893367" y="593563"/>
                    <a:pt x="891173" y="591367"/>
                    <a:pt x="891173" y="589174"/>
                  </a:cubicBezTo>
                  <a:cubicBezTo>
                    <a:pt x="891173" y="586979"/>
                    <a:pt x="893367" y="584784"/>
                    <a:pt x="895563" y="584784"/>
                  </a:cubicBezTo>
                  <a:cubicBezTo>
                    <a:pt x="897757" y="584784"/>
                    <a:pt x="899953" y="586979"/>
                    <a:pt x="899953" y="589174"/>
                  </a:cubicBezTo>
                  <a:cubicBezTo>
                    <a:pt x="899953" y="591367"/>
                    <a:pt x="897757" y="593563"/>
                    <a:pt x="895563" y="593563"/>
                  </a:cubicBezTo>
                  <a:close/>
                  <a:moveTo>
                    <a:pt x="1029457" y="657221"/>
                  </a:moveTo>
                  <a:cubicBezTo>
                    <a:pt x="1027033" y="657221"/>
                    <a:pt x="1025067" y="655258"/>
                    <a:pt x="1025067" y="652833"/>
                  </a:cubicBezTo>
                  <a:cubicBezTo>
                    <a:pt x="1025067" y="650408"/>
                    <a:pt x="1027033" y="648443"/>
                    <a:pt x="1029457" y="648443"/>
                  </a:cubicBezTo>
                  <a:cubicBezTo>
                    <a:pt x="1031882" y="648443"/>
                    <a:pt x="1033847" y="650408"/>
                    <a:pt x="1033847" y="652833"/>
                  </a:cubicBezTo>
                  <a:cubicBezTo>
                    <a:pt x="1033847" y="655258"/>
                    <a:pt x="1031882" y="657221"/>
                    <a:pt x="1029457" y="657221"/>
                  </a:cubicBezTo>
                  <a:close/>
                  <a:moveTo>
                    <a:pt x="719962" y="661605"/>
                  </a:moveTo>
                  <a:cubicBezTo>
                    <a:pt x="715572" y="661605"/>
                    <a:pt x="708987" y="657215"/>
                    <a:pt x="708987" y="650631"/>
                  </a:cubicBezTo>
                  <a:cubicBezTo>
                    <a:pt x="708987" y="644046"/>
                    <a:pt x="713377" y="639656"/>
                    <a:pt x="719962" y="639656"/>
                  </a:cubicBezTo>
                  <a:cubicBezTo>
                    <a:pt x="726546" y="639656"/>
                    <a:pt x="730936" y="644046"/>
                    <a:pt x="730936" y="650631"/>
                  </a:cubicBezTo>
                  <a:cubicBezTo>
                    <a:pt x="730936" y="657215"/>
                    <a:pt x="726546" y="661605"/>
                    <a:pt x="719962" y="661605"/>
                  </a:cubicBezTo>
                  <a:close/>
                  <a:moveTo>
                    <a:pt x="550946" y="720866"/>
                  </a:moveTo>
                  <a:cubicBezTo>
                    <a:pt x="546556" y="720866"/>
                    <a:pt x="544361" y="718672"/>
                    <a:pt x="544361" y="714282"/>
                  </a:cubicBezTo>
                  <a:cubicBezTo>
                    <a:pt x="544361" y="712086"/>
                    <a:pt x="546556" y="707697"/>
                    <a:pt x="550946" y="707697"/>
                  </a:cubicBezTo>
                  <a:cubicBezTo>
                    <a:pt x="553141" y="707697"/>
                    <a:pt x="557531" y="709892"/>
                    <a:pt x="557531" y="714282"/>
                  </a:cubicBezTo>
                  <a:cubicBezTo>
                    <a:pt x="557531" y="716477"/>
                    <a:pt x="555336" y="720866"/>
                    <a:pt x="550946" y="720866"/>
                  </a:cubicBezTo>
                  <a:close/>
                  <a:moveTo>
                    <a:pt x="856052" y="723070"/>
                  </a:moveTo>
                  <a:cubicBezTo>
                    <a:pt x="851662" y="723070"/>
                    <a:pt x="849467" y="718680"/>
                    <a:pt x="849467" y="716484"/>
                  </a:cubicBezTo>
                  <a:cubicBezTo>
                    <a:pt x="849467" y="714288"/>
                    <a:pt x="851662" y="709900"/>
                    <a:pt x="856052" y="709900"/>
                  </a:cubicBezTo>
                  <a:cubicBezTo>
                    <a:pt x="858247" y="709900"/>
                    <a:pt x="862637" y="712094"/>
                    <a:pt x="862637" y="716484"/>
                  </a:cubicBezTo>
                  <a:cubicBezTo>
                    <a:pt x="862637" y="718680"/>
                    <a:pt x="860442" y="723070"/>
                    <a:pt x="856052" y="723070"/>
                  </a:cubicBezTo>
                  <a:close/>
                  <a:moveTo>
                    <a:pt x="384126" y="782321"/>
                  </a:moveTo>
                  <a:cubicBezTo>
                    <a:pt x="381931" y="782321"/>
                    <a:pt x="379736" y="780126"/>
                    <a:pt x="379736" y="777931"/>
                  </a:cubicBezTo>
                  <a:cubicBezTo>
                    <a:pt x="379736" y="775737"/>
                    <a:pt x="381931" y="773541"/>
                    <a:pt x="384126" y="773541"/>
                  </a:cubicBezTo>
                  <a:cubicBezTo>
                    <a:pt x="386321" y="773541"/>
                    <a:pt x="388516" y="775737"/>
                    <a:pt x="388516" y="777931"/>
                  </a:cubicBezTo>
                  <a:cubicBezTo>
                    <a:pt x="388516" y="780126"/>
                    <a:pt x="386321" y="782321"/>
                    <a:pt x="384126" y="782321"/>
                  </a:cubicBezTo>
                  <a:close/>
                  <a:moveTo>
                    <a:pt x="992142" y="784532"/>
                  </a:moveTo>
                  <a:cubicBezTo>
                    <a:pt x="989947" y="784532"/>
                    <a:pt x="989947" y="782337"/>
                    <a:pt x="989947" y="782337"/>
                  </a:cubicBezTo>
                  <a:cubicBezTo>
                    <a:pt x="989947" y="782337"/>
                    <a:pt x="989947" y="780142"/>
                    <a:pt x="992142" y="780142"/>
                  </a:cubicBezTo>
                  <a:cubicBezTo>
                    <a:pt x="992142" y="780142"/>
                    <a:pt x="994337" y="782337"/>
                    <a:pt x="994337" y="782337"/>
                  </a:cubicBezTo>
                  <a:cubicBezTo>
                    <a:pt x="994337" y="782337"/>
                    <a:pt x="994337" y="784532"/>
                    <a:pt x="992142" y="784532"/>
                  </a:cubicBezTo>
                  <a:close/>
                  <a:moveTo>
                    <a:pt x="687037" y="788915"/>
                  </a:moveTo>
                  <a:cubicBezTo>
                    <a:pt x="682187" y="788915"/>
                    <a:pt x="678257" y="784984"/>
                    <a:pt x="678257" y="780135"/>
                  </a:cubicBezTo>
                  <a:cubicBezTo>
                    <a:pt x="678257" y="775286"/>
                    <a:pt x="682187" y="771355"/>
                    <a:pt x="687037" y="771355"/>
                  </a:cubicBezTo>
                  <a:cubicBezTo>
                    <a:pt x="691886" y="771355"/>
                    <a:pt x="695817" y="775286"/>
                    <a:pt x="695817" y="780135"/>
                  </a:cubicBezTo>
                  <a:cubicBezTo>
                    <a:pt x="695817" y="784984"/>
                    <a:pt x="691886" y="788915"/>
                    <a:pt x="687037" y="788915"/>
                  </a:cubicBezTo>
                  <a:close/>
                  <a:moveTo>
                    <a:pt x="1128232" y="848193"/>
                  </a:moveTo>
                  <a:cubicBezTo>
                    <a:pt x="1126038" y="848193"/>
                    <a:pt x="1126038" y="848193"/>
                    <a:pt x="1126038" y="845997"/>
                  </a:cubicBezTo>
                  <a:cubicBezTo>
                    <a:pt x="1126038" y="845997"/>
                    <a:pt x="1128232" y="843803"/>
                    <a:pt x="1128232" y="843803"/>
                  </a:cubicBezTo>
                  <a:cubicBezTo>
                    <a:pt x="1128232" y="843803"/>
                    <a:pt x="1130428" y="843803"/>
                    <a:pt x="1130428" y="845997"/>
                  </a:cubicBezTo>
                  <a:cubicBezTo>
                    <a:pt x="1130428" y="845997"/>
                    <a:pt x="1130428" y="848193"/>
                    <a:pt x="1128232" y="848193"/>
                  </a:cubicBezTo>
                  <a:close/>
                  <a:moveTo>
                    <a:pt x="825322" y="852574"/>
                  </a:moveTo>
                  <a:cubicBezTo>
                    <a:pt x="820932" y="852574"/>
                    <a:pt x="816542" y="848183"/>
                    <a:pt x="818737" y="845989"/>
                  </a:cubicBezTo>
                  <a:cubicBezTo>
                    <a:pt x="818737" y="843793"/>
                    <a:pt x="820932" y="839403"/>
                    <a:pt x="825322" y="839403"/>
                  </a:cubicBezTo>
                  <a:cubicBezTo>
                    <a:pt x="827517" y="839403"/>
                    <a:pt x="831907" y="841597"/>
                    <a:pt x="831907" y="845989"/>
                  </a:cubicBezTo>
                  <a:cubicBezTo>
                    <a:pt x="831907" y="848183"/>
                    <a:pt x="829712" y="852574"/>
                    <a:pt x="825322" y="852574"/>
                  </a:cubicBezTo>
                  <a:close/>
                  <a:moveTo>
                    <a:pt x="522412" y="854761"/>
                  </a:moveTo>
                  <a:cubicBezTo>
                    <a:pt x="515827" y="854761"/>
                    <a:pt x="511437" y="850371"/>
                    <a:pt x="511437" y="843786"/>
                  </a:cubicBezTo>
                  <a:cubicBezTo>
                    <a:pt x="511437" y="837202"/>
                    <a:pt x="515827" y="832812"/>
                    <a:pt x="522412" y="832812"/>
                  </a:cubicBezTo>
                  <a:cubicBezTo>
                    <a:pt x="528996" y="832812"/>
                    <a:pt x="533386" y="837202"/>
                    <a:pt x="533386" y="843786"/>
                  </a:cubicBezTo>
                  <a:cubicBezTo>
                    <a:pt x="533386" y="850371"/>
                    <a:pt x="528996" y="854761"/>
                    <a:pt x="522412" y="854761"/>
                  </a:cubicBezTo>
                  <a:close/>
                  <a:moveTo>
                    <a:pt x="963607" y="914039"/>
                  </a:moveTo>
                  <a:cubicBezTo>
                    <a:pt x="959217" y="914039"/>
                    <a:pt x="957023" y="911845"/>
                    <a:pt x="959217" y="909650"/>
                  </a:cubicBezTo>
                  <a:cubicBezTo>
                    <a:pt x="959217" y="907454"/>
                    <a:pt x="961413" y="905260"/>
                    <a:pt x="963607" y="905260"/>
                  </a:cubicBezTo>
                  <a:cubicBezTo>
                    <a:pt x="965803" y="905260"/>
                    <a:pt x="967997" y="907454"/>
                    <a:pt x="967997" y="909650"/>
                  </a:cubicBezTo>
                  <a:cubicBezTo>
                    <a:pt x="967997" y="911845"/>
                    <a:pt x="965803" y="914039"/>
                    <a:pt x="963607" y="914039"/>
                  </a:cubicBezTo>
                  <a:close/>
                  <a:moveTo>
                    <a:pt x="362176" y="918413"/>
                  </a:moveTo>
                  <a:cubicBezTo>
                    <a:pt x="357327" y="918413"/>
                    <a:pt x="353396" y="914482"/>
                    <a:pt x="353396" y="909633"/>
                  </a:cubicBezTo>
                  <a:cubicBezTo>
                    <a:pt x="353396" y="904783"/>
                    <a:pt x="357327" y="900853"/>
                    <a:pt x="362176" y="900853"/>
                  </a:cubicBezTo>
                  <a:cubicBezTo>
                    <a:pt x="367025" y="900853"/>
                    <a:pt x="370956" y="904783"/>
                    <a:pt x="370956" y="909633"/>
                  </a:cubicBezTo>
                  <a:cubicBezTo>
                    <a:pt x="370956" y="914482"/>
                    <a:pt x="367025" y="918413"/>
                    <a:pt x="362176" y="918413"/>
                  </a:cubicBezTo>
                  <a:close/>
                  <a:moveTo>
                    <a:pt x="662892" y="922812"/>
                  </a:moveTo>
                  <a:cubicBezTo>
                    <a:pt x="654112" y="922812"/>
                    <a:pt x="649722" y="916226"/>
                    <a:pt x="649722" y="909641"/>
                  </a:cubicBezTo>
                  <a:cubicBezTo>
                    <a:pt x="649722" y="900861"/>
                    <a:pt x="656306" y="896470"/>
                    <a:pt x="662892" y="896470"/>
                  </a:cubicBezTo>
                  <a:cubicBezTo>
                    <a:pt x="671671" y="896470"/>
                    <a:pt x="676061" y="903056"/>
                    <a:pt x="676061" y="909641"/>
                  </a:cubicBezTo>
                  <a:cubicBezTo>
                    <a:pt x="676061" y="916226"/>
                    <a:pt x="669476" y="922812"/>
                    <a:pt x="662892" y="922812"/>
                  </a:cubicBezTo>
                  <a:close/>
                  <a:moveTo>
                    <a:pt x="801177" y="982080"/>
                  </a:moveTo>
                  <a:cubicBezTo>
                    <a:pt x="796787" y="982080"/>
                    <a:pt x="792397" y="979884"/>
                    <a:pt x="792397" y="973300"/>
                  </a:cubicBezTo>
                  <a:cubicBezTo>
                    <a:pt x="792397" y="968910"/>
                    <a:pt x="796787" y="964521"/>
                    <a:pt x="801177" y="964521"/>
                  </a:cubicBezTo>
                  <a:cubicBezTo>
                    <a:pt x="805567" y="964521"/>
                    <a:pt x="809957" y="968910"/>
                    <a:pt x="809957" y="973300"/>
                  </a:cubicBezTo>
                  <a:cubicBezTo>
                    <a:pt x="809957" y="977690"/>
                    <a:pt x="805567" y="982080"/>
                    <a:pt x="801177" y="982080"/>
                  </a:cubicBezTo>
                  <a:close/>
                  <a:moveTo>
                    <a:pt x="502657" y="990852"/>
                  </a:moveTo>
                  <a:cubicBezTo>
                    <a:pt x="494171" y="990852"/>
                    <a:pt x="487291" y="983972"/>
                    <a:pt x="487291" y="975487"/>
                  </a:cubicBezTo>
                  <a:cubicBezTo>
                    <a:pt x="487291" y="967001"/>
                    <a:pt x="494171" y="960123"/>
                    <a:pt x="502657" y="960123"/>
                  </a:cubicBezTo>
                  <a:cubicBezTo>
                    <a:pt x="511142" y="960123"/>
                    <a:pt x="518022" y="967001"/>
                    <a:pt x="518022" y="975487"/>
                  </a:cubicBezTo>
                  <a:cubicBezTo>
                    <a:pt x="518022" y="983972"/>
                    <a:pt x="511142" y="990852"/>
                    <a:pt x="502657" y="990852"/>
                  </a:cubicBezTo>
                  <a:close/>
                  <a:moveTo>
                    <a:pt x="941657" y="1047934"/>
                  </a:moveTo>
                  <a:cubicBezTo>
                    <a:pt x="937267" y="1047934"/>
                    <a:pt x="935072" y="1045739"/>
                    <a:pt x="935072" y="1041349"/>
                  </a:cubicBezTo>
                  <a:cubicBezTo>
                    <a:pt x="935072" y="1036959"/>
                    <a:pt x="937267" y="1034764"/>
                    <a:pt x="941657" y="1034764"/>
                  </a:cubicBezTo>
                  <a:cubicBezTo>
                    <a:pt x="946047" y="1034764"/>
                    <a:pt x="948242" y="1036959"/>
                    <a:pt x="948242" y="1041349"/>
                  </a:cubicBezTo>
                  <a:cubicBezTo>
                    <a:pt x="948242" y="1045739"/>
                    <a:pt x="946047" y="1047934"/>
                    <a:pt x="941657" y="1047934"/>
                  </a:cubicBezTo>
                  <a:close/>
                  <a:moveTo>
                    <a:pt x="344616" y="1052308"/>
                  </a:moveTo>
                  <a:cubicBezTo>
                    <a:pt x="340226" y="1052308"/>
                    <a:pt x="335836" y="1045722"/>
                    <a:pt x="333641" y="1041333"/>
                  </a:cubicBezTo>
                  <a:cubicBezTo>
                    <a:pt x="333641" y="1034748"/>
                    <a:pt x="338031" y="1030358"/>
                    <a:pt x="344616" y="1030358"/>
                  </a:cubicBezTo>
                  <a:cubicBezTo>
                    <a:pt x="351201" y="1030358"/>
                    <a:pt x="355591" y="1034748"/>
                    <a:pt x="355591" y="1041333"/>
                  </a:cubicBezTo>
                  <a:cubicBezTo>
                    <a:pt x="355591" y="1047918"/>
                    <a:pt x="351201" y="1052308"/>
                    <a:pt x="344616" y="1052308"/>
                  </a:cubicBezTo>
                  <a:close/>
                  <a:moveTo>
                    <a:pt x="643136" y="1052315"/>
                  </a:moveTo>
                  <a:cubicBezTo>
                    <a:pt x="636551" y="1052315"/>
                    <a:pt x="629966" y="1047925"/>
                    <a:pt x="629966" y="1041339"/>
                  </a:cubicBezTo>
                  <a:cubicBezTo>
                    <a:pt x="629966" y="1034755"/>
                    <a:pt x="636551" y="1028170"/>
                    <a:pt x="643136" y="1028170"/>
                  </a:cubicBezTo>
                  <a:cubicBezTo>
                    <a:pt x="649722" y="1028170"/>
                    <a:pt x="656306" y="1032561"/>
                    <a:pt x="656306" y="1039145"/>
                  </a:cubicBezTo>
                  <a:cubicBezTo>
                    <a:pt x="656306" y="1045731"/>
                    <a:pt x="649722" y="1052315"/>
                    <a:pt x="643136" y="1052315"/>
                  </a:cubicBezTo>
                  <a:close/>
                  <a:moveTo>
                    <a:pt x="190966" y="1111568"/>
                  </a:moveTo>
                  <a:cubicBezTo>
                    <a:pt x="188770" y="1111568"/>
                    <a:pt x="186576" y="1109374"/>
                    <a:pt x="186576" y="1107179"/>
                  </a:cubicBezTo>
                  <a:cubicBezTo>
                    <a:pt x="186576" y="1104985"/>
                    <a:pt x="188770" y="1102790"/>
                    <a:pt x="190966" y="1102790"/>
                  </a:cubicBezTo>
                  <a:cubicBezTo>
                    <a:pt x="193160" y="1102790"/>
                    <a:pt x="195356" y="1104985"/>
                    <a:pt x="195356" y="1107179"/>
                  </a:cubicBezTo>
                  <a:cubicBezTo>
                    <a:pt x="195356" y="1109374"/>
                    <a:pt x="193160" y="1111568"/>
                    <a:pt x="190966" y="1111568"/>
                  </a:cubicBezTo>
                  <a:close/>
                  <a:moveTo>
                    <a:pt x="1082137" y="1111597"/>
                  </a:moveTo>
                  <a:cubicBezTo>
                    <a:pt x="1079943" y="1111597"/>
                    <a:pt x="1077747" y="1109400"/>
                    <a:pt x="1077747" y="1107205"/>
                  </a:cubicBezTo>
                  <a:cubicBezTo>
                    <a:pt x="1077747" y="1105010"/>
                    <a:pt x="1079943" y="1102815"/>
                    <a:pt x="1082137" y="1102815"/>
                  </a:cubicBezTo>
                  <a:cubicBezTo>
                    <a:pt x="1084333" y="1102815"/>
                    <a:pt x="1086527" y="1105010"/>
                    <a:pt x="1086527" y="1107205"/>
                  </a:cubicBezTo>
                  <a:cubicBezTo>
                    <a:pt x="1086527" y="1109400"/>
                    <a:pt x="1084333" y="1111597"/>
                    <a:pt x="1082137" y="1111597"/>
                  </a:cubicBezTo>
                  <a:close/>
                  <a:moveTo>
                    <a:pt x="785812" y="1113780"/>
                  </a:moveTo>
                  <a:cubicBezTo>
                    <a:pt x="781422" y="1113780"/>
                    <a:pt x="777032" y="1111584"/>
                    <a:pt x="779227" y="1107195"/>
                  </a:cubicBezTo>
                  <a:cubicBezTo>
                    <a:pt x="779227" y="1105000"/>
                    <a:pt x="781422" y="1100611"/>
                    <a:pt x="785812" y="1100611"/>
                  </a:cubicBezTo>
                  <a:cubicBezTo>
                    <a:pt x="790202" y="1100611"/>
                    <a:pt x="792397" y="1102804"/>
                    <a:pt x="792397" y="1107195"/>
                  </a:cubicBezTo>
                  <a:cubicBezTo>
                    <a:pt x="792397" y="1109390"/>
                    <a:pt x="790202" y="1113780"/>
                    <a:pt x="785812" y="1113780"/>
                  </a:cubicBezTo>
                  <a:close/>
                  <a:moveTo>
                    <a:pt x="487291" y="1118161"/>
                  </a:moveTo>
                  <a:cubicBezTo>
                    <a:pt x="482901" y="1118161"/>
                    <a:pt x="476316" y="1113770"/>
                    <a:pt x="476316" y="1107187"/>
                  </a:cubicBezTo>
                  <a:cubicBezTo>
                    <a:pt x="476316" y="1100602"/>
                    <a:pt x="480706" y="1096211"/>
                    <a:pt x="487291" y="1096211"/>
                  </a:cubicBezTo>
                  <a:cubicBezTo>
                    <a:pt x="493877" y="1096211"/>
                    <a:pt x="498267" y="1100602"/>
                    <a:pt x="498267" y="1107187"/>
                  </a:cubicBezTo>
                  <a:cubicBezTo>
                    <a:pt x="498267" y="1113770"/>
                    <a:pt x="493877" y="1118161"/>
                    <a:pt x="487291" y="1118161"/>
                  </a:cubicBezTo>
                  <a:close/>
                  <a:moveTo>
                    <a:pt x="928488" y="1179636"/>
                  </a:moveTo>
                  <a:cubicBezTo>
                    <a:pt x="924098" y="1179636"/>
                    <a:pt x="921902" y="1177440"/>
                    <a:pt x="921902" y="1173050"/>
                  </a:cubicBezTo>
                  <a:cubicBezTo>
                    <a:pt x="921902" y="1168661"/>
                    <a:pt x="924098" y="1166466"/>
                    <a:pt x="928488" y="1166466"/>
                  </a:cubicBezTo>
                  <a:cubicBezTo>
                    <a:pt x="932878" y="1166466"/>
                    <a:pt x="935072" y="1168661"/>
                    <a:pt x="935072" y="1173050"/>
                  </a:cubicBezTo>
                  <a:cubicBezTo>
                    <a:pt x="935072" y="1177440"/>
                    <a:pt x="932878" y="1179636"/>
                    <a:pt x="928488" y="1179636"/>
                  </a:cubicBezTo>
                  <a:close/>
                  <a:moveTo>
                    <a:pt x="335836" y="1184007"/>
                  </a:moveTo>
                  <a:cubicBezTo>
                    <a:pt x="329251" y="1184007"/>
                    <a:pt x="324861" y="1179617"/>
                    <a:pt x="324861" y="1173034"/>
                  </a:cubicBezTo>
                  <a:cubicBezTo>
                    <a:pt x="324861" y="1166447"/>
                    <a:pt x="329251" y="1162058"/>
                    <a:pt x="335836" y="1162058"/>
                  </a:cubicBezTo>
                  <a:cubicBezTo>
                    <a:pt x="342421" y="1162058"/>
                    <a:pt x="346811" y="1166447"/>
                    <a:pt x="346811" y="1173034"/>
                  </a:cubicBezTo>
                  <a:cubicBezTo>
                    <a:pt x="346811" y="1179617"/>
                    <a:pt x="342421" y="1184007"/>
                    <a:pt x="335836" y="1184007"/>
                  </a:cubicBezTo>
                  <a:close/>
                  <a:moveTo>
                    <a:pt x="632161" y="1186210"/>
                  </a:moveTo>
                  <a:cubicBezTo>
                    <a:pt x="625576" y="1186210"/>
                    <a:pt x="618991" y="1179626"/>
                    <a:pt x="618991" y="1173040"/>
                  </a:cubicBezTo>
                  <a:cubicBezTo>
                    <a:pt x="618991" y="1166456"/>
                    <a:pt x="625576" y="1159871"/>
                    <a:pt x="632161" y="1159871"/>
                  </a:cubicBezTo>
                  <a:cubicBezTo>
                    <a:pt x="638746" y="1159871"/>
                    <a:pt x="645332" y="1166456"/>
                    <a:pt x="645332" y="1173040"/>
                  </a:cubicBezTo>
                  <a:cubicBezTo>
                    <a:pt x="645332" y="1181820"/>
                    <a:pt x="638746" y="1186210"/>
                    <a:pt x="632161" y="1186210"/>
                  </a:cubicBezTo>
                  <a:close/>
                  <a:moveTo>
                    <a:pt x="1073357" y="1243268"/>
                  </a:moveTo>
                  <a:cubicBezTo>
                    <a:pt x="1071162" y="1243268"/>
                    <a:pt x="1068967" y="1243268"/>
                    <a:pt x="1068967" y="1238878"/>
                  </a:cubicBezTo>
                  <a:cubicBezTo>
                    <a:pt x="1068967" y="1236683"/>
                    <a:pt x="1071162" y="1234489"/>
                    <a:pt x="1073357" y="1234489"/>
                  </a:cubicBezTo>
                  <a:cubicBezTo>
                    <a:pt x="1075553" y="1234489"/>
                    <a:pt x="1077747" y="1236683"/>
                    <a:pt x="1077747" y="1238878"/>
                  </a:cubicBezTo>
                  <a:cubicBezTo>
                    <a:pt x="1077747" y="1241072"/>
                    <a:pt x="1075553" y="1243268"/>
                    <a:pt x="1073357" y="1243268"/>
                  </a:cubicBezTo>
                  <a:close/>
                  <a:moveTo>
                    <a:pt x="184380" y="1247655"/>
                  </a:moveTo>
                  <a:cubicBezTo>
                    <a:pt x="179990" y="1247655"/>
                    <a:pt x="175600" y="1245460"/>
                    <a:pt x="175600" y="1238875"/>
                  </a:cubicBezTo>
                  <a:cubicBezTo>
                    <a:pt x="175600" y="1234486"/>
                    <a:pt x="179990" y="1230096"/>
                    <a:pt x="184380" y="1230096"/>
                  </a:cubicBezTo>
                  <a:cubicBezTo>
                    <a:pt x="188770" y="1230096"/>
                    <a:pt x="193160" y="1234486"/>
                    <a:pt x="193160" y="1238875"/>
                  </a:cubicBezTo>
                  <a:cubicBezTo>
                    <a:pt x="193160" y="1243264"/>
                    <a:pt x="188770" y="1247655"/>
                    <a:pt x="184380" y="1247655"/>
                  </a:cubicBezTo>
                  <a:close/>
                  <a:moveTo>
                    <a:pt x="777032" y="1249851"/>
                  </a:moveTo>
                  <a:cubicBezTo>
                    <a:pt x="772642" y="1249851"/>
                    <a:pt x="768252" y="1245464"/>
                    <a:pt x="768252" y="1241072"/>
                  </a:cubicBezTo>
                  <a:cubicBezTo>
                    <a:pt x="768252" y="1236683"/>
                    <a:pt x="772642" y="1232294"/>
                    <a:pt x="777032" y="1232294"/>
                  </a:cubicBezTo>
                  <a:cubicBezTo>
                    <a:pt x="781422" y="1232294"/>
                    <a:pt x="785812" y="1236683"/>
                    <a:pt x="785812" y="1241072"/>
                  </a:cubicBezTo>
                  <a:cubicBezTo>
                    <a:pt x="785812" y="1245464"/>
                    <a:pt x="781422" y="1249851"/>
                    <a:pt x="777032" y="1249851"/>
                  </a:cubicBezTo>
                  <a:close/>
                  <a:moveTo>
                    <a:pt x="480706" y="1252047"/>
                  </a:moveTo>
                  <a:cubicBezTo>
                    <a:pt x="474122" y="1252047"/>
                    <a:pt x="467536" y="1247658"/>
                    <a:pt x="467536" y="1238878"/>
                  </a:cubicBezTo>
                  <a:cubicBezTo>
                    <a:pt x="467536" y="1232294"/>
                    <a:pt x="474122" y="1225707"/>
                    <a:pt x="480706" y="1225707"/>
                  </a:cubicBezTo>
                  <a:cubicBezTo>
                    <a:pt x="487291" y="1225707"/>
                    <a:pt x="493877" y="1232294"/>
                    <a:pt x="493877" y="1238878"/>
                  </a:cubicBezTo>
                  <a:cubicBezTo>
                    <a:pt x="493877" y="1245464"/>
                    <a:pt x="487291" y="1252047"/>
                    <a:pt x="480706" y="1252047"/>
                  </a:cubicBezTo>
                  <a:close/>
                  <a:moveTo>
                    <a:pt x="1220423" y="1309118"/>
                  </a:moveTo>
                  <a:cubicBezTo>
                    <a:pt x="1218228" y="1309118"/>
                    <a:pt x="1218228" y="1306923"/>
                    <a:pt x="1218228" y="1306923"/>
                  </a:cubicBezTo>
                  <a:cubicBezTo>
                    <a:pt x="1218228" y="1306923"/>
                    <a:pt x="1218228" y="1304729"/>
                    <a:pt x="1220423" y="1304729"/>
                  </a:cubicBezTo>
                  <a:cubicBezTo>
                    <a:pt x="1220423" y="1304729"/>
                    <a:pt x="1222618" y="1306923"/>
                    <a:pt x="1222618" y="1306923"/>
                  </a:cubicBezTo>
                  <a:cubicBezTo>
                    <a:pt x="1222618" y="1306923"/>
                    <a:pt x="1222618" y="1309118"/>
                    <a:pt x="1220423" y="1309118"/>
                  </a:cubicBezTo>
                  <a:close/>
                  <a:moveTo>
                    <a:pt x="924097" y="1313508"/>
                  </a:moveTo>
                  <a:cubicBezTo>
                    <a:pt x="919707" y="1313508"/>
                    <a:pt x="917512" y="1311314"/>
                    <a:pt x="917512" y="1306923"/>
                  </a:cubicBezTo>
                  <a:cubicBezTo>
                    <a:pt x="917512" y="1304729"/>
                    <a:pt x="919707" y="1300336"/>
                    <a:pt x="924097" y="1300336"/>
                  </a:cubicBezTo>
                  <a:cubicBezTo>
                    <a:pt x="926292" y="1300336"/>
                    <a:pt x="930682" y="1302532"/>
                    <a:pt x="930682" y="1306923"/>
                  </a:cubicBezTo>
                  <a:cubicBezTo>
                    <a:pt x="930682" y="1309118"/>
                    <a:pt x="928487" y="1313508"/>
                    <a:pt x="924097" y="1313508"/>
                  </a:cubicBezTo>
                  <a:close/>
                  <a:moveTo>
                    <a:pt x="331446" y="1317896"/>
                  </a:moveTo>
                  <a:cubicBezTo>
                    <a:pt x="327056" y="1317896"/>
                    <a:pt x="320471" y="1311312"/>
                    <a:pt x="320471" y="1306921"/>
                  </a:cubicBezTo>
                  <a:cubicBezTo>
                    <a:pt x="320471" y="1300336"/>
                    <a:pt x="324861" y="1295947"/>
                    <a:pt x="331446" y="1295947"/>
                  </a:cubicBezTo>
                  <a:cubicBezTo>
                    <a:pt x="338031" y="1295947"/>
                    <a:pt x="342421" y="1300336"/>
                    <a:pt x="342421" y="1306921"/>
                  </a:cubicBezTo>
                  <a:cubicBezTo>
                    <a:pt x="342421" y="1313508"/>
                    <a:pt x="338031" y="1317896"/>
                    <a:pt x="331446" y="1317896"/>
                  </a:cubicBezTo>
                  <a:close/>
                  <a:moveTo>
                    <a:pt x="627771" y="1322289"/>
                  </a:moveTo>
                  <a:cubicBezTo>
                    <a:pt x="618991" y="1322289"/>
                    <a:pt x="612407" y="1315704"/>
                    <a:pt x="612407" y="1306923"/>
                  </a:cubicBezTo>
                  <a:cubicBezTo>
                    <a:pt x="612407" y="1298144"/>
                    <a:pt x="618991" y="1291557"/>
                    <a:pt x="627771" y="1291557"/>
                  </a:cubicBezTo>
                  <a:cubicBezTo>
                    <a:pt x="636551" y="1291557"/>
                    <a:pt x="643136" y="1298144"/>
                    <a:pt x="643136" y="1306923"/>
                  </a:cubicBezTo>
                  <a:cubicBezTo>
                    <a:pt x="643136" y="1315704"/>
                    <a:pt x="636551" y="1322289"/>
                    <a:pt x="627771" y="1322289"/>
                  </a:cubicBezTo>
                  <a:close/>
                  <a:moveTo>
                    <a:pt x="1073357" y="1374967"/>
                  </a:moveTo>
                  <a:cubicBezTo>
                    <a:pt x="1071162" y="1374967"/>
                    <a:pt x="1071162" y="1374967"/>
                    <a:pt x="1071162" y="1372772"/>
                  </a:cubicBezTo>
                  <a:cubicBezTo>
                    <a:pt x="1071162" y="1372772"/>
                    <a:pt x="1071162" y="1370577"/>
                    <a:pt x="1073357" y="1370577"/>
                  </a:cubicBezTo>
                  <a:cubicBezTo>
                    <a:pt x="1073357" y="1370577"/>
                    <a:pt x="1075553" y="1370577"/>
                    <a:pt x="1075553" y="1372772"/>
                  </a:cubicBezTo>
                  <a:cubicBezTo>
                    <a:pt x="1075553" y="1372772"/>
                    <a:pt x="1075553" y="1374967"/>
                    <a:pt x="1073357" y="1374967"/>
                  </a:cubicBezTo>
                  <a:close/>
                  <a:moveTo>
                    <a:pt x="184380" y="1383745"/>
                  </a:moveTo>
                  <a:cubicBezTo>
                    <a:pt x="179990" y="1383745"/>
                    <a:pt x="175600" y="1379355"/>
                    <a:pt x="173405" y="1372769"/>
                  </a:cubicBezTo>
                  <a:cubicBezTo>
                    <a:pt x="173405" y="1366183"/>
                    <a:pt x="177795" y="1361794"/>
                    <a:pt x="184380" y="1361794"/>
                  </a:cubicBezTo>
                  <a:cubicBezTo>
                    <a:pt x="190966" y="1361794"/>
                    <a:pt x="195356" y="1366183"/>
                    <a:pt x="195356" y="1372769"/>
                  </a:cubicBezTo>
                  <a:cubicBezTo>
                    <a:pt x="195356" y="1379355"/>
                    <a:pt x="190966" y="1383745"/>
                    <a:pt x="184380" y="1383745"/>
                  </a:cubicBezTo>
                  <a:close/>
                  <a:moveTo>
                    <a:pt x="777032" y="1383748"/>
                  </a:moveTo>
                  <a:cubicBezTo>
                    <a:pt x="772642" y="1383748"/>
                    <a:pt x="766057" y="1379358"/>
                    <a:pt x="766057" y="1372772"/>
                  </a:cubicBezTo>
                  <a:cubicBezTo>
                    <a:pt x="766057" y="1366187"/>
                    <a:pt x="770447" y="1361796"/>
                    <a:pt x="777032" y="1361796"/>
                  </a:cubicBezTo>
                  <a:cubicBezTo>
                    <a:pt x="783617" y="1361796"/>
                    <a:pt x="788007" y="1366187"/>
                    <a:pt x="788007" y="1372772"/>
                  </a:cubicBezTo>
                  <a:cubicBezTo>
                    <a:pt x="788007" y="1379358"/>
                    <a:pt x="783617" y="1383748"/>
                    <a:pt x="777032" y="1383748"/>
                  </a:cubicBezTo>
                  <a:close/>
                  <a:moveTo>
                    <a:pt x="480706" y="1385943"/>
                  </a:moveTo>
                  <a:cubicBezTo>
                    <a:pt x="474122" y="1385943"/>
                    <a:pt x="469732" y="1379357"/>
                    <a:pt x="467536" y="1372772"/>
                  </a:cubicBezTo>
                  <a:cubicBezTo>
                    <a:pt x="467536" y="1366187"/>
                    <a:pt x="474122" y="1359601"/>
                    <a:pt x="480706" y="1359601"/>
                  </a:cubicBezTo>
                  <a:cubicBezTo>
                    <a:pt x="487291" y="1359601"/>
                    <a:pt x="493877" y="1366187"/>
                    <a:pt x="493877" y="1372772"/>
                  </a:cubicBezTo>
                  <a:cubicBezTo>
                    <a:pt x="493877" y="1379357"/>
                    <a:pt x="487291" y="1385943"/>
                    <a:pt x="480706" y="1385943"/>
                  </a:cubicBezTo>
                  <a:close/>
                  <a:moveTo>
                    <a:pt x="1224813" y="1443018"/>
                  </a:moveTo>
                  <a:cubicBezTo>
                    <a:pt x="1222618" y="1443018"/>
                    <a:pt x="1220423" y="1440822"/>
                    <a:pt x="1220423" y="1438627"/>
                  </a:cubicBezTo>
                  <a:cubicBezTo>
                    <a:pt x="1220423" y="1436431"/>
                    <a:pt x="1222618" y="1434235"/>
                    <a:pt x="1224813" y="1434235"/>
                  </a:cubicBezTo>
                  <a:cubicBezTo>
                    <a:pt x="1227008" y="1434235"/>
                    <a:pt x="1229203" y="1436431"/>
                    <a:pt x="1229203" y="1438627"/>
                  </a:cubicBezTo>
                  <a:cubicBezTo>
                    <a:pt x="1229203" y="1440822"/>
                    <a:pt x="1227008" y="1443018"/>
                    <a:pt x="1224813" y="1443018"/>
                  </a:cubicBezTo>
                  <a:close/>
                  <a:moveTo>
                    <a:pt x="928488" y="1447408"/>
                  </a:moveTo>
                  <a:cubicBezTo>
                    <a:pt x="924098" y="1447408"/>
                    <a:pt x="921902" y="1443018"/>
                    <a:pt x="919708" y="1438627"/>
                  </a:cubicBezTo>
                  <a:cubicBezTo>
                    <a:pt x="919708" y="1434235"/>
                    <a:pt x="924098" y="1429847"/>
                    <a:pt x="928488" y="1429847"/>
                  </a:cubicBezTo>
                  <a:cubicBezTo>
                    <a:pt x="932878" y="1429847"/>
                    <a:pt x="937268" y="1434235"/>
                    <a:pt x="937268" y="1438627"/>
                  </a:cubicBezTo>
                  <a:cubicBezTo>
                    <a:pt x="937268" y="1443018"/>
                    <a:pt x="932878" y="1447408"/>
                    <a:pt x="928488" y="1447408"/>
                  </a:cubicBezTo>
                  <a:close/>
                  <a:moveTo>
                    <a:pt x="335836" y="1449601"/>
                  </a:moveTo>
                  <a:cubicBezTo>
                    <a:pt x="329774" y="1449601"/>
                    <a:pt x="324861" y="1444687"/>
                    <a:pt x="324861" y="1438625"/>
                  </a:cubicBezTo>
                  <a:cubicBezTo>
                    <a:pt x="324861" y="1432563"/>
                    <a:pt x="329774" y="1427650"/>
                    <a:pt x="335836" y="1427650"/>
                  </a:cubicBezTo>
                  <a:cubicBezTo>
                    <a:pt x="341897" y="1427650"/>
                    <a:pt x="346811" y="1432563"/>
                    <a:pt x="346811" y="1438625"/>
                  </a:cubicBezTo>
                  <a:cubicBezTo>
                    <a:pt x="346811" y="1444687"/>
                    <a:pt x="341897" y="1449601"/>
                    <a:pt x="335836" y="1449601"/>
                  </a:cubicBezTo>
                  <a:close/>
                  <a:moveTo>
                    <a:pt x="632161" y="1453993"/>
                  </a:moveTo>
                  <a:cubicBezTo>
                    <a:pt x="623381" y="1453993"/>
                    <a:pt x="616797" y="1447408"/>
                    <a:pt x="616797" y="1438627"/>
                  </a:cubicBezTo>
                  <a:cubicBezTo>
                    <a:pt x="616797" y="1429847"/>
                    <a:pt x="623381" y="1423261"/>
                    <a:pt x="632161" y="1423261"/>
                  </a:cubicBezTo>
                  <a:cubicBezTo>
                    <a:pt x="640941" y="1423261"/>
                    <a:pt x="647526" y="1429847"/>
                    <a:pt x="647526" y="1438627"/>
                  </a:cubicBezTo>
                  <a:cubicBezTo>
                    <a:pt x="647526" y="1447408"/>
                    <a:pt x="640941" y="1453993"/>
                    <a:pt x="632161" y="1453993"/>
                  </a:cubicBezTo>
                  <a:close/>
                  <a:moveTo>
                    <a:pt x="1380658" y="1508871"/>
                  </a:moveTo>
                  <a:cubicBezTo>
                    <a:pt x="1378462" y="1508871"/>
                    <a:pt x="1378462" y="1506674"/>
                    <a:pt x="1378462" y="1506674"/>
                  </a:cubicBezTo>
                  <a:cubicBezTo>
                    <a:pt x="1378462" y="1506674"/>
                    <a:pt x="1378462" y="1504479"/>
                    <a:pt x="1380658" y="1504479"/>
                  </a:cubicBezTo>
                  <a:cubicBezTo>
                    <a:pt x="1380658" y="1504479"/>
                    <a:pt x="1382853" y="1504479"/>
                    <a:pt x="1382853" y="1506674"/>
                  </a:cubicBezTo>
                  <a:cubicBezTo>
                    <a:pt x="1382853" y="1506674"/>
                    <a:pt x="1382853" y="1508871"/>
                    <a:pt x="1380658" y="1508871"/>
                  </a:cubicBezTo>
                  <a:close/>
                  <a:moveTo>
                    <a:pt x="1082137" y="1511065"/>
                  </a:moveTo>
                  <a:cubicBezTo>
                    <a:pt x="1079943" y="1511065"/>
                    <a:pt x="1077747" y="1508871"/>
                    <a:pt x="1077747" y="1506674"/>
                  </a:cubicBezTo>
                  <a:cubicBezTo>
                    <a:pt x="1077747" y="1504479"/>
                    <a:pt x="1079943" y="1502284"/>
                    <a:pt x="1082137" y="1502284"/>
                  </a:cubicBezTo>
                  <a:cubicBezTo>
                    <a:pt x="1084333" y="1502284"/>
                    <a:pt x="1086527" y="1504479"/>
                    <a:pt x="1086527" y="1506674"/>
                  </a:cubicBezTo>
                  <a:cubicBezTo>
                    <a:pt x="1086527" y="1508871"/>
                    <a:pt x="1084333" y="1511065"/>
                    <a:pt x="1082137" y="1511065"/>
                  </a:cubicBezTo>
                  <a:close/>
                  <a:moveTo>
                    <a:pt x="785812" y="1515453"/>
                  </a:moveTo>
                  <a:cubicBezTo>
                    <a:pt x="779227" y="1515453"/>
                    <a:pt x="774837" y="1511065"/>
                    <a:pt x="774837" y="1504479"/>
                  </a:cubicBezTo>
                  <a:cubicBezTo>
                    <a:pt x="774837" y="1497894"/>
                    <a:pt x="779227" y="1493504"/>
                    <a:pt x="785812" y="1493504"/>
                  </a:cubicBezTo>
                  <a:cubicBezTo>
                    <a:pt x="792397" y="1493504"/>
                    <a:pt x="796787" y="1497894"/>
                    <a:pt x="796787" y="1504479"/>
                  </a:cubicBezTo>
                  <a:cubicBezTo>
                    <a:pt x="796787" y="1511065"/>
                    <a:pt x="792397" y="1515453"/>
                    <a:pt x="785812" y="1515453"/>
                  </a:cubicBezTo>
                  <a:close/>
                  <a:moveTo>
                    <a:pt x="487291" y="1519845"/>
                  </a:moveTo>
                  <a:cubicBezTo>
                    <a:pt x="480706" y="1519845"/>
                    <a:pt x="474122" y="1513259"/>
                    <a:pt x="474122" y="1506673"/>
                  </a:cubicBezTo>
                  <a:cubicBezTo>
                    <a:pt x="474122" y="1500088"/>
                    <a:pt x="480706" y="1493504"/>
                    <a:pt x="487291" y="1493504"/>
                  </a:cubicBezTo>
                  <a:cubicBezTo>
                    <a:pt x="493877" y="1493504"/>
                    <a:pt x="500461" y="1500088"/>
                    <a:pt x="500461" y="1506673"/>
                  </a:cubicBezTo>
                  <a:cubicBezTo>
                    <a:pt x="500461" y="1513259"/>
                    <a:pt x="493877" y="1519845"/>
                    <a:pt x="487291" y="1519845"/>
                  </a:cubicBezTo>
                  <a:close/>
                  <a:moveTo>
                    <a:pt x="190966" y="1522037"/>
                  </a:moveTo>
                  <a:cubicBezTo>
                    <a:pt x="182185" y="1522037"/>
                    <a:pt x="175600" y="1513258"/>
                    <a:pt x="175600" y="1506672"/>
                  </a:cubicBezTo>
                  <a:cubicBezTo>
                    <a:pt x="175600" y="1497891"/>
                    <a:pt x="182185" y="1491306"/>
                    <a:pt x="190966" y="1491306"/>
                  </a:cubicBezTo>
                  <a:cubicBezTo>
                    <a:pt x="199745" y="1491306"/>
                    <a:pt x="206330" y="1497891"/>
                    <a:pt x="206330" y="1506672"/>
                  </a:cubicBezTo>
                  <a:cubicBezTo>
                    <a:pt x="206330" y="1515452"/>
                    <a:pt x="199745" y="1522037"/>
                    <a:pt x="190966" y="1522037"/>
                  </a:cubicBezTo>
                  <a:close/>
                  <a:moveTo>
                    <a:pt x="48291" y="1574711"/>
                  </a:moveTo>
                  <a:cubicBezTo>
                    <a:pt x="46095" y="1574711"/>
                    <a:pt x="46095" y="1572515"/>
                    <a:pt x="46095" y="1572515"/>
                  </a:cubicBezTo>
                  <a:cubicBezTo>
                    <a:pt x="46095" y="1572515"/>
                    <a:pt x="46095" y="1570320"/>
                    <a:pt x="48291" y="1570320"/>
                  </a:cubicBezTo>
                  <a:cubicBezTo>
                    <a:pt x="48291" y="1570320"/>
                    <a:pt x="50485" y="1570320"/>
                    <a:pt x="50485" y="1572515"/>
                  </a:cubicBezTo>
                  <a:cubicBezTo>
                    <a:pt x="50485" y="1572515"/>
                    <a:pt x="50485" y="1574711"/>
                    <a:pt x="48291" y="1574711"/>
                  </a:cubicBezTo>
                  <a:close/>
                  <a:moveTo>
                    <a:pt x="1240178" y="1574718"/>
                  </a:moveTo>
                  <a:cubicBezTo>
                    <a:pt x="1237983" y="1574718"/>
                    <a:pt x="1235788" y="1572522"/>
                    <a:pt x="1235788" y="1570330"/>
                  </a:cubicBezTo>
                  <a:cubicBezTo>
                    <a:pt x="1235788" y="1568132"/>
                    <a:pt x="1237983" y="1565939"/>
                    <a:pt x="1240178" y="1565939"/>
                  </a:cubicBezTo>
                  <a:cubicBezTo>
                    <a:pt x="1242373" y="1565939"/>
                    <a:pt x="1244568" y="1568132"/>
                    <a:pt x="1244568" y="1570330"/>
                  </a:cubicBezTo>
                  <a:cubicBezTo>
                    <a:pt x="1244568" y="1572522"/>
                    <a:pt x="1242373" y="1574718"/>
                    <a:pt x="1240178" y="1574718"/>
                  </a:cubicBezTo>
                  <a:close/>
                  <a:moveTo>
                    <a:pt x="941658" y="1581301"/>
                  </a:moveTo>
                  <a:cubicBezTo>
                    <a:pt x="935072" y="1581301"/>
                    <a:pt x="930682" y="1576913"/>
                    <a:pt x="930682" y="1570330"/>
                  </a:cubicBezTo>
                  <a:cubicBezTo>
                    <a:pt x="930682" y="1563744"/>
                    <a:pt x="935072" y="1559352"/>
                    <a:pt x="941658" y="1559352"/>
                  </a:cubicBezTo>
                  <a:cubicBezTo>
                    <a:pt x="948243" y="1559352"/>
                    <a:pt x="952633" y="1563744"/>
                    <a:pt x="952633" y="1570330"/>
                  </a:cubicBezTo>
                  <a:cubicBezTo>
                    <a:pt x="952633" y="1576913"/>
                    <a:pt x="948243" y="1581301"/>
                    <a:pt x="941658" y="1581301"/>
                  </a:cubicBezTo>
                  <a:close/>
                  <a:moveTo>
                    <a:pt x="344616" y="1583497"/>
                  </a:moveTo>
                  <a:cubicBezTo>
                    <a:pt x="338031" y="1583497"/>
                    <a:pt x="333641" y="1579104"/>
                    <a:pt x="331446" y="1570326"/>
                  </a:cubicBezTo>
                  <a:cubicBezTo>
                    <a:pt x="331446" y="1563740"/>
                    <a:pt x="338031" y="1557157"/>
                    <a:pt x="344616" y="1557157"/>
                  </a:cubicBezTo>
                  <a:cubicBezTo>
                    <a:pt x="351201" y="1557157"/>
                    <a:pt x="357786" y="1563740"/>
                    <a:pt x="357786" y="1570326"/>
                  </a:cubicBezTo>
                  <a:cubicBezTo>
                    <a:pt x="357786" y="1579104"/>
                    <a:pt x="351201" y="1583497"/>
                    <a:pt x="344616" y="1583497"/>
                  </a:cubicBezTo>
                  <a:close/>
                  <a:moveTo>
                    <a:pt x="643136" y="1587890"/>
                  </a:moveTo>
                  <a:cubicBezTo>
                    <a:pt x="634356" y="1587890"/>
                    <a:pt x="627771" y="1581301"/>
                    <a:pt x="627771" y="1572522"/>
                  </a:cubicBezTo>
                  <a:cubicBezTo>
                    <a:pt x="627771" y="1563744"/>
                    <a:pt x="634356" y="1557159"/>
                    <a:pt x="643136" y="1557159"/>
                  </a:cubicBezTo>
                  <a:cubicBezTo>
                    <a:pt x="651916" y="1557159"/>
                    <a:pt x="658502" y="1563744"/>
                    <a:pt x="658502" y="1572522"/>
                  </a:cubicBezTo>
                  <a:cubicBezTo>
                    <a:pt x="658502" y="1581301"/>
                    <a:pt x="651916" y="1587890"/>
                    <a:pt x="643136" y="1587890"/>
                  </a:cubicBezTo>
                  <a:close/>
                  <a:moveTo>
                    <a:pt x="1402608" y="1640569"/>
                  </a:moveTo>
                  <a:cubicBezTo>
                    <a:pt x="1400413" y="1640569"/>
                    <a:pt x="1398218" y="1638375"/>
                    <a:pt x="1398218" y="1636179"/>
                  </a:cubicBezTo>
                  <a:cubicBezTo>
                    <a:pt x="1398218" y="1633985"/>
                    <a:pt x="1400413" y="1631790"/>
                    <a:pt x="1402608" y="1631790"/>
                  </a:cubicBezTo>
                  <a:cubicBezTo>
                    <a:pt x="1404803" y="1631790"/>
                    <a:pt x="1406998" y="1633985"/>
                    <a:pt x="1406998" y="1636179"/>
                  </a:cubicBezTo>
                  <a:cubicBezTo>
                    <a:pt x="1406998" y="1638375"/>
                    <a:pt x="1404803" y="1640569"/>
                    <a:pt x="1402608" y="1640569"/>
                  </a:cubicBezTo>
                  <a:close/>
                  <a:moveTo>
                    <a:pt x="1101892" y="1642767"/>
                  </a:moveTo>
                  <a:cubicBezTo>
                    <a:pt x="1097502" y="1642767"/>
                    <a:pt x="1095307" y="1640569"/>
                    <a:pt x="1095307" y="1636179"/>
                  </a:cubicBezTo>
                  <a:cubicBezTo>
                    <a:pt x="1095307" y="1631790"/>
                    <a:pt x="1097502" y="1629595"/>
                    <a:pt x="1101892" y="1629595"/>
                  </a:cubicBezTo>
                  <a:cubicBezTo>
                    <a:pt x="1106282" y="1629595"/>
                    <a:pt x="1108478" y="1633985"/>
                    <a:pt x="1108478" y="1636179"/>
                  </a:cubicBezTo>
                  <a:cubicBezTo>
                    <a:pt x="1108478" y="1640569"/>
                    <a:pt x="1104088" y="1642767"/>
                    <a:pt x="1101892" y="1642767"/>
                  </a:cubicBezTo>
                  <a:close/>
                  <a:moveTo>
                    <a:pt x="801177" y="1647154"/>
                  </a:moveTo>
                  <a:cubicBezTo>
                    <a:pt x="794592" y="1647154"/>
                    <a:pt x="790202" y="1642767"/>
                    <a:pt x="790202" y="1636179"/>
                  </a:cubicBezTo>
                  <a:cubicBezTo>
                    <a:pt x="790202" y="1629595"/>
                    <a:pt x="794592" y="1625205"/>
                    <a:pt x="801177" y="1625205"/>
                  </a:cubicBezTo>
                  <a:cubicBezTo>
                    <a:pt x="807762" y="1625205"/>
                    <a:pt x="812152" y="1629595"/>
                    <a:pt x="812152" y="1636179"/>
                  </a:cubicBezTo>
                  <a:cubicBezTo>
                    <a:pt x="812152" y="1642767"/>
                    <a:pt x="807762" y="1647154"/>
                    <a:pt x="801177" y="1647154"/>
                  </a:cubicBezTo>
                  <a:close/>
                  <a:moveTo>
                    <a:pt x="204135" y="1653735"/>
                  </a:moveTo>
                  <a:cubicBezTo>
                    <a:pt x="195356" y="1653735"/>
                    <a:pt x="188770" y="1647151"/>
                    <a:pt x="188770" y="1638372"/>
                  </a:cubicBezTo>
                  <a:cubicBezTo>
                    <a:pt x="188770" y="1629591"/>
                    <a:pt x="195356" y="1623006"/>
                    <a:pt x="204135" y="1623006"/>
                  </a:cubicBezTo>
                  <a:cubicBezTo>
                    <a:pt x="212915" y="1623006"/>
                    <a:pt x="219501" y="1629591"/>
                    <a:pt x="219501" y="1638372"/>
                  </a:cubicBezTo>
                  <a:cubicBezTo>
                    <a:pt x="219501" y="1647151"/>
                    <a:pt x="212915" y="1653735"/>
                    <a:pt x="204135" y="1653735"/>
                  </a:cubicBezTo>
                  <a:close/>
                  <a:moveTo>
                    <a:pt x="502657" y="1653740"/>
                  </a:moveTo>
                  <a:cubicBezTo>
                    <a:pt x="491681" y="1653740"/>
                    <a:pt x="485096" y="1647154"/>
                    <a:pt x="485096" y="1638375"/>
                  </a:cubicBezTo>
                  <a:cubicBezTo>
                    <a:pt x="485096" y="1629595"/>
                    <a:pt x="493877" y="1620814"/>
                    <a:pt x="502657" y="1620814"/>
                  </a:cubicBezTo>
                  <a:cubicBezTo>
                    <a:pt x="511437" y="1620814"/>
                    <a:pt x="520217" y="1627400"/>
                    <a:pt x="520217" y="1636179"/>
                  </a:cubicBezTo>
                  <a:cubicBezTo>
                    <a:pt x="520217" y="1644960"/>
                    <a:pt x="511437" y="1653740"/>
                    <a:pt x="502657" y="1653740"/>
                  </a:cubicBezTo>
                  <a:close/>
                  <a:moveTo>
                    <a:pt x="1264323" y="1706417"/>
                  </a:moveTo>
                  <a:cubicBezTo>
                    <a:pt x="1262128" y="1706417"/>
                    <a:pt x="1259933" y="1704223"/>
                    <a:pt x="1259933" y="1702029"/>
                  </a:cubicBezTo>
                  <a:cubicBezTo>
                    <a:pt x="1259933" y="1699834"/>
                    <a:pt x="1262128" y="1697638"/>
                    <a:pt x="1264323" y="1697638"/>
                  </a:cubicBezTo>
                  <a:cubicBezTo>
                    <a:pt x="1266518" y="1697638"/>
                    <a:pt x="1268713" y="1699834"/>
                    <a:pt x="1268713" y="1702029"/>
                  </a:cubicBezTo>
                  <a:cubicBezTo>
                    <a:pt x="1268713" y="1704223"/>
                    <a:pt x="1266518" y="1706417"/>
                    <a:pt x="1264323" y="1706417"/>
                  </a:cubicBezTo>
                  <a:close/>
                  <a:moveTo>
                    <a:pt x="63656" y="1708606"/>
                  </a:moveTo>
                  <a:cubicBezTo>
                    <a:pt x="61460" y="1708606"/>
                    <a:pt x="59265" y="1706412"/>
                    <a:pt x="59265" y="1704216"/>
                  </a:cubicBezTo>
                  <a:cubicBezTo>
                    <a:pt x="59265" y="1702021"/>
                    <a:pt x="61460" y="1699826"/>
                    <a:pt x="63656" y="1699826"/>
                  </a:cubicBezTo>
                  <a:cubicBezTo>
                    <a:pt x="65850" y="1699826"/>
                    <a:pt x="68046" y="1702021"/>
                    <a:pt x="68046" y="1704216"/>
                  </a:cubicBezTo>
                  <a:cubicBezTo>
                    <a:pt x="68046" y="1706412"/>
                    <a:pt x="65850" y="1708606"/>
                    <a:pt x="63656" y="1708606"/>
                  </a:cubicBezTo>
                  <a:close/>
                  <a:moveTo>
                    <a:pt x="963607" y="1710809"/>
                  </a:moveTo>
                  <a:cubicBezTo>
                    <a:pt x="958758" y="1710809"/>
                    <a:pt x="954827" y="1706878"/>
                    <a:pt x="954827" y="1702029"/>
                  </a:cubicBezTo>
                  <a:cubicBezTo>
                    <a:pt x="954827" y="1697180"/>
                    <a:pt x="958758" y="1693250"/>
                    <a:pt x="963607" y="1693250"/>
                  </a:cubicBezTo>
                  <a:cubicBezTo>
                    <a:pt x="968456" y="1693250"/>
                    <a:pt x="972387" y="1697180"/>
                    <a:pt x="972387" y="1702029"/>
                  </a:cubicBezTo>
                  <a:cubicBezTo>
                    <a:pt x="972387" y="1706878"/>
                    <a:pt x="968456" y="1710809"/>
                    <a:pt x="963607" y="1710809"/>
                  </a:cubicBezTo>
                  <a:close/>
                  <a:moveTo>
                    <a:pt x="362176" y="1715196"/>
                  </a:moveTo>
                  <a:cubicBezTo>
                    <a:pt x="356115" y="1715196"/>
                    <a:pt x="351201" y="1710283"/>
                    <a:pt x="351201" y="1704223"/>
                  </a:cubicBezTo>
                  <a:cubicBezTo>
                    <a:pt x="351201" y="1698161"/>
                    <a:pt x="356115" y="1693247"/>
                    <a:pt x="362176" y="1693247"/>
                  </a:cubicBezTo>
                  <a:cubicBezTo>
                    <a:pt x="368237" y="1693247"/>
                    <a:pt x="373151" y="1698161"/>
                    <a:pt x="373151" y="1704223"/>
                  </a:cubicBezTo>
                  <a:cubicBezTo>
                    <a:pt x="373151" y="1710283"/>
                    <a:pt x="368237" y="1715196"/>
                    <a:pt x="362176" y="1715196"/>
                  </a:cubicBezTo>
                  <a:close/>
                  <a:moveTo>
                    <a:pt x="662892" y="1719588"/>
                  </a:moveTo>
                  <a:cubicBezTo>
                    <a:pt x="654112" y="1719588"/>
                    <a:pt x="645332" y="1710809"/>
                    <a:pt x="647526" y="1704223"/>
                  </a:cubicBezTo>
                  <a:cubicBezTo>
                    <a:pt x="647526" y="1695445"/>
                    <a:pt x="654112" y="1688860"/>
                    <a:pt x="662892" y="1688860"/>
                  </a:cubicBezTo>
                  <a:cubicBezTo>
                    <a:pt x="671671" y="1688860"/>
                    <a:pt x="678257" y="1695445"/>
                    <a:pt x="678257" y="1704223"/>
                  </a:cubicBezTo>
                  <a:cubicBezTo>
                    <a:pt x="678257" y="1713004"/>
                    <a:pt x="671671" y="1719588"/>
                    <a:pt x="662892" y="1719588"/>
                  </a:cubicBezTo>
                  <a:close/>
                  <a:moveTo>
                    <a:pt x="1435533" y="1767878"/>
                  </a:moveTo>
                  <a:cubicBezTo>
                    <a:pt x="1433338" y="1767878"/>
                    <a:pt x="1431143" y="1765682"/>
                    <a:pt x="1431143" y="1763487"/>
                  </a:cubicBezTo>
                  <a:cubicBezTo>
                    <a:pt x="1431143" y="1761292"/>
                    <a:pt x="1433338" y="1759098"/>
                    <a:pt x="1435533" y="1759098"/>
                  </a:cubicBezTo>
                  <a:cubicBezTo>
                    <a:pt x="1437728" y="1759098"/>
                    <a:pt x="1439923" y="1761292"/>
                    <a:pt x="1439923" y="1763487"/>
                  </a:cubicBezTo>
                  <a:cubicBezTo>
                    <a:pt x="1439923" y="1765682"/>
                    <a:pt x="1437728" y="1767878"/>
                    <a:pt x="1435533" y="1767878"/>
                  </a:cubicBezTo>
                  <a:close/>
                  <a:moveTo>
                    <a:pt x="1128232" y="1772266"/>
                  </a:moveTo>
                  <a:cubicBezTo>
                    <a:pt x="1126038" y="1772266"/>
                    <a:pt x="1121648" y="1770071"/>
                    <a:pt x="1121648" y="1765682"/>
                  </a:cubicBezTo>
                  <a:cubicBezTo>
                    <a:pt x="1121648" y="1761292"/>
                    <a:pt x="1123842" y="1759098"/>
                    <a:pt x="1128232" y="1759098"/>
                  </a:cubicBezTo>
                  <a:cubicBezTo>
                    <a:pt x="1132623" y="1759098"/>
                    <a:pt x="1134817" y="1761292"/>
                    <a:pt x="1134817" y="1765682"/>
                  </a:cubicBezTo>
                  <a:cubicBezTo>
                    <a:pt x="1134817" y="1770071"/>
                    <a:pt x="1130428" y="1772266"/>
                    <a:pt x="1128232" y="1772266"/>
                  </a:cubicBezTo>
                  <a:close/>
                  <a:moveTo>
                    <a:pt x="825322" y="1778852"/>
                  </a:moveTo>
                  <a:cubicBezTo>
                    <a:pt x="818737" y="1778852"/>
                    <a:pt x="814347" y="1774462"/>
                    <a:pt x="814347" y="1767878"/>
                  </a:cubicBezTo>
                  <a:cubicBezTo>
                    <a:pt x="814347" y="1761292"/>
                    <a:pt x="818737" y="1756902"/>
                    <a:pt x="825322" y="1756902"/>
                  </a:cubicBezTo>
                  <a:cubicBezTo>
                    <a:pt x="831907" y="1756902"/>
                    <a:pt x="836297" y="1761292"/>
                    <a:pt x="836297" y="1767878"/>
                  </a:cubicBezTo>
                  <a:cubicBezTo>
                    <a:pt x="836297" y="1774462"/>
                    <a:pt x="831907" y="1778852"/>
                    <a:pt x="825322" y="1778852"/>
                  </a:cubicBezTo>
                  <a:close/>
                  <a:moveTo>
                    <a:pt x="522412" y="1781047"/>
                  </a:moveTo>
                  <a:cubicBezTo>
                    <a:pt x="515827" y="1781047"/>
                    <a:pt x="511437" y="1774462"/>
                    <a:pt x="509241" y="1767878"/>
                  </a:cubicBezTo>
                  <a:cubicBezTo>
                    <a:pt x="509241" y="1761292"/>
                    <a:pt x="515827" y="1754706"/>
                    <a:pt x="522412" y="1754706"/>
                  </a:cubicBezTo>
                  <a:cubicBezTo>
                    <a:pt x="528996" y="1754706"/>
                    <a:pt x="535582" y="1761292"/>
                    <a:pt x="535582" y="1767878"/>
                  </a:cubicBezTo>
                  <a:cubicBezTo>
                    <a:pt x="535582" y="1774462"/>
                    <a:pt x="528996" y="1781047"/>
                    <a:pt x="522412" y="1781047"/>
                  </a:cubicBezTo>
                  <a:close/>
                  <a:moveTo>
                    <a:pt x="221695" y="1785434"/>
                  </a:moveTo>
                  <a:cubicBezTo>
                    <a:pt x="212915" y="1785434"/>
                    <a:pt x="206330" y="1778850"/>
                    <a:pt x="204135" y="1767874"/>
                  </a:cubicBezTo>
                  <a:cubicBezTo>
                    <a:pt x="204135" y="1759094"/>
                    <a:pt x="212915" y="1750314"/>
                    <a:pt x="221695" y="1750314"/>
                  </a:cubicBezTo>
                  <a:cubicBezTo>
                    <a:pt x="232671" y="1750314"/>
                    <a:pt x="239255" y="1759094"/>
                    <a:pt x="239255" y="1767874"/>
                  </a:cubicBezTo>
                  <a:cubicBezTo>
                    <a:pt x="239255" y="1776654"/>
                    <a:pt x="230475" y="1785434"/>
                    <a:pt x="221695" y="1785434"/>
                  </a:cubicBezTo>
                  <a:close/>
                  <a:moveTo>
                    <a:pt x="1611134" y="1829335"/>
                  </a:moveTo>
                  <a:cubicBezTo>
                    <a:pt x="1608939" y="1829335"/>
                    <a:pt x="1608939" y="1827141"/>
                    <a:pt x="1608939" y="1827141"/>
                  </a:cubicBezTo>
                  <a:cubicBezTo>
                    <a:pt x="1608939" y="1827141"/>
                    <a:pt x="1608939" y="1824945"/>
                    <a:pt x="1611134" y="1824945"/>
                  </a:cubicBezTo>
                  <a:cubicBezTo>
                    <a:pt x="1611134" y="1824945"/>
                    <a:pt x="1613329" y="1824945"/>
                    <a:pt x="1613329" y="1827141"/>
                  </a:cubicBezTo>
                  <a:cubicBezTo>
                    <a:pt x="1613329" y="1827141"/>
                    <a:pt x="1613329" y="1829335"/>
                    <a:pt x="1611134" y="1829335"/>
                  </a:cubicBezTo>
                  <a:close/>
                  <a:moveTo>
                    <a:pt x="1299443" y="1833728"/>
                  </a:moveTo>
                  <a:cubicBezTo>
                    <a:pt x="1297248" y="1833728"/>
                    <a:pt x="1295053" y="1831531"/>
                    <a:pt x="1295053" y="1829335"/>
                  </a:cubicBezTo>
                  <a:cubicBezTo>
                    <a:pt x="1295053" y="1827141"/>
                    <a:pt x="1297248" y="1824945"/>
                    <a:pt x="1299443" y="1824945"/>
                  </a:cubicBezTo>
                  <a:cubicBezTo>
                    <a:pt x="1301638" y="1824945"/>
                    <a:pt x="1303833" y="1827141"/>
                    <a:pt x="1303833" y="1829335"/>
                  </a:cubicBezTo>
                  <a:cubicBezTo>
                    <a:pt x="1303833" y="1831531"/>
                    <a:pt x="1301638" y="1833728"/>
                    <a:pt x="1299443" y="1833728"/>
                  </a:cubicBezTo>
                  <a:close/>
                  <a:moveTo>
                    <a:pt x="83410" y="1840308"/>
                  </a:moveTo>
                  <a:cubicBezTo>
                    <a:pt x="81216" y="1840308"/>
                    <a:pt x="76826" y="1838113"/>
                    <a:pt x="76826" y="1833722"/>
                  </a:cubicBezTo>
                  <a:cubicBezTo>
                    <a:pt x="76826" y="1829332"/>
                    <a:pt x="81216" y="1827136"/>
                    <a:pt x="83410" y="1827136"/>
                  </a:cubicBezTo>
                  <a:cubicBezTo>
                    <a:pt x="87800" y="1827136"/>
                    <a:pt x="89996" y="1831526"/>
                    <a:pt x="89996" y="1833722"/>
                  </a:cubicBezTo>
                  <a:cubicBezTo>
                    <a:pt x="89996" y="1838113"/>
                    <a:pt x="85606" y="1840308"/>
                    <a:pt x="83410" y="1840308"/>
                  </a:cubicBezTo>
                  <a:close/>
                  <a:moveTo>
                    <a:pt x="992142" y="1840312"/>
                  </a:moveTo>
                  <a:cubicBezTo>
                    <a:pt x="987752" y="1840312"/>
                    <a:pt x="983362" y="1838117"/>
                    <a:pt x="983362" y="1831531"/>
                  </a:cubicBezTo>
                  <a:cubicBezTo>
                    <a:pt x="983362" y="1827141"/>
                    <a:pt x="987752" y="1822751"/>
                    <a:pt x="992142" y="1822751"/>
                  </a:cubicBezTo>
                  <a:cubicBezTo>
                    <a:pt x="996532" y="1822751"/>
                    <a:pt x="1000922" y="1827141"/>
                    <a:pt x="1000922" y="1831531"/>
                  </a:cubicBezTo>
                  <a:cubicBezTo>
                    <a:pt x="1000922" y="1835921"/>
                    <a:pt x="996532" y="1840312"/>
                    <a:pt x="992142" y="1840312"/>
                  </a:cubicBezTo>
                  <a:close/>
                  <a:moveTo>
                    <a:pt x="384126" y="1849091"/>
                  </a:moveTo>
                  <a:cubicBezTo>
                    <a:pt x="377541" y="1849091"/>
                    <a:pt x="368761" y="1842507"/>
                    <a:pt x="368761" y="1833725"/>
                  </a:cubicBezTo>
                  <a:cubicBezTo>
                    <a:pt x="368761" y="1824945"/>
                    <a:pt x="375346" y="1818360"/>
                    <a:pt x="384126" y="1818360"/>
                  </a:cubicBezTo>
                  <a:cubicBezTo>
                    <a:pt x="392906" y="1818360"/>
                    <a:pt x="399491" y="1824945"/>
                    <a:pt x="399491" y="1833725"/>
                  </a:cubicBezTo>
                  <a:cubicBezTo>
                    <a:pt x="399491" y="1842507"/>
                    <a:pt x="392906" y="1849091"/>
                    <a:pt x="384126" y="1849091"/>
                  </a:cubicBezTo>
                  <a:close/>
                  <a:moveTo>
                    <a:pt x="687037" y="1851287"/>
                  </a:moveTo>
                  <a:cubicBezTo>
                    <a:pt x="678257" y="1851287"/>
                    <a:pt x="669476" y="1842507"/>
                    <a:pt x="669476" y="1833728"/>
                  </a:cubicBezTo>
                  <a:cubicBezTo>
                    <a:pt x="669476" y="1824945"/>
                    <a:pt x="678257" y="1816165"/>
                    <a:pt x="687037" y="1816165"/>
                  </a:cubicBezTo>
                  <a:cubicBezTo>
                    <a:pt x="695817" y="1816165"/>
                    <a:pt x="704597" y="1824945"/>
                    <a:pt x="704597" y="1833728"/>
                  </a:cubicBezTo>
                  <a:cubicBezTo>
                    <a:pt x="704597" y="1842507"/>
                    <a:pt x="695817" y="1851287"/>
                    <a:pt x="687037" y="1851287"/>
                  </a:cubicBezTo>
                  <a:close/>
                  <a:moveTo>
                    <a:pt x="1477238" y="1895184"/>
                  </a:moveTo>
                  <a:cubicBezTo>
                    <a:pt x="1475043" y="1895184"/>
                    <a:pt x="1472848" y="1892988"/>
                    <a:pt x="1472848" y="1890793"/>
                  </a:cubicBezTo>
                  <a:cubicBezTo>
                    <a:pt x="1472848" y="1888599"/>
                    <a:pt x="1475043" y="1886403"/>
                    <a:pt x="1477238" y="1886403"/>
                  </a:cubicBezTo>
                  <a:cubicBezTo>
                    <a:pt x="1479433" y="1886403"/>
                    <a:pt x="1481628" y="1888599"/>
                    <a:pt x="1481628" y="1890793"/>
                  </a:cubicBezTo>
                  <a:cubicBezTo>
                    <a:pt x="1481628" y="1892988"/>
                    <a:pt x="1479433" y="1895184"/>
                    <a:pt x="1477238" y="1895184"/>
                  </a:cubicBezTo>
                  <a:close/>
                  <a:moveTo>
                    <a:pt x="1165548" y="1899573"/>
                  </a:moveTo>
                  <a:cubicBezTo>
                    <a:pt x="1161157" y="1899573"/>
                    <a:pt x="1158963" y="1897379"/>
                    <a:pt x="1158963" y="1892988"/>
                  </a:cubicBezTo>
                  <a:cubicBezTo>
                    <a:pt x="1158963" y="1888599"/>
                    <a:pt x="1163353" y="1886403"/>
                    <a:pt x="1165548" y="1886403"/>
                  </a:cubicBezTo>
                  <a:cubicBezTo>
                    <a:pt x="1169938" y="1886403"/>
                    <a:pt x="1172133" y="1890793"/>
                    <a:pt x="1172133" y="1892988"/>
                  </a:cubicBezTo>
                  <a:cubicBezTo>
                    <a:pt x="1172133" y="1897379"/>
                    <a:pt x="1167743" y="1899573"/>
                    <a:pt x="1165548" y="1899573"/>
                  </a:cubicBezTo>
                  <a:close/>
                  <a:moveTo>
                    <a:pt x="550947" y="1910549"/>
                  </a:moveTo>
                  <a:cubicBezTo>
                    <a:pt x="544362" y="1910549"/>
                    <a:pt x="537776" y="1906160"/>
                    <a:pt x="537776" y="1897379"/>
                  </a:cubicBezTo>
                  <a:cubicBezTo>
                    <a:pt x="537776" y="1890793"/>
                    <a:pt x="544362" y="1884210"/>
                    <a:pt x="550947" y="1884210"/>
                  </a:cubicBezTo>
                  <a:cubicBezTo>
                    <a:pt x="559727" y="1884210"/>
                    <a:pt x="564117" y="1890793"/>
                    <a:pt x="564117" y="1897379"/>
                  </a:cubicBezTo>
                  <a:cubicBezTo>
                    <a:pt x="564117" y="1903965"/>
                    <a:pt x="557532" y="1910549"/>
                    <a:pt x="550947" y="1910549"/>
                  </a:cubicBezTo>
                  <a:close/>
                  <a:moveTo>
                    <a:pt x="856052" y="1912745"/>
                  </a:moveTo>
                  <a:cubicBezTo>
                    <a:pt x="847272" y="1912745"/>
                    <a:pt x="840687" y="1906160"/>
                    <a:pt x="840687" y="1897379"/>
                  </a:cubicBezTo>
                  <a:cubicBezTo>
                    <a:pt x="840687" y="1888599"/>
                    <a:pt x="847272" y="1882014"/>
                    <a:pt x="856052" y="1882014"/>
                  </a:cubicBezTo>
                  <a:cubicBezTo>
                    <a:pt x="864832" y="1882014"/>
                    <a:pt x="871417" y="1888599"/>
                    <a:pt x="871417" y="1897379"/>
                  </a:cubicBezTo>
                  <a:cubicBezTo>
                    <a:pt x="871417" y="1906160"/>
                    <a:pt x="864832" y="1912745"/>
                    <a:pt x="856052" y="1912745"/>
                  </a:cubicBezTo>
                  <a:close/>
                  <a:moveTo>
                    <a:pt x="248036" y="1917135"/>
                  </a:moveTo>
                  <a:cubicBezTo>
                    <a:pt x="237061" y="1917135"/>
                    <a:pt x="230475" y="1908354"/>
                    <a:pt x="230475" y="1899573"/>
                  </a:cubicBezTo>
                  <a:cubicBezTo>
                    <a:pt x="230475" y="1890793"/>
                    <a:pt x="239255" y="1882013"/>
                    <a:pt x="248036" y="1882013"/>
                  </a:cubicBezTo>
                  <a:cubicBezTo>
                    <a:pt x="256816" y="1882013"/>
                    <a:pt x="265596" y="1890793"/>
                    <a:pt x="265596" y="1899573"/>
                  </a:cubicBezTo>
                  <a:cubicBezTo>
                    <a:pt x="265596" y="1908354"/>
                    <a:pt x="256816" y="1917135"/>
                    <a:pt x="248036" y="1917135"/>
                  </a:cubicBezTo>
                  <a:close/>
                  <a:moveTo>
                    <a:pt x="1343343" y="1958840"/>
                  </a:moveTo>
                  <a:cubicBezTo>
                    <a:pt x="1341148" y="1958840"/>
                    <a:pt x="1338953" y="1956645"/>
                    <a:pt x="1338953" y="1954449"/>
                  </a:cubicBezTo>
                  <a:cubicBezTo>
                    <a:pt x="1338953" y="1952254"/>
                    <a:pt x="1341148" y="1950060"/>
                    <a:pt x="1343343" y="1950060"/>
                  </a:cubicBezTo>
                  <a:cubicBezTo>
                    <a:pt x="1345537" y="1950060"/>
                    <a:pt x="1347733" y="1952254"/>
                    <a:pt x="1347733" y="1954449"/>
                  </a:cubicBezTo>
                  <a:cubicBezTo>
                    <a:pt x="1347733" y="1956645"/>
                    <a:pt x="1345537" y="1958840"/>
                    <a:pt x="1343343" y="1958840"/>
                  </a:cubicBezTo>
                  <a:close/>
                  <a:moveTo>
                    <a:pt x="1029457" y="1972010"/>
                  </a:moveTo>
                  <a:cubicBezTo>
                    <a:pt x="1022872" y="1972010"/>
                    <a:pt x="1016287" y="1965424"/>
                    <a:pt x="1016287" y="1958840"/>
                  </a:cubicBezTo>
                  <a:cubicBezTo>
                    <a:pt x="1016287" y="1952254"/>
                    <a:pt x="1022872" y="1945670"/>
                    <a:pt x="1029457" y="1945670"/>
                  </a:cubicBezTo>
                  <a:cubicBezTo>
                    <a:pt x="1036042" y="1945670"/>
                    <a:pt x="1042627" y="1952254"/>
                    <a:pt x="1042627" y="1958840"/>
                  </a:cubicBezTo>
                  <a:cubicBezTo>
                    <a:pt x="1042627" y="1965424"/>
                    <a:pt x="1036042" y="1972010"/>
                    <a:pt x="1029457" y="1972010"/>
                  </a:cubicBezTo>
                  <a:close/>
                  <a:moveTo>
                    <a:pt x="109751" y="1974202"/>
                  </a:moveTo>
                  <a:cubicBezTo>
                    <a:pt x="104902" y="1974202"/>
                    <a:pt x="100971" y="1970271"/>
                    <a:pt x="100971" y="1965424"/>
                  </a:cubicBezTo>
                  <a:cubicBezTo>
                    <a:pt x="100971" y="1960572"/>
                    <a:pt x="104902" y="1956642"/>
                    <a:pt x="109751" y="1956642"/>
                  </a:cubicBezTo>
                  <a:cubicBezTo>
                    <a:pt x="114600" y="1956642"/>
                    <a:pt x="118531" y="1960572"/>
                    <a:pt x="118531" y="1965424"/>
                  </a:cubicBezTo>
                  <a:cubicBezTo>
                    <a:pt x="118531" y="1970271"/>
                    <a:pt x="114600" y="1974202"/>
                    <a:pt x="109751" y="1974202"/>
                  </a:cubicBezTo>
                  <a:close/>
                  <a:moveTo>
                    <a:pt x="414856" y="1980788"/>
                  </a:moveTo>
                  <a:cubicBezTo>
                    <a:pt x="406076" y="1980788"/>
                    <a:pt x="397296" y="1974205"/>
                    <a:pt x="397296" y="1963228"/>
                  </a:cubicBezTo>
                  <a:cubicBezTo>
                    <a:pt x="397296" y="1954449"/>
                    <a:pt x="406076" y="1945670"/>
                    <a:pt x="414856" y="1945670"/>
                  </a:cubicBezTo>
                  <a:cubicBezTo>
                    <a:pt x="423636" y="1945670"/>
                    <a:pt x="432416" y="1954449"/>
                    <a:pt x="432416" y="1963228"/>
                  </a:cubicBezTo>
                  <a:cubicBezTo>
                    <a:pt x="432416" y="1972010"/>
                    <a:pt x="423636" y="1980788"/>
                    <a:pt x="414856" y="1980788"/>
                  </a:cubicBezTo>
                  <a:close/>
                  <a:moveTo>
                    <a:pt x="719962" y="1985177"/>
                  </a:moveTo>
                  <a:cubicBezTo>
                    <a:pt x="706792" y="1985177"/>
                    <a:pt x="698011" y="1974205"/>
                    <a:pt x="695817" y="1961036"/>
                  </a:cubicBezTo>
                  <a:cubicBezTo>
                    <a:pt x="695817" y="1947863"/>
                    <a:pt x="706792" y="1936888"/>
                    <a:pt x="719962" y="1936888"/>
                  </a:cubicBezTo>
                  <a:cubicBezTo>
                    <a:pt x="733132" y="1936888"/>
                    <a:pt x="744107" y="1947863"/>
                    <a:pt x="744107" y="1961036"/>
                  </a:cubicBezTo>
                  <a:cubicBezTo>
                    <a:pt x="744107" y="1974205"/>
                    <a:pt x="733132" y="1985177"/>
                    <a:pt x="719962" y="1985177"/>
                  </a:cubicBezTo>
                  <a:close/>
                  <a:moveTo>
                    <a:pt x="1529919" y="2018101"/>
                  </a:moveTo>
                  <a:cubicBezTo>
                    <a:pt x="1527723" y="2018101"/>
                    <a:pt x="1525528" y="2015906"/>
                    <a:pt x="1525528" y="2013711"/>
                  </a:cubicBezTo>
                  <a:cubicBezTo>
                    <a:pt x="1525528" y="2011516"/>
                    <a:pt x="1527723" y="2009323"/>
                    <a:pt x="1529919" y="2009323"/>
                  </a:cubicBezTo>
                  <a:cubicBezTo>
                    <a:pt x="1532113" y="2009323"/>
                    <a:pt x="1534309" y="2011516"/>
                    <a:pt x="1534309" y="2013711"/>
                  </a:cubicBezTo>
                  <a:cubicBezTo>
                    <a:pt x="1534309" y="2015906"/>
                    <a:pt x="1532113" y="2018101"/>
                    <a:pt x="1529919" y="2018101"/>
                  </a:cubicBezTo>
                  <a:close/>
                  <a:moveTo>
                    <a:pt x="1209448" y="2024688"/>
                  </a:moveTo>
                  <a:cubicBezTo>
                    <a:pt x="1207253" y="2024688"/>
                    <a:pt x="1205058" y="2022492"/>
                    <a:pt x="1205058" y="2020297"/>
                  </a:cubicBezTo>
                  <a:cubicBezTo>
                    <a:pt x="1205058" y="2018101"/>
                    <a:pt x="1207253" y="2015906"/>
                    <a:pt x="1209448" y="2015906"/>
                  </a:cubicBezTo>
                  <a:cubicBezTo>
                    <a:pt x="1211643" y="2015906"/>
                    <a:pt x="1213838" y="2018101"/>
                    <a:pt x="1213838" y="2020297"/>
                  </a:cubicBezTo>
                  <a:cubicBezTo>
                    <a:pt x="1213838" y="2022492"/>
                    <a:pt x="1211643" y="2024688"/>
                    <a:pt x="1209448" y="2024688"/>
                  </a:cubicBezTo>
                  <a:close/>
                  <a:moveTo>
                    <a:pt x="895563" y="2037856"/>
                  </a:moveTo>
                  <a:cubicBezTo>
                    <a:pt x="888977" y="2037856"/>
                    <a:pt x="882393" y="2031270"/>
                    <a:pt x="882393" y="2024688"/>
                  </a:cubicBezTo>
                  <a:cubicBezTo>
                    <a:pt x="882393" y="2018101"/>
                    <a:pt x="888977" y="2011516"/>
                    <a:pt x="895563" y="2011516"/>
                  </a:cubicBezTo>
                  <a:cubicBezTo>
                    <a:pt x="902147" y="2011516"/>
                    <a:pt x="908732" y="2018101"/>
                    <a:pt x="908732" y="2024688"/>
                  </a:cubicBezTo>
                  <a:cubicBezTo>
                    <a:pt x="908732" y="2031270"/>
                    <a:pt x="902147" y="2037856"/>
                    <a:pt x="895563" y="2037856"/>
                  </a:cubicBezTo>
                  <a:close/>
                  <a:moveTo>
                    <a:pt x="586066" y="2042247"/>
                  </a:moveTo>
                  <a:cubicBezTo>
                    <a:pt x="577286" y="2042247"/>
                    <a:pt x="570701" y="2035661"/>
                    <a:pt x="570701" y="2026880"/>
                  </a:cubicBezTo>
                  <a:cubicBezTo>
                    <a:pt x="570701" y="2018101"/>
                    <a:pt x="577286" y="2011516"/>
                    <a:pt x="586066" y="2011516"/>
                  </a:cubicBezTo>
                  <a:cubicBezTo>
                    <a:pt x="594846" y="2011516"/>
                    <a:pt x="601431" y="2018101"/>
                    <a:pt x="601431" y="2026880"/>
                  </a:cubicBezTo>
                  <a:cubicBezTo>
                    <a:pt x="601431" y="2035661"/>
                    <a:pt x="594846" y="2042247"/>
                    <a:pt x="586066" y="2042247"/>
                  </a:cubicBezTo>
                  <a:close/>
                  <a:moveTo>
                    <a:pt x="278766" y="2046634"/>
                  </a:moveTo>
                  <a:cubicBezTo>
                    <a:pt x="267790" y="2046634"/>
                    <a:pt x="259010" y="2040052"/>
                    <a:pt x="259010" y="2026880"/>
                  </a:cubicBezTo>
                  <a:cubicBezTo>
                    <a:pt x="259010" y="2015906"/>
                    <a:pt x="267790" y="2007125"/>
                    <a:pt x="278766" y="2007125"/>
                  </a:cubicBezTo>
                  <a:cubicBezTo>
                    <a:pt x="289741" y="2007125"/>
                    <a:pt x="298521" y="2015906"/>
                    <a:pt x="298521" y="2026880"/>
                  </a:cubicBezTo>
                  <a:cubicBezTo>
                    <a:pt x="298521" y="2037856"/>
                    <a:pt x="289741" y="2046634"/>
                    <a:pt x="278766" y="2046634"/>
                  </a:cubicBezTo>
                  <a:close/>
                  <a:moveTo>
                    <a:pt x="1725273" y="2068584"/>
                  </a:moveTo>
                  <a:cubicBezTo>
                    <a:pt x="1725273" y="2068584"/>
                    <a:pt x="1723079" y="2066389"/>
                    <a:pt x="1720883" y="2064194"/>
                  </a:cubicBezTo>
                  <a:cubicBezTo>
                    <a:pt x="1720883" y="2061998"/>
                    <a:pt x="1723079" y="2059803"/>
                    <a:pt x="1725273" y="2059803"/>
                  </a:cubicBezTo>
                  <a:cubicBezTo>
                    <a:pt x="1727469" y="2059803"/>
                    <a:pt x="1729663" y="2061998"/>
                    <a:pt x="1729663" y="2064194"/>
                  </a:cubicBezTo>
                  <a:cubicBezTo>
                    <a:pt x="1729663" y="2066389"/>
                    <a:pt x="1727469" y="2068584"/>
                    <a:pt x="1725273" y="2068584"/>
                  </a:cubicBezTo>
                  <a:close/>
                  <a:moveTo>
                    <a:pt x="1396023" y="2081753"/>
                  </a:moveTo>
                  <a:cubicBezTo>
                    <a:pt x="1393828" y="2081753"/>
                    <a:pt x="1391633" y="2079557"/>
                    <a:pt x="1391633" y="2077362"/>
                  </a:cubicBezTo>
                  <a:cubicBezTo>
                    <a:pt x="1391633" y="2075168"/>
                    <a:pt x="1393828" y="2072974"/>
                    <a:pt x="1396023" y="2072974"/>
                  </a:cubicBezTo>
                  <a:cubicBezTo>
                    <a:pt x="1398218" y="2072974"/>
                    <a:pt x="1400413" y="2075168"/>
                    <a:pt x="1400413" y="2077362"/>
                  </a:cubicBezTo>
                  <a:cubicBezTo>
                    <a:pt x="1400413" y="2079557"/>
                    <a:pt x="1398218" y="2081753"/>
                    <a:pt x="1396023" y="2081753"/>
                  </a:cubicBezTo>
                  <a:close/>
                  <a:moveTo>
                    <a:pt x="1075553" y="2097117"/>
                  </a:moveTo>
                  <a:cubicBezTo>
                    <a:pt x="1068967" y="2097117"/>
                    <a:pt x="1064577" y="2090534"/>
                    <a:pt x="1062382" y="2083948"/>
                  </a:cubicBezTo>
                  <a:cubicBezTo>
                    <a:pt x="1062382" y="2077362"/>
                    <a:pt x="1068967" y="2070780"/>
                    <a:pt x="1075553" y="2070780"/>
                  </a:cubicBezTo>
                  <a:cubicBezTo>
                    <a:pt x="1082137" y="2070780"/>
                    <a:pt x="1088722" y="2077362"/>
                    <a:pt x="1088722" y="2083948"/>
                  </a:cubicBezTo>
                  <a:cubicBezTo>
                    <a:pt x="1088722" y="2090534"/>
                    <a:pt x="1082137" y="2097117"/>
                    <a:pt x="1075553" y="2097117"/>
                  </a:cubicBezTo>
                  <a:close/>
                  <a:moveTo>
                    <a:pt x="142676" y="2099312"/>
                  </a:moveTo>
                  <a:cubicBezTo>
                    <a:pt x="138286" y="2099312"/>
                    <a:pt x="136091" y="2097117"/>
                    <a:pt x="136091" y="2092727"/>
                  </a:cubicBezTo>
                  <a:cubicBezTo>
                    <a:pt x="136091" y="2088339"/>
                    <a:pt x="138286" y="2086143"/>
                    <a:pt x="142676" y="2086143"/>
                  </a:cubicBezTo>
                  <a:cubicBezTo>
                    <a:pt x="147066" y="2086143"/>
                    <a:pt x="149261" y="2088339"/>
                    <a:pt x="149261" y="2092727"/>
                  </a:cubicBezTo>
                  <a:cubicBezTo>
                    <a:pt x="149261" y="2097117"/>
                    <a:pt x="147066" y="2099312"/>
                    <a:pt x="142676" y="2099312"/>
                  </a:cubicBezTo>
                  <a:close/>
                  <a:moveTo>
                    <a:pt x="449976" y="2110286"/>
                  </a:moveTo>
                  <a:cubicBezTo>
                    <a:pt x="439001" y="2110286"/>
                    <a:pt x="432416" y="2101507"/>
                    <a:pt x="430221" y="2090534"/>
                  </a:cubicBezTo>
                  <a:cubicBezTo>
                    <a:pt x="430221" y="2079557"/>
                    <a:pt x="439001" y="2070780"/>
                    <a:pt x="449976" y="2070780"/>
                  </a:cubicBezTo>
                  <a:cubicBezTo>
                    <a:pt x="460952" y="2070780"/>
                    <a:pt x="469732" y="2079557"/>
                    <a:pt x="469732" y="2090534"/>
                  </a:cubicBezTo>
                  <a:cubicBezTo>
                    <a:pt x="469732" y="2101507"/>
                    <a:pt x="460952" y="2110286"/>
                    <a:pt x="449976" y="2110286"/>
                  </a:cubicBezTo>
                  <a:close/>
                  <a:moveTo>
                    <a:pt x="761667" y="2110286"/>
                  </a:moveTo>
                  <a:cubicBezTo>
                    <a:pt x="748497" y="2110286"/>
                    <a:pt x="739717" y="2101507"/>
                    <a:pt x="739717" y="2088339"/>
                  </a:cubicBezTo>
                  <a:cubicBezTo>
                    <a:pt x="739717" y="2075168"/>
                    <a:pt x="750692" y="2066389"/>
                    <a:pt x="761667" y="2066389"/>
                  </a:cubicBezTo>
                  <a:cubicBezTo>
                    <a:pt x="774837" y="2066389"/>
                    <a:pt x="783617" y="2077362"/>
                    <a:pt x="783617" y="2088339"/>
                  </a:cubicBezTo>
                  <a:cubicBezTo>
                    <a:pt x="783617" y="2101507"/>
                    <a:pt x="772642" y="2110286"/>
                    <a:pt x="761667" y="2110286"/>
                  </a:cubicBezTo>
                  <a:close/>
                  <a:moveTo>
                    <a:pt x="1591378" y="2136627"/>
                  </a:moveTo>
                  <a:cubicBezTo>
                    <a:pt x="1589184" y="2136627"/>
                    <a:pt x="1586989" y="2132235"/>
                    <a:pt x="1584794" y="2130041"/>
                  </a:cubicBezTo>
                  <a:cubicBezTo>
                    <a:pt x="1584794" y="2125653"/>
                    <a:pt x="1589184" y="2123457"/>
                    <a:pt x="1591378" y="2123457"/>
                  </a:cubicBezTo>
                  <a:cubicBezTo>
                    <a:pt x="1595769" y="2123457"/>
                    <a:pt x="1597964" y="2125653"/>
                    <a:pt x="1597964" y="2130041"/>
                  </a:cubicBezTo>
                  <a:cubicBezTo>
                    <a:pt x="1597964" y="2134430"/>
                    <a:pt x="1593574" y="2136627"/>
                    <a:pt x="1591378" y="2136627"/>
                  </a:cubicBezTo>
                  <a:close/>
                  <a:moveTo>
                    <a:pt x="1262128" y="2147601"/>
                  </a:moveTo>
                  <a:cubicBezTo>
                    <a:pt x="1259933" y="2147601"/>
                    <a:pt x="1255543" y="2145407"/>
                    <a:pt x="1255543" y="2141017"/>
                  </a:cubicBezTo>
                  <a:cubicBezTo>
                    <a:pt x="1255543" y="2138821"/>
                    <a:pt x="1257738" y="2134430"/>
                    <a:pt x="1262128" y="2134430"/>
                  </a:cubicBezTo>
                  <a:cubicBezTo>
                    <a:pt x="1264323" y="2134430"/>
                    <a:pt x="1268713" y="2136627"/>
                    <a:pt x="1268713" y="2141017"/>
                  </a:cubicBezTo>
                  <a:cubicBezTo>
                    <a:pt x="1268713" y="2143212"/>
                    <a:pt x="1266518" y="2147601"/>
                    <a:pt x="1262128" y="2147601"/>
                  </a:cubicBezTo>
                  <a:close/>
                  <a:moveTo>
                    <a:pt x="6586" y="2165160"/>
                  </a:moveTo>
                  <a:cubicBezTo>
                    <a:pt x="4390" y="2165160"/>
                    <a:pt x="0" y="2162964"/>
                    <a:pt x="0" y="2158574"/>
                  </a:cubicBezTo>
                  <a:cubicBezTo>
                    <a:pt x="0" y="2154185"/>
                    <a:pt x="2196" y="2151990"/>
                    <a:pt x="6586" y="2151990"/>
                  </a:cubicBezTo>
                  <a:cubicBezTo>
                    <a:pt x="10976" y="2151990"/>
                    <a:pt x="13170" y="2154185"/>
                    <a:pt x="13170" y="2158574"/>
                  </a:cubicBezTo>
                  <a:cubicBezTo>
                    <a:pt x="13170" y="2162964"/>
                    <a:pt x="10976" y="2165160"/>
                    <a:pt x="6586" y="2165160"/>
                  </a:cubicBezTo>
                  <a:close/>
                  <a:moveTo>
                    <a:pt x="941658" y="2165160"/>
                  </a:moveTo>
                  <a:cubicBezTo>
                    <a:pt x="932878" y="2165160"/>
                    <a:pt x="926292" y="2156380"/>
                    <a:pt x="926292" y="2149796"/>
                  </a:cubicBezTo>
                  <a:cubicBezTo>
                    <a:pt x="926292" y="2141017"/>
                    <a:pt x="932878" y="2134430"/>
                    <a:pt x="941658" y="2134430"/>
                  </a:cubicBezTo>
                  <a:cubicBezTo>
                    <a:pt x="950437" y="2134430"/>
                    <a:pt x="957023" y="2141017"/>
                    <a:pt x="957023" y="2149796"/>
                  </a:cubicBezTo>
                  <a:cubicBezTo>
                    <a:pt x="957023" y="2158574"/>
                    <a:pt x="950437" y="2165160"/>
                    <a:pt x="941658" y="2165160"/>
                  </a:cubicBezTo>
                  <a:close/>
                  <a:moveTo>
                    <a:pt x="627771" y="2171744"/>
                  </a:moveTo>
                  <a:cubicBezTo>
                    <a:pt x="616797" y="2171744"/>
                    <a:pt x="608016" y="2162964"/>
                    <a:pt x="608016" y="2151990"/>
                  </a:cubicBezTo>
                  <a:cubicBezTo>
                    <a:pt x="608016" y="2141017"/>
                    <a:pt x="616797" y="2132235"/>
                    <a:pt x="627771" y="2132235"/>
                  </a:cubicBezTo>
                  <a:cubicBezTo>
                    <a:pt x="638746" y="2132235"/>
                    <a:pt x="647526" y="2141017"/>
                    <a:pt x="647526" y="2151990"/>
                  </a:cubicBezTo>
                  <a:cubicBezTo>
                    <a:pt x="647526" y="2162964"/>
                    <a:pt x="638746" y="2171744"/>
                    <a:pt x="627771" y="2171744"/>
                  </a:cubicBezTo>
                  <a:close/>
                  <a:moveTo>
                    <a:pt x="316081" y="2173938"/>
                  </a:moveTo>
                  <a:cubicBezTo>
                    <a:pt x="307301" y="2173938"/>
                    <a:pt x="298521" y="2165160"/>
                    <a:pt x="298521" y="2156380"/>
                  </a:cubicBezTo>
                  <a:cubicBezTo>
                    <a:pt x="298521" y="2147601"/>
                    <a:pt x="307301" y="2138821"/>
                    <a:pt x="316081" y="2138821"/>
                  </a:cubicBezTo>
                  <a:cubicBezTo>
                    <a:pt x="324861" y="2138821"/>
                    <a:pt x="333641" y="2147601"/>
                    <a:pt x="333641" y="2156380"/>
                  </a:cubicBezTo>
                  <a:cubicBezTo>
                    <a:pt x="333641" y="2165160"/>
                    <a:pt x="324861" y="2173938"/>
                    <a:pt x="316081" y="2173938"/>
                  </a:cubicBezTo>
                  <a:close/>
                  <a:moveTo>
                    <a:pt x="1799903" y="2178330"/>
                  </a:moveTo>
                  <a:cubicBezTo>
                    <a:pt x="1798807" y="2177231"/>
                    <a:pt x="1798257" y="2176135"/>
                    <a:pt x="1798257" y="2175586"/>
                  </a:cubicBezTo>
                  <a:cubicBezTo>
                    <a:pt x="1798257" y="2175036"/>
                    <a:pt x="1798807" y="2175036"/>
                    <a:pt x="1799903" y="2176135"/>
                  </a:cubicBezTo>
                  <a:lnTo>
                    <a:pt x="1799903" y="2177507"/>
                  </a:lnTo>
                  <a:close/>
                  <a:moveTo>
                    <a:pt x="1457483" y="2200279"/>
                  </a:moveTo>
                  <a:cubicBezTo>
                    <a:pt x="1455288" y="2200279"/>
                    <a:pt x="1453093" y="2198085"/>
                    <a:pt x="1453093" y="2195891"/>
                  </a:cubicBezTo>
                  <a:cubicBezTo>
                    <a:pt x="1453093" y="2193697"/>
                    <a:pt x="1455288" y="2191500"/>
                    <a:pt x="1457483" y="2191500"/>
                  </a:cubicBezTo>
                  <a:cubicBezTo>
                    <a:pt x="1459678" y="2191500"/>
                    <a:pt x="1461873" y="2193697"/>
                    <a:pt x="1461873" y="2195891"/>
                  </a:cubicBezTo>
                  <a:cubicBezTo>
                    <a:pt x="1461873" y="2198085"/>
                    <a:pt x="1459678" y="2200279"/>
                    <a:pt x="1457483" y="2200279"/>
                  </a:cubicBezTo>
                  <a:close/>
                  <a:moveTo>
                    <a:pt x="1130428" y="2217839"/>
                  </a:moveTo>
                  <a:cubicBezTo>
                    <a:pt x="1123842" y="2217839"/>
                    <a:pt x="1117258" y="2211254"/>
                    <a:pt x="1117258" y="2204671"/>
                  </a:cubicBezTo>
                  <a:cubicBezTo>
                    <a:pt x="1117258" y="2198085"/>
                    <a:pt x="1123842" y="2191500"/>
                    <a:pt x="1130428" y="2191500"/>
                  </a:cubicBezTo>
                  <a:cubicBezTo>
                    <a:pt x="1139207" y="2191500"/>
                    <a:pt x="1143597" y="2198085"/>
                    <a:pt x="1143597" y="2204671"/>
                  </a:cubicBezTo>
                  <a:cubicBezTo>
                    <a:pt x="1143597" y="2211254"/>
                    <a:pt x="1137013" y="2217839"/>
                    <a:pt x="1130428" y="2217839"/>
                  </a:cubicBezTo>
                  <a:close/>
                  <a:moveTo>
                    <a:pt x="493877" y="2237594"/>
                  </a:moveTo>
                  <a:cubicBezTo>
                    <a:pt x="482966" y="2237594"/>
                    <a:pt x="474122" y="2228749"/>
                    <a:pt x="474122" y="2217839"/>
                  </a:cubicBezTo>
                  <a:cubicBezTo>
                    <a:pt x="474122" y="2206931"/>
                    <a:pt x="482966" y="2198085"/>
                    <a:pt x="493877" y="2198085"/>
                  </a:cubicBezTo>
                  <a:cubicBezTo>
                    <a:pt x="504787" y="2198085"/>
                    <a:pt x="513631" y="2206931"/>
                    <a:pt x="513631" y="2217839"/>
                  </a:cubicBezTo>
                  <a:cubicBezTo>
                    <a:pt x="513631" y="2228749"/>
                    <a:pt x="504787" y="2237594"/>
                    <a:pt x="493877" y="2237594"/>
                  </a:cubicBezTo>
                  <a:close/>
                  <a:moveTo>
                    <a:pt x="807762" y="2239789"/>
                  </a:moveTo>
                  <a:cubicBezTo>
                    <a:pt x="794592" y="2239789"/>
                    <a:pt x="781422" y="2226619"/>
                    <a:pt x="781422" y="2213449"/>
                  </a:cubicBezTo>
                  <a:cubicBezTo>
                    <a:pt x="781422" y="2200279"/>
                    <a:pt x="792397" y="2187110"/>
                    <a:pt x="807762" y="2187110"/>
                  </a:cubicBezTo>
                  <a:cubicBezTo>
                    <a:pt x="820932" y="2187110"/>
                    <a:pt x="834102" y="2198085"/>
                    <a:pt x="834102" y="2213449"/>
                  </a:cubicBezTo>
                  <a:cubicBezTo>
                    <a:pt x="834102" y="2226619"/>
                    <a:pt x="823127" y="2239789"/>
                    <a:pt x="807762" y="2239789"/>
                  </a:cubicBezTo>
                  <a:close/>
                  <a:moveTo>
                    <a:pt x="179991" y="2246374"/>
                  </a:moveTo>
                  <a:cubicBezTo>
                    <a:pt x="166821" y="2246374"/>
                    <a:pt x="155846" y="2235399"/>
                    <a:pt x="155846" y="2222229"/>
                  </a:cubicBezTo>
                  <a:cubicBezTo>
                    <a:pt x="155846" y="2209060"/>
                    <a:pt x="166821" y="2198085"/>
                    <a:pt x="179991" y="2198085"/>
                  </a:cubicBezTo>
                  <a:cubicBezTo>
                    <a:pt x="193161" y="2198085"/>
                    <a:pt x="204136" y="2209060"/>
                    <a:pt x="204136" y="2222229"/>
                  </a:cubicBezTo>
                  <a:cubicBezTo>
                    <a:pt x="204136" y="2235399"/>
                    <a:pt x="193161" y="2246374"/>
                    <a:pt x="179991" y="2246374"/>
                  </a:cubicBezTo>
                  <a:close/>
                  <a:moveTo>
                    <a:pt x="1663814" y="2246374"/>
                  </a:moveTo>
                  <a:cubicBezTo>
                    <a:pt x="1661619" y="2246374"/>
                    <a:pt x="1659424" y="2244179"/>
                    <a:pt x="1659424" y="2241984"/>
                  </a:cubicBezTo>
                  <a:cubicBezTo>
                    <a:pt x="1659424" y="2239789"/>
                    <a:pt x="1661619" y="2237594"/>
                    <a:pt x="1663814" y="2237594"/>
                  </a:cubicBezTo>
                  <a:cubicBezTo>
                    <a:pt x="1666009" y="2237594"/>
                    <a:pt x="1668204" y="2239789"/>
                    <a:pt x="1668204" y="2241984"/>
                  </a:cubicBezTo>
                  <a:cubicBezTo>
                    <a:pt x="1668204" y="2244179"/>
                    <a:pt x="1666009" y="2246374"/>
                    <a:pt x="1663814" y="2246374"/>
                  </a:cubicBezTo>
                  <a:close/>
                  <a:moveTo>
                    <a:pt x="1325783" y="2270519"/>
                  </a:moveTo>
                  <a:cubicBezTo>
                    <a:pt x="1319198" y="2270519"/>
                    <a:pt x="1314808" y="2263934"/>
                    <a:pt x="1314808" y="2259544"/>
                  </a:cubicBezTo>
                  <a:cubicBezTo>
                    <a:pt x="1314808" y="2252959"/>
                    <a:pt x="1319198" y="2248569"/>
                    <a:pt x="1325783" y="2248569"/>
                  </a:cubicBezTo>
                  <a:cubicBezTo>
                    <a:pt x="1332368" y="2248569"/>
                    <a:pt x="1336759" y="2252959"/>
                    <a:pt x="1336759" y="2259544"/>
                  </a:cubicBezTo>
                  <a:cubicBezTo>
                    <a:pt x="1336759" y="2266129"/>
                    <a:pt x="1332368" y="2270519"/>
                    <a:pt x="1325783" y="2270519"/>
                  </a:cubicBezTo>
                  <a:close/>
                  <a:moveTo>
                    <a:pt x="1881119" y="2283689"/>
                  </a:moveTo>
                  <a:cubicBezTo>
                    <a:pt x="1881119" y="2283689"/>
                    <a:pt x="1876729" y="2281494"/>
                    <a:pt x="1876729" y="2279299"/>
                  </a:cubicBezTo>
                  <a:cubicBezTo>
                    <a:pt x="1876729" y="2277104"/>
                    <a:pt x="1878924" y="2274909"/>
                    <a:pt x="1881119" y="2274909"/>
                  </a:cubicBezTo>
                  <a:cubicBezTo>
                    <a:pt x="1883314" y="2274909"/>
                    <a:pt x="1885509" y="2277104"/>
                    <a:pt x="1885509" y="2279299"/>
                  </a:cubicBezTo>
                  <a:cubicBezTo>
                    <a:pt x="1885509" y="2281494"/>
                    <a:pt x="1883314" y="2283689"/>
                    <a:pt x="1881119" y="2283689"/>
                  </a:cubicBezTo>
                  <a:close/>
                  <a:moveTo>
                    <a:pt x="46095" y="2288078"/>
                  </a:moveTo>
                  <a:cubicBezTo>
                    <a:pt x="43901" y="2288078"/>
                    <a:pt x="43901" y="2288078"/>
                    <a:pt x="43901" y="2285884"/>
                  </a:cubicBezTo>
                  <a:cubicBezTo>
                    <a:pt x="43901" y="2285884"/>
                    <a:pt x="46095" y="2283688"/>
                    <a:pt x="46095" y="2283688"/>
                  </a:cubicBezTo>
                  <a:cubicBezTo>
                    <a:pt x="46095" y="2283688"/>
                    <a:pt x="48291" y="2283688"/>
                    <a:pt x="48291" y="2285884"/>
                  </a:cubicBezTo>
                  <a:cubicBezTo>
                    <a:pt x="48291" y="2285884"/>
                    <a:pt x="48291" y="2288078"/>
                    <a:pt x="46095" y="2288078"/>
                  </a:cubicBezTo>
                  <a:close/>
                  <a:moveTo>
                    <a:pt x="996532" y="2288079"/>
                  </a:moveTo>
                  <a:cubicBezTo>
                    <a:pt x="985557" y="2288079"/>
                    <a:pt x="976777" y="2279299"/>
                    <a:pt x="976777" y="2268324"/>
                  </a:cubicBezTo>
                  <a:cubicBezTo>
                    <a:pt x="976777" y="2257349"/>
                    <a:pt x="985557" y="2248569"/>
                    <a:pt x="996532" y="2248569"/>
                  </a:cubicBezTo>
                  <a:cubicBezTo>
                    <a:pt x="1007507" y="2248569"/>
                    <a:pt x="1016287" y="2257349"/>
                    <a:pt x="1016287" y="2268324"/>
                  </a:cubicBezTo>
                  <a:cubicBezTo>
                    <a:pt x="1016287" y="2279299"/>
                    <a:pt x="1007507" y="2288079"/>
                    <a:pt x="996532" y="2288079"/>
                  </a:cubicBezTo>
                  <a:close/>
                  <a:moveTo>
                    <a:pt x="359981" y="2301248"/>
                  </a:moveTo>
                  <a:cubicBezTo>
                    <a:pt x="349006" y="2301248"/>
                    <a:pt x="340226" y="2292468"/>
                    <a:pt x="340226" y="2281493"/>
                  </a:cubicBezTo>
                  <a:cubicBezTo>
                    <a:pt x="340226" y="2270518"/>
                    <a:pt x="349006" y="2261738"/>
                    <a:pt x="359981" y="2261738"/>
                  </a:cubicBezTo>
                  <a:cubicBezTo>
                    <a:pt x="370956" y="2261738"/>
                    <a:pt x="379736" y="2270518"/>
                    <a:pt x="379736" y="2281493"/>
                  </a:cubicBezTo>
                  <a:cubicBezTo>
                    <a:pt x="379736" y="2292468"/>
                    <a:pt x="370956" y="2301248"/>
                    <a:pt x="359981" y="2301248"/>
                  </a:cubicBezTo>
                  <a:close/>
                  <a:moveTo>
                    <a:pt x="676061" y="2301249"/>
                  </a:moveTo>
                  <a:cubicBezTo>
                    <a:pt x="660696" y="2301249"/>
                    <a:pt x="651916" y="2290274"/>
                    <a:pt x="651916" y="2277104"/>
                  </a:cubicBezTo>
                  <a:cubicBezTo>
                    <a:pt x="651916" y="2263934"/>
                    <a:pt x="662892" y="2252959"/>
                    <a:pt x="676061" y="2252959"/>
                  </a:cubicBezTo>
                  <a:cubicBezTo>
                    <a:pt x="689231" y="2252959"/>
                    <a:pt x="700207" y="2263934"/>
                    <a:pt x="700207" y="2277104"/>
                  </a:cubicBezTo>
                  <a:cubicBezTo>
                    <a:pt x="700207" y="2290274"/>
                    <a:pt x="689231" y="2301249"/>
                    <a:pt x="676061" y="2301249"/>
                  </a:cubicBezTo>
                  <a:close/>
                  <a:moveTo>
                    <a:pt x="1529919" y="2312223"/>
                  </a:moveTo>
                  <a:cubicBezTo>
                    <a:pt x="1525528" y="2312223"/>
                    <a:pt x="1523333" y="2310028"/>
                    <a:pt x="1523333" y="2305638"/>
                  </a:cubicBezTo>
                  <a:cubicBezTo>
                    <a:pt x="1523333" y="2301248"/>
                    <a:pt x="1527723" y="2299053"/>
                    <a:pt x="1529919" y="2299053"/>
                  </a:cubicBezTo>
                  <a:cubicBezTo>
                    <a:pt x="1534309" y="2299053"/>
                    <a:pt x="1536503" y="2303443"/>
                    <a:pt x="1536503" y="2305638"/>
                  </a:cubicBezTo>
                  <a:cubicBezTo>
                    <a:pt x="1536503" y="2310028"/>
                    <a:pt x="1534309" y="2312223"/>
                    <a:pt x="1529919" y="2312223"/>
                  </a:cubicBezTo>
                  <a:close/>
                  <a:moveTo>
                    <a:pt x="1191888" y="2334173"/>
                  </a:moveTo>
                  <a:cubicBezTo>
                    <a:pt x="1185302" y="2334173"/>
                    <a:pt x="1180912" y="2329783"/>
                    <a:pt x="1180912" y="2323199"/>
                  </a:cubicBezTo>
                  <a:cubicBezTo>
                    <a:pt x="1180912" y="2316613"/>
                    <a:pt x="1185302" y="2312223"/>
                    <a:pt x="1191888" y="2312223"/>
                  </a:cubicBezTo>
                  <a:cubicBezTo>
                    <a:pt x="1198473" y="2312223"/>
                    <a:pt x="1202863" y="2316613"/>
                    <a:pt x="1202863" y="2323199"/>
                  </a:cubicBezTo>
                  <a:cubicBezTo>
                    <a:pt x="1202863" y="2329783"/>
                    <a:pt x="1198473" y="2334173"/>
                    <a:pt x="1191888" y="2334173"/>
                  </a:cubicBezTo>
                  <a:close/>
                  <a:moveTo>
                    <a:pt x="1745028" y="2351734"/>
                  </a:moveTo>
                  <a:cubicBezTo>
                    <a:pt x="1742833" y="2351734"/>
                    <a:pt x="1740639" y="2349538"/>
                    <a:pt x="1740639" y="2347344"/>
                  </a:cubicBezTo>
                  <a:cubicBezTo>
                    <a:pt x="1740639" y="2345148"/>
                    <a:pt x="1742833" y="2342953"/>
                    <a:pt x="1745028" y="2342953"/>
                  </a:cubicBezTo>
                  <a:cubicBezTo>
                    <a:pt x="1747224" y="2342953"/>
                    <a:pt x="1749418" y="2345148"/>
                    <a:pt x="1749418" y="2347344"/>
                  </a:cubicBezTo>
                  <a:cubicBezTo>
                    <a:pt x="1749418" y="2349538"/>
                    <a:pt x="1747224" y="2351734"/>
                    <a:pt x="1745028" y="2351734"/>
                  </a:cubicBezTo>
                  <a:close/>
                  <a:moveTo>
                    <a:pt x="542166" y="2360514"/>
                  </a:moveTo>
                  <a:cubicBezTo>
                    <a:pt x="531192" y="2360514"/>
                    <a:pt x="522412" y="2351734"/>
                    <a:pt x="522412" y="2340758"/>
                  </a:cubicBezTo>
                  <a:cubicBezTo>
                    <a:pt x="522412" y="2329783"/>
                    <a:pt x="531192" y="2321003"/>
                    <a:pt x="542166" y="2321003"/>
                  </a:cubicBezTo>
                  <a:cubicBezTo>
                    <a:pt x="553142" y="2321003"/>
                    <a:pt x="561922" y="2329783"/>
                    <a:pt x="561922" y="2340758"/>
                  </a:cubicBezTo>
                  <a:cubicBezTo>
                    <a:pt x="561922" y="2351734"/>
                    <a:pt x="553142" y="2360514"/>
                    <a:pt x="542166" y="2360514"/>
                  </a:cubicBezTo>
                  <a:close/>
                  <a:moveTo>
                    <a:pt x="862637" y="2360514"/>
                  </a:moveTo>
                  <a:cubicBezTo>
                    <a:pt x="847272" y="2360514"/>
                    <a:pt x="836297" y="2349539"/>
                    <a:pt x="836297" y="2334174"/>
                  </a:cubicBezTo>
                  <a:cubicBezTo>
                    <a:pt x="836297" y="2321004"/>
                    <a:pt x="849467" y="2307834"/>
                    <a:pt x="862637" y="2307834"/>
                  </a:cubicBezTo>
                  <a:cubicBezTo>
                    <a:pt x="875807" y="2307834"/>
                    <a:pt x="888977" y="2318809"/>
                    <a:pt x="888977" y="2334174"/>
                  </a:cubicBezTo>
                  <a:cubicBezTo>
                    <a:pt x="888977" y="2347344"/>
                    <a:pt x="878002" y="2360514"/>
                    <a:pt x="862637" y="2360514"/>
                  </a:cubicBezTo>
                  <a:close/>
                  <a:moveTo>
                    <a:pt x="223891" y="2371488"/>
                  </a:moveTo>
                  <a:cubicBezTo>
                    <a:pt x="210720" y="2371488"/>
                    <a:pt x="199745" y="2360514"/>
                    <a:pt x="199745" y="2347344"/>
                  </a:cubicBezTo>
                  <a:cubicBezTo>
                    <a:pt x="199745" y="2334173"/>
                    <a:pt x="210720" y="2323199"/>
                    <a:pt x="223891" y="2323199"/>
                  </a:cubicBezTo>
                  <a:cubicBezTo>
                    <a:pt x="237061" y="2323199"/>
                    <a:pt x="248036" y="2334173"/>
                    <a:pt x="248036" y="2347344"/>
                  </a:cubicBezTo>
                  <a:cubicBezTo>
                    <a:pt x="248036" y="2360514"/>
                    <a:pt x="237061" y="2371488"/>
                    <a:pt x="223891" y="2371488"/>
                  </a:cubicBezTo>
                  <a:close/>
                  <a:moveTo>
                    <a:pt x="1393828" y="2380269"/>
                  </a:moveTo>
                  <a:cubicBezTo>
                    <a:pt x="1389438" y="2380269"/>
                    <a:pt x="1385048" y="2378074"/>
                    <a:pt x="1385048" y="2371488"/>
                  </a:cubicBezTo>
                  <a:cubicBezTo>
                    <a:pt x="1385048" y="2367098"/>
                    <a:pt x="1389438" y="2362708"/>
                    <a:pt x="1393828" y="2362708"/>
                  </a:cubicBezTo>
                  <a:cubicBezTo>
                    <a:pt x="1398218" y="2362708"/>
                    <a:pt x="1402608" y="2367098"/>
                    <a:pt x="1402608" y="2371488"/>
                  </a:cubicBezTo>
                  <a:cubicBezTo>
                    <a:pt x="1402608" y="2375879"/>
                    <a:pt x="1398218" y="2380269"/>
                    <a:pt x="1393828" y="2380269"/>
                  </a:cubicBezTo>
                  <a:close/>
                  <a:moveTo>
                    <a:pt x="1973310" y="2380269"/>
                  </a:moveTo>
                  <a:cubicBezTo>
                    <a:pt x="1971114" y="2380269"/>
                    <a:pt x="1968920" y="2378074"/>
                    <a:pt x="1968920" y="2375879"/>
                  </a:cubicBezTo>
                  <a:cubicBezTo>
                    <a:pt x="1968920" y="2373684"/>
                    <a:pt x="1971114" y="2371488"/>
                    <a:pt x="1973310" y="2371488"/>
                  </a:cubicBezTo>
                  <a:cubicBezTo>
                    <a:pt x="1975505" y="2371488"/>
                    <a:pt x="1977700" y="2373684"/>
                    <a:pt x="1977700" y="2375879"/>
                  </a:cubicBezTo>
                  <a:cubicBezTo>
                    <a:pt x="1977700" y="2378074"/>
                    <a:pt x="1975505" y="2380269"/>
                    <a:pt x="1973310" y="2380269"/>
                  </a:cubicBezTo>
                  <a:close/>
                  <a:moveTo>
                    <a:pt x="1057992" y="2410999"/>
                  </a:moveTo>
                  <a:cubicBezTo>
                    <a:pt x="1044822" y="2410999"/>
                    <a:pt x="1033847" y="2400023"/>
                    <a:pt x="1036042" y="2389049"/>
                  </a:cubicBezTo>
                  <a:cubicBezTo>
                    <a:pt x="1036042" y="2378074"/>
                    <a:pt x="1047017" y="2367098"/>
                    <a:pt x="1057992" y="2367098"/>
                  </a:cubicBezTo>
                  <a:cubicBezTo>
                    <a:pt x="1068967" y="2367098"/>
                    <a:pt x="1079943" y="2375879"/>
                    <a:pt x="1079943" y="2389049"/>
                  </a:cubicBezTo>
                  <a:cubicBezTo>
                    <a:pt x="1079943" y="2400023"/>
                    <a:pt x="1071162" y="2410999"/>
                    <a:pt x="1057992" y="2410999"/>
                  </a:cubicBezTo>
                  <a:close/>
                  <a:moveTo>
                    <a:pt x="728742" y="2419779"/>
                  </a:moveTo>
                  <a:cubicBezTo>
                    <a:pt x="717766" y="2419779"/>
                    <a:pt x="706792" y="2410999"/>
                    <a:pt x="706792" y="2397829"/>
                  </a:cubicBezTo>
                  <a:cubicBezTo>
                    <a:pt x="706792" y="2386853"/>
                    <a:pt x="715572" y="2375879"/>
                    <a:pt x="728742" y="2375879"/>
                  </a:cubicBezTo>
                  <a:cubicBezTo>
                    <a:pt x="739717" y="2375879"/>
                    <a:pt x="750692" y="2384659"/>
                    <a:pt x="750692" y="2397829"/>
                  </a:cubicBezTo>
                  <a:cubicBezTo>
                    <a:pt x="750692" y="2408804"/>
                    <a:pt x="741912" y="2419779"/>
                    <a:pt x="728742" y="2419779"/>
                  </a:cubicBezTo>
                  <a:close/>
                  <a:moveTo>
                    <a:pt x="1608939" y="2419779"/>
                  </a:moveTo>
                  <a:cubicBezTo>
                    <a:pt x="1604549" y="2419779"/>
                    <a:pt x="1602354" y="2417584"/>
                    <a:pt x="1604549" y="2415389"/>
                  </a:cubicBezTo>
                  <a:cubicBezTo>
                    <a:pt x="1604549" y="2413194"/>
                    <a:pt x="1606743" y="2410999"/>
                    <a:pt x="1608939" y="2410999"/>
                  </a:cubicBezTo>
                  <a:cubicBezTo>
                    <a:pt x="1611134" y="2410999"/>
                    <a:pt x="1613329" y="2413194"/>
                    <a:pt x="1613329" y="2415389"/>
                  </a:cubicBezTo>
                  <a:cubicBezTo>
                    <a:pt x="1613329" y="2417584"/>
                    <a:pt x="1611134" y="2419779"/>
                    <a:pt x="1608939" y="2419779"/>
                  </a:cubicBezTo>
                  <a:close/>
                  <a:moveTo>
                    <a:pt x="408271" y="2426364"/>
                  </a:moveTo>
                  <a:cubicBezTo>
                    <a:pt x="397361" y="2426364"/>
                    <a:pt x="388516" y="2417519"/>
                    <a:pt x="388516" y="2406609"/>
                  </a:cubicBezTo>
                  <a:cubicBezTo>
                    <a:pt x="388516" y="2395699"/>
                    <a:pt x="397361" y="2386853"/>
                    <a:pt x="408271" y="2386853"/>
                  </a:cubicBezTo>
                  <a:cubicBezTo>
                    <a:pt x="419181" y="2386853"/>
                    <a:pt x="428027" y="2395699"/>
                    <a:pt x="428027" y="2406609"/>
                  </a:cubicBezTo>
                  <a:cubicBezTo>
                    <a:pt x="428027" y="2417519"/>
                    <a:pt x="419181" y="2426364"/>
                    <a:pt x="408271" y="2426364"/>
                  </a:cubicBezTo>
                  <a:close/>
                  <a:moveTo>
                    <a:pt x="1259933" y="2450509"/>
                  </a:moveTo>
                  <a:cubicBezTo>
                    <a:pt x="1253348" y="2450509"/>
                    <a:pt x="1246763" y="2443924"/>
                    <a:pt x="1246763" y="2437339"/>
                  </a:cubicBezTo>
                  <a:cubicBezTo>
                    <a:pt x="1246763" y="2430754"/>
                    <a:pt x="1253348" y="2424169"/>
                    <a:pt x="1259933" y="2424169"/>
                  </a:cubicBezTo>
                  <a:cubicBezTo>
                    <a:pt x="1266518" y="2424169"/>
                    <a:pt x="1273103" y="2430754"/>
                    <a:pt x="1273103" y="2437339"/>
                  </a:cubicBezTo>
                  <a:cubicBezTo>
                    <a:pt x="1273103" y="2443924"/>
                    <a:pt x="1266518" y="2450509"/>
                    <a:pt x="1259933" y="2450509"/>
                  </a:cubicBezTo>
                  <a:close/>
                  <a:moveTo>
                    <a:pt x="1832829" y="2452704"/>
                  </a:moveTo>
                  <a:cubicBezTo>
                    <a:pt x="1830634" y="2452704"/>
                    <a:pt x="1828439" y="2450509"/>
                    <a:pt x="1826244" y="2446119"/>
                  </a:cubicBezTo>
                  <a:cubicBezTo>
                    <a:pt x="1826244" y="2441729"/>
                    <a:pt x="1828439" y="2439534"/>
                    <a:pt x="1832829" y="2439534"/>
                  </a:cubicBezTo>
                  <a:cubicBezTo>
                    <a:pt x="1837219" y="2439534"/>
                    <a:pt x="1839414" y="2441729"/>
                    <a:pt x="1839414" y="2446119"/>
                  </a:cubicBezTo>
                  <a:cubicBezTo>
                    <a:pt x="1839414" y="2450509"/>
                    <a:pt x="1837219" y="2452704"/>
                    <a:pt x="1832829" y="2452704"/>
                  </a:cubicBezTo>
                  <a:close/>
                  <a:moveTo>
                    <a:pt x="2074279" y="2465874"/>
                  </a:moveTo>
                  <a:cubicBezTo>
                    <a:pt x="2073182" y="2464776"/>
                    <a:pt x="2073182" y="2463679"/>
                    <a:pt x="2073456" y="2463130"/>
                  </a:cubicBezTo>
                  <a:cubicBezTo>
                    <a:pt x="2073730" y="2462581"/>
                    <a:pt x="2074279" y="2462581"/>
                    <a:pt x="2074279" y="2463679"/>
                  </a:cubicBezTo>
                  <a:cubicBezTo>
                    <a:pt x="2074279" y="2463679"/>
                    <a:pt x="2076474" y="2463679"/>
                    <a:pt x="2074279" y="2465874"/>
                  </a:cubicBezTo>
                  <a:close/>
                  <a:moveTo>
                    <a:pt x="924097" y="2476849"/>
                  </a:moveTo>
                  <a:cubicBezTo>
                    <a:pt x="910927" y="2476849"/>
                    <a:pt x="897757" y="2465874"/>
                    <a:pt x="899953" y="2452704"/>
                  </a:cubicBezTo>
                  <a:cubicBezTo>
                    <a:pt x="899953" y="2439534"/>
                    <a:pt x="910927" y="2428558"/>
                    <a:pt x="924097" y="2428558"/>
                  </a:cubicBezTo>
                  <a:cubicBezTo>
                    <a:pt x="937267" y="2428558"/>
                    <a:pt x="948242" y="2439534"/>
                    <a:pt x="948242" y="2452704"/>
                  </a:cubicBezTo>
                  <a:cubicBezTo>
                    <a:pt x="948242" y="2465874"/>
                    <a:pt x="937267" y="2476849"/>
                    <a:pt x="924097" y="2476849"/>
                  </a:cubicBezTo>
                  <a:close/>
                  <a:moveTo>
                    <a:pt x="597041" y="2485629"/>
                  </a:moveTo>
                  <a:cubicBezTo>
                    <a:pt x="583871" y="2485629"/>
                    <a:pt x="572896" y="2474654"/>
                    <a:pt x="575091" y="2463679"/>
                  </a:cubicBezTo>
                  <a:cubicBezTo>
                    <a:pt x="575091" y="2452704"/>
                    <a:pt x="583871" y="2441729"/>
                    <a:pt x="597041" y="2441729"/>
                  </a:cubicBezTo>
                  <a:cubicBezTo>
                    <a:pt x="608016" y="2441729"/>
                    <a:pt x="618991" y="2450509"/>
                    <a:pt x="618991" y="2463679"/>
                  </a:cubicBezTo>
                  <a:cubicBezTo>
                    <a:pt x="618991" y="2474654"/>
                    <a:pt x="610211" y="2485629"/>
                    <a:pt x="597041" y="2485629"/>
                  </a:cubicBezTo>
                  <a:close/>
                  <a:moveTo>
                    <a:pt x="1472848" y="2490019"/>
                  </a:moveTo>
                  <a:cubicBezTo>
                    <a:pt x="1466263" y="2490019"/>
                    <a:pt x="1461873" y="2485629"/>
                    <a:pt x="1464068" y="2481239"/>
                  </a:cubicBezTo>
                  <a:cubicBezTo>
                    <a:pt x="1464068" y="2476849"/>
                    <a:pt x="1468458" y="2472459"/>
                    <a:pt x="1472848" y="2472459"/>
                  </a:cubicBezTo>
                  <a:cubicBezTo>
                    <a:pt x="1477238" y="2472459"/>
                    <a:pt x="1481628" y="2476849"/>
                    <a:pt x="1481628" y="2481239"/>
                  </a:cubicBezTo>
                  <a:cubicBezTo>
                    <a:pt x="1481628" y="2485629"/>
                    <a:pt x="1477238" y="2490019"/>
                    <a:pt x="1472848" y="2490019"/>
                  </a:cubicBezTo>
                  <a:close/>
                  <a:moveTo>
                    <a:pt x="274376" y="2494409"/>
                  </a:moveTo>
                  <a:cubicBezTo>
                    <a:pt x="261206" y="2494409"/>
                    <a:pt x="250230" y="2483434"/>
                    <a:pt x="250230" y="2470264"/>
                  </a:cubicBezTo>
                  <a:cubicBezTo>
                    <a:pt x="250230" y="2457094"/>
                    <a:pt x="261206" y="2446119"/>
                    <a:pt x="274376" y="2446119"/>
                  </a:cubicBezTo>
                  <a:cubicBezTo>
                    <a:pt x="287546" y="2446119"/>
                    <a:pt x="298521" y="2457094"/>
                    <a:pt x="298521" y="2470264"/>
                  </a:cubicBezTo>
                  <a:cubicBezTo>
                    <a:pt x="298521" y="2483434"/>
                    <a:pt x="287546" y="2494409"/>
                    <a:pt x="274376" y="2494409"/>
                  </a:cubicBezTo>
                  <a:close/>
                  <a:moveTo>
                    <a:pt x="1126038" y="2522944"/>
                  </a:moveTo>
                  <a:cubicBezTo>
                    <a:pt x="1113915" y="2522944"/>
                    <a:pt x="1104088" y="2513117"/>
                    <a:pt x="1104088" y="2500994"/>
                  </a:cubicBezTo>
                  <a:cubicBezTo>
                    <a:pt x="1104088" y="2488871"/>
                    <a:pt x="1113915" y="2479044"/>
                    <a:pt x="1126038" y="2479044"/>
                  </a:cubicBezTo>
                  <a:cubicBezTo>
                    <a:pt x="1138160" y="2479044"/>
                    <a:pt x="1147987" y="2488871"/>
                    <a:pt x="1147987" y="2500994"/>
                  </a:cubicBezTo>
                  <a:cubicBezTo>
                    <a:pt x="1147987" y="2513117"/>
                    <a:pt x="1138160" y="2522944"/>
                    <a:pt x="1126038" y="2522944"/>
                  </a:cubicBezTo>
                  <a:close/>
                  <a:moveTo>
                    <a:pt x="1694544" y="2522944"/>
                  </a:moveTo>
                  <a:cubicBezTo>
                    <a:pt x="1690154" y="2522944"/>
                    <a:pt x="1687959" y="2518554"/>
                    <a:pt x="1685764" y="2514164"/>
                  </a:cubicBezTo>
                  <a:cubicBezTo>
                    <a:pt x="1685764" y="2509774"/>
                    <a:pt x="1690154" y="2505384"/>
                    <a:pt x="1694544" y="2505384"/>
                  </a:cubicBezTo>
                  <a:cubicBezTo>
                    <a:pt x="1698934" y="2505384"/>
                    <a:pt x="1703324" y="2509774"/>
                    <a:pt x="1703324" y="2514164"/>
                  </a:cubicBezTo>
                  <a:cubicBezTo>
                    <a:pt x="1703324" y="2518554"/>
                    <a:pt x="1698934" y="2522944"/>
                    <a:pt x="1694544" y="2522944"/>
                  </a:cubicBezTo>
                  <a:close/>
                  <a:moveTo>
                    <a:pt x="1931604" y="2542699"/>
                  </a:moveTo>
                  <a:cubicBezTo>
                    <a:pt x="1927215" y="2542699"/>
                    <a:pt x="1925019" y="2540504"/>
                    <a:pt x="1925019" y="2536114"/>
                  </a:cubicBezTo>
                  <a:cubicBezTo>
                    <a:pt x="1925019" y="2531724"/>
                    <a:pt x="1927215" y="2529529"/>
                    <a:pt x="1931604" y="2529529"/>
                  </a:cubicBezTo>
                  <a:cubicBezTo>
                    <a:pt x="1935994" y="2529529"/>
                    <a:pt x="1938189" y="2533919"/>
                    <a:pt x="1938189" y="2536114"/>
                  </a:cubicBezTo>
                  <a:cubicBezTo>
                    <a:pt x="1938189" y="2540504"/>
                    <a:pt x="1933799" y="2542699"/>
                    <a:pt x="1931604" y="2542699"/>
                  </a:cubicBezTo>
                  <a:close/>
                  <a:moveTo>
                    <a:pt x="2181835" y="2544894"/>
                  </a:moveTo>
                  <a:cubicBezTo>
                    <a:pt x="2179639" y="2544894"/>
                    <a:pt x="2179639" y="2542699"/>
                    <a:pt x="2179639" y="2542699"/>
                  </a:cubicBezTo>
                  <a:cubicBezTo>
                    <a:pt x="2179639" y="2542699"/>
                    <a:pt x="2179639" y="2540504"/>
                    <a:pt x="2181835" y="2540504"/>
                  </a:cubicBezTo>
                  <a:cubicBezTo>
                    <a:pt x="2181835" y="2540504"/>
                    <a:pt x="2184030" y="2540504"/>
                    <a:pt x="2184030" y="2542699"/>
                  </a:cubicBezTo>
                  <a:cubicBezTo>
                    <a:pt x="2184030" y="2542699"/>
                    <a:pt x="2184030" y="2544894"/>
                    <a:pt x="2181835" y="2544894"/>
                  </a:cubicBezTo>
                  <a:close/>
                  <a:moveTo>
                    <a:pt x="790202" y="2549284"/>
                  </a:moveTo>
                  <a:cubicBezTo>
                    <a:pt x="772642" y="2549284"/>
                    <a:pt x="757277" y="2533919"/>
                    <a:pt x="757277" y="2516359"/>
                  </a:cubicBezTo>
                  <a:cubicBezTo>
                    <a:pt x="757277" y="2498799"/>
                    <a:pt x="772642" y="2483434"/>
                    <a:pt x="790202" y="2483434"/>
                  </a:cubicBezTo>
                  <a:cubicBezTo>
                    <a:pt x="807762" y="2483434"/>
                    <a:pt x="823127" y="2498799"/>
                    <a:pt x="823127" y="2516359"/>
                  </a:cubicBezTo>
                  <a:cubicBezTo>
                    <a:pt x="823127" y="2533919"/>
                    <a:pt x="807762" y="2549284"/>
                    <a:pt x="790202" y="2549284"/>
                  </a:cubicBezTo>
                  <a:close/>
                  <a:moveTo>
                    <a:pt x="463146" y="2553674"/>
                  </a:moveTo>
                  <a:cubicBezTo>
                    <a:pt x="447781" y="2553674"/>
                    <a:pt x="434611" y="2542699"/>
                    <a:pt x="436806" y="2527334"/>
                  </a:cubicBezTo>
                  <a:cubicBezTo>
                    <a:pt x="436806" y="2514164"/>
                    <a:pt x="447781" y="2500994"/>
                    <a:pt x="463146" y="2500994"/>
                  </a:cubicBezTo>
                  <a:cubicBezTo>
                    <a:pt x="476316" y="2500994"/>
                    <a:pt x="489487" y="2511969"/>
                    <a:pt x="489487" y="2527334"/>
                  </a:cubicBezTo>
                  <a:cubicBezTo>
                    <a:pt x="489487" y="2540504"/>
                    <a:pt x="478512" y="2553674"/>
                    <a:pt x="463146" y="2553674"/>
                  </a:cubicBezTo>
                  <a:close/>
                  <a:moveTo>
                    <a:pt x="1336757" y="2562454"/>
                  </a:moveTo>
                  <a:cubicBezTo>
                    <a:pt x="1327977" y="2562454"/>
                    <a:pt x="1321393" y="2553674"/>
                    <a:pt x="1321393" y="2547089"/>
                  </a:cubicBezTo>
                  <a:cubicBezTo>
                    <a:pt x="1321393" y="2538309"/>
                    <a:pt x="1327977" y="2531724"/>
                    <a:pt x="1336757" y="2531724"/>
                  </a:cubicBezTo>
                  <a:cubicBezTo>
                    <a:pt x="1345537" y="2531724"/>
                    <a:pt x="1352123" y="2538309"/>
                    <a:pt x="1352123" y="2547089"/>
                  </a:cubicBezTo>
                  <a:cubicBezTo>
                    <a:pt x="1352123" y="2555869"/>
                    <a:pt x="1345537" y="2562454"/>
                    <a:pt x="1336757" y="2562454"/>
                  </a:cubicBezTo>
                  <a:close/>
                  <a:moveTo>
                    <a:pt x="1556258" y="2593185"/>
                  </a:moveTo>
                  <a:cubicBezTo>
                    <a:pt x="1551869" y="2593185"/>
                    <a:pt x="1545283" y="2588795"/>
                    <a:pt x="1545283" y="2582209"/>
                  </a:cubicBezTo>
                  <a:cubicBezTo>
                    <a:pt x="1545283" y="2575624"/>
                    <a:pt x="1549673" y="2571234"/>
                    <a:pt x="1556258" y="2571234"/>
                  </a:cubicBezTo>
                  <a:cubicBezTo>
                    <a:pt x="1562844" y="2571234"/>
                    <a:pt x="1567234" y="2575624"/>
                    <a:pt x="1567234" y="2582209"/>
                  </a:cubicBezTo>
                  <a:cubicBezTo>
                    <a:pt x="1567234" y="2588795"/>
                    <a:pt x="1562844" y="2593185"/>
                    <a:pt x="1556258" y="2593185"/>
                  </a:cubicBezTo>
                  <a:close/>
                  <a:moveTo>
                    <a:pt x="992142" y="2601965"/>
                  </a:moveTo>
                  <a:cubicBezTo>
                    <a:pt x="972387" y="2601965"/>
                    <a:pt x="957022" y="2586599"/>
                    <a:pt x="957022" y="2566844"/>
                  </a:cubicBezTo>
                  <a:cubicBezTo>
                    <a:pt x="957022" y="2547089"/>
                    <a:pt x="972387" y="2531724"/>
                    <a:pt x="992142" y="2531724"/>
                  </a:cubicBezTo>
                  <a:cubicBezTo>
                    <a:pt x="1011897" y="2531724"/>
                    <a:pt x="1027262" y="2547089"/>
                    <a:pt x="1027262" y="2566844"/>
                  </a:cubicBezTo>
                  <a:cubicBezTo>
                    <a:pt x="1027262" y="2586599"/>
                    <a:pt x="1011897" y="2601965"/>
                    <a:pt x="992142" y="2601965"/>
                  </a:cubicBezTo>
                  <a:close/>
                  <a:moveTo>
                    <a:pt x="656306" y="2617330"/>
                  </a:moveTo>
                  <a:cubicBezTo>
                    <a:pt x="636551" y="2617330"/>
                    <a:pt x="618991" y="2601965"/>
                    <a:pt x="618991" y="2580014"/>
                  </a:cubicBezTo>
                  <a:cubicBezTo>
                    <a:pt x="618991" y="2560260"/>
                    <a:pt x="636551" y="2542699"/>
                    <a:pt x="656306" y="2542699"/>
                  </a:cubicBezTo>
                  <a:cubicBezTo>
                    <a:pt x="676061" y="2542699"/>
                    <a:pt x="693621" y="2560260"/>
                    <a:pt x="693621" y="2580014"/>
                  </a:cubicBezTo>
                  <a:cubicBezTo>
                    <a:pt x="693621" y="2599769"/>
                    <a:pt x="676061" y="2617330"/>
                    <a:pt x="656306" y="2617330"/>
                  </a:cubicBezTo>
                  <a:close/>
                  <a:moveTo>
                    <a:pt x="1788929" y="2617330"/>
                  </a:moveTo>
                  <a:cubicBezTo>
                    <a:pt x="1784539" y="2617330"/>
                    <a:pt x="1780149" y="2612940"/>
                    <a:pt x="1780149" y="2608549"/>
                  </a:cubicBezTo>
                  <a:cubicBezTo>
                    <a:pt x="1780149" y="2604159"/>
                    <a:pt x="1784539" y="2599769"/>
                    <a:pt x="1788929" y="2599769"/>
                  </a:cubicBezTo>
                  <a:cubicBezTo>
                    <a:pt x="1793319" y="2599769"/>
                    <a:pt x="1797709" y="2604159"/>
                    <a:pt x="1797709" y="2608549"/>
                  </a:cubicBezTo>
                  <a:cubicBezTo>
                    <a:pt x="1797709" y="2612940"/>
                    <a:pt x="1793319" y="2617330"/>
                    <a:pt x="1788929" y="2617330"/>
                  </a:cubicBezTo>
                  <a:close/>
                  <a:moveTo>
                    <a:pt x="329251" y="2619524"/>
                  </a:moveTo>
                  <a:cubicBezTo>
                    <a:pt x="313886" y="2619524"/>
                    <a:pt x="300715" y="2606355"/>
                    <a:pt x="300715" y="2590989"/>
                  </a:cubicBezTo>
                  <a:cubicBezTo>
                    <a:pt x="300715" y="2575624"/>
                    <a:pt x="313886" y="2562454"/>
                    <a:pt x="329251" y="2562454"/>
                  </a:cubicBezTo>
                  <a:cubicBezTo>
                    <a:pt x="344616" y="2562454"/>
                    <a:pt x="357786" y="2575624"/>
                    <a:pt x="357786" y="2590989"/>
                  </a:cubicBezTo>
                  <a:cubicBezTo>
                    <a:pt x="357786" y="2606355"/>
                    <a:pt x="344616" y="2619524"/>
                    <a:pt x="329251" y="2619524"/>
                  </a:cubicBezTo>
                  <a:close/>
                  <a:moveTo>
                    <a:pt x="2034770" y="2626110"/>
                  </a:moveTo>
                  <a:cubicBezTo>
                    <a:pt x="2030380" y="2626110"/>
                    <a:pt x="2028184" y="2623914"/>
                    <a:pt x="2028184" y="2619524"/>
                  </a:cubicBezTo>
                  <a:cubicBezTo>
                    <a:pt x="2028184" y="2615134"/>
                    <a:pt x="2032574" y="2612940"/>
                    <a:pt x="2034770" y="2612940"/>
                  </a:cubicBezTo>
                  <a:cubicBezTo>
                    <a:pt x="2039160" y="2612940"/>
                    <a:pt x="2041355" y="2617330"/>
                    <a:pt x="2041355" y="2619524"/>
                  </a:cubicBezTo>
                  <a:cubicBezTo>
                    <a:pt x="2041355" y="2623914"/>
                    <a:pt x="2039160" y="2626110"/>
                    <a:pt x="2034770" y="2626110"/>
                  </a:cubicBezTo>
                  <a:close/>
                  <a:moveTo>
                    <a:pt x="1200668" y="2632694"/>
                  </a:moveTo>
                  <a:cubicBezTo>
                    <a:pt x="1189693" y="2632694"/>
                    <a:pt x="1178718" y="2623914"/>
                    <a:pt x="1178718" y="2610745"/>
                  </a:cubicBezTo>
                  <a:cubicBezTo>
                    <a:pt x="1178718" y="2597575"/>
                    <a:pt x="1189693" y="2588795"/>
                    <a:pt x="1200668" y="2588795"/>
                  </a:cubicBezTo>
                  <a:cubicBezTo>
                    <a:pt x="1213838" y="2588795"/>
                    <a:pt x="1222618" y="2597575"/>
                    <a:pt x="1222618" y="2610745"/>
                  </a:cubicBezTo>
                  <a:cubicBezTo>
                    <a:pt x="1222618" y="2623914"/>
                    <a:pt x="1211643" y="2632694"/>
                    <a:pt x="1200668" y="2632694"/>
                  </a:cubicBezTo>
                  <a:close/>
                  <a:moveTo>
                    <a:pt x="858247" y="2663425"/>
                  </a:moveTo>
                  <a:cubicBezTo>
                    <a:pt x="840687" y="2663425"/>
                    <a:pt x="825322" y="2648060"/>
                    <a:pt x="825322" y="2630500"/>
                  </a:cubicBezTo>
                  <a:cubicBezTo>
                    <a:pt x="825322" y="2612940"/>
                    <a:pt x="840687" y="2597575"/>
                    <a:pt x="858247" y="2597575"/>
                  </a:cubicBezTo>
                  <a:cubicBezTo>
                    <a:pt x="875807" y="2597575"/>
                    <a:pt x="891173" y="2612940"/>
                    <a:pt x="891173" y="2630500"/>
                  </a:cubicBezTo>
                  <a:cubicBezTo>
                    <a:pt x="891173" y="2648060"/>
                    <a:pt x="875807" y="2663425"/>
                    <a:pt x="858247" y="2663425"/>
                  </a:cubicBezTo>
                  <a:close/>
                  <a:moveTo>
                    <a:pt x="1417973" y="2665619"/>
                  </a:moveTo>
                  <a:cubicBezTo>
                    <a:pt x="1409193" y="2665619"/>
                    <a:pt x="1402608" y="2659034"/>
                    <a:pt x="1402608" y="2650254"/>
                  </a:cubicBezTo>
                  <a:cubicBezTo>
                    <a:pt x="1402608" y="2641474"/>
                    <a:pt x="1409193" y="2634889"/>
                    <a:pt x="1417973" y="2634889"/>
                  </a:cubicBezTo>
                  <a:cubicBezTo>
                    <a:pt x="1426753" y="2634889"/>
                    <a:pt x="1433338" y="2641474"/>
                    <a:pt x="1433338" y="2650254"/>
                  </a:cubicBezTo>
                  <a:cubicBezTo>
                    <a:pt x="1433338" y="2659034"/>
                    <a:pt x="1426753" y="2665619"/>
                    <a:pt x="1417973" y="2665619"/>
                  </a:cubicBezTo>
                  <a:close/>
                  <a:moveTo>
                    <a:pt x="2414506" y="2670010"/>
                  </a:moveTo>
                  <a:cubicBezTo>
                    <a:pt x="2414506" y="2670010"/>
                    <a:pt x="2412311" y="2670010"/>
                    <a:pt x="2412311" y="2667815"/>
                  </a:cubicBezTo>
                  <a:cubicBezTo>
                    <a:pt x="2412311" y="2667815"/>
                    <a:pt x="2412311" y="2665619"/>
                    <a:pt x="2414506" y="2665619"/>
                  </a:cubicBezTo>
                  <a:cubicBezTo>
                    <a:pt x="2414506" y="2665619"/>
                    <a:pt x="2416700" y="2665619"/>
                    <a:pt x="2416700" y="2667815"/>
                  </a:cubicBezTo>
                  <a:cubicBezTo>
                    <a:pt x="2416700" y="2667815"/>
                    <a:pt x="2416700" y="2670010"/>
                    <a:pt x="2414506" y="2670010"/>
                  </a:cubicBezTo>
                  <a:close/>
                  <a:moveTo>
                    <a:pt x="522412" y="2672205"/>
                  </a:moveTo>
                  <a:cubicBezTo>
                    <a:pt x="509241" y="2672205"/>
                    <a:pt x="496071" y="2659035"/>
                    <a:pt x="496071" y="2645865"/>
                  </a:cubicBezTo>
                  <a:cubicBezTo>
                    <a:pt x="496071" y="2632694"/>
                    <a:pt x="507047" y="2619524"/>
                    <a:pt x="522412" y="2619524"/>
                  </a:cubicBezTo>
                  <a:cubicBezTo>
                    <a:pt x="535582" y="2619524"/>
                    <a:pt x="548752" y="2630500"/>
                    <a:pt x="548752" y="2645865"/>
                  </a:cubicBezTo>
                  <a:cubicBezTo>
                    <a:pt x="548752" y="2659035"/>
                    <a:pt x="537776" y="2672205"/>
                    <a:pt x="522412" y="2672205"/>
                  </a:cubicBezTo>
                  <a:close/>
                  <a:moveTo>
                    <a:pt x="195356" y="2674399"/>
                  </a:moveTo>
                  <a:cubicBezTo>
                    <a:pt x="186576" y="2674399"/>
                    <a:pt x="175600" y="2665619"/>
                    <a:pt x="175600" y="2654644"/>
                  </a:cubicBezTo>
                  <a:cubicBezTo>
                    <a:pt x="175600" y="2643669"/>
                    <a:pt x="184380" y="2634889"/>
                    <a:pt x="195356" y="2634889"/>
                  </a:cubicBezTo>
                  <a:cubicBezTo>
                    <a:pt x="206330" y="2634889"/>
                    <a:pt x="215111" y="2643669"/>
                    <a:pt x="215111" y="2654644"/>
                  </a:cubicBezTo>
                  <a:cubicBezTo>
                    <a:pt x="215111" y="2665619"/>
                    <a:pt x="206330" y="2674399"/>
                    <a:pt x="195356" y="2674399"/>
                  </a:cubicBezTo>
                  <a:close/>
                  <a:moveTo>
                    <a:pt x="1648449" y="2691960"/>
                  </a:moveTo>
                  <a:cubicBezTo>
                    <a:pt x="1641864" y="2691960"/>
                    <a:pt x="1635279" y="2685375"/>
                    <a:pt x="1635279" y="2678790"/>
                  </a:cubicBezTo>
                  <a:cubicBezTo>
                    <a:pt x="1635279" y="2672205"/>
                    <a:pt x="1641864" y="2665619"/>
                    <a:pt x="1648449" y="2665619"/>
                  </a:cubicBezTo>
                  <a:cubicBezTo>
                    <a:pt x="1655034" y="2665619"/>
                    <a:pt x="1661619" y="2672205"/>
                    <a:pt x="1661619" y="2678790"/>
                  </a:cubicBezTo>
                  <a:cubicBezTo>
                    <a:pt x="1661619" y="2685375"/>
                    <a:pt x="1655034" y="2691960"/>
                    <a:pt x="1648449" y="2691960"/>
                  </a:cubicBezTo>
                  <a:close/>
                  <a:moveTo>
                    <a:pt x="2144518" y="2700740"/>
                  </a:moveTo>
                  <a:cubicBezTo>
                    <a:pt x="2142324" y="2700740"/>
                    <a:pt x="2137934" y="2698545"/>
                    <a:pt x="2137934" y="2694155"/>
                  </a:cubicBezTo>
                  <a:cubicBezTo>
                    <a:pt x="2137934" y="2689765"/>
                    <a:pt x="2140130" y="2687570"/>
                    <a:pt x="2144518" y="2687570"/>
                  </a:cubicBezTo>
                  <a:cubicBezTo>
                    <a:pt x="2148910" y="2687570"/>
                    <a:pt x="2151104" y="2689765"/>
                    <a:pt x="2151104" y="2694155"/>
                  </a:cubicBezTo>
                  <a:cubicBezTo>
                    <a:pt x="2151104" y="2698545"/>
                    <a:pt x="2148910" y="2700740"/>
                    <a:pt x="2144518" y="2700740"/>
                  </a:cubicBezTo>
                  <a:close/>
                  <a:moveTo>
                    <a:pt x="1889899" y="2705129"/>
                  </a:moveTo>
                  <a:cubicBezTo>
                    <a:pt x="1883314" y="2705129"/>
                    <a:pt x="1878924" y="2700739"/>
                    <a:pt x="1878924" y="2694154"/>
                  </a:cubicBezTo>
                  <a:cubicBezTo>
                    <a:pt x="1878924" y="2687569"/>
                    <a:pt x="1883314" y="2683179"/>
                    <a:pt x="1889899" y="2683179"/>
                  </a:cubicBezTo>
                  <a:cubicBezTo>
                    <a:pt x="1896484" y="2683179"/>
                    <a:pt x="1900874" y="2687569"/>
                    <a:pt x="1900874" y="2694154"/>
                  </a:cubicBezTo>
                  <a:cubicBezTo>
                    <a:pt x="1900874" y="2700739"/>
                    <a:pt x="1896484" y="2705129"/>
                    <a:pt x="1889899" y="2705129"/>
                  </a:cubicBezTo>
                  <a:close/>
                  <a:moveTo>
                    <a:pt x="1064577" y="2711715"/>
                  </a:moveTo>
                  <a:cubicBezTo>
                    <a:pt x="1047017" y="2711715"/>
                    <a:pt x="1029457" y="2696350"/>
                    <a:pt x="1029457" y="2676595"/>
                  </a:cubicBezTo>
                  <a:cubicBezTo>
                    <a:pt x="1029457" y="2656840"/>
                    <a:pt x="1044822" y="2641475"/>
                    <a:pt x="1064577" y="2641475"/>
                  </a:cubicBezTo>
                  <a:cubicBezTo>
                    <a:pt x="1084333" y="2641475"/>
                    <a:pt x="1099698" y="2656840"/>
                    <a:pt x="1099698" y="2676595"/>
                  </a:cubicBezTo>
                  <a:cubicBezTo>
                    <a:pt x="1099698" y="2696350"/>
                    <a:pt x="1084333" y="2711715"/>
                    <a:pt x="1064577" y="2711715"/>
                  </a:cubicBezTo>
                  <a:close/>
                  <a:moveTo>
                    <a:pt x="2539620" y="2716105"/>
                  </a:moveTo>
                  <a:cubicBezTo>
                    <a:pt x="2538522" y="2715008"/>
                    <a:pt x="2538522" y="2713910"/>
                    <a:pt x="2538797" y="2713362"/>
                  </a:cubicBezTo>
                  <a:cubicBezTo>
                    <a:pt x="2539072" y="2712813"/>
                    <a:pt x="2539620" y="2712813"/>
                    <a:pt x="2539620" y="2713910"/>
                  </a:cubicBezTo>
                  <a:cubicBezTo>
                    <a:pt x="2539620" y="2713910"/>
                    <a:pt x="2541816" y="2713910"/>
                    <a:pt x="2539620" y="2716105"/>
                  </a:cubicBezTo>
                  <a:close/>
                  <a:moveTo>
                    <a:pt x="722156" y="2733665"/>
                  </a:moveTo>
                  <a:cubicBezTo>
                    <a:pt x="702402" y="2733665"/>
                    <a:pt x="684841" y="2716104"/>
                    <a:pt x="682647" y="2694155"/>
                  </a:cubicBezTo>
                  <a:cubicBezTo>
                    <a:pt x="682647" y="2672205"/>
                    <a:pt x="700207" y="2654645"/>
                    <a:pt x="722156" y="2654645"/>
                  </a:cubicBezTo>
                  <a:cubicBezTo>
                    <a:pt x="744107" y="2654645"/>
                    <a:pt x="761667" y="2672205"/>
                    <a:pt x="761667" y="2694155"/>
                  </a:cubicBezTo>
                  <a:cubicBezTo>
                    <a:pt x="761667" y="2716104"/>
                    <a:pt x="744107" y="2733665"/>
                    <a:pt x="722156" y="2733665"/>
                  </a:cubicBezTo>
                  <a:close/>
                  <a:moveTo>
                    <a:pt x="390711" y="2740250"/>
                  </a:moveTo>
                  <a:cubicBezTo>
                    <a:pt x="373151" y="2740250"/>
                    <a:pt x="357786" y="2727079"/>
                    <a:pt x="359981" y="2709519"/>
                  </a:cubicBezTo>
                  <a:cubicBezTo>
                    <a:pt x="359981" y="2691959"/>
                    <a:pt x="373151" y="2678789"/>
                    <a:pt x="390711" y="2678789"/>
                  </a:cubicBezTo>
                  <a:cubicBezTo>
                    <a:pt x="408271" y="2678789"/>
                    <a:pt x="421441" y="2691959"/>
                    <a:pt x="421441" y="2709519"/>
                  </a:cubicBezTo>
                  <a:cubicBezTo>
                    <a:pt x="421441" y="2727079"/>
                    <a:pt x="408271" y="2740250"/>
                    <a:pt x="390711" y="2740250"/>
                  </a:cubicBezTo>
                  <a:close/>
                  <a:moveTo>
                    <a:pt x="1281883" y="2742444"/>
                  </a:moveTo>
                  <a:cubicBezTo>
                    <a:pt x="1266518" y="2742444"/>
                    <a:pt x="1255543" y="2731469"/>
                    <a:pt x="1255543" y="2716104"/>
                  </a:cubicBezTo>
                  <a:cubicBezTo>
                    <a:pt x="1255543" y="2700739"/>
                    <a:pt x="1266518" y="2689764"/>
                    <a:pt x="1281883" y="2689764"/>
                  </a:cubicBezTo>
                  <a:cubicBezTo>
                    <a:pt x="1297248" y="2689764"/>
                    <a:pt x="1308223" y="2700739"/>
                    <a:pt x="1308223" y="2716104"/>
                  </a:cubicBezTo>
                  <a:cubicBezTo>
                    <a:pt x="1308223" y="2731469"/>
                    <a:pt x="1297248" y="2742444"/>
                    <a:pt x="1281883" y="2742444"/>
                  </a:cubicBezTo>
                  <a:close/>
                  <a:moveTo>
                    <a:pt x="2260855" y="2764395"/>
                  </a:moveTo>
                  <a:cubicBezTo>
                    <a:pt x="2258659" y="2764395"/>
                    <a:pt x="2256465" y="2762199"/>
                    <a:pt x="2256465" y="2760004"/>
                  </a:cubicBezTo>
                  <a:cubicBezTo>
                    <a:pt x="2256465" y="2757809"/>
                    <a:pt x="2258659" y="2755614"/>
                    <a:pt x="2260855" y="2755614"/>
                  </a:cubicBezTo>
                  <a:cubicBezTo>
                    <a:pt x="2263051" y="2755614"/>
                    <a:pt x="2265245" y="2757809"/>
                    <a:pt x="2265245" y="2760004"/>
                  </a:cubicBezTo>
                  <a:cubicBezTo>
                    <a:pt x="2265245" y="2762199"/>
                    <a:pt x="2263051" y="2764395"/>
                    <a:pt x="2260855" y="2764395"/>
                  </a:cubicBezTo>
                  <a:close/>
                  <a:moveTo>
                    <a:pt x="1507968" y="2766589"/>
                  </a:moveTo>
                  <a:cubicBezTo>
                    <a:pt x="1496994" y="2766589"/>
                    <a:pt x="1490408" y="2757809"/>
                    <a:pt x="1488214" y="2746834"/>
                  </a:cubicBezTo>
                  <a:cubicBezTo>
                    <a:pt x="1488214" y="2735860"/>
                    <a:pt x="1496994" y="2727079"/>
                    <a:pt x="1507968" y="2727079"/>
                  </a:cubicBezTo>
                  <a:cubicBezTo>
                    <a:pt x="1518943" y="2727079"/>
                    <a:pt x="1527723" y="2735860"/>
                    <a:pt x="1527723" y="2746834"/>
                  </a:cubicBezTo>
                  <a:cubicBezTo>
                    <a:pt x="1527723" y="2757809"/>
                    <a:pt x="1518943" y="2766589"/>
                    <a:pt x="1507968" y="2766589"/>
                  </a:cubicBezTo>
                  <a:close/>
                  <a:moveTo>
                    <a:pt x="930682" y="2777565"/>
                  </a:moveTo>
                  <a:cubicBezTo>
                    <a:pt x="910927" y="2777565"/>
                    <a:pt x="893367" y="2762199"/>
                    <a:pt x="893367" y="2740250"/>
                  </a:cubicBezTo>
                  <a:cubicBezTo>
                    <a:pt x="893367" y="2718299"/>
                    <a:pt x="910927" y="2702934"/>
                    <a:pt x="930682" y="2702934"/>
                  </a:cubicBezTo>
                  <a:cubicBezTo>
                    <a:pt x="952633" y="2702934"/>
                    <a:pt x="967997" y="2720494"/>
                    <a:pt x="967997" y="2740250"/>
                  </a:cubicBezTo>
                  <a:cubicBezTo>
                    <a:pt x="967997" y="2762199"/>
                    <a:pt x="950437" y="2777565"/>
                    <a:pt x="930682" y="2777565"/>
                  </a:cubicBezTo>
                  <a:close/>
                  <a:moveTo>
                    <a:pt x="256816" y="2781955"/>
                  </a:moveTo>
                  <a:cubicBezTo>
                    <a:pt x="250230" y="2781955"/>
                    <a:pt x="248036" y="2777565"/>
                    <a:pt x="248036" y="2773175"/>
                  </a:cubicBezTo>
                  <a:cubicBezTo>
                    <a:pt x="248036" y="2768785"/>
                    <a:pt x="252426" y="2764395"/>
                    <a:pt x="256816" y="2764395"/>
                  </a:cubicBezTo>
                  <a:cubicBezTo>
                    <a:pt x="261206" y="2764395"/>
                    <a:pt x="265596" y="2768785"/>
                    <a:pt x="265596" y="2773175"/>
                  </a:cubicBezTo>
                  <a:cubicBezTo>
                    <a:pt x="265596" y="2777565"/>
                    <a:pt x="261206" y="2781955"/>
                    <a:pt x="256816" y="2781955"/>
                  </a:cubicBezTo>
                  <a:close/>
                  <a:moveTo>
                    <a:pt x="1745028" y="2781955"/>
                  </a:moveTo>
                  <a:cubicBezTo>
                    <a:pt x="1738444" y="2781955"/>
                    <a:pt x="1734053" y="2775369"/>
                    <a:pt x="1731859" y="2768785"/>
                  </a:cubicBezTo>
                  <a:cubicBezTo>
                    <a:pt x="1731859" y="2762199"/>
                    <a:pt x="1738444" y="2755614"/>
                    <a:pt x="1745028" y="2755614"/>
                  </a:cubicBezTo>
                  <a:cubicBezTo>
                    <a:pt x="1751614" y="2755614"/>
                    <a:pt x="1758198" y="2762199"/>
                    <a:pt x="1758198" y="2768785"/>
                  </a:cubicBezTo>
                  <a:cubicBezTo>
                    <a:pt x="1758198" y="2775369"/>
                    <a:pt x="1751614" y="2781955"/>
                    <a:pt x="1745028" y="2781955"/>
                  </a:cubicBezTo>
                  <a:close/>
                  <a:moveTo>
                    <a:pt x="1995259" y="2781955"/>
                  </a:moveTo>
                  <a:cubicBezTo>
                    <a:pt x="1990410" y="2781955"/>
                    <a:pt x="1986479" y="2778023"/>
                    <a:pt x="1986479" y="2773175"/>
                  </a:cubicBezTo>
                  <a:cubicBezTo>
                    <a:pt x="1986479" y="2768325"/>
                    <a:pt x="1990410" y="2764395"/>
                    <a:pt x="1995259" y="2764395"/>
                  </a:cubicBezTo>
                  <a:cubicBezTo>
                    <a:pt x="2000109" y="2764395"/>
                    <a:pt x="2004039" y="2768326"/>
                    <a:pt x="2004039" y="2773175"/>
                  </a:cubicBezTo>
                  <a:cubicBezTo>
                    <a:pt x="2004039" y="2778024"/>
                    <a:pt x="2000109" y="2781955"/>
                    <a:pt x="1995259" y="2781955"/>
                  </a:cubicBezTo>
                  <a:close/>
                  <a:moveTo>
                    <a:pt x="588261" y="2795125"/>
                  </a:moveTo>
                  <a:cubicBezTo>
                    <a:pt x="570701" y="2795125"/>
                    <a:pt x="555336" y="2779759"/>
                    <a:pt x="555336" y="2762199"/>
                  </a:cubicBezTo>
                  <a:cubicBezTo>
                    <a:pt x="555336" y="2744640"/>
                    <a:pt x="568506" y="2729274"/>
                    <a:pt x="588261" y="2729274"/>
                  </a:cubicBezTo>
                  <a:cubicBezTo>
                    <a:pt x="605821" y="2729274"/>
                    <a:pt x="621186" y="2742444"/>
                    <a:pt x="621186" y="2762199"/>
                  </a:cubicBezTo>
                  <a:cubicBezTo>
                    <a:pt x="621186" y="2779759"/>
                    <a:pt x="608016" y="2795125"/>
                    <a:pt x="588261" y="2795125"/>
                  </a:cubicBezTo>
                  <a:close/>
                  <a:moveTo>
                    <a:pt x="1145793" y="2817074"/>
                  </a:moveTo>
                  <a:cubicBezTo>
                    <a:pt x="1126038" y="2817074"/>
                    <a:pt x="1110672" y="2801710"/>
                    <a:pt x="1110672" y="2781955"/>
                  </a:cubicBezTo>
                  <a:cubicBezTo>
                    <a:pt x="1110672" y="2762199"/>
                    <a:pt x="1126038" y="2746834"/>
                    <a:pt x="1145793" y="2746834"/>
                  </a:cubicBezTo>
                  <a:cubicBezTo>
                    <a:pt x="1165548" y="2746834"/>
                    <a:pt x="1180912" y="2762199"/>
                    <a:pt x="1180912" y="2781955"/>
                  </a:cubicBezTo>
                  <a:cubicBezTo>
                    <a:pt x="1180912" y="2801710"/>
                    <a:pt x="1165548" y="2817074"/>
                    <a:pt x="1145793" y="2817074"/>
                  </a:cubicBezTo>
                  <a:close/>
                  <a:moveTo>
                    <a:pt x="2381579" y="2823660"/>
                  </a:moveTo>
                  <a:cubicBezTo>
                    <a:pt x="2377191" y="2823660"/>
                    <a:pt x="2372799" y="2819270"/>
                    <a:pt x="2372799" y="2814880"/>
                  </a:cubicBezTo>
                  <a:cubicBezTo>
                    <a:pt x="2372799" y="2810490"/>
                    <a:pt x="2377191" y="2806100"/>
                    <a:pt x="2381579" y="2806100"/>
                  </a:cubicBezTo>
                  <a:cubicBezTo>
                    <a:pt x="2385971" y="2806100"/>
                    <a:pt x="2390360" y="2810490"/>
                    <a:pt x="2390360" y="2814880"/>
                  </a:cubicBezTo>
                  <a:cubicBezTo>
                    <a:pt x="2390360" y="2819270"/>
                    <a:pt x="2385971" y="2823660"/>
                    <a:pt x="2381579" y="2823660"/>
                  </a:cubicBezTo>
                  <a:close/>
                  <a:moveTo>
                    <a:pt x="794592" y="2852195"/>
                  </a:moveTo>
                  <a:cubicBezTo>
                    <a:pt x="770447" y="2852195"/>
                    <a:pt x="748497" y="2832440"/>
                    <a:pt x="748497" y="2806100"/>
                  </a:cubicBezTo>
                  <a:cubicBezTo>
                    <a:pt x="748497" y="2779759"/>
                    <a:pt x="768252" y="2760004"/>
                    <a:pt x="794592" y="2760004"/>
                  </a:cubicBezTo>
                  <a:cubicBezTo>
                    <a:pt x="820932" y="2760004"/>
                    <a:pt x="840687" y="2779759"/>
                    <a:pt x="840687" y="2806100"/>
                  </a:cubicBezTo>
                  <a:cubicBezTo>
                    <a:pt x="840687" y="2832440"/>
                    <a:pt x="820932" y="2852195"/>
                    <a:pt x="794592" y="2852195"/>
                  </a:cubicBezTo>
                  <a:close/>
                  <a:moveTo>
                    <a:pt x="1369682" y="2852195"/>
                  </a:moveTo>
                  <a:cubicBezTo>
                    <a:pt x="1349928" y="2852195"/>
                    <a:pt x="1332367" y="2836830"/>
                    <a:pt x="1332367" y="2814880"/>
                  </a:cubicBezTo>
                  <a:cubicBezTo>
                    <a:pt x="1332367" y="2792929"/>
                    <a:pt x="1349928" y="2777565"/>
                    <a:pt x="1369682" y="2777565"/>
                  </a:cubicBezTo>
                  <a:cubicBezTo>
                    <a:pt x="1391633" y="2777565"/>
                    <a:pt x="1406998" y="2795125"/>
                    <a:pt x="1406998" y="2814880"/>
                  </a:cubicBezTo>
                  <a:cubicBezTo>
                    <a:pt x="1406998" y="2836830"/>
                    <a:pt x="1389438" y="2852195"/>
                    <a:pt x="1369682" y="2852195"/>
                  </a:cubicBezTo>
                  <a:close/>
                  <a:moveTo>
                    <a:pt x="2109399" y="2856585"/>
                  </a:moveTo>
                  <a:cubicBezTo>
                    <a:pt x="2102815" y="2856585"/>
                    <a:pt x="2096230" y="2852195"/>
                    <a:pt x="2096230" y="2843415"/>
                  </a:cubicBezTo>
                  <a:cubicBezTo>
                    <a:pt x="2096230" y="2836830"/>
                    <a:pt x="2102815" y="2830245"/>
                    <a:pt x="2109399" y="2830245"/>
                  </a:cubicBezTo>
                  <a:cubicBezTo>
                    <a:pt x="2115984" y="2830245"/>
                    <a:pt x="2122570" y="2836830"/>
                    <a:pt x="2122570" y="2843415"/>
                  </a:cubicBezTo>
                  <a:cubicBezTo>
                    <a:pt x="2122570" y="2849999"/>
                    <a:pt x="2115984" y="2856585"/>
                    <a:pt x="2109399" y="2856585"/>
                  </a:cubicBezTo>
                  <a:close/>
                  <a:moveTo>
                    <a:pt x="454366" y="2858780"/>
                  </a:moveTo>
                  <a:cubicBezTo>
                    <a:pt x="436806" y="2858780"/>
                    <a:pt x="419246" y="2843415"/>
                    <a:pt x="419246" y="2823660"/>
                  </a:cubicBezTo>
                  <a:cubicBezTo>
                    <a:pt x="419246" y="2803904"/>
                    <a:pt x="434611" y="2788539"/>
                    <a:pt x="454366" y="2788539"/>
                  </a:cubicBezTo>
                  <a:cubicBezTo>
                    <a:pt x="474122" y="2788539"/>
                    <a:pt x="489487" y="2803904"/>
                    <a:pt x="489487" y="2823660"/>
                  </a:cubicBezTo>
                  <a:cubicBezTo>
                    <a:pt x="489487" y="2843415"/>
                    <a:pt x="474122" y="2858780"/>
                    <a:pt x="454366" y="2858780"/>
                  </a:cubicBezTo>
                  <a:close/>
                  <a:moveTo>
                    <a:pt x="2506696" y="2867560"/>
                  </a:moveTo>
                  <a:cubicBezTo>
                    <a:pt x="2502304" y="2867560"/>
                    <a:pt x="2497916" y="2863170"/>
                    <a:pt x="2497916" y="2858780"/>
                  </a:cubicBezTo>
                  <a:cubicBezTo>
                    <a:pt x="2497916" y="2854389"/>
                    <a:pt x="2502304" y="2849999"/>
                    <a:pt x="2506696" y="2849999"/>
                  </a:cubicBezTo>
                  <a:cubicBezTo>
                    <a:pt x="2511084" y="2849999"/>
                    <a:pt x="2515476" y="2854389"/>
                    <a:pt x="2515476" y="2858780"/>
                  </a:cubicBezTo>
                  <a:cubicBezTo>
                    <a:pt x="2515476" y="2863170"/>
                    <a:pt x="2511084" y="2867560"/>
                    <a:pt x="2506696" y="2867560"/>
                  </a:cubicBezTo>
                  <a:close/>
                  <a:moveTo>
                    <a:pt x="1604549" y="2869755"/>
                  </a:moveTo>
                  <a:cubicBezTo>
                    <a:pt x="1586989" y="2869755"/>
                    <a:pt x="1576014" y="2856585"/>
                    <a:pt x="1576014" y="2841220"/>
                  </a:cubicBezTo>
                  <a:cubicBezTo>
                    <a:pt x="1576014" y="2825855"/>
                    <a:pt x="1589184" y="2812684"/>
                    <a:pt x="1604549" y="2812684"/>
                  </a:cubicBezTo>
                  <a:cubicBezTo>
                    <a:pt x="1619914" y="2812684"/>
                    <a:pt x="1633084" y="2825855"/>
                    <a:pt x="1633084" y="2841220"/>
                  </a:cubicBezTo>
                  <a:cubicBezTo>
                    <a:pt x="1633084" y="2856585"/>
                    <a:pt x="1619914" y="2869755"/>
                    <a:pt x="1604549" y="2869755"/>
                  </a:cubicBezTo>
                  <a:close/>
                  <a:moveTo>
                    <a:pt x="1850389" y="2874144"/>
                  </a:moveTo>
                  <a:cubicBezTo>
                    <a:pt x="1837219" y="2874144"/>
                    <a:pt x="1826244" y="2865365"/>
                    <a:pt x="1826244" y="2849999"/>
                  </a:cubicBezTo>
                  <a:cubicBezTo>
                    <a:pt x="1826244" y="2836830"/>
                    <a:pt x="1837219" y="2825855"/>
                    <a:pt x="1850389" y="2825855"/>
                  </a:cubicBezTo>
                  <a:cubicBezTo>
                    <a:pt x="1863559" y="2825855"/>
                    <a:pt x="1874534" y="2836830"/>
                    <a:pt x="1874534" y="2849999"/>
                  </a:cubicBezTo>
                  <a:cubicBezTo>
                    <a:pt x="1874534" y="2863170"/>
                    <a:pt x="1863559" y="2874144"/>
                    <a:pt x="1850389" y="2874144"/>
                  </a:cubicBezTo>
                  <a:close/>
                  <a:moveTo>
                    <a:pt x="1009702" y="2891704"/>
                  </a:moveTo>
                  <a:cubicBezTo>
                    <a:pt x="985557" y="2891704"/>
                    <a:pt x="967997" y="2871950"/>
                    <a:pt x="967997" y="2849999"/>
                  </a:cubicBezTo>
                  <a:cubicBezTo>
                    <a:pt x="967997" y="2828050"/>
                    <a:pt x="985557" y="2808294"/>
                    <a:pt x="1009702" y="2808294"/>
                  </a:cubicBezTo>
                  <a:cubicBezTo>
                    <a:pt x="1031652" y="2808294"/>
                    <a:pt x="1051407" y="2825855"/>
                    <a:pt x="1051407" y="2849999"/>
                  </a:cubicBezTo>
                  <a:cubicBezTo>
                    <a:pt x="1051407" y="2871950"/>
                    <a:pt x="1033847" y="2891704"/>
                    <a:pt x="1009702" y="2891704"/>
                  </a:cubicBezTo>
                  <a:close/>
                  <a:moveTo>
                    <a:pt x="2225735" y="2915850"/>
                  </a:moveTo>
                  <a:cubicBezTo>
                    <a:pt x="2221344" y="2915850"/>
                    <a:pt x="2216954" y="2911460"/>
                    <a:pt x="2216954" y="2907069"/>
                  </a:cubicBezTo>
                  <a:cubicBezTo>
                    <a:pt x="2216954" y="2902680"/>
                    <a:pt x="2221344" y="2898290"/>
                    <a:pt x="2225735" y="2898290"/>
                  </a:cubicBezTo>
                  <a:cubicBezTo>
                    <a:pt x="2230124" y="2898290"/>
                    <a:pt x="2234515" y="2902680"/>
                    <a:pt x="2234515" y="2907069"/>
                  </a:cubicBezTo>
                  <a:cubicBezTo>
                    <a:pt x="2234515" y="2911460"/>
                    <a:pt x="2230124" y="2915850"/>
                    <a:pt x="2225735" y="2915850"/>
                  </a:cubicBezTo>
                  <a:close/>
                  <a:moveTo>
                    <a:pt x="320471" y="2918045"/>
                  </a:moveTo>
                  <a:cubicBezTo>
                    <a:pt x="305106" y="2918045"/>
                    <a:pt x="291936" y="2904875"/>
                    <a:pt x="291936" y="2889510"/>
                  </a:cubicBezTo>
                  <a:cubicBezTo>
                    <a:pt x="291936" y="2874144"/>
                    <a:pt x="305106" y="2860975"/>
                    <a:pt x="320471" y="2860975"/>
                  </a:cubicBezTo>
                  <a:cubicBezTo>
                    <a:pt x="335836" y="2860975"/>
                    <a:pt x="349006" y="2874144"/>
                    <a:pt x="349006" y="2889510"/>
                  </a:cubicBezTo>
                  <a:cubicBezTo>
                    <a:pt x="349006" y="2904875"/>
                    <a:pt x="335836" y="2918045"/>
                    <a:pt x="320471" y="2918045"/>
                  </a:cubicBezTo>
                  <a:close/>
                  <a:moveTo>
                    <a:pt x="660696" y="2918045"/>
                  </a:moveTo>
                  <a:cubicBezTo>
                    <a:pt x="634356" y="2918045"/>
                    <a:pt x="614601" y="2898290"/>
                    <a:pt x="614601" y="2871950"/>
                  </a:cubicBezTo>
                  <a:cubicBezTo>
                    <a:pt x="614601" y="2845609"/>
                    <a:pt x="634356" y="2825855"/>
                    <a:pt x="660696" y="2825855"/>
                  </a:cubicBezTo>
                  <a:cubicBezTo>
                    <a:pt x="687037" y="2825855"/>
                    <a:pt x="706792" y="2845609"/>
                    <a:pt x="706792" y="2871950"/>
                  </a:cubicBezTo>
                  <a:cubicBezTo>
                    <a:pt x="706792" y="2898290"/>
                    <a:pt x="687037" y="2918045"/>
                    <a:pt x="660696" y="2918045"/>
                  </a:cubicBezTo>
                  <a:close/>
                  <a:moveTo>
                    <a:pt x="1231398" y="2924630"/>
                  </a:moveTo>
                  <a:cubicBezTo>
                    <a:pt x="1207253" y="2924630"/>
                    <a:pt x="1189693" y="2907069"/>
                    <a:pt x="1189693" y="2882925"/>
                  </a:cubicBezTo>
                  <a:cubicBezTo>
                    <a:pt x="1189693" y="2858780"/>
                    <a:pt x="1209448" y="2841220"/>
                    <a:pt x="1231398" y="2841220"/>
                  </a:cubicBezTo>
                  <a:cubicBezTo>
                    <a:pt x="1255543" y="2841220"/>
                    <a:pt x="1273103" y="2860975"/>
                    <a:pt x="1273103" y="2882925"/>
                  </a:cubicBezTo>
                  <a:cubicBezTo>
                    <a:pt x="1273103" y="2907069"/>
                    <a:pt x="1253348" y="2924630"/>
                    <a:pt x="1231398" y="2924630"/>
                  </a:cubicBezTo>
                  <a:close/>
                  <a:moveTo>
                    <a:pt x="1960140" y="2946580"/>
                  </a:moveTo>
                  <a:cubicBezTo>
                    <a:pt x="1949164" y="2946580"/>
                    <a:pt x="1940384" y="2937800"/>
                    <a:pt x="1940384" y="2926825"/>
                  </a:cubicBezTo>
                  <a:cubicBezTo>
                    <a:pt x="1940384" y="2915850"/>
                    <a:pt x="1949164" y="2907069"/>
                    <a:pt x="1960140" y="2907069"/>
                  </a:cubicBezTo>
                  <a:cubicBezTo>
                    <a:pt x="1971114" y="2907069"/>
                    <a:pt x="1979894" y="2915850"/>
                    <a:pt x="1979894" y="2926825"/>
                  </a:cubicBezTo>
                  <a:cubicBezTo>
                    <a:pt x="1979894" y="2937800"/>
                    <a:pt x="1971114" y="2946580"/>
                    <a:pt x="1960140" y="2946580"/>
                  </a:cubicBezTo>
                  <a:close/>
                  <a:moveTo>
                    <a:pt x="1461873" y="2948775"/>
                  </a:moveTo>
                  <a:cubicBezTo>
                    <a:pt x="1442118" y="2948775"/>
                    <a:pt x="1426753" y="2931215"/>
                    <a:pt x="1424558" y="2911460"/>
                  </a:cubicBezTo>
                  <a:cubicBezTo>
                    <a:pt x="1424558" y="2889510"/>
                    <a:pt x="1442118" y="2874144"/>
                    <a:pt x="1461873" y="2874144"/>
                  </a:cubicBezTo>
                  <a:cubicBezTo>
                    <a:pt x="1483823" y="2874144"/>
                    <a:pt x="1499188" y="2891705"/>
                    <a:pt x="1499188" y="2911460"/>
                  </a:cubicBezTo>
                  <a:cubicBezTo>
                    <a:pt x="1499188" y="2933410"/>
                    <a:pt x="1481628" y="2948775"/>
                    <a:pt x="1461873" y="2948775"/>
                  </a:cubicBezTo>
                  <a:close/>
                  <a:moveTo>
                    <a:pt x="1705519" y="2953165"/>
                  </a:moveTo>
                  <a:cubicBezTo>
                    <a:pt x="1690154" y="2953165"/>
                    <a:pt x="1676983" y="2942190"/>
                    <a:pt x="1679178" y="2926825"/>
                  </a:cubicBezTo>
                  <a:cubicBezTo>
                    <a:pt x="1679178" y="2913655"/>
                    <a:pt x="1690154" y="2900485"/>
                    <a:pt x="1705519" y="2900485"/>
                  </a:cubicBezTo>
                  <a:cubicBezTo>
                    <a:pt x="1718689" y="2900485"/>
                    <a:pt x="1731859" y="2911460"/>
                    <a:pt x="1731859" y="2926825"/>
                  </a:cubicBezTo>
                  <a:cubicBezTo>
                    <a:pt x="1731859" y="2939995"/>
                    <a:pt x="1720883" y="2953165"/>
                    <a:pt x="1705519" y="2953165"/>
                  </a:cubicBezTo>
                  <a:close/>
                  <a:moveTo>
                    <a:pt x="873612" y="2961945"/>
                  </a:moveTo>
                  <a:cubicBezTo>
                    <a:pt x="847272" y="2961945"/>
                    <a:pt x="827517" y="2939995"/>
                    <a:pt x="827517" y="2915850"/>
                  </a:cubicBezTo>
                  <a:cubicBezTo>
                    <a:pt x="827517" y="2889510"/>
                    <a:pt x="847272" y="2869755"/>
                    <a:pt x="873612" y="2869755"/>
                  </a:cubicBezTo>
                  <a:cubicBezTo>
                    <a:pt x="899953" y="2869755"/>
                    <a:pt x="919708" y="2889510"/>
                    <a:pt x="919708" y="2915850"/>
                  </a:cubicBezTo>
                  <a:cubicBezTo>
                    <a:pt x="919708" y="2942190"/>
                    <a:pt x="899953" y="2961945"/>
                    <a:pt x="873612" y="2961945"/>
                  </a:cubicBezTo>
                  <a:close/>
                  <a:moveTo>
                    <a:pt x="526802" y="2972920"/>
                  </a:moveTo>
                  <a:cubicBezTo>
                    <a:pt x="507047" y="2972920"/>
                    <a:pt x="491681" y="2957555"/>
                    <a:pt x="491681" y="2937800"/>
                  </a:cubicBezTo>
                  <a:cubicBezTo>
                    <a:pt x="491681" y="2918045"/>
                    <a:pt x="507047" y="2902680"/>
                    <a:pt x="526802" y="2902680"/>
                  </a:cubicBezTo>
                  <a:cubicBezTo>
                    <a:pt x="546556" y="2902680"/>
                    <a:pt x="561922" y="2918045"/>
                    <a:pt x="561922" y="2937800"/>
                  </a:cubicBezTo>
                  <a:cubicBezTo>
                    <a:pt x="561922" y="2957555"/>
                    <a:pt x="546556" y="2972920"/>
                    <a:pt x="526802" y="2972920"/>
                  </a:cubicBezTo>
                  <a:close/>
                  <a:moveTo>
                    <a:pt x="2348655" y="2972920"/>
                  </a:moveTo>
                  <a:cubicBezTo>
                    <a:pt x="2342071" y="2972920"/>
                    <a:pt x="2335485" y="2966335"/>
                    <a:pt x="2335485" y="2959750"/>
                  </a:cubicBezTo>
                  <a:cubicBezTo>
                    <a:pt x="2335485" y="2953165"/>
                    <a:pt x="2342071" y="2946580"/>
                    <a:pt x="2348655" y="2946580"/>
                  </a:cubicBezTo>
                  <a:cubicBezTo>
                    <a:pt x="2355239" y="2946580"/>
                    <a:pt x="2361825" y="2953165"/>
                    <a:pt x="2361825" y="2959750"/>
                  </a:cubicBezTo>
                  <a:cubicBezTo>
                    <a:pt x="2361825" y="2966335"/>
                    <a:pt x="2355239" y="2972920"/>
                    <a:pt x="2348655" y="2972920"/>
                  </a:cubicBezTo>
                  <a:close/>
                  <a:moveTo>
                    <a:pt x="1093112" y="2990480"/>
                  </a:moveTo>
                  <a:cubicBezTo>
                    <a:pt x="1071162" y="2990480"/>
                    <a:pt x="1055797" y="2972920"/>
                    <a:pt x="1055797" y="2953165"/>
                  </a:cubicBezTo>
                  <a:cubicBezTo>
                    <a:pt x="1055797" y="2933410"/>
                    <a:pt x="1071162" y="2915850"/>
                    <a:pt x="1093112" y="2915850"/>
                  </a:cubicBezTo>
                  <a:cubicBezTo>
                    <a:pt x="1112868" y="2915850"/>
                    <a:pt x="1130428" y="2931215"/>
                    <a:pt x="1130428" y="2953165"/>
                  </a:cubicBezTo>
                  <a:cubicBezTo>
                    <a:pt x="1130428" y="2972920"/>
                    <a:pt x="1115062" y="2990480"/>
                    <a:pt x="1093112" y="2990480"/>
                  </a:cubicBezTo>
                  <a:close/>
                  <a:moveTo>
                    <a:pt x="2074279" y="3012430"/>
                  </a:moveTo>
                  <a:cubicBezTo>
                    <a:pt x="2063304" y="3012430"/>
                    <a:pt x="2056718" y="3003650"/>
                    <a:pt x="2056718" y="2994870"/>
                  </a:cubicBezTo>
                  <a:cubicBezTo>
                    <a:pt x="2056718" y="2986090"/>
                    <a:pt x="2065498" y="2977311"/>
                    <a:pt x="2074279" y="2977311"/>
                  </a:cubicBezTo>
                  <a:cubicBezTo>
                    <a:pt x="2083059" y="2977311"/>
                    <a:pt x="2091839" y="2986090"/>
                    <a:pt x="2091839" y="2994870"/>
                  </a:cubicBezTo>
                  <a:cubicBezTo>
                    <a:pt x="2091839" y="3003650"/>
                    <a:pt x="2083059" y="3012430"/>
                    <a:pt x="2074279" y="3012430"/>
                  </a:cubicBezTo>
                  <a:close/>
                  <a:moveTo>
                    <a:pt x="2473770" y="3016820"/>
                  </a:moveTo>
                  <a:cubicBezTo>
                    <a:pt x="2467184" y="3016820"/>
                    <a:pt x="2460600" y="3010235"/>
                    <a:pt x="2460600" y="3003649"/>
                  </a:cubicBezTo>
                  <a:cubicBezTo>
                    <a:pt x="2460600" y="2997064"/>
                    <a:pt x="2467184" y="2990480"/>
                    <a:pt x="2473770" y="2990480"/>
                  </a:cubicBezTo>
                  <a:cubicBezTo>
                    <a:pt x="2480356" y="2990480"/>
                    <a:pt x="2486940" y="2997064"/>
                    <a:pt x="2486940" y="3003649"/>
                  </a:cubicBezTo>
                  <a:cubicBezTo>
                    <a:pt x="2486940" y="3010235"/>
                    <a:pt x="2480356" y="3016820"/>
                    <a:pt x="2473770" y="3016820"/>
                  </a:cubicBezTo>
                  <a:close/>
                  <a:moveTo>
                    <a:pt x="390711" y="3021210"/>
                  </a:moveTo>
                  <a:cubicBezTo>
                    <a:pt x="381931" y="3021210"/>
                    <a:pt x="373151" y="3012430"/>
                    <a:pt x="370956" y="3001455"/>
                  </a:cubicBezTo>
                  <a:cubicBezTo>
                    <a:pt x="370956" y="2990480"/>
                    <a:pt x="379736" y="2981700"/>
                    <a:pt x="390711" y="2981700"/>
                  </a:cubicBezTo>
                  <a:cubicBezTo>
                    <a:pt x="401686" y="2981700"/>
                    <a:pt x="410466" y="2990480"/>
                    <a:pt x="410466" y="3001455"/>
                  </a:cubicBezTo>
                  <a:cubicBezTo>
                    <a:pt x="410466" y="3012430"/>
                    <a:pt x="401686" y="3021210"/>
                    <a:pt x="390711" y="3021210"/>
                  </a:cubicBezTo>
                  <a:close/>
                  <a:moveTo>
                    <a:pt x="1321393" y="3023405"/>
                  </a:moveTo>
                  <a:cubicBezTo>
                    <a:pt x="1299443" y="3023405"/>
                    <a:pt x="1279688" y="3003650"/>
                    <a:pt x="1279688" y="2981700"/>
                  </a:cubicBezTo>
                  <a:cubicBezTo>
                    <a:pt x="1279688" y="2959750"/>
                    <a:pt x="1297248" y="2939995"/>
                    <a:pt x="1321393" y="2939995"/>
                  </a:cubicBezTo>
                  <a:cubicBezTo>
                    <a:pt x="1343343" y="2939995"/>
                    <a:pt x="1363099" y="2959750"/>
                    <a:pt x="1363099" y="2981700"/>
                  </a:cubicBezTo>
                  <a:cubicBezTo>
                    <a:pt x="1363099" y="3003650"/>
                    <a:pt x="1345539" y="3023405"/>
                    <a:pt x="1321393" y="3023405"/>
                  </a:cubicBezTo>
                  <a:close/>
                  <a:moveTo>
                    <a:pt x="737522" y="3029990"/>
                  </a:moveTo>
                  <a:cubicBezTo>
                    <a:pt x="708987" y="3029990"/>
                    <a:pt x="687037" y="3008040"/>
                    <a:pt x="689232" y="2981700"/>
                  </a:cubicBezTo>
                  <a:cubicBezTo>
                    <a:pt x="689232" y="2955360"/>
                    <a:pt x="711182" y="2933410"/>
                    <a:pt x="737522" y="2933410"/>
                  </a:cubicBezTo>
                  <a:cubicBezTo>
                    <a:pt x="763861" y="2933410"/>
                    <a:pt x="785812" y="2955360"/>
                    <a:pt x="785812" y="2981700"/>
                  </a:cubicBezTo>
                  <a:cubicBezTo>
                    <a:pt x="785812" y="3008040"/>
                    <a:pt x="763861" y="3029990"/>
                    <a:pt x="737522" y="3029990"/>
                  </a:cubicBezTo>
                  <a:close/>
                  <a:moveTo>
                    <a:pt x="1810879" y="3036575"/>
                  </a:moveTo>
                  <a:cubicBezTo>
                    <a:pt x="1793319" y="3036575"/>
                    <a:pt x="1780149" y="3023405"/>
                    <a:pt x="1780149" y="3005846"/>
                  </a:cubicBezTo>
                  <a:cubicBezTo>
                    <a:pt x="1780149" y="2988285"/>
                    <a:pt x="1793319" y="2975115"/>
                    <a:pt x="1810879" y="2975115"/>
                  </a:cubicBezTo>
                  <a:cubicBezTo>
                    <a:pt x="1828439" y="2975115"/>
                    <a:pt x="1841609" y="2988285"/>
                    <a:pt x="1841609" y="3005846"/>
                  </a:cubicBezTo>
                  <a:cubicBezTo>
                    <a:pt x="1841609" y="3023405"/>
                    <a:pt x="1828439" y="3036575"/>
                    <a:pt x="1810879" y="3036575"/>
                  </a:cubicBezTo>
                  <a:close/>
                  <a:moveTo>
                    <a:pt x="1560648" y="3040965"/>
                  </a:moveTo>
                  <a:cubicBezTo>
                    <a:pt x="1538699" y="3040965"/>
                    <a:pt x="1521139" y="3021210"/>
                    <a:pt x="1521139" y="3001455"/>
                  </a:cubicBezTo>
                  <a:cubicBezTo>
                    <a:pt x="1521139" y="2979505"/>
                    <a:pt x="1538699" y="2961945"/>
                    <a:pt x="1560648" y="2961945"/>
                  </a:cubicBezTo>
                  <a:cubicBezTo>
                    <a:pt x="1582598" y="2961945"/>
                    <a:pt x="1600159" y="2979505"/>
                    <a:pt x="1600159" y="3001455"/>
                  </a:cubicBezTo>
                  <a:cubicBezTo>
                    <a:pt x="1600159" y="3023405"/>
                    <a:pt x="1582598" y="3040965"/>
                    <a:pt x="1560648" y="3040965"/>
                  </a:cubicBezTo>
                  <a:close/>
                  <a:moveTo>
                    <a:pt x="2601080" y="3047550"/>
                  </a:moveTo>
                  <a:cubicBezTo>
                    <a:pt x="2596690" y="3047550"/>
                    <a:pt x="2592300" y="3043160"/>
                    <a:pt x="2592300" y="3038769"/>
                  </a:cubicBezTo>
                  <a:cubicBezTo>
                    <a:pt x="2592300" y="3034379"/>
                    <a:pt x="2596690" y="3029990"/>
                    <a:pt x="2601080" y="3029990"/>
                  </a:cubicBezTo>
                  <a:cubicBezTo>
                    <a:pt x="2605470" y="3029990"/>
                    <a:pt x="2609860" y="3034379"/>
                    <a:pt x="2609860" y="3038769"/>
                  </a:cubicBezTo>
                  <a:cubicBezTo>
                    <a:pt x="2609860" y="3043160"/>
                    <a:pt x="2605470" y="3047550"/>
                    <a:pt x="2601080" y="3047550"/>
                  </a:cubicBezTo>
                  <a:close/>
                  <a:moveTo>
                    <a:pt x="954827" y="3062915"/>
                  </a:moveTo>
                  <a:cubicBezTo>
                    <a:pt x="930682" y="3062915"/>
                    <a:pt x="910927" y="3043161"/>
                    <a:pt x="910927" y="3019016"/>
                  </a:cubicBezTo>
                  <a:cubicBezTo>
                    <a:pt x="910927" y="2994870"/>
                    <a:pt x="930682" y="2975115"/>
                    <a:pt x="954827" y="2975115"/>
                  </a:cubicBezTo>
                  <a:cubicBezTo>
                    <a:pt x="978973" y="2975115"/>
                    <a:pt x="998728" y="2994870"/>
                    <a:pt x="998728" y="3019016"/>
                  </a:cubicBezTo>
                  <a:cubicBezTo>
                    <a:pt x="998728" y="3043161"/>
                    <a:pt x="978973" y="3062915"/>
                    <a:pt x="954827" y="3062915"/>
                  </a:cubicBezTo>
                  <a:close/>
                  <a:moveTo>
                    <a:pt x="2192810" y="3071696"/>
                  </a:moveTo>
                  <a:cubicBezTo>
                    <a:pt x="2181835" y="3071696"/>
                    <a:pt x="2175250" y="3062915"/>
                    <a:pt x="2175250" y="3054135"/>
                  </a:cubicBezTo>
                  <a:cubicBezTo>
                    <a:pt x="2175250" y="3045355"/>
                    <a:pt x="2184030" y="3036575"/>
                    <a:pt x="2192810" y="3036575"/>
                  </a:cubicBezTo>
                  <a:cubicBezTo>
                    <a:pt x="2201591" y="3036575"/>
                    <a:pt x="2210370" y="3045355"/>
                    <a:pt x="2210370" y="3054135"/>
                  </a:cubicBezTo>
                  <a:cubicBezTo>
                    <a:pt x="2210370" y="3062915"/>
                    <a:pt x="2201591" y="3071696"/>
                    <a:pt x="2192810" y="3071696"/>
                  </a:cubicBezTo>
                  <a:close/>
                  <a:moveTo>
                    <a:pt x="1183108" y="3093646"/>
                  </a:moveTo>
                  <a:cubicBezTo>
                    <a:pt x="1158963" y="3093646"/>
                    <a:pt x="1139207" y="3073891"/>
                    <a:pt x="1141403" y="3051941"/>
                  </a:cubicBezTo>
                  <a:cubicBezTo>
                    <a:pt x="1141403" y="3029990"/>
                    <a:pt x="1158963" y="3010236"/>
                    <a:pt x="1183108" y="3010236"/>
                  </a:cubicBezTo>
                  <a:cubicBezTo>
                    <a:pt x="1205058" y="3010236"/>
                    <a:pt x="1224813" y="3027795"/>
                    <a:pt x="1224813" y="3051941"/>
                  </a:cubicBezTo>
                  <a:cubicBezTo>
                    <a:pt x="1224813" y="3073891"/>
                    <a:pt x="1207253" y="3093646"/>
                    <a:pt x="1183108" y="3093646"/>
                  </a:cubicBezTo>
                  <a:close/>
                  <a:moveTo>
                    <a:pt x="601432" y="3095840"/>
                  </a:moveTo>
                  <a:cubicBezTo>
                    <a:pt x="575091" y="3095840"/>
                    <a:pt x="553142" y="3073891"/>
                    <a:pt x="553142" y="3047551"/>
                  </a:cubicBezTo>
                  <a:cubicBezTo>
                    <a:pt x="553142" y="3021210"/>
                    <a:pt x="575091" y="2999260"/>
                    <a:pt x="601432" y="2999260"/>
                  </a:cubicBezTo>
                  <a:cubicBezTo>
                    <a:pt x="627772" y="2999260"/>
                    <a:pt x="649722" y="3021210"/>
                    <a:pt x="649722" y="3047551"/>
                  </a:cubicBezTo>
                  <a:cubicBezTo>
                    <a:pt x="649722" y="3073891"/>
                    <a:pt x="627772" y="3095840"/>
                    <a:pt x="601432" y="3095840"/>
                  </a:cubicBezTo>
                  <a:close/>
                  <a:moveTo>
                    <a:pt x="1922824" y="3109010"/>
                  </a:moveTo>
                  <a:cubicBezTo>
                    <a:pt x="1905264" y="3109010"/>
                    <a:pt x="1892094" y="3095840"/>
                    <a:pt x="1894289" y="3080475"/>
                  </a:cubicBezTo>
                  <a:cubicBezTo>
                    <a:pt x="1894289" y="3065110"/>
                    <a:pt x="1907459" y="3051940"/>
                    <a:pt x="1922824" y="3051940"/>
                  </a:cubicBezTo>
                  <a:cubicBezTo>
                    <a:pt x="1938189" y="3051940"/>
                    <a:pt x="1951360" y="3065110"/>
                    <a:pt x="1951360" y="3080475"/>
                  </a:cubicBezTo>
                  <a:cubicBezTo>
                    <a:pt x="1951360" y="3095840"/>
                    <a:pt x="1938189" y="3109010"/>
                    <a:pt x="1922824" y="3109010"/>
                  </a:cubicBezTo>
                  <a:close/>
                  <a:moveTo>
                    <a:pt x="1417973" y="3113401"/>
                  </a:moveTo>
                  <a:cubicBezTo>
                    <a:pt x="1394939" y="3113401"/>
                    <a:pt x="1376268" y="3094728"/>
                    <a:pt x="1376268" y="3071696"/>
                  </a:cubicBezTo>
                  <a:cubicBezTo>
                    <a:pt x="1376268" y="3048662"/>
                    <a:pt x="1394939" y="3029990"/>
                    <a:pt x="1417973" y="3029990"/>
                  </a:cubicBezTo>
                  <a:cubicBezTo>
                    <a:pt x="1441006" y="3029990"/>
                    <a:pt x="1459678" y="3048663"/>
                    <a:pt x="1459678" y="3071696"/>
                  </a:cubicBezTo>
                  <a:cubicBezTo>
                    <a:pt x="1459678" y="3094729"/>
                    <a:pt x="1441006" y="3113401"/>
                    <a:pt x="1417973" y="3113401"/>
                  </a:cubicBezTo>
                  <a:close/>
                  <a:moveTo>
                    <a:pt x="1666009" y="3115596"/>
                  </a:moveTo>
                  <a:cubicBezTo>
                    <a:pt x="1647825" y="3115596"/>
                    <a:pt x="1633084" y="3100855"/>
                    <a:pt x="1633084" y="3082670"/>
                  </a:cubicBezTo>
                  <a:cubicBezTo>
                    <a:pt x="1633084" y="3064486"/>
                    <a:pt x="1647825" y="3049745"/>
                    <a:pt x="1666009" y="3049745"/>
                  </a:cubicBezTo>
                  <a:cubicBezTo>
                    <a:pt x="1684193" y="3049745"/>
                    <a:pt x="1698934" y="3064486"/>
                    <a:pt x="1698934" y="3082670"/>
                  </a:cubicBezTo>
                  <a:cubicBezTo>
                    <a:pt x="1698934" y="3100855"/>
                    <a:pt x="1684193" y="3115596"/>
                    <a:pt x="1666009" y="3115596"/>
                  </a:cubicBezTo>
                  <a:close/>
                  <a:moveTo>
                    <a:pt x="2313535" y="3126571"/>
                  </a:moveTo>
                  <a:cubicBezTo>
                    <a:pt x="2302559" y="3126571"/>
                    <a:pt x="2291585" y="3117791"/>
                    <a:pt x="2291585" y="3104621"/>
                  </a:cubicBezTo>
                  <a:cubicBezTo>
                    <a:pt x="2291585" y="3091450"/>
                    <a:pt x="2302559" y="3082670"/>
                    <a:pt x="2313535" y="3082670"/>
                  </a:cubicBezTo>
                  <a:cubicBezTo>
                    <a:pt x="2326705" y="3082670"/>
                    <a:pt x="2335485" y="3091450"/>
                    <a:pt x="2335485" y="3104621"/>
                  </a:cubicBezTo>
                  <a:cubicBezTo>
                    <a:pt x="2335485" y="3117791"/>
                    <a:pt x="2324511" y="3126571"/>
                    <a:pt x="2313535" y="3126571"/>
                  </a:cubicBezTo>
                  <a:close/>
                  <a:moveTo>
                    <a:pt x="818737" y="3133156"/>
                  </a:moveTo>
                  <a:cubicBezTo>
                    <a:pt x="792067" y="3133156"/>
                    <a:pt x="770447" y="3111536"/>
                    <a:pt x="770447" y="3084866"/>
                  </a:cubicBezTo>
                  <a:cubicBezTo>
                    <a:pt x="770447" y="3058196"/>
                    <a:pt x="792067" y="3036575"/>
                    <a:pt x="818737" y="3036575"/>
                  </a:cubicBezTo>
                  <a:cubicBezTo>
                    <a:pt x="845407" y="3036575"/>
                    <a:pt x="867027" y="3058196"/>
                    <a:pt x="867027" y="3084866"/>
                  </a:cubicBezTo>
                  <a:cubicBezTo>
                    <a:pt x="867027" y="3111536"/>
                    <a:pt x="845407" y="3133156"/>
                    <a:pt x="818737" y="3133156"/>
                  </a:cubicBezTo>
                  <a:close/>
                  <a:moveTo>
                    <a:pt x="465342" y="3150716"/>
                  </a:moveTo>
                  <a:cubicBezTo>
                    <a:pt x="445586" y="3150716"/>
                    <a:pt x="428027" y="3133155"/>
                    <a:pt x="425831" y="3111206"/>
                  </a:cubicBezTo>
                  <a:cubicBezTo>
                    <a:pt x="425831" y="3089256"/>
                    <a:pt x="443391" y="3071696"/>
                    <a:pt x="465342" y="3071696"/>
                  </a:cubicBezTo>
                  <a:cubicBezTo>
                    <a:pt x="487291" y="3071696"/>
                    <a:pt x="504851" y="3089256"/>
                    <a:pt x="504851" y="3111206"/>
                  </a:cubicBezTo>
                  <a:cubicBezTo>
                    <a:pt x="504851" y="3133155"/>
                    <a:pt x="487291" y="3150716"/>
                    <a:pt x="465342" y="3150716"/>
                  </a:cubicBezTo>
                  <a:close/>
                  <a:moveTo>
                    <a:pt x="1042627" y="3161690"/>
                  </a:moveTo>
                  <a:cubicBezTo>
                    <a:pt x="1020677" y="3161690"/>
                    <a:pt x="1000922" y="3141935"/>
                    <a:pt x="1000922" y="3119985"/>
                  </a:cubicBezTo>
                  <a:cubicBezTo>
                    <a:pt x="1000922" y="3098035"/>
                    <a:pt x="1018482" y="3078280"/>
                    <a:pt x="1042627" y="3078280"/>
                  </a:cubicBezTo>
                  <a:cubicBezTo>
                    <a:pt x="1064577" y="3078280"/>
                    <a:pt x="1084333" y="3095840"/>
                    <a:pt x="1084333" y="3119985"/>
                  </a:cubicBezTo>
                  <a:cubicBezTo>
                    <a:pt x="1084333" y="3141935"/>
                    <a:pt x="1066773" y="3161690"/>
                    <a:pt x="1042627" y="3161690"/>
                  </a:cubicBezTo>
                  <a:close/>
                  <a:moveTo>
                    <a:pt x="2440845" y="3166081"/>
                  </a:moveTo>
                  <a:cubicBezTo>
                    <a:pt x="2429871" y="3166081"/>
                    <a:pt x="2423286" y="3157300"/>
                    <a:pt x="2423286" y="3148520"/>
                  </a:cubicBezTo>
                  <a:cubicBezTo>
                    <a:pt x="2423286" y="3139740"/>
                    <a:pt x="2432066" y="3130960"/>
                    <a:pt x="2440845" y="3130960"/>
                  </a:cubicBezTo>
                  <a:cubicBezTo>
                    <a:pt x="2449625" y="3130960"/>
                    <a:pt x="2458405" y="3139740"/>
                    <a:pt x="2458405" y="3148520"/>
                  </a:cubicBezTo>
                  <a:cubicBezTo>
                    <a:pt x="2458405" y="3157300"/>
                    <a:pt x="2449625" y="3166081"/>
                    <a:pt x="2440845" y="3166081"/>
                  </a:cubicBezTo>
                  <a:close/>
                  <a:moveTo>
                    <a:pt x="2039159" y="3177055"/>
                  </a:moveTo>
                  <a:cubicBezTo>
                    <a:pt x="2019404" y="3177055"/>
                    <a:pt x="2004039" y="3161690"/>
                    <a:pt x="2006235" y="3144130"/>
                  </a:cubicBezTo>
                  <a:cubicBezTo>
                    <a:pt x="2006235" y="3126570"/>
                    <a:pt x="2019404" y="3111205"/>
                    <a:pt x="2039159" y="3111205"/>
                  </a:cubicBezTo>
                  <a:cubicBezTo>
                    <a:pt x="2056718" y="3111205"/>
                    <a:pt x="2072084" y="3124375"/>
                    <a:pt x="2072084" y="3144130"/>
                  </a:cubicBezTo>
                  <a:cubicBezTo>
                    <a:pt x="2072084" y="3161690"/>
                    <a:pt x="2058914" y="3177055"/>
                    <a:pt x="2039159" y="3177055"/>
                  </a:cubicBezTo>
                  <a:close/>
                  <a:moveTo>
                    <a:pt x="331446" y="3181445"/>
                  </a:moveTo>
                  <a:cubicBezTo>
                    <a:pt x="329251" y="3181445"/>
                    <a:pt x="327056" y="3179250"/>
                    <a:pt x="327056" y="3177055"/>
                  </a:cubicBezTo>
                  <a:cubicBezTo>
                    <a:pt x="327056" y="3174860"/>
                    <a:pt x="329251" y="3172665"/>
                    <a:pt x="331446" y="3172665"/>
                  </a:cubicBezTo>
                  <a:cubicBezTo>
                    <a:pt x="333641" y="3172665"/>
                    <a:pt x="335836" y="3174860"/>
                    <a:pt x="335836" y="3177055"/>
                  </a:cubicBezTo>
                  <a:cubicBezTo>
                    <a:pt x="335836" y="3179250"/>
                    <a:pt x="333641" y="3181445"/>
                    <a:pt x="331446" y="3181445"/>
                  </a:cubicBezTo>
                  <a:close/>
                  <a:moveTo>
                    <a:pt x="1277493" y="3185835"/>
                  </a:moveTo>
                  <a:cubicBezTo>
                    <a:pt x="1253348" y="3185835"/>
                    <a:pt x="1235788" y="3166081"/>
                    <a:pt x="1235788" y="3144130"/>
                  </a:cubicBezTo>
                  <a:cubicBezTo>
                    <a:pt x="1235788" y="3122180"/>
                    <a:pt x="1255543" y="3102425"/>
                    <a:pt x="1277493" y="3102425"/>
                  </a:cubicBezTo>
                  <a:cubicBezTo>
                    <a:pt x="1299443" y="3102425"/>
                    <a:pt x="1319198" y="3119985"/>
                    <a:pt x="1319198" y="3144130"/>
                  </a:cubicBezTo>
                  <a:cubicBezTo>
                    <a:pt x="1319198" y="3166081"/>
                    <a:pt x="1301638" y="3185835"/>
                    <a:pt x="1277493" y="3185835"/>
                  </a:cubicBezTo>
                  <a:close/>
                  <a:moveTo>
                    <a:pt x="2568156" y="3192420"/>
                  </a:moveTo>
                  <a:cubicBezTo>
                    <a:pt x="2563765" y="3192420"/>
                    <a:pt x="2557181" y="3188030"/>
                    <a:pt x="2557181" y="3181445"/>
                  </a:cubicBezTo>
                  <a:cubicBezTo>
                    <a:pt x="2557181" y="3174860"/>
                    <a:pt x="2561570" y="3170470"/>
                    <a:pt x="2568156" y="3170470"/>
                  </a:cubicBezTo>
                  <a:cubicBezTo>
                    <a:pt x="2574741" y="3170470"/>
                    <a:pt x="2579131" y="3174860"/>
                    <a:pt x="2579131" y="3181445"/>
                  </a:cubicBezTo>
                  <a:cubicBezTo>
                    <a:pt x="2579131" y="3188030"/>
                    <a:pt x="2574741" y="3192420"/>
                    <a:pt x="2568156" y="3192420"/>
                  </a:cubicBezTo>
                  <a:close/>
                  <a:moveTo>
                    <a:pt x="1521139" y="3196810"/>
                  </a:moveTo>
                  <a:cubicBezTo>
                    <a:pt x="1499188" y="3196810"/>
                    <a:pt x="1481628" y="3179250"/>
                    <a:pt x="1481628" y="3157300"/>
                  </a:cubicBezTo>
                  <a:cubicBezTo>
                    <a:pt x="1481628" y="3135350"/>
                    <a:pt x="1499188" y="3117790"/>
                    <a:pt x="1521139" y="3117790"/>
                  </a:cubicBezTo>
                  <a:cubicBezTo>
                    <a:pt x="1543089" y="3117790"/>
                    <a:pt x="1560648" y="3135350"/>
                    <a:pt x="1560648" y="3157300"/>
                  </a:cubicBezTo>
                  <a:cubicBezTo>
                    <a:pt x="1560648" y="3179250"/>
                    <a:pt x="1543089" y="3196810"/>
                    <a:pt x="1521139" y="3196810"/>
                  </a:cubicBezTo>
                  <a:close/>
                  <a:moveTo>
                    <a:pt x="1773564" y="3196810"/>
                  </a:moveTo>
                  <a:cubicBezTo>
                    <a:pt x="1753808" y="3196810"/>
                    <a:pt x="1736249" y="3179250"/>
                    <a:pt x="1736249" y="3159495"/>
                  </a:cubicBezTo>
                  <a:cubicBezTo>
                    <a:pt x="1736249" y="3137545"/>
                    <a:pt x="1753808" y="3122180"/>
                    <a:pt x="1773564" y="3122180"/>
                  </a:cubicBezTo>
                  <a:cubicBezTo>
                    <a:pt x="1795514" y="3122180"/>
                    <a:pt x="1810879" y="3139740"/>
                    <a:pt x="1810879" y="3159495"/>
                  </a:cubicBezTo>
                  <a:cubicBezTo>
                    <a:pt x="1810879" y="3181445"/>
                    <a:pt x="1793319" y="3196810"/>
                    <a:pt x="1773564" y="3196810"/>
                  </a:cubicBezTo>
                  <a:close/>
                  <a:moveTo>
                    <a:pt x="682647" y="3201201"/>
                  </a:moveTo>
                  <a:cubicBezTo>
                    <a:pt x="656306" y="3201201"/>
                    <a:pt x="634356" y="3179251"/>
                    <a:pt x="634356" y="3152911"/>
                  </a:cubicBezTo>
                  <a:cubicBezTo>
                    <a:pt x="634356" y="3126571"/>
                    <a:pt x="656306" y="3104621"/>
                    <a:pt x="682647" y="3104621"/>
                  </a:cubicBezTo>
                  <a:cubicBezTo>
                    <a:pt x="708987" y="3104621"/>
                    <a:pt x="730936" y="3126571"/>
                    <a:pt x="730936" y="3152911"/>
                  </a:cubicBezTo>
                  <a:cubicBezTo>
                    <a:pt x="730936" y="3179251"/>
                    <a:pt x="708987" y="3201201"/>
                    <a:pt x="682647" y="3201201"/>
                  </a:cubicBezTo>
                  <a:close/>
                  <a:moveTo>
                    <a:pt x="2157690" y="3225345"/>
                  </a:moveTo>
                  <a:cubicBezTo>
                    <a:pt x="2144518" y="3225345"/>
                    <a:pt x="2135738" y="3214370"/>
                    <a:pt x="2133544" y="3201200"/>
                  </a:cubicBezTo>
                  <a:cubicBezTo>
                    <a:pt x="2133544" y="3188030"/>
                    <a:pt x="2144518" y="3177055"/>
                    <a:pt x="2157690" y="3177055"/>
                  </a:cubicBezTo>
                  <a:cubicBezTo>
                    <a:pt x="2170859" y="3177055"/>
                    <a:pt x="2181835" y="3188030"/>
                    <a:pt x="2181835" y="3201200"/>
                  </a:cubicBezTo>
                  <a:cubicBezTo>
                    <a:pt x="2181835" y="3214370"/>
                    <a:pt x="2170859" y="3225345"/>
                    <a:pt x="2157690" y="3225345"/>
                  </a:cubicBezTo>
                  <a:close/>
                  <a:moveTo>
                    <a:pt x="904342" y="3231931"/>
                  </a:moveTo>
                  <a:cubicBezTo>
                    <a:pt x="878884" y="3231931"/>
                    <a:pt x="858247" y="3211293"/>
                    <a:pt x="858247" y="3185835"/>
                  </a:cubicBezTo>
                  <a:cubicBezTo>
                    <a:pt x="858247" y="3160377"/>
                    <a:pt x="878884" y="3139740"/>
                    <a:pt x="904342" y="3139740"/>
                  </a:cubicBezTo>
                  <a:cubicBezTo>
                    <a:pt x="929799" y="3139740"/>
                    <a:pt x="950437" y="3160377"/>
                    <a:pt x="950437" y="3185835"/>
                  </a:cubicBezTo>
                  <a:cubicBezTo>
                    <a:pt x="950437" y="3211293"/>
                    <a:pt x="929799" y="3231931"/>
                    <a:pt x="904342" y="3231931"/>
                  </a:cubicBezTo>
                  <a:close/>
                  <a:moveTo>
                    <a:pt x="1137013" y="3256076"/>
                  </a:moveTo>
                  <a:cubicBezTo>
                    <a:pt x="1112868" y="3256076"/>
                    <a:pt x="1095307" y="3236321"/>
                    <a:pt x="1095307" y="3214370"/>
                  </a:cubicBezTo>
                  <a:cubicBezTo>
                    <a:pt x="1095307" y="3192420"/>
                    <a:pt x="1112868" y="3172665"/>
                    <a:pt x="1137013" y="3172665"/>
                  </a:cubicBezTo>
                  <a:cubicBezTo>
                    <a:pt x="1158963" y="3172665"/>
                    <a:pt x="1178718" y="3190225"/>
                    <a:pt x="1178718" y="3214370"/>
                  </a:cubicBezTo>
                  <a:cubicBezTo>
                    <a:pt x="1178718" y="3236321"/>
                    <a:pt x="1161157" y="3256076"/>
                    <a:pt x="1137013" y="3256076"/>
                  </a:cubicBezTo>
                  <a:close/>
                  <a:moveTo>
                    <a:pt x="546556" y="3258270"/>
                  </a:moveTo>
                  <a:cubicBezTo>
                    <a:pt x="524606" y="3258270"/>
                    <a:pt x="507047" y="3240711"/>
                    <a:pt x="507047" y="3218760"/>
                  </a:cubicBezTo>
                  <a:cubicBezTo>
                    <a:pt x="507047" y="3196810"/>
                    <a:pt x="524606" y="3179250"/>
                    <a:pt x="546556" y="3179250"/>
                  </a:cubicBezTo>
                  <a:cubicBezTo>
                    <a:pt x="568507" y="3179250"/>
                    <a:pt x="586067" y="3196810"/>
                    <a:pt x="586067" y="3218760"/>
                  </a:cubicBezTo>
                  <a:cubicBezTo>
                    <a:pt x="586067" y="3240711"/>
                    <a:pt x="568507" y="3258270"/>
                    <a:pt x="546556" y="3258270"/>
                  </a:cubicBezTo>
                  <a:close/>
                  <a:moveTo>
                    <a:pt x="1887704" y="3264856"/>
                  </a:moveTo>
                  <a:cubicBezTo>
                    <a:pt x="1867949" y="3264856"/>
                    <a:pt x="1852584" y="3249491"/>
                    <a:pt x="1852584" y="3229735"/>
                  </a:cubicBezTo>
                  <a:cubicBezTo>
                    <a:pt x="1852584" y="3209980"/>
                    <a:pt x="1867949" y="3194615"/>
                    <a:pt x="1887704" y="3194615"/>
                  </a:cubicBezTo>
                  <a:cubicBezTo>
                    <a:pt x="1907459" y="3194615"/>
                    <a:pt x="1922824" y="3209980"/>
                    <a:pt x="1922824" y="3229735"/>
                  </a:cubicBezTo>
                  <a:cubicBezTo>
                    <a:pt x="1922824" y="3249491"/>
                    <a:pt x="1907459" y="3264856"/>
                    <a:pt x="1887704" y="3264856"/>
                  </a:cubicBezTo>
                  <a:close/>
                  <a:moveTo>
                    <a:pt x="1376268" y="3271440"/>
                  </a:moveTo>
                  <a:cubicBezTo>
                    <a:pt x="1354318" y="3271440"/>
                    <a:pt x="1336757" y="3253880"/>
                    <a:pt x="1336757" y="3231931"/>
                  </a:cubicBezTo>
                  <a:cubicBezTo>
                    <a:pt x="1336757" y="3209980"/>
                    <a:pt x="1354318" y="3192420"/>
                    <a:pt x="1376268" y="3192420"/>
                  </a:cubicBezTo>
                  <a:cubicBezTo>
                    <a:pt x="1398218" y="3192420"/>
                    <a:pt x="1415778" y="3209980"/>
                    <a:pt x="1415778" y="3231931"/>
                  </a:cubicBezTo>
                  <a:cubicBezTo>
                    <a:pt x="1415778" y="3253880"/>
                    <a:pt x="1398218" y="3271440"/>
                    <a:pt x="1376268" y="3271440"/>
                  </a:cubicBezTo>
                  <a:close/>
                  <a:moveTo>
                    <a:pt x="1626499" y="3273635"/>
                  </a:moveTo>
                  <a:cubicBezTo>
                    <a:pt x="1606743" y="3273635"/>
                    <a:pt x="1589184" y="3258270"/>
                    <a:pt x="1589184" y="3236321"/>
                  </a:cubicBezTo>
                  <a:cubicBezTo>
                    <a:pt x="1589184" y="3214370"/>
                    <a:pt x="1606743" y="3199006"/>
                    <a:pt x="1626499" y="3199006"/>
                  </a:cubicBezTo>
                  <a:cubicBezTo>
                    <a:pt x="1648449" y="3199006"/>
                    <a:pt x="1663814" y="3216565"/>
                    <a:pt x="1663814" y="3236321"/>
                  </a:cubicBezTo>
                  <a:cubicBezTo>
                    <a:pt x="1663814" y="3258270"/>
                    <a:pt x="1646254" y="3273635"/>
                    <a:pt x="1626499" y="3273635"/>
                  </a:cubicBezTo>
                  <a:close/>
                  <a:moveTo>
                    <a:pt x="2280611" y="3280220"/>
                  </a:moveTo>
                  <a:cubicBezTo>
                    <a:pt x="2265245" y="3280220"/>
                    <a:pt x="2254271" y="3267050"/>
                    <a:pt x="2252075" y="3251686"/>
                  </a:cubicBezTo>
                  <a:cubicBezTo>
                    <a:pt x="2252075" y="3236321"/>
                    <a:pt x="2265245" y="3223151"/>
                    <a:pt x="2280611" y="3223151"/>
                  </a:cubicBezTo>
                  <a:cubicBezTo>
                    <a:pt x="2295975" y="3223151"/>
                    <a:pt x="2309145" y="3236321"/>
                    <a:pt x="2309145" y="3251686"/>
                  </a:cubicBezTo>
                  <a:cubicBezTo>
                    <a:pt x="2309145" y="3267050"/>
                    <a:pt x="2295975" y="3280220"/>
                    <a:pt x="2280611" y="3280220"/>
                  </a:cubicBezTo>
                  <a:close/>
                  <a:moveTo>
                    <a:pt x="768252" y="3302171"/>
                  </a:moveTo>
                  <a:cubicBezTo>
                    <a:pt x="739717" y="3302171"/>
                    <a:pt x="719962" y="3280220"/>
                    <a:pt x="719962" y="3253880"/>
                  </a:cubicBezTo>
                  <a:cubicBezTo>
                    <a:pt x="719962" y="3227540"/>
                    <a:pt x="741912" y="3205590"/>
                    <a:pt x="768252" y="3205590"/>
                  </a:cubicBezTo>
                  <a:cubicBezTo>
                    <a:pt x="794592" y="3205590"/>
                    <a:pt x="816542" y="3227540"/>
                    <a:pt x="816542" y="3253880"/>
                  </a:cubicBezTo>
                  <a:cubicBezTo>
                    <a:pt x="816542" y="3280220"/>
                    <a:pt x="794592" y="3302171"/>
                    <a:pt x="768252" y="3302171"/>
                  </a:cubicBezTo>
                  <a:close/>
                  <a:moveTo>
                    <a:pt x="2407920" y="3317536"/>
                  </a:moveTo>
                  <a:cubicBezTo>
                    <a:pt x="2394751" y="3317536"/>
                    <a:pt x="2383775" y="3306561"/>
                    <a:pt x="2383775" y="3293391"/>
                  </a:cubicBezTo>
                  <a:cubicBezTo>
                    <a:pt x="2383775" y="3280220"/>
                    <a:pt x="2394751" y="3269246"/>
                    <a:pt x="2407920" y="3269246"/>
                  </a:cubicBezTo>
                  <a:cubicBezTo>
                    <a:pt x="2421091" y="3269246"/>
                    <a:pt x="2432066" y="3280220"/>
                    <a:pt x="2432066" y="3293391"/>
                  </a:cubicBezTo>
                  <a:cubicBezTo>
                    <a:pt x="2432066" y="3306561"/>
                    <a:pt x="2421091" y="3317536"/>
                    <a:pt x="2407920" y="3317536"/>
                  </a:cubicBezTo>
                  <a:close/>
                  <a:moveTo>
                    <a:pt x="996532" y="3330706"/>
                  </a:moveTo>
                  <a:cubicBezTo>
                    <a:pt x="969862" y="3330706"/>
                    <a:pt x="948242" y="3309085"/>
                    <a:pt x="948242" y="3282415"/>
                  </a:cubicBezTo>
                  <a:cubicBezTo>
                    <a:pt x="948242" y="3255745"/>
                    <a:pt x="969862" y="3234125"/>
                    <a:pt x="996532" y="3234125"/>
                  </a:cubicBezTo>
                  <a:cubicBezTo>
                    <a:pt x="1023202" y="3234125"/>
                    <a:pt x="1044822" y="3255745"/>
                    <a:pt x="1044822" y="3282415"/>
                  </a:cubicBezTo>
                  <a:cubicBezTo>
                    <a:pt x="1044822" y="3309085"/>
                    <a:pt x="1023202" y="3330706"/>
                    <a:pt x="996532" y="3330706"/>
                  </a:cubicBezTo>
                  <a:close/>
                  <a:moveTo>
                    <a:pt x="2004039" y="3330706"/>
                  </a:moveTo>
                  <a:cubicBezTo>
                    <a:pt x="1982089" y="3330706"/>
                    <a:pt x="1964530" y="3313146"/>
                    <a:pt x="1964530" y="3291195"/>
                  </a:cubicBezTo>
                  <a:cubicBezTo>
                    <a:pt x="1964530" y="3269246"/>
                    <a:pt x="1982089" y="3251686"/>
                    <a:pt x="2004039" y="3251686"/>
                  </a:cubicBezTo>
                  <a:cubicBezTo>
                    <a:pt x="2025990" y="3251686"/>
                    <a:pt x="2043550" y="3269246"/>
                    <a:pt x="2043550" y="3291195"/>
                  </a:cubicBezTo>
                  <a:cubicBezTo>
                    <a:pt x="2043550" y="3313146"/>
                    <a:pt x="2025990" y="3330706"/>
                    <a:pt x="2004039" y="3330706"/>
                  </a:cubicBezTo>
                  <a:close/>
                  <a:moveTo>
                    <a:pt x="2535230" y="3346071"/>
                  </a:moveTo>
                  <a:cubicBezTo>
                    <a:pt x="2526450" y="3346071"/>
                    <a:pt x="2517670" y="3337290"/>
                    <a:pt x="2515476" y="3326316"/>
                  </a:cubicBezTo>
                  <a:cubicBezTo>
                    <a:pt x="2515476" y="3315341"/>
                    <a:pt x="2524256" y="3306561"/>
                    <a:pt x="2535230" y="3306561"/>
                  </a:cubicBezTo>
                  <a:cubicBezTo>
                    <a:pt x="2546205" y="3306561"/>
                    <a:pt x="2554985" y="3315341"/>
                    <a:pt x="2554985" y="3326316"/>
                  </a:cubicBezTo>
                  <a:cubicBezTo>
                    <a:pt x="2554985" y="3337290"/>
                    <a:pt x="2546205" y="3346071"/>
                    <a:pt x="2535230" y="3346071"/>
                  </a:cubicBezTo>
                  <a:close/>
                  <a:moveTo>
                    <a:pt x="1233593" y="3350461"/>
                  </a:moveTo>
                  <a:cubicBezTo>
                    <a:pt x="1209448" y="3350461"/>
                    <a:pt x="1187498" y="3328510"/>
                    <a:pt x="1187498" y="3304365"/>
                  </a:cubicBezTo>
                  <a:cubicBezTo>
                    <a:pt x="1187498" y="3278025"/>
                    <a:pt x="1207253" y="3258270"/>
                    <a:pt x="1233593" y="3258270"/>
                  </a:cubicBezTo>
                  <a:cubicBezTo>
                    <a:pt x="1259933" y="3258270"/>
                    <a:pt x="1279688" y="3280220"/>
                    <a:pt x="1279688" y="3304365"/>
                  </a:cubicBezTo>
                  <a:cubicBezTo>
                    <a:pt x="1279688" y="3330705"/>
                    <a:pt x="1257738" y="3350461"/>
                    <a:pt x="1233593" y="3350461"/>
                  </a:cubicBezTo>
                  <a:close/>
                  <a:moveTo>
                    <a:pt x="1736249" y="3352655"/>
                  </a:moveTo>
                  <a:cubicBezTo>
                    <a:pt x="1714299" y="3352655"/>
                    <a:pt x="1694544" y="3335096"/>
                    <a:pt x="1694544" y="3310951"/>
                  </a:cubicBezTo>
                  <a:cubicBezTo>
                    <a:pt x="1694544" y="3286805"/>
                    <a:pt x="1714299" y="3269246"/>
                    <a:pt x="1736249" y="3269246"/>
                  </a:cubicBezTo>
                  <a:cubicBezTo>
                    <a:pt x="1760394" y="3269246"/>
                    <a:pt x="1777954" y="3289001"/>
                    <a:pt x="1777954" y="3310951"/>
                  </a:cubicBezTo>
                  <a:cubicBezTo>
                    <a:pt x="1777954" y="3335096"/>
                    <a:pt x="1758198" y="3352655"/>
                    <a:pt x="1736249" y="3352655"/>
                  </a:cubicBezTo>
                  <a:close/>
                  <a:moveTo>
                    <a:pt x="1479433" y="3359241"/>
                  </a:moveTo>
                  <a:cubicBezTo>
                    <a:pt x="1455288" y="3359241"/>
                    <a:pt x="1435533" y="3339486"/>
                    <a:pt x="1435533" y="3315341"/>
                  </a:cubicBezTo>
                  <a:cubicBezTo>
                    <a:pt x="1435533" y="3291195"/>
                    <a:pt x="1455288" y="3271440"/>
                    <a:pt x="1479433" y="3271440"/>
                  </a:cubicBezTo>
                  <a:cubicBezTo>
                    <a:pt x="1503578" y="3271440"/>
                    <a:pt x="1523333" y="3291195"/>
                    <a:pt x="1523333" y="3315341"/>
                  </a:cubicBezTo>
                  <a:cubicBezTo>
                    <a:pt x="1523333" y="3339486"/>
                    <a:pt x="1503578" y="3359241"/>
                    <a:pt x="1479433" y="3359241"/>
                  </a:cubicBezTo>
                  <a:close/>
                  <a:moveTo>
                    <a:pt x="629966" y="3370215"/>
                  </a:moveTo>
                  <a:cubicBezTo>
                    <a:pt x="603626" y="3370215"/>
                    <a:pt x="581676" y="3348266"/>
                    <a:pt x="581676" y="3321926"/>
                  </a:cubicBezTo>
                  <a:cubicBezTo>
                    <a:pt x="581676" y="3295585"/>
                    <a:pt x="603626" y="3273635"/>
                    <a:pt x="629966" y="3273635"/>
                  </a:cubicBezTo>
                  <a:cubicBezTo>
                    <a:pt x="656306" y="3273635"/>
                    <a:pt x="678257" y="3295585"/>
                    <a:pt x="678257" y="3321926"/>
                  </a:cubicBezTo>
                  <a:cubicBezTo>
                    <a:pt x="678257" y="3348266"/>
                    <a:pt x="656306" y="3370215"/>
                    <a:pt x="629966" y="3370215"/>
                  </a:cubicBezTo>
                  <a:close/>
                  <a:moveTo>
                    <a:pt x="2124766" y="3381191"/>
                  </a:moveTo>
                  <a:cubicBezTo>
                    <a:pt x="2105010" y="3381191"/>
                    <a:pt x="2091840" y="3365825"/>
                    <a:pt x="2091840" y="3348266"/>
                  </a:cubicBezTo>
                  <a:cubicBezTo>
                    <a:pt x="2091840" y="3330706"/>
                    <a:pt x="2107206" y="3315341"/>
                    <a:pt x="2124766" y="3315341"/>
                  </a:cubicBezTo>
                  <a:cubicBezTo>
                    <a:pt x="2142326" y="3315341"/>
                    <a:pt x="2157690" y="3330706"/>
                    <a:pt x="2157690" y="3348266"/>
                  </a:cubicBezTo>
                  <a:cubicBezTo>
                    <a:pt x="2157690" y="3365825"/>
                    <a:pt x="2142326" y="3381191"/>
                    <a:pt x="2124766" y="3381191"/>
                  </a:cubicBezTo>
                  <a:close/>
                  <a:moveTo>
                    <a:pt x="856052" y="3400945"/>
                  </a:moveTo>
                  <a:cubicBezTo>
                    <a:pt x="829382" y="3400945"/>
                    <a:pt x="807762" y="3379326"/>
                    <a:pt x="807762" y="3352656"/>
                  </a:cubicBezTo>
                  <a:cubicBezTo>
                    <a:pt x="807762" y="3325986"/>
                    <a:pt x="829382" y="3304365"/>
                    <a:pt x="856052" y="3304365"/>
                  </a:cubicBezTo>
                  <a:cubicBezTo>
                    <a:pt x="882722" y="3304365"/>
                    <a:pt x="904342" y="3325986"/>
                    <a:pt x="904342" y="3352656"/>
                  </a:cubicBezTo>
                  <a:cubicBezTo>
                    <a:pt x="904342" y="3379326"/>
                    <a:pt x="882722" y="3400945"/>
                    <a:pt x="856052" y="3400945"/>
                  </a:cubicBezTo>
                  <a:close/>
                  <a:moveTo>
                    <a:pt x="491681" y="3405336"/>
                  </a:moveTo>
                  <a:cubicBezTo>
                    <a:pt x="482901" y="3405336"/>
                    <a:pt x="476316" y="3398751"/>
                    <a:pt x="474122" y="3387776"/>
                  </a:cubicBezTo>
                  <a:cubicBezTo>
                    <a:pt x="474122" y="3378996"/>
                    <a:pt x="482901" y="3370215"/>
                    <a:pt x="491681" y="3370215"/>
                  </a:cubicBezTo>
                  <a:cubicBezTo>
                    <a:pt x="500461" y="3370215"/>
                    <a:pt x="509241" y="3378996"/>
                    <a:pt x="509241" y="3387776"/>
                  </a:cubicBezTo>
                  <a:cubicBezTo>
                    <a:pt x="509241" y="3396556"/>
                    <a:pt x="500461" y="3405336"/>
                    <a:pt x="491681" y="3405336"/>
                  </a:cubicBezTo>
                  <a:close/>
                  <a:moveTo>
                    <a:pt x="1850389" y="3418506"/>
                  </a:moveTo>
                  <a:cubicBezTo>
                    <a:pt x="1830634" y="3418506"/>
                    <a:pt x="1813074" y="3400946"/>
                    <a:pt x="1810879" y="3378996"/>
                  </a:cubicBezTo>
                  <a:cubicBezTo>
                    <a:pt x="1810879" y="3357046"/>
                    <a:pt x="1828439" y="3339486"/>
                    <a:pt x="1850389" y="3339486"/>
                  </a:cubicBezTo>
                  <a:cubicBezTo>
                    <a:pt x="1870144" y="3339486"/>
                    <a:pt x="1887704" y="3357046"/>
                    <a:pt x="1887704" y="3378996"/>
                  </a:cubicBezTo>
                  <a:cubicBezTo>
                    <a:pt x="1887704" y="3400946"/>
                    <a:pt x="1872339" y="3418506"/>
                    <a:pt x="1850389" y="3418506"/>
                  </a:cubicBezTo>
                  <a:close/>
                  <a:moveTo>
                    <a:pt x="1090917" y="3422896"/>
                  </a:moveTo>
                  <a:cubicBezTo>
                    <a:pt x="1066773" y="3422896"/>
                    <a:pt x="1044822" y="3400946"/>
                    <a:pt x="1044822" y="3376801"/>
                  </a:cubicBezTo>
                  <a:cubicBezTo>
                    <a:pt x="1044822" y="3350461"/>
                    <a:pt x="1064577" y="3330706"/>
                    <a:pt x="1090917" y="3330706"/>
                  </a:cubicBezTo>
                  <a:cubicBezTo>
                    <a:pt x="1117258" y="3330706"/>
                    <a:pt x="1137013" y="3350461"/>
                    <a:pt x="1137013" y="3376801"/>
                  </a:cubicBezTo>
                  <a:cubicBezTo>
                    <a:pt x="1137013" y="3403141"/>
                    <a:pt x="1117258" y="3422896"/>
                    <a:pt x="1090917" y="3422896"/>
                  </a:cubicBezTo>
                  <a:close/>
                  <a:moveTo>
                    <a:pt x="2247685" y="3431676"/>
                  </a:moveTo>
                  <a:cubicBezTo>
                    <a:pt x="2227930" y="3431676"/>
                    <a:pt x="2212564" y="3416311"/>
                    <a:pt x="2212564" y="3396556"/>
                  </a:cubicBezTo>
                  <a:cubicBezTo>
                    <a:pt x="2212564" y="3376801"/>
                    <a:pt x="2227930" y="3361436"/>
                    <a:pt x="2247685" y="3361436"/>
                  </a:cubicBezTo>
                  <a:cubicBezTo>
                    <a:pt x="2267439" y="3361436"/>
                    <a:pt x="2282805" y="3376801"/>
                    <a:pt x="2282805" y="3396556"/>
                  </a:cubicBezTo>
                  <a:cubicBezTo>
                    <a:pt x="2282805" y="3416311"/>
                    <a:pt x="2267439" y="3431676"/>
                    <a:pt x="2247685" y="3431676"/>
                  </a:cubicBezTo>
                  <a:close/>
                  <a:moveTo>
                    <a:pt x="1334563" y="3433871"/>
                  </a:moveTo>
                  <a:cubicBezTo>
                    <a:pt x="1310418" y="3433871"/>
                    <a:pt x="1290663" y="3414116"/>
                    <a:pt x="1290663" y="3389971"/>
                  </a:cubicBezTo>
                  <a:cubicBezTo>
                    <a:pt x="1290663" y="3365825"/>
                    <a:pt x="1310418" y="3346071"/>
                    <a:pt x="1334563" y="3346071"/>
                  </a:cubicBezTo>
                  <a:cubicBezTo>
                    <a:pt x="1358709" y="3346071"/>
                    <a:pt x="1378464" y="3365825"/>
                    <a:pt x="1378464" y="3389971"/>
                  </a:cubicBezTo>
                  <a:cubicBezTo>
                    <a:pt x="1378464" y="3414116"/>
                    <a:pt x="1358709" y="3433871"/>
                    <a:pt x="1334563" y="3433871"/>
                  </a:cubicBezTo>
                  <a:close/>
                  <a:moveTo>
                    <a:pt x="1589184" y="3436066"/>
                  </a:moveTo>
                  <a:cubicBezTo>
                    <a:pt x="1565038" y="3436066"/>
                    <a:pt x="1545283" y="3416311"/>
                    <a:pt x="1545283" y="3392166"/>
                  </a:cubicBezTo>
                  <a:cubicBezTo>
                    <a:pt x="1545283" y="3368021"/>
                    <a:pt x="1565038" y="3348266"/>
                    <a:pt x="1589184" y="3348266"/>
                  </a:cubicBezTo>
                  <a:cubicBezTo>
                    <a:pt x="1613329" y="3348266"/>
                    <a:pt x="1633084" y="3368021"/>
                    <a:pt x="1633084" y="3392166"/>
                  </a:cubicBezTo>
                  <a:cubicBezTo>
                    <a:pt x="1633084" y="3416311"/>
                    <a:pt x="1613329" y="3436066"/>
                    <a:pt x="1589184" y="3436066"/>
                  </a:cubicBezTo>
                  <a:close/>
                  <a:moveTo>
                    <a:pt x="717766" y="3460211"/>
                  </a:moveTo>
                  <a:cubicBezTo>
                    <a:pt x="695817" y="3460211"/>
                    <a:pt x="680451" y="3442651"/>
                    <a:pt x="678257" y="3420701"/>
                  </a:cubicBezTo>
                  <a:cubicBezTo>
                    <a:pt x="678257" y="3398751"/>
                    <a:pt x="695817" y="3381191"/>
                    <a:pt x="717766" y="3381191"/>
                  </a:cubicBezTo>
                  <a:cubicBezTo>
                    <a:pt x="739717" y="3381191"/>
                    <a:pt x="757277" y="3398751"/>
                    <a:pt x="757277" y="3420701"/>
                  </a:cubicBezTo>
                  <a:cubicBezTo>
                    <a:pt x="757277" y="3442651"/>
                    <a:pt x="739717" y="3460211"/>
                    <a:pt x="717766" y="3460211"/>
                  </a:cubicBezTo>
                  <a:close/>
                  <a:moveTo>
                    <a:pt x="2374995" y="3468991"/>
                  </a:moveTo>
                  <a:cubicBezTo>
                    <a:pt x="2357435" y="3468991"/>
                    <a:pt x="2344265" y="3453626"/>
                    <a:pt x="2344265" y="3438260"/>
                  </a:cubicBezTo>
                  <a:cubicBezTo>
                    <a:pt x="2344265" y="3420700"/>
                    <a:pt x="2357435" y="3407531"/>
                    <a:pt x="2374995" y="3407531"/>
                  </a:cubicBezTo>
                  <a:cubicBezTo>
                    <a:pt x="2392555" y="3407531"/>
                    <a:pt x="2405726" y="3420700"/>
                    <a:pt x="2405726" y="3438260"/>
                  </a:cubicBezTo>
                  <a:cubicBezTo>
                    <a:pt x="2405726" y="3455820"/>
                    <a:pt x="2392555" y="3468991"/>
                    <a:pt x="2374995" y="3468991"/>
                  </a:cubicBezTo>
                  <a:close/>
                  <a:moveTo>
                    <a:pt x="1968920" y="3477771"/>
                  </a:moveTo>
                  <a:cubicBezTo>
                    <a:pt x="1949164" y="3477771"/>
                    <a:pt x="1931604" y="3462406"/>
                    <a:pt x="1929409" y="3438261"/>
                  </a:cubicBezTo>
                  <a:cubicBezTo>
                    <a:pt x="1929409" y="3416311"/>
                    <a:pt x="1946969" y="3398751"/>
                    <a:pt x="1968920" y="3398751"/>
                  </a:cubicBezTo>
                  <a:cubicBezTo>
                    <a:pt x="1990869" y="3398751"/>
                    <a:pt x="2008430" y="3416311"/>
                    <a:pt x="2008430" y="3438261"/>
                  </a:cubicBezTo>
                  <a:cubicBezTo>
                    <a:pt x="2008430" y="3460211"/>
                    <a:pt x="1990869" y="3477771"/>
                    <a:pt x="1968920" y="3477771"/>
                  </a:cubicBezTo>
                  <a:close/>
                  <a:moveTo>
                    <a:pt x="579481" y="3493135"/>
                  </a:moveTo>
                  <a:cubicBezTo>
                    <a:pt x="577286" y="3493135"/>
                    <a:pt x="575091" y="3490941"/>
                    <a:pt x="575091" y="3488745"/>
                  </a:cubicBezTo>
                  <a:cubicBezTo>
                    <a:pt x="575091" y="3486551"/>
                    <a:pt x="577286" y="3484355"/>
                    <a:pt x="579481" y="3484355"/>
                  </a:cubicBezTo>
                  <a:cubicBezTo>
                    <a:pt x="581676" y="3484355"/>
                    <a:pt x="583871" y="3486551"/>
                    <a:pt x="583871" y="3488745"/>
                  </a:cubicBezTo>
                  <a:cubicBezTo>
                    <a:pt x="583871" y="3490941"/>
                    <a:pt x="581676" y="3493135"/>
                    <a:pt x="579481" y="3493135"/>
                  </a:cubicBezTo>
                  <a:close/>
                  <a:moveTo>
                    <a:pt x="950437" y="3497526"/>
                  </a:moveTo>
                  <a:cubicBezTo>
                    <a:pt x="924098" y="3497526"/>
                    <a:pt x="899953" y="3473381"/>
                    <a:pt x="899953" y="3447040"/>
                  </a:cubicBezTo>
                  <a:cubicBezTo>
                    <a:pt x="899953" y="3418505"/>
                    <a:pt x="921902" y="3396555"/>
                    <a:pt x="950437" y="3396555"/>
                  </a:cubicBezTo>
                  <a:cubicBezTo>
                    <a:pt x="978973" y="3396555"/>
                    <a:pt x="1000922" y="3418505"/>
                    <a:pt x="1000922" y="3447040"/>
                  </a:cubicBezTo>
                  <a:cubicBezTo>
                    <a:pt x="1000922" y="3475575"/>
                    <a:pt x="978973" y="3497526"/>
                    <a:pt x="950437" y="3497526"/>
                  </a:cubicBezTo>
                  <a:close/>
                  <a:moveTo>
                    <a:pt x="2502304" y="3501916"/>
                  </a:moveTo>
                  <a:cubicBezTo>
                    <a:pt x="2486940" y="3501916"/>
                    <a:pt x="2471576" y="3488745"/>
                    <a:pt x="2471576" y="3471185"/>
                  </a:cubicBezTo>
                  <a:cubicBezTo>
                    <a:pt x="2471576" y="3453626"/>
                    <a:pt x="2484745" y="3440456"/>
                    <a:pt x="2502304" y="3440456"/>
                  </a:cubicBezTo>
                  <a:cubicBezTo>
                    <a:pt x="2519864" y="3440456"/>
                    <a:pt x="2533036" y="3453626"/>
                    <a:pt x="2533036" y="3471185"/>
                  </a:cubicBezTo>
                  <a:cubicBezTo>
                    <a:pt x="2533036" y="3488745"/>
                    <a:pt x="2519864" y="3501916"/>
                    <a:pt x="2502304" y="3501916"/>
                  </a:cubicBezTo>
                  <a:close/>
                  <a:moveTo>
                    <a:pt x="1191888" y="3510696"/>
                  </a:moveTo>
                  <a:cubicBezTo>
                    <a:pt x="1165548" y="3510696"/>
                    <a:pt x="1145793" y="3488745"/>
                    <a:pt x="1145793" y="3464600"/>
                  </a:cubicBezTo>
                  <a:cubicBezTo>
                    <a:pt x="1145793" y="3440456"/>
                    <a:pt x="1165548" y="3418505"/>
                    <a:pt x="1191888" y="3418505"/>
                  </a:cubicBezTo>
                  <a:cubicBezTo>
                    <a:pt x="1216033" y="3418505"/>
                    <a:pt x="1237983" y="3438260"/>
                    <a:pt x="1237983" y="3464600"/>
                  </a:cubicBezTo>
                  <a:cubicBezTo>
                    <a:pt x="1237983" y="3488745"/>
                    <a:pt x="1218228" y="3510696"/>
                    <a:pt x="1191888" y="3510696"/>
                  </a:cubicBezTo>
                  <a:close/>
                  <a:moveTo>
                    <a:pt x="1701129" y="3510696"/>
                  </a:moveTo>
                  <a:cubicBezTo>
                    <a:pt x="1674789" y="3510696"/>
                    <a:pt x="1652839" y="3488745"/>
                    <a:pt x="1652839" y="3462405"/>
                  </a:cubicBezTo>
                  <a:cubicBezTo>
                    <a:pt x="1652839" y="3436065"/>
                    <a:pt x="1674789" y="3414115"/>
                    <a:pt x="1701129" y="3414115"/>
                  </a:cubicBezTo>
                  <a:cubicBezTo>
                    <a:pt x="1727469" y="3414115"/>
                    <a:pt x="1749419" y="3436065"/>
                    <a:pt x="1749419" y="3462405"/>
                  </a:cubicBezTo>
                  <a:cubicBezTo>
                    <a:pt x="1749419" y="3488745"/>
                    <a:pt x="1727469" y="3510696"/>
                    <a:pt x="1701129" y="3510696"/>
                  </a:cubicBezTo>
                  <a:close/>
                  <a:moveTo>
                    <a:pt x="1442118" y="3515086"/>
                  </a:moveTo>
                  <a:cubicBezTo>
                    <a:pt x="1415778" y="3515086"/>
                    <a:pt x="1396023" y="3495331"/>
                    <a:pt x="1396023" y="3468991"/>
                  </a:cubicBezTo>
                  <a:cubicBezTo>
                    <a:pt x="1396023" y="3442651"/>
                    <a:pt x="1417973" y="3422896"/>
                    <a:pt x="1442118" y="3422896"/>
                  </a:cubicBezTo>
                  <a:cubicBezTo>
                    <a:pt x="1468458" y="3422896"/>
                    <a:pt x="1488214" y="3444846"/>
                    <a:pt x="1488214" y="3468991"/>
                  </a:cubicBezTo>
                  <a:cubicBezTo>
                    <a:pt x="1488214" y="3495331"/>
                    <a:pt x="1466263" y="3515086"/>
                    <a:pt x="1442118" y="3515086"/>
                  </a:cubicBezTo>
                  <a:close/>
                  <a:moveTo>
                    <a:pt x="2626806" y="3521105"/>
                  </a:moveTo>
                  <a:lnTo>
                    <a:pt x="2613976" y="3516184"/>
                  </a:lnTo>
                  <a:cubicBezTo>
                    <a:pt x="2608763" y="3511245"/>
                    <a:pt x="2605470" y="3504111"/>
                    <a:pt x="2605470" y="3495331"/>
                  </a:cubicBezTo>
                  <a:cubicBezTo>
                    <a:pt x="2605470" y="3487649"/>
                    <a:pt x="2608763" y="3480515"/>
                    <a:pt x="2613976" y="3475302"/>
                  </a:cubicBezTo>
                  <a:lnTo>
                    <a:pt x="2626806" y="3469853"/>
                  </a:lnTo>
                  <a:close/>
                  <a:moveTo>
                    <a:pt x="2089644" y="3530452"/>
                  </a:moveTo>
                  <a:cubicBezTo>
                    <a:pt x="2069890" y="3530452"/>
                    <a:pt x="2054524" y="3515086"/>
                    <a:pt x="2054524" y="3495331"/>
                  </a:cubicBezTo>
                  <a:cubicBezTo>
                    <a:pt x="2054524" y="3475576"/>
                    <a:pt x="2069890" y="3460211"/>
                    <a:pt x="2089644" y="3460211"/>
                  </a:cubicBezTo>
                  <a:cubicBezTo>
                    <a:pt x="2109399" y="3460211"/>
                    <a:pt x="2124764" y="3475576"/>
                    <a:pt x="2124764" y="3495331"/>
                  </a:cubicBezTo>
                  <a:cubicBezTo>
                    <a:pt x="2124764" y="3515086"/>
                    <a:pt x="2109399" y="3530452"/>
                    <a:pt x="2089644" y="3530452"/>
                  </a:cubicBezTo>
                  <a:close/>
                  <a:moveTo>
                    <a:pt x="809957" y="3565571"/>
                  </a:moveTo>
                  <a:cubicBezTo>
                    <a:pt x="783617" y="3565571"/>
                    <a:pt x="759472" y="3543621"/>
                    <a:pt x="759472" y="3515086"/>
                  </a:cubicBezTo>
                  <a:cubicBezTo>
                    <a:pt x="759472" y="3486551"/>
                    <a:pt x="781422" y="3464600"/>
                    <a:pt x="809957" y="3464600"/>
                  </a:cubicBezTo>
                  <a:cubicBezTo>
                    <a:pt x="838492" y="3464600"/>
                    <a:pt x="860442" y="3486551"/>
                    <a:pt x="860442" y="3515086"/>
                  </a:cubicBezTo>
                  <a:cubicBezTo>
                    <a:pt x="860442" y="3543621"/>
                    <a:pt x="838492" y="3565571"/>
                    <a:pt x="809957" y="3565571"/>
                  </a:cubicBezTo>
                  <a:close/>
                  <a:moveTo>
                    <a:pt x="1815269" y="3569961"/>
                  </a:moveTo>
                  <a:cubicBezTo>
                    <a:pt x="1793319" y="3569961"/>
                    <a:pt x="1775758" y="3552401"/>
                    <a:pt x="1773564" y="3528256"/>
                  </a:cubicBezTo>
                  <a:cubicBezTo>
                    <a:pt x="1773564" y="3504110"/>
                    <a:pt x="1793319" y="3486551"/>
                    <a:pt x="1815269" y="3486551"/>
                  </a:cubicBezTo>
                  <a:cubicBezTo>
                    <a:pt x="1839414" y="3486551"/>
                    <a:pt x="1856974" y="3506306"/>
                    <a:pt x="1856974" y="3528256"/>
                  </a:cubicBezTo>
                  <a:cubicBezTo>
                    <a:pt x="1856974" y="3552401"/>
                    <a:pt x="1837219" y="3569961"/>
                    <a:pt x="1815269" y="3569961"/>
                  </a:cubicBezTo>
                  <a:close/>
                  <a:moveTo>
                    <a:pt x="2214759" y="3578741"/>
                  </a:moveTo>
                  <a:cubicBezTo>
                    <a:pt x="2195005" y="3578741"/>
                    <a:pt x="2179639" y="3561181"/>
                    <a:pt x="2179639" y="3543621"/>
                  </a:cubicBezTo>
                  <a:cubicBezTo>
                    <a:pt x="2179639" y="3523866"/>
                    <a:pt x="2195005" y="3508500"/>
                    <a:pt x="2214759" y="3508500"/>
                  </a:cubicBezTo>
                  <a:cubicBezTo>
                    <a:pt x="2234515" y="3508500"/>
                    <a:pt x="2249879" y="3523866"/>
                    <a:pt x="2249879" y="3543621"/>
                  </a:cubicBezTo>
                  <a:cubicBezTo>
                    <a:pt x="2249879" y="3563376"/>
                    <a:pt x="2234515" y="3578741"/>
                    <a:pt x="2214759" y="3578741"/>
                  </a:cubicBezTo>
                  <a:close/>
                  <a:moveTo>
                    <a:pt x="1049212" y="3585327"/>
                  </a:moveTo>
                  <a:cubicBezTo>
                    <a:pt x="1022872" y="3585327"/>
                    <a:pt x="1000922" y="3563377"/>
                    <a:pt x="1000922" y="3537036"/>
                  </a:cubicBezTo>
                  <a:cubicBezTo>
                    <a:pt x="1000922" y="3510696"/>
                    <a:pt x="1022872" y="3488746"/>
                    <a:pt x="1049212" y="3488746"/>
                  </a:cubicBezTo>
                  <a:cubicBezTo>
                    <a:pt x="1075553" y="3488746"/>
                    <a:pt x="1097502" y="3510696"/>
                    <a:pt x="1097502" y="3537036"/>
                  </a:cubicBezTo>
                  <a:cubicBezTo>
                    <a:pt x="1097502" y="3563377"/>
                    <a:pt x="1075553" y="3585327"/>
                    <a:pt x="1049212" y="3585327"/>
                  </a:cubicBezTo>
                  <a:close/>
                  <a:moveTo>
                    <a:pt x="1295053" y="3594106"/>
                  </a:moveTo>
                  <a:cubicBezTo>
                    <a:pt x="1268713" y="3594106"/>
                    <a:pt x="1248958" y="3572156"/>
                    <a:pt x="1246763" y="3545816"/>
                  </a:cubicBezTo>
                  <a:cubicBezTo>
                    <a:pt x="1246763" y="3519476"/>
                    <a:pt x="1268713" y="3497526"/>
                    <a:pt x="1295053" y="3497526"/>
                  </a:cubicBezTo>
                  <a:cubicBezTo>
                    <a:pt x="1321393" y="3497526"/>
                    <a:pt x="1343343" y="3519476"/>
                    <a:pt x="1343343" y="3545816"/>
                  </a:cubicBezTo>
                  <a:cubicBezTo>
                    <a:pt x="1343343" y="3572156"/>
                    <a:pt x="1321393" y="3594106"/>
                    <a:pt x="1295053" y="3594106"/>
                  </a:cubicBezTo>
                  <a:close/>
                  <a:moveTo>
                    <a:pt x="1551869" y="3594106"/>
                  </a:moveTo>
                  <a:cubicBezTo>
                    <a:pt x="1525528" y="3594106"/>
                    <a:pt x="1503578" y="3572156"/>
                    <a:pt x="1503578" y="3545816"/>
                  </a:cubicBezTo>
                  <a:cubicBezTo>
                    <a:pt x="1503578" y="3519476"/>
                    <a:pt x="1525528" y="3497526"/>
                    <a:pt x="1551869" y="3497526"/>
                  </a:cubicBezTo>
                  <a:cubicBezTo>
                    <a:pt x="1578209" y="3497526"/>
                    <a:pt x="1600159" y="3519476"/>
                    <a:pt x="1600159" y="3545816"/>
                  </a:cubicBezTo>
                  <a:cubicBezTo>
                    <a:pt x="1600159" y="3572156"/>
                    <a:pt x="1578209" y="3594106"/>
                    <a:pt x="1551869" y="3594106"/>
                  </a:cubicBezTo>
                  <a:close/>
                  <a:moveTo>
                    <a:pt x="671671" y="3596301"/>
                  </a:moveTo>
                  <a:cubicBezTo>
                    <a:pt x="665086" y="3596301"/>
                    <a:pt x="658502" y="3591911"/>
                    <a:pt x="660696" y="3585326"/>
                  </a:cubicBezTo>
                  <a:cubicBezTo>
                    <a:pt x="660696" y="3578741"/>
                    <a:pt x="665086" y="3574351"/>
                    <a:pt x="671671" y="3574351"/>
                  </a:cubicBezTo>
                  <a:cubicBezTo>
                    <a:pt x="678257" y="3574351"/>
                    <a:pt x="682647" y="3578741"/>
                    <a:pt x="682647" y="3585326"/>
                  </a:cubicBezTo>
                  <a:cubicBezTo>
                    <a:pt x="682647" y="3591911"/>
                    <a:pt x="678257" y="3596301"/>
                    <a:pt x="671671" y="3596301"/>
                  </a:cubicBezTo>
                  <a:close/>
                  <a:moveTo>
                    <a:pt x="2342071" y="3618251"/>
                  </a:moveTo>
                  <a:cubicBezTo>
                    <a:pt x="2320120" y="3618251"/>
                    <a:pt x="2304755" y="3602886"/>
                    <a:pt x="2304755" y="3580936"/>
                  </a:cubicBezTo>
                  <a:cubicBezTo>
                    <a:pt x="2304755" y="3561181"/>
                    <a:pt x="2322315" y="3543621"/>
                    <a:pt x="2342071" y="3543621"/>
                  </a:cubicBezTo>
                  <a:cubicBezTo>
                    <a:pt x="2361825" y="3543621"/>
                    <a:pt x="2379385" y="3561181"/>
                    <a:pt x="2379385" y="3580936"/>
                  </a:cubicBezTo>
                  <a:cubicBezTo>
                    <a:pt x="2379385" y="3600691"/>
                    <a:pt x="2361825" y="3618251"/>
                    <a:pt x="2342071" y="3618251"/>
                  </a:cubicBezTo>
                  <a:close/>
                  <a:moveTo>
                    <a:pt x="1935994" y="3629226"/>
                  </a:moveTo>
                  <a:cubicBezTo>
                    <a:pt x="1911849" y="3629226"/>
                    <a:pt x="1894289" y="3611666"/>
                    <a:pt x="1894289" y="3587521"/>
                  </a:cubicBezTo>
                  <a:cubicBezTo>
                    <a:pt x="1894289" y="3565571"/>
                    <a:pt x="1911849" y="3545816"/>
                    <a:pt x="1935994" y="3545816"/>
                  </a:cubicBezTo>
                  <a:cubicBezTo>
                    <a:pt x="1957944" y="3545816"/>
                    <a:pt x="1977700" y="3563376"/>
                    <a:pt x="1977700" y="3587521"/>
                  </a:cubicBezTo>
                  <a:cubicBezTo>
                    <a:pt x="1977700" y="3609471"/>
                    <a:pt x="1960140" y="3629226"/>
                    <a:pt x="1935994" y="3629226"/>
                  </a:cubicBezTo>
                  <a:close/>
                  <a:moveTo>
                    <a:pt x="2469380" y="3651176"/>
                  </a:moveTo>
                  <a:cubicBezTo>
                    <a:pt x="2449625" y="3651176"/>
                    <a:pt x="2434260" y="3635811"/>
                    <a:pt x="2434260" y="3616056"/>
                  </a:cubicBezTo>
                  <a:cubicBezTo>
                    <a:pt x="2434260" y="3596301"/>
                    <a:pt x="2449625" y="3580936"/>
                    <a:pt x="2469380" y="3580936"/>
                  </a:cubicBezTo>
                  <a:cubicBezTo>
                    <a:pt x="2489136" y="3580936"/>
                    <a:pt x="2504500" y="3596301"/>
                    <a:pt x="2504500" y="3616056"/>
                  </a:cubicBezTo>
                  <a:cubicBezTo>
                    <a:pt x="2504500" y="3635811"/>
                    <a:pt x="2489136" y="3651176"/>
                    <a:pt x="2469380" y="3651176"/>
                  </a:cubicBezTo>
                  <a:close/>
                  <a:moveTo>
                    <a:pt x="906537" y="3655566"/>
                  </a:moveTo>
                  <a:cubicBezTo>
                    <a:pt x="880197" y="3655566"/>
                    <a:pt x="858247" y="3633616"/>
                    <a:pt x="858247" y="3607276"/>
                  </a:cubicBezTo>
                  <a:cubicBezTo>
                    <a:pt x="858247" y="3580936"/>
                    <a:pt x="880197" y="3558986"/>
                    <a:pt x="906537" y="3558986"/>
                  </a:cubicBezTo>
                  <a:cubicBezTo>
                    <a:pt x="932878" y="3558986"/>
                    <a:pt x="954827" y="3580936"/>
                    <a:pt x="954827" y="3607276"/>
                  </a:cubicBezTo>
                  <a:cubicBezTo>
                    <a:pt x="954827" y="3633616"/>
                    <a:pt x="932878" y="3655566"/>
                    <a:pt x="906537" y="3655566"/>
                  </a:cubicBezTo>
                  <a:close/>
                  <a:moveTo>
                    <a:pt x="1663814" y="3662151"/>
                  </a:moveTo>
                  <a:cubicBezTo>
                    <a:pt x="1637474" y="3662151"/>
                    <a:pt x="1617719" y="3640201"/>
                    <a:pt x="1615523" y="3613861"/>
                  </a:cubicBezTo>
                  <a:cubicBezTo>
                    <a:pt x="1615523" y="3587521"/>
                    <a:pt x="1637474" y="3565571"/>
                    <a:pt x="1663814" y="3565571"/>
                  </a:cubicBezTo>
                  <a:cubicBezTo>
                    <a:pt x="1690154" y="3565571"/>
                    <a:pt x="1712104" y="3587521"/>
                    <a:pt x="1712104" y="3613861"/>
                  </a:cubicBezTo>
                  <a:cubicBezTo>
                    <a:pt x="1712104" y="3640201"/>
                    <a:pt x="1690154" y="3662151"/>
                    <a:pt x="1663814" y="3662151"/>
                  </a:cubicBezTo>
                  <a:close/>
                  <a:moveTo>
                    <a:pt x="1150183" y="3670931"/>
                  </a:moveTo>
                  <a:cubicBezTo>
                    <a:pt x="1123842" y="3670931"/>
                    <a:pt x="1101892" y="3648981"/>
                    <a:pt x="1101892" y="3622641"/>
                  </a:cubicBezTo>
                  <a:cubicBezTo>
                    <a:pt x="1101892" y="3596301"/>
                    <a:pt x="1123842" y="3574351"/>
                    <a:pt x="1150183" y="3574351"/>
                  </a:cubicBezTo>
                  <a:cubicBezTo>
                    <a:pt x="1176523" y="3574351"/>
                    <a:pt x="1198473" y="3596301"/>
                    <a:pt x="1198473" y="3622641"/>
                  </a:cubicBezTo>
                  <a:cubicBezTo>
                    <a:pt x="1198473" y="3648981"/>
                    <a:pt x="1176523" y="3670931"/>
                    <a:pt x="1150183" y="3670931"/>
                  </a:cubicBezTo>
                  <a:close/>
                  <a:moveTo>
                    <a:pt x="1402608" y="3670931"/>
                  </a:moveTo>
                  <a:cubicBezTo>
                    <a:pt x="1376268" y="3670931"/>
                    <a:pt x="1356513" y="3651176"/>
                    <a:pt x="1354318" y="3622641"/>
                  </a:cubicBezTo>
                  <a:cubicBezTo>
                    <a:pt x="1354318" y="3596301"/>
                    <a:pt x="1376268" y="3574351"/>
                    <a:pt x="1402608" y="3574351"/>
                  </a:cubicBezTo>
                  <a:cubicBezTo>
                    <a:pt x="1428948" y="3574351"/>
                    <a:pt x="1450898" y="3596301"/>
                    <a:pt x="1450898" y="3622641"/>
                  </a:cubicBezTo>
                  <a:cubicBezTo>
                    <a:pt x="1450898" y="3648981"/>
                    <a:pt x="1428948" y="3670931"/>
                    <a:pt x="1402608" y="3670931"/>
                  </a:cubicBezTo>
                  <a:close/>
                  <a:moveTo>
                    <a:pt x="2601080" y="3679711"/>
                  </a:moveTo>
                  <a:cubicBezTo>
                    <a:pt x="2579131" y="3679711"/>
                    <a:pt x="2561570" y="3662151"/>
                    <a:pt x="2561570" y="3640201"/>
                  </a:cubicBezTo>
                  <a:cubicBezTo>
                    <a:pt x="2561570" y="3618251"/>
                    <a:pt x="2579131" y="3600691"/>
                    <a:pt x="2601080" y="3600691"/>
                  </a:cubicBezTo>
                  <a:cubicBezTo>
                    <a:pt x="2606568" y="3600691"/>
                    <a:pt x="2611782" y="3601788"/>
                    <a:pt x="2616514" y="3603778"/>
                  </a:cubicBezTo>
                  <a:lnTo>
                    <a:pt x="2626806" y="3610695"/>
                  </a:lnTo>
                  <a:lnTo>
                    <a:pt x="2626806" y="3669707"/>
                  </a:lnTo>
                  <a:lnTo>
                    <a:pt x="2616514" y="3676625"/>
                  </a:lnTo>
                  <a:cubicBezTo>
                    <a:pt x="2611782" y="3678614"/>
                    <a:pt x="2606568" y="3679711"/>
                    <a:pt x="2601080" y="3679711"/>
                  </a:cubicBezTo>
                  <a:close/>
                  <a:moveTo>
                    <a:pt x="2056720" y="3681905"/>
                  </a:moveTo>
                  <a:cubicBezTo>
                    <a:pt x="2034770" y="3681905"/>
                    <a:pt x="2015015" y="3662151"/>
                    <a:pt x="2015015" y="3640201"/>
                  </a:cubicBezTo>
                  <a:cubicBezTo>
                    <a:pt x="2015015" y="3618251"/>
                    <a:pt x="2032574" y="3598496"/>
                    <a:pt x="2056720" y="3598496"/>
                  </a:cubicBezTo>
                  <a:cubicBezTo>
                    <a:pt x="2078669" y="3598496"/>
                    <a:pt x="2098425" y="3618251"/>
                    <a:pt x="2098425" y="3640201"/>
                  </a:cubicBezTo>
                  <a:cubicBezTo>
                    <a:pt x="2098425" y="3662151"/>
                    <a:pt x="2080865" y="3681905"/>
                    <a:pt x="2056720" y="3681905"/>
                  </a:cubicBezTo>
                  <a:close/>
                  <a:moveTo>
                    <a:pt x="766057" y="3721416"/>
                  </a:moveTo>
                  <a:cubicBezTo>
                    <a:pt x="741912" y="3721416"/>
                    <a:pt x="722156" y="3701661"/>
                    <a:pt x="722156" y="3677516"/>
                  </a:cubicBezTo>
                  <a:cubicBezTo>
                    <a:pt x="722156" y="3653371"/>
                    <a:pt x="741912" y="3633616"/>
                    <a:pt x="766057" y="3633616"/>
                  </a:cubicBezTo>
                  <a:cubicBezTo>
                    <a:pt x="790202" y="3633616"/>
                    <a:pt x="809957" y="3653371"/>
                    <a:pt x="809957" y="3677516"/>
                  </a:cubicBezTo>
                  <a:cubicBezTo>
                    <a:pt x="809957" y="3701661"/>
                    <a:pt x="790202" y="3721416"/>
                    <a:pt x="766057" y="3721416"/>
                  </a:cubicBezTo>
                  <a:close/>
                  <a:moveTo>
                    <a:pt x="1782344" y="3723612"/>
                  </a:moveTo>
                  <a:cubicBezTo>
                    <a:pt x="1756004" y="3723612"/>
                    <a:pt x="1736249" y="3701661"/>
                    <a:pt x="1736249" y="3677516"/>
                  </a:cubicBezTo>
                  <a:cubicBezTo>
                    <a:pt x="1736249" y="3651176"/>
                    <a:pt x="1758198" y="3631421"/>
                    <a:pt x="1782344" y="3631421"/>
                  </a:cubicBezTo>
                  <a:cubicBezTo>
                    <a:pt x="1808684" y="3631421"/>
                    <a:pt x="1828439" y="3653371"/>
                    <a:pt x="1828439" y="3677516"/>
                  </a:cubicBezTo>
                  <a:cubicBezTo>
                    <a:pt x="1828439" y="3703856"/>
                    <a:pt x="1806489" y="3723612"/>
                    <a:pt x="1782344" y="3723612"/>
                  </a:cubicBezTo>
                  <a:close/>
                  <a:moveTo>
                    <a:pt x="2181835" y="3730196"/>
                  </a:moveTo>
                  <a:cubicBezTo>
                    <a:pt x="2157690" y="3730196"/>
                    <a:pt x="2137934" y="3710442"/>
                    <a:pt x="2137934" y="3686297"/>
                  </a:cubicBezTo>
                  <a:cubicBezTo>
                    <a:pt x="2137934" y="3662151"/>
                    <a:pt x="2157690" y="3642396"/>
                    <a:pt x="2181835" y="3642396"/>
                  </a:cubicBezTo>
                  <a:cubicBezTo>
                    <a:pt x="2205979" y="3642396"/>
                    <a:pt x="2225735" y="3662151"/>
                    <a:pt x="2225735" y="3686297"/>
                  </a:cubicBezTo>
                  <a:cubicBezTo>
                    <a:pt x="2225735" y="3710442"/>
                    <a:pt x="2205979" y="3730196"/>
                    <a:pt x="2181835" y="3730196"/>
                  </a:cubicBezTo>
                  <a:close/>
                  <a:moveTo>
                    <a:pt x="1007507" y="3738977"/>
                  </a:moveTo>
                  <a:cubicBezTo>
                    <a:pt x="983362" y="3738977"/>
                    <a:pt x="963607" y="3719222"/>
                    <a:pt x="963607" y="3695076"/>
                  </a:cubicBezTo>
                  <a:cubicBezTo>
                    <a:pt x="963607" y="3670931"/>
                    <a:pt x="983362" y="3651176"/>
                    <a:pt x="1007507" y="3651176"/>
                  </a:cubicBezTo>
                  <a:cubicBezTo>
                    <a:pt x="1031652" y="3651176"/>
                    <a:pt x="1051407" y="3670931"/>
                    <a:pt x="1051407" y="3695076"/>
                  </a:cubicBezTo>
                  <a:cubicBezTo>
                    <a:pt x="1051407" y="3719222"/>
                    <a:pt x="1031652" y="3738977"/>
                    <a:pt x="1007507" y="3738977"/>
                  </a:cubicBezTo>
                  <a:close/>
                  <a:moveTo>
                    <a:pt x="1514553" y="3743367"/>
                  </a:moveTo>
                  <a:cubicBezTo>
                    <a:pt x="1488214" y="3743367"/>
                    <a:pt x="1468458" y="3721416"/>
                    <a:pt x="1468458" y="3697271"/>
                  </a:cubicBezTo>
                  <a:cubicBezTo>
                    <a:pt x="1468458" y="3670931"/>
                    <a:pt x="1488214" y="3651176"/>
                    <a:pt x="1514553" y="3651176"/>
                  </a:cubicBezTo>
                  <a:cubicBezTo>
                    <a:pt x="1540893" y="3651176"/>
                    <a:pt x="1560648" y="3670931"/>
                    <a:pt x="1560648" y="3697271"/>
                  </a:cubicBezTo>
                  <a:cubicBezTo>
                    <a:pt x="1560648" y="3723612"/>
                    <a:pt x="1540893" y="3743367"/>
                    <a:pt x="1514553" y="3743367"/>
                  </a:cubicBezTo>
                  <a:close/>
                  <a:moveTo>
                    <a:pt x="1257738" y="3749951"/>
                  </a:moveTo>
                  <a:cubicBezTo>
                    <a:pt x="1231398" y="3749951"/>
                    <a:pt x="1209448" y="3728002"/>
                    <a:pt x="1209448" y="3701661"/>
                  </a:cubicBezTo>
                  <a:cubicBezTo>
                    <a:pt x="1209448" y="3675321"/>
                    <a:pt x="1231398" y="3653371"/>
                    <a:pt x="1257738" y="3653371"/>
                  </a:cubicBezTo>
                  <a:cubicBezTo>
                    <a:pt x="1284078" y="3653371"/>
                    <a:pt x="1306028" y="3675321"/>
                    <a:pt x="1306028" y="3701661"/>
                  </a:cubicBezTo>
                  <a:cubicBezTo>
                    <a:pt x="1306028" y="3728002"/>
                    <a:pt x="1284078" y="3749951"/>
                    <a:pt x="1257738" y="3749951"/>
                  </a:cubicBezTo>
                  <a:close/>
                  <a:moveTo>
                    <a:pt x="2309145" y="3771902"/>
                  </a:moveTo>
                  <a:cubicBezTo>
                    <a:pt x="2282805" y="3771902"/>
                    <a:pt x="2263051" y="3752147"/>
                    <a:pt x="2263051" y="3725806"/>
                  </a:cubicBezTo>
                  <a:cubicBezTo>
                    <a:pt x="2263051" y="3699466"/>
                    <a:pt x="2282805" y="3679711"/>
                    <a:pt x="2309145" y="3679711"/>
                  </a:cubicBezTo>
                  <a:cubicBezTo>
                    <a:pt x="2335485" y="3679711"/>
                    <a:pt x="2355239" y="3699466"/>
                    <a:pt x="2355239" y="3725806"/>
                  </a:cubicBezTo>
                  <a:cubicBezTo>
                    <a:pt x="2355239" y="3752147"/>
                    <a:pt x="2335485" y="3771902"/>
                    <a:pt x="2309145" y="3771902"/>
                  </a:cubicBezTo>
                  <a:close/>
                  <a:moveTo>
                    <a:pt x="1900874" y="3782876"/>
                  </a:moveTo>
                  <a:cubicBezTo>
                    <a:pt x="1874534" y="3782876"/>
                    <a:pt x="1852584" y="3760927"/>
                    <a:pt x="1852584" y="3734586"/>
                  </a:cubicBezTo>
                  <a:cubicBezTo>
                    <a:pt x="1852584" y="3708246"/>
                    <a:pt x="1874534" y="3686297"/>
                    <a:pt x="1900874" y="3686297"/>
                  </a:cubicBezTo>
                  <a:cubicBezTo>
                    <a:pt x="1927215" y="3686297"/>
                    <a:pt x="1949164" y="3708246"/>
                    <a:pt x="1949164" y="3734586"/>
                  </a:cubicBezTo>
                  <a:cubicBezTo>
                    <a:pt x="1949164" y="3760927"/>
                    <a:pt x="1927215" y="3782876"/>
                    <a:pt x="1900874" y="3782876"/>
                  </a:cubicBezTo>
                  <a:close/>
                  <a:moveTo>
                    <a:pt x="864832" y="3798242"/>
                  </a:moveTo>
                  <a:cubicBezTo>
                    <a:pt x="847272" y="3798242"/>
                    <a:pt x="834102" y="3785072"/>
                    <a:pt x="834102" y="3767511"/>
                  </a:cubicBezTo>
                  <a:cubicBezTo>
                    <a:pt x="834102" y="3749951"/>
                    <a:pt x="847272" y="3736781"/>
                    <a:pt x="864832" y="3736781"/>
                  </a:cubicBezTo>
                  <a:cubicBezTo>
                    <a:pt x="882393" y="3736781"/>
                    <a:pt x="895563" y="3749951"/>
                    <a:pt x="895563" y="3767511"/>
                  </a:cubicBezTo>
                  <a:cubicBezTo>
                    <a:pt x="895563" y="3785072"/>
                    <a:pt x="882393" y="3798242"/>
                    <a:pt x="864832" y="3798242"/>
                  </a:cubicBezTo>
                  <a:close/>
                  <a:moveTo>
                    <a:pt x="2436456" y="3800437"/>
                  </a:moveTo>
                  <a:cubicBezTo>
                    <a:pt x="2414506" y="3800437"/>
                    <a:pt x="2396945" y="3782876"/>
                    <a:pt x="2394751" y="3758731"/>
                  </a:cubicBezTo>
                  <a:cubicBezTo>
                    <a:pt x="2394751" y="3734586"/>
                    <a:pt x="2414506" y="3717026"/>
                    <a:pt x="2436456" y="3717026"/>
                  </a:cubicBezTo>
                  <a:cubicBezTo>
                    <a:pt x="2460600" y="3717026"/>
                    <a:pt x="2478160" y="3736781"/>
                    <a:pt x="2478160" y="3758731"/>
                  </a:cubicBezTo>
                  <a:cubicBezTo>
                    <a:pt x="2478160" y="3782876"/>
                    <a:pt x="2458405" y="3800437"/>
                    <a:pt x="2436456" y="3800437"/>
                  </a:cubicBezTo>
                  <a:close/>
                  <a:moveTo>
                    <a:pt x="1628694" y="3811412"/>
                  </a:moveTo>
                  <a:cubicBezTo>
                    <a:pt x="1602354" y="3811412"/>
                    <a:pt x="1580404" y="3789462"/>
                    <a:pt x="1580404" y="3763121"/>
                  </a:cubicBezTo>
                  <a:cubicBezTo>
                    <a:pt x="1580404" y="3736781"/>
                    <a:pt x="1602354" y="3714832"/>
                    <a:pt x="1628694" y="3714832"/>
                  </a:cubicBezTo>
                  <a:cubicBezTo>
                    <a:pt x="1655034" y="3714832"/>
                    <a:pt x="1676984" y="3736781"/>
                    <a:pt x="1676984" y="3763121"/>
                  </a:cubicBezTo>
                  <a:cubicBezTo>
                    <a:pt x="1676984" y="3789462"/>
                    <a:pt x="1655034" y="3811412"/>
                    <a:pt x="1628694" y="3811412"/>
                  </a:cubicBezTo>
                  <a:close/>
                  <a:moveTo>
                    <a:pt x="2568156" y="3822387"/>
                  </a:moveTo>
                  <a:cubicBezTo>
                    <a:pt x="2546205" y="3822387"/>
                    <a:pt x="2530840" y="3807022"/>
                    <a:pt x="2530840" y="3785072"/>
                  </a:cubicBezTo>
                  <a:cubicBezTo>
                    <a:pt x="2530840" y="3765317"/>
                    <a:pt x="2548400" y="3747757"/>
                    <a:pt x="2568156" y="3747757"/>
                  </a:cubicBezTo>
                  <a:cubicBezTo>
                    <a:pt x="2587910" y="3747757"/>
                    <a:pt x="2605470" y="3765317"/>
                    <a:pt x="2605470" y="3785072"/>
                  </a:cubicBezTo>
                  <a:cubicBezTo>
                    <a:pt x="2605470" y="3804827"/>
                    <a:pt x="2587910" y="3822387"/>
                    <a:pt x="2568156" y="3822387"/>
                  </a:cubicBezTo>
                  <a:close/>
                  <a:moveTo>
                    <a:pt x="1365293" y="3824582"/>
                  </a:moveTo>
                  <a:cubicBezTo>
                    <a:pt x="1341148" y="3824582"/>
                    <a:pt x="1319198" y="3802632"/>
                    <a:pt x="1319198" y="3778487"/>
                  </a:cubicBezTo>
                  <a:cubicBezTo>
                    <a:pt x="1319198" y="3752147"/>
                    <a:pt x="1338953" y="3732392"/>
                    <a:pt x="1365293" y="3732392"/>
                  </a:cubicBezTo>
                  <a:cubicBezTo>
                    <a:pt x="1391633" y="3732392"/>
                    <a:pt x="1411388" y="3752147"/>
                    <a:pt x="1411388" y="3778487"/>
                  </a:cubicBezTo>
                  <a:cubicBezTo>
                    <a:pt x="1411388" y="3804827"/>
                    <a:pt x="1391633" y="3824582"/>
                    <a:pt x="1365293" y="3824582"/>
                  </a:cubicBezTo>
                  <a:close/>
                  <a:moveTo>
                    <a:pt x="1110672" y="3828971"/>
                  </a:moveTo>
                  <a:cubicBezTo>
                    <a:pt x="1082137" y="3828971"/>
                    <a:pt x="1060187" y="3807022"/>
                    <a:pt x="1057992" y="3776292"/>
                  </a:cubicBezTo>
                  <a:cubicBezTo>
                    <a:pt x="1057992" y="3747757"/>
                    <a:pt x="1082137" y="3723612"/>
                    <a:pt x="1110672" y="3723612"/>
                  </a:cubicBezTo>
                  <a:cubicBezTo>
                    <a:pt x="1139207" y="3723612"/>
                    <a:pt x="1163353" y="3747757"/>
                    <a:pt x="1163353" y="3776292"/>
                  </a:cubicBezTo>
                  <a:cubicBezTo>
                    <a:pt x="1163353" y="3804827"/>
                    <a:pt x="1139207" y="3828971"/>
                    <a:pt x="1110672" y="3828971"/>
                  </a:cubicBezTo>
                  <a:close/>
                  <a:moveTo>
                    <a:pt x="2023795" y="3833362"/>
                  </a:moveTo>
                  <a:cubicBezTo>
                    <a:pt x="1997455" y="3833362"/>
                    <a:pt x="1977700" y="3813606"/>
                    <a:pt x="1977700" y="3787266"/>
                  </a:cubicBezTo>
                  <a:cubicBezTo>
                    <a:pt x="1977700" y="3763121"/>
                    <a:pt x="1999649" y="3741171"/>
                    <a:pt x="2023795" y="3741171"/>
                  </a:cubicBezTo>
                  <a:cubicBezTo>
                    <a:pt x="2047940" y="3741171"/>
                    <a:pt x="2069890" y="3760927"/>
                    <a:pt x="2069890" y="3787266"/>
                  </a:cubicBezTo>
                  <a:cubicBezTo>
                    <a:pt x="2069890" y="3811412"/>
                    <a:pt x="2050134" y="3833362"/>
                    <a:pt x="2023795" y="3833362"/>
                  </a:cubicBezTo>
                  <a:close/>
                  <a:moveTo>
                    <a:pt x="1747224" y="3872872"/>
                  </a:moveTo>
                  <a:cubicBezTo>
                    <a:pt x="1720883" y="3872872"/>
                    <a:pt x="1698933" y="3850922"/>
                    <a:pt x="1698933" y="3824582"/>
                  </a:cubicBezTo>
                  <a:cubicBezTo>
                    <a:pt x="1698933" y="3798242"/>
                    <a:pt x="1720883" y="3776292"/>
                    <a:pt x="1747224" y="3776292"/>
                  </a:cubicBezTo>
                  <a:cubicBezTo>
                    <a:pt x="1773564" y="3776292"/>
                    <a:pt x="1795514" y="3798242"/>
                    <a:pt x="1795514" y="3824582"/>
                  </a:cubicBezTo>
                  <a:cubicBezTo>
                    <a:pt x="1795514" y="3850922"/>
                    <a:pt x="1773564" y="3872872"/>
                    <a:pt x="1747224" y="3872872"/>
                  </a:cubicBezTo>
                  <a:close/>
                  <a:moveTo>
                    <a:pt x="965802" y="3879457"/>
                  </a:moveTo>
                  <a:cubicBezTo>
                    <a:pt x="952632" y="3879457"/>
                    <a:pt x="939462" y="3866287"/>
                    <a:pt x="939462" y="3853117"/>
                  </a:cubicBezTo>
                  <a:cubicBezTo>
                    <a:pt x="939462" y="3837752"/>
                    <a:pt x="950437" y="3826777"/>
                    <a:pt x="965802" y="3826777"/>
                  </a:cubicBezTo>
                  <a:cubicBezTo>
                    <a:pt x="981167" y="3826777"/>
                    <a:pt x="992142" y="3837752"/>
                    <a:pt x="992142" y="3853117"/>
                  </a:cubicBezTo>
                  <a:cubicBezTo>
                    <a:pt x="992142" y="3868482"/>
                    <a:pt x="981167" y="3879457"/>
                    <a:pt x="965802" y="3879457"/>
                  </a:cubicBezTo>
                  <a:close/>
                  <a:moveTo>
                    <a:pt x="2148910" y="3879457"/>
                  </a:moveTo>
                  <a:cubicBezTo>
                    <a:pt x="2122570" y="3879457"/>
                    <a:pt x="2100620" y="3857507"/>
                    <a:pt x="2102815" y="3833362"/>
                  </a:cubicBezTo>
                  <a:cubicBezTo>
                    <a:pt x="2102815" y="3809217"/>
                    <a:pt x="2122570" y="3787266"/>
                    <a:pt x="2148910" y="3787266"/>
                  </a:cubicBezTo>
                  <a:cubicBezTo>
                    <a:pt x="2173054" y="3787266"/>
                    <a:pt x="2195006" y="3807022"/>
                    <a:pt x="2195006" y="3833362"/>
                  </a:cubicBezTo>
                  <a:cubicBezTo>
                    <a:pt x="2195006" y="3857507"/>
                    <a:pt x="2175250" y="3879457"/>
                    <a:pt x="2148910" y="3879457"/>
                  </a:cubicBezTo>
                  <a:close/>
                  <a:moveTo>
                    <a:pt x="1479433" y="3890431"/>
                  </a:moveTo>
                  <a:cubicBezTo>
                    <a:pt x="1455288" y="3890431"/>
                    <a:pt x="1435533" y="3870677"/>
                    <a:pt x="1435533" y="3846531"/>
                  </a:cubicBezTo>
                  <a:cubicBezTo>
                    <a:pt x="1435533" y="3822386"/>
                    <a:pt x="1455288" y="3802631"/>
                    <a:pt x="1479433" y="3802631"/>
                  </a:cubicBezTo>
                  <a:cubicBezTo>
                    <a:pt x="1503578" y="3802631"/>
                    <a:pt x="1523333" y="3822386"/>
                    <a:pt x="1523333" y="3846531"/>
                  </a:cubicBezTo>
                  <a:cubicBezTo>
                    <a:pt x="1523333" y="3870677"/>
                    <a:pt x="1503578" y="3890431"/>
                    <a:pt x="1479433" y="3890431"/>
                  </a:cubicBezTo>
                  <a:close/>
                  <a:moveTo>
                    <a:pt x="1106195" y="3905171"/>
                  </a:moveTo>
                  <a:lnTo>
                    <a:pt x="1034905" y="3905171"/>
                  </a:lnTo>
                  <a:lnTo>
                    <a:pt x="1039060" y="3899211"/>
                  </a:lnTo>
                  <a:cubicBezTo>
                    <a:pt x="1047566" y="3890980"/>
                    <a:pt x="1059090" y="3886041"/>
                    <a:pt x="1071162" y="3886041"/>
                  </a:cubicBezTo>
                  <a:cubicBezTo>
                    <a:pt x="1084332" y="3886041"/>
                    <a:pt x="1095856" y="3891529"/>
                    <a:pt x="1104087" y="3900035"/>
                  </a:cubicBezTo>
                  <a:close/>
                  <a:moveTo>
                    <a:pt x="1225200" y="3905171"/>
                  </a:moveTo>
                  <a:lnTo>
                    <a:pt x="1211629" y="3905171"/>
                  </a:lnTo>
                  <a:lnTo>
                    <a:pt x="1182285" y="3892627"/>
                  </a:lnTo>
                  <a:cubicBezTo>
                    <a:pt x="1173230" y="3883298"/>
                    <a:pt x="1167743" y="3870677"/>
                    <a:pt x="1167743" y="3857506"/>
                  </a:cubicBezTo>
                  <a:cubicBezTo>
                    <a:pt x="1167743" y="3828971"/>
                    <a:pt x="1189693" y="3807022"/>
                    <a:pt x="1218228" y="3807022"/>
                  </a:cubicBezTo>
                  <a:cubicBezTo>
                    <a:pt x="1246763" y="3807022"/>
                    <a:pt x="1268713" y="3828971"/>
                    <a:pt x="1268713" y="3857506"/>
                  </a:cubicBezTo>
                  <a:cubicBezTo>
                    <a:pt x="1268713" y="3871774"/>
                    <a:pt x="1263226" y="3884395"/>
                    <a:pt x="1254171" y="3893450"/>
                  </a:cubicBezTo>
                  <a:close/>
                  <a:moveTo>
                    <a:pt x="1371361" y="3905171"/>
                  </a:moveTo>
                  <a:lnTo>
                    <a:pt x="1284594" y="3905171"/>
                  </a:lnTo>
                  <a:lnTo>
                    <a:pt x="1292034" y="3893998"/>
                  </a:lnTo>
                  <a:cubicBezTo>
                    <a:pt x="1301088" y="3884944"/>
                    <a:pt x="1313710" y="3879456"/>
                    <a:pt x="1327977" y="3879456"/>
                  </a:cubicBezTo>
                  <a:cubicBezTo>
                    <a:pt x="1342245" y="3879456"/>
                    <a:pt x="1354866" y="3884944"/>
                    <a:pt x="1363920" y="3893998"/>
                  </a:cubicBezTo>
                  <a:close/>
                  <a:moveTo>
                    <a:pt x="1634475" y="3905171"/>
                  </a:moveTo>
                  <a:lnTo>
                    <a:pt x="1552672" y="3905171"/>
                  </a:lnTo>
                  <a:lnTo>
                    <a:pt x="1562569" y="3881377"/>
                  </a:lnTo>
                  <a:cubicBezTo>
                    <a:pt x="1570526" y="3873420"/>
                    <a:pt x="1581501" y="3868481"/>
                    <a:pt x="1593574" y="3868481"/>
                  </a:cubicBezTo>
                  <a:cubicBezTo>
                    <a:pt x="1605646" y="3868481"/>
                    <a:pt x="1616621" y="3873420"/>
                    <a:pt x="1624578" y="3881377"/>
                  </a:cubicBezTo>
                  <a:close/>
                  <a:moveTo>
                    <a:pt x="1909099" y="3905171"/>
                  </a:moveTo>
                  <a:lnTo>
                    <a:pt x="1824848" y="3905171"/>
                  </a:lnTo>
                  <a:lnTo>
                    <a:pt x="1822266" y="3901235"/>
                  </a:lnTo>
                  <a:cubicBezTo>
                    <a:pt x="1820071" y="3895371"/>
                    <a:pt x="1819111" y="3888786"/>
                    <a:pt x="1819659" y="3881652"/>
                  </a:cubicBezTo>
                  <a:cubicBezTo>
                    <a:pt x="1819659" y="3855312"/>
                    <a:pt x="1841609" y="3833362"/>
                    <a:pt x="1867949" y="3833362"/>
                  </a:cubicBezTo>
                  <a:cubicBezTo>
                    <a:pt x="1894289" y="3833362"/>
                    <a:pt x="1916239" y="3855312"/>
                    <a:pt x="1916239" y="3881652"/>
                  </a:cubicBezTo>
                  <a:cubicBezTo>
                    <a:pt x="1916239" y="3888237"/>
                    <a:pt x="1914867" y="3894548"/>
                    <a:pt x="1912398" y="3900310"/>
                  </a:cubicBezTo>
                  <a:close/>
                  <a:moveTo>
                    <a:pt x="2029680" y="3905171"/>
                  </a:moveTo>
                  <a:lnTo>
                    <a:pt x="1952059" y="3905171"/>
                  </a:lnTo>
                  <a:lnTo>
                    <a:pt x="1956847" y="3898115"/>
                  </a:lnTo>
                  <a:cubicBezTo>
                    <a:pt x="1965627" y="3889335"/>
                    <a:pt x="1977699" y="3883847"/>
                    <a:pt x="1990869" y="3883847"/>
                  </a:cubicBezTo>
                  <a:cubicBezTo>
                    <a:pt x="2004040" y="3883847"/>
                    <a:pt x="2016112" y="3889335"/>
                    <a:pt x="2024892" y="3898115"/>
                  </a:cubicBezTo>
                  <a:close/>
                  <a:moveTo>
                    <a:pt x="2304497" y="3905171"/>
                  </a:moveTo>
                  <a:lnTo>
                    <a:pt x="2247217" y="3905171"/>
                  </a:lnTo>
                  <a:lnTo>
                    <a:pt x="2243294" y="3903602"/>
                  </a:lnTo>
                  <a:cubicBezTo>
                    <a:pt x="2235063" y="3895370"/>
                    <a:pt x="2230124" y="3883847"/>
                    <a:pt x="2230124" y="3870677"/>
                  </a:cubicBezTo>
                  <a:cubicBezTo>
                    <a:pt x="2230124" y="3844336"/>
                    <a:pt x="2252075" y="3824581"/>
                    <a:pt x="2276219" y="3824581"/>
                  </a:cubicBezTo>
                  <a:cubicBezTo>
                    <a:pt x="2302559" y="3824581"/>
                    <a:pt x="2322315" y="3846531"/>
                    <a:pt x="2322315" y="3870677"/>
                  </a:cubicBezTo>
                  <a:cubicBezTo>
                    <a:pt x="2322315" y="3883847"/>
                    <a:pt x="2316828" y="3895370"/>
                    <a:pt x="2308322" y="3903602"/>
                  </a:cubicBezTo>
                  <a:close/>
                  <a:moveTo>
                    <a:pt x="2448998" y="3905171"/>
                  </a:moveTo>
                  <a:lnTo>
                    <a:pt x="2357761" y="3905171"/>
                  </a:lnTo>
                  <a:lnTo>
                    <a:pt x="2357435" y="3903602"/>
                  </a:lnTo>
                  <a:cubicBezTo>
                    <a:pt x="2357435" y="3877261"/>
                    <a:pt x="2377191" y="3857506"/>
                    <a:pt x="2403531" y="3857506"/>
                  </a:cubicBezTo>
                  <a:cubicBezTo>
                    <a:pt x="2429871" y="3857506"/>
                    <a:pt x="2449625" y="3877261"/>
                    <a:pt x="2449625" y="3903602"/>
                  </a:cubicBezTo>
                  <a:close/>
                  <a:moveTo>
                    <a:pt x="2565556" y="3905171"/>
                  </a:moveTo>
                  <a:lnTo>
                    <a:pt x="2504463" y="3905171"/>
                  </a:lnTo>
                  <a:lnTo>
                    <a:pt x="2505322" y="3903053"/>
                  </a:lnTo>
                  <a:cubicBezTo>
                    <a:pt x="2512731" y="3895370"/>
                    <a:pt x="2523157" y="3890431"/>
                    <a:pt x="2535230" y="3890431"/>
                  </a:cubicBezTo>
                  <a:cubicBezTo>
                    <a:pt x="2546205" y="3890431"/>
                    <a:pt x="2556632" y="3894821"/>
                    <a:pt x="2564315" y="3902230"/>
                  </a:cubicBezTo>
                  <a:close/>
                </a:path>
              </a:pathLst>
            </a:custGeom>
            <a:gradFill>
              <a:gsLst>
                <a:gs pos="0">
                  <a:schemeClr val="accent3">
                    <a:alpha val="0"/>
                  </a:schemeClr>
                </a:gs>
                <a:gs pos="93000">
                  <a:schemeClr val="accent1">
                    <a:lumMod val="75000"/>
                    <a:alpha val="17000"/>
                  </a:schemeClr>
                </a:gs>
              </a:gsLst>
              <a:lin ang="10800000" scaled="1"/>
            </a:gradFill>
            <a:ln w="315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1" name="Freeform: Shape 1160">
              <a:extLst>
                <a:ext uri="{FF2B5EF4-FFF2-40B4-BE49-F238E27FC236}">
                  <a16:creationId xmlns:a16="http://schemas.microsoft.com/office/drawing/2014/main" id="{86A9387A-2498-4DAB-8325-F95C0784F33B}"/>
                </a:ext>
                <a:ext uri="{C183D7F6-B498-43B3-948B-1728B52AA6E4}">
                  <adec:decorative xmlns:adec="http://schemas.microsoft.com/office/drawing/2017/decorative" val="1"/>
                </a:ext>
              </a:extLst>
            </p:cNvPr>
            <p:cNvSpPr/>
            <p:nvPr/>
          </p:nvSpPr>
          <p:spPr>
            <a:xfrm>
              <a:off x="8930686" y="1582126"/>
              <a:ext cx="2957919" cy="5314092"/>
            </a:xfrm>
            <a:custGeom>
              <a:avLst/>
              <a:gdLst>
                <a:gd name="connsiteX0" fmla="*/ 3030947 w 4016827"/>
                <a:gd name="connsiteY0" fmla="*/ 7203063 h 7216489"/>
                <a:gd name="connsiteX1" fmla="*/ 3037660 w 4016827"/>
                <a:gd name="connsiteY1" fmla="*/ 7209776 h 7216489"/>
                <a:gd name="connsiteX2" fmla="*/ 3030947 w 4016827"/>
                <a:gd name="connsiteY2" fmla="*/ 7216489 h 7216489"/>
                <a:gd name="connsiteX3" fmla="*/ 3024234 w 4016827"/>
                <a:gd name="connsiteY3" fmla="*/ 7209776 h 7216489"/>
                <a:gd name="connsiteX4" fmla="*/ 3030947 w 4016827"/>
                <a:gd name="connsiteY4" fmla="*/ 7203063 h 7216489"/>
                <a:gd name="connsiteX5" fmla="*/ 3873436 w 4016827"/>
                <a:gd name="connsiteY5" fmla="*/ 7149359 h 7216489"/>
                <a:gd name="connsiteX6" fmla="*/ 3893574 w 4016827"/>
                <a:gd name="connsiteY6" fmla="*/ 7169498 h 7216489"/>
                <a:gd name="connsiteX7" fmla="*/ 3873436 w 4016827"/>
                <a:gd name="connsiteY7" fmla="*/ 7189637 h 7216489"/>
                <a:gd name="connsiteX8" fmla="*/ 3853295 w 4016827"/>
                <a:gd name="connsiteY8" fmla="*/ 7169498 h 7216489"/>
                <a:gd name="connsiteX9" fmla="*/ 3873436 w 4016827"/>
                <a:gd name="connsiteY9" fmla="*/ 7149359 h 7216489"/>
                <a:gd name="connsiteX10" fmla="*/ 2839624 w 4016827"/>
                <a:gd name="connsiteY10" fmla="*/ 7142646 h 7216489"/>
                <a:gd name="connsiteX11" fmla="*/ 2839624 w 4016827"/>
                <a:gd name="connsiteY11" fmla="*/ 7146002 h 7216489"/>
                <a:gd name="connsiteX12" fmla="*/ 2839624 w 4016827"/>
                <a:gd name="connsiteY12" fmla="*/ 7142646 h 7216489"/>
                <a:gd name="connsiteX13" fmla="*/ 3675402 w 4016827"/>
                <a:gd name="connsiteY13" fmla="*/ 7109080 h 7216489"/>
                <a:gd name="connsiteX14" fmla="*/ 3702254 w 4016827"/>
                <a:gd name="connsiteY14" fmla="*/ 7135933 h 7216489"/>
                <a:gd name="connsiteX15" fmla="*/ 3675402 w 4016827"/>
                <a:gd name="connsiteY15" fmla="*/ 7162785 h 7216489"/>
                <a:gd name="connsiteX16" fmla="*/ 3648550 w 4016827"/>
                <a:gd name="connsiteY16" fmla="*/ 7135933 h 7216489"/>
                <a:gd name="connsiteX17" fmla="*/ 3675402 w 4016827"/>
                <a:gd name="connsiteY17" fmla="*/ 7109080 h 7216489"/>
                <a:gd name="connsiteX18" fmla="*/ 3474010 w 4016827"/>
                <a:gd name="connsiteY18" fmla="*/ 7055376 h 7216489"/>
                <a:gd name="connsiteX19" fmla="*/ 3510931 w 4016827"/>
                <a:gd name="connsiteY19" fmla="*/ 7092298 h 7216489"/>
                <a:gd name="connsiteX20" fmla="*/ 3474010 w 4016827"/>
                <a:gd name="connsiteY20" fmla="*/ 7129220 h 7216489"/>
                <a:gd name="connsiteX21" fmla="*/ 3437087 w 4016827"/>
                <a:gd name="connsiteY21" fmla="*/ 7092298 h 7216489"/>
                <a:gd name="connsiteX22" fmla="*/ 3474010 w 4016827"/>
                <a:gd name="connsiteY22" fmla="*/ 7055376 h 7216489"/>
                <a:gd name="connsiteX23" fmla="*/ 3279328 w 4016827"/>
                <a:gd name="connsiteY23" fmla="*/ 7021810 h 7216489"/>
                <a:gd name="connsiteX24" fmla="*/ 3302826 w 4016827"/>
                <a:gd name="connsiteY24" fmla="*/ 7045306 h 7216489"/>
                <a:gd name="connsiteX25" fmla="*/ 3279328 w 4016827"/>
                <a:gd name="connsiteY25" fmla="*/ 7068802 h 7216489"/>
                <a:gd name="connsiteX26" fmla="*/ 3255834 w 4016827"/>
                <a:gd name="connsiteY26" fmla="*/ 7045306 h 7216489"/>
                <a:gd name="connsiteX27" fmla="*/ 3279328 w 4016827"/>
                <a:gd name="connsiteY27" fmla="*/ 7021810 h 7216489"/>
                <a:gd name="connsiteX28" fmla="*/ 2463694 w 4016827"/>
                <a:gd name="connsiteY28" fmla="*/ 6984888 h 7216489"/>
                <a:gd name="connsiteX29" fmla="*/ 2470406 w 4016827"/>
                <a:gd name="connsiteY29" fmla="*/ 6991602 h 7216489"/>
                <a:gd name="connsiteX30" fmla="*/ 2463694 w 4016827"/>
                <a:gd name="connsiteY30" fmla="*/ 6998315 h 7216489"/>
                <a:gd name="connsiteX31" fmla="*/ 2456980 w 4016827"/>
                <a:gd name="connsiteY31" fmla="*/ 6991602 h 7216489"/>
                <a:gd name="connsiteX32" fmla="*/ 2463694 w 4016827"/>
                <a:gd name="connsiteY32" fmla="*/ 6984888 h 7216489"/>
                <a:gd name="connsiteX33" fmla="*/ 3081295 w 4016827"/>
                <a:gd name="connsiteY33" fmla="*/ 6911045 h 7216489"/>
                <a:gd name="connsiteX34" fmla="*/ 3158496 w 4016827"/>
                <a:gd name="connsiteY34" fmla="*/ 6988245 h 7216489"/>
                <a:gd name="connsiteX35" fmla="*/ 3081295 w 4016827"/>
                <a:gd name="connsiteY35" fmla="*/ 7065445 h 7216489"/>
                <a:gd name="connsiteX36" fmla="*/ 3004095 w 4016827"/>
                <a:gd name="connsiteY36" fmla="*/ 6988245 h 7216489"/>
                <a:gd name="connsiteX37" fmla="*/ 3081295 w 4016827"/>
                <a:gd name="connsiteY37" fmla="*/ 6911045 h 7216489"/>
                <a:gd name="connsiteX38" fmla="*/ 2279084 w 4016827"/>
                <a:gd name="connsiteY38" fmla="*/ 6897619 h 7216489"/>
                <a:gd name="connsiteX39" fmla="*/ 2285797 w 4016827"/>
                <a:gd name="connsiteY39" fmla="*/ 6904332 h 7216489"/>
                <a:gd name="connsiteX40" fmla="*/ 2279084 w 4016827"/>
                <a:gd name="connsiteY40" fmla="*/ 6911045 h 7216489"/>
                <a:gd name="connsiteX41" fmla="*/ 2272371 w 4016827"/>
                <a:gd name="connsiteY41" fmla="*/ 6904332 h 7216489"/>
                <a:gd name="connsiteX42" fmla="*/ 2279084 w 4016827"/>
                <a:gd name="connsiteY42" fmla="*/ 6897619 h 7216489"/>
                <a:gd name="connsiteX43" fmla="*/ 3923784 w 4016827"/>
                <a:gd name="connsiteY43" fmla="*/ 6877479 h 7216489"/>
                <a:gd name="connsiteX44" fmla="*/ 3994272 w 4016827"/>
                <a:gd name="connsiteY44" fmla="*/ 6947967 h 7216489"/>
                <a:gd name="connsiteX45" fmla="*/ 3923784 w 4016827"/>
                <a:gd name="connsiteY45" fmla="*/ 7018454 h 7216489"/>
                <a:gd name="connsiteX46" fmla="*/ 3853295 w 4016827"/>
                <a:gd name="connsiteY46" fmla="*/ 6947967 h 7216489"/>
                <a:gd name="connsiteX47" fmla="*/ 3923784 w 4016827"/>
                <a:gd name="connsiteY47" fmla="*/ 6877479 h 7216489"/>
                <a:gd name="connsiteX48" fmla="*/ 2889972 w 4016827"/>
                <a:gd name="connsiteY48" fmla="*/ 6860697 h 7216489"/>
                <a:gd name="connsiteX49" fmla="*/ 2950390 w 4016827"/>
                <a:gd name="connsiteY49" fmla="*/ 6921114 h 7216489"/>
                <a:gd name="connsiteX50" fmla="*/ 2889972 w 4016827"/>
                <a:gd name="connsiteY50" fmla="*/ 6981532 h 7216489"/>
                <a:gd name="connsiteX51" fmla="*/ 2829555 w 4016827"/>
                <a:gd name="connsiteY51" fmla="*/ 6921114 h 7216489"/>
                <a:gd name="connsiteX52" fmla="*/ 2889972 w 4016827"/>
                <a:gd name="connsiteY52" fmla="*/ 6860697 h 7216489"/>
                <a:gd name="connsiteX53" fmla="*/ 3725749 w 4016827"/>
                <a:gd name="connsiteY53" fmla="*/ 6840557 h 7216489"/>
                <a:gd name="connsiteX54" fmla="*/ 3796237 w 4016827"/>
                <a:gd name="connsiteY54" fmla="*/ 6911045 h 7216489"/>
                <a:gd name="connsiteX55" fmla="*/ 3725749 w 4016827"/>
                <a:gd name="connsiteY55" fmla="*/ 6981532 h 7216489"/>
                <a:gd name="connsiteX56" fmla="*/ 3655261 w 4016827"/>
                <a:gd name="connsiteY56" fmla="*/ 6911045 h 7216489"/>
                <a:gd name="connsiteX57" fmla="*/ 3725749 w 4016827"/>
                <a:gd name="connsiteY57" fmla="*/ 6840557 h 7216489"/>
                <a:gd name="connsiteX58" fmla="*/ 2702006 w 4016827"/>
                <a:gd name="connsiteY58" fmla="*/ 6817062 h 7216489"/>
                <a:gd name="connsiteX59" fmla="*/ 2732215 w 4016827"/>
                <a:gd name="connsiteY59" fmla="*/ 6847271 h 7216489"/>
                <a:gd name="connsiteX60" fmla="*/ 2702006 w 4016827"/>
                <a:gd name="connsiteY60" fmla="*/ 6877479 h 7216489"/>
                <a:gd name="connsiteX61" fmla="*/ 2671798 w 4016827"/>
                <a:gd name="connsiteY61" fmla="*/ 6847271 h 7216489"/>
                <a:gd name="connsiteX62" fmla="*/ 2702006 w 4016827"/>
                <a:gd name="connsiteY62" fmla="*/ 6817062 h 7216489"/>
                <a:gd name="connsiteX63" fmla="*/ 3524357 w 4016827"/>
                <a:gd name="connsiteY63" fmla="*/ 6793566 h 7216489"/>
                <a:gd name="connsiteX64" fmla="*/ 3601556 w 4016827"/>
                <a:gd name="connsiteY64" fmla="*/ 6870766 h 7216489"/>
                <a:gd name="connsiteX65" fmla="*/ 3524357 w 4016827"/>
                <a:gd name="connsiteY65" fmla="*/ 6947967 h 7216489"/>
                <a:gd name="connsiteX66" fmla="*/ 3447158 w 4016827"/>
                <a:gd name="connsiteY66" fmla="*/ 6870766 h 7216489"/>
                <a:gd name="connsiteX67" fmla="*/ 3524357 w 4016827"/>
                <a:gd name="connsiteY67" fmla="*/ 6793566 h 7216489"/>
                <a:gd name="connsiteX68" fmla="*/ 3329678 w 4016827"/>
                <a:gd name="connsiteY68" fmla="*/ 6743218 h 7216489"/>
                <a:gd name="connsiteX69" fmla="*/ 3406879 w 4016827"/>
                <a:gd name="connsiteY69" fmla="*/ 6820418 h 7216489"/>
                <a:gd name="connsiteX70" fmla="*/ 3329678 w 4016827"/>
                <a:gd name="connsiteY70" fmla="*/ 6897619 h 7216489"/>
                <a:gd name="connsiteX71" fmla="*/ 3252476 w 4016827"/>
                <a:gd name="connsiteY71" fmla="*/ 6820418 h 7216489"/>
                <a:gd name="connsiteX72" fmla="*/ 3329678 w 4016827"/>
                <a:gd name="connsiteY72" fmla="*/ 6743218 h 7216489"/>
                <a:gd name="connsiteX73" fmla="*/ 1919936 w 4016827"/>
                <a:gd name="connsiteY73" fmla="*/ 6709653 h 7216489"/>
                <a:gd name="connsiteX74" fmla="*/ 1923292 w 4016827"/>
                <a:gd name="connsiteY74" fmla="*/ 6713009 h 7216489"/>
                <a:gd name="connsiteX75" fmla="*/ 1919936 w 4016827"/>
                <a:gd name="connsiteY75" fmla="*/ 6716366 h 7216489"/>
                <a:gd name="connsiteX76" fmla="*/ 1916579 w 4016827"/>
                <a:gd name="connsiteY76" fmla="*/ 6713009 h 7216489"/>
                <a:gd name="connsiteX77" fmla="*/ 1919936 w 4016827"/>
                <a:gd name="connsiteY77" fmla="*/ 6709653 h 7216489"/>
                <a:gd name="connsiteX78" fmla="*/ 3131643 w 4016827"/>
                <a:gd name="connsiteY78" fmla="*/ 6696226 h 7216489"/>
                <a:gd name="connsiteX79" fmla="*/ 3202129 w 4016827"/>
                <a:gd name="connsiteY79" fmla="*/ 6766714 h 7216489"/>
                <a:gd name="connsiteX80" fmla="*/ 3131643 w 4016827"/>
                <a:gd name="connsiteY80" fmla="*/ 6837201 h 7216489"/>
                <a:gd name="connsiteX81" fmla="*/ 3061156 w 4016827"/>
                <a:gd name="connsiteY81" fmla="*/ 6766714 h 7216489"/>
                <a:gd name="connsiteX82" fmla="*/ 3131643 w 4016827"/>
                <a:gd name="connsiteY82" fmla="*/ 6696226 h 7216489"/>
                <a:gd name="connsiteX83" fmla="*/ 2514042 w 4016827"/>
                <a:gd name="connsiteY83" fmla="*/ 6686157 h 7216489"/>
                <a:gd name="connsiteX84" fmla="*/ 2594598 w 4016827"/>
                <a:gd name="connsiteY84" fmla="*/ 6766714 h 7216489"/>
                <a:gd name="connsiteX85" fmla="*/ 2514042 w 4016827"/>
                <a:gd name="connsiteY85" fmla="*/ 6847271 h 7216489"/>
                <a:gd name="connsiteX86" fmla="*/ 2433484 w 4016827"/>
                <a:gd name="connsiteY86" fmla="*/ 6766714 h 7216489"/>
                <a:gd name="connsiteX87" fmla="*/ 2514042 w 4016827"/>
                <a:gd name="connsiteY87" fmla="*/ 6686157 h 7216489"/>
                <a:gd name="connsiteX88" fmla="*/ 3974130 w 4016827"/>
                <a:gd name="connsiteY88" fmla="*/ 6662662 h 7216489"/>
                <a:gd name="connsiteX89" fmla="*/ 3997732 w 4016827"/>
                <a:gd name="connsiteY89" fmla="*/ 6667382 h 7216489"/>
                <a:gd name="connsiteX90" fmla="*/ 4016827 w 4016827"/>
                <a:gd name="connsiteY90" fmla="*/ 6680216 h 7216489"/>
                <a:gd name="connsiteX91" fmla="*/ 4016827 w 4016827"/>
                <a:gd name="connsiteY91" fmla="*/ 6765944 h 7216489"/>
                <a:gd name="connsiteX92" fmla="*/ 3997732 w 4016827"/>
                <a:gd name="connsiteY92" fmla="*/ 6778777 h 7216489"/>
                <a:gd name="connsiteX93" fmla="*/ 3974130 w 4016827"/>
                <a:gd name="connsiteY93" fmla="*/ 6783497 h 7216489"/>
                <a:gd name="connsiteX94" fmla="*/ 3913715 w 4016827"/>
                <a:gd name="connsiteY94" fmla="*/ 6723080 h 7216489"/>
                <a:gd name="connsiteX95" fmla="*/ 3974130 w 4016827"/>
                <a:gd name="connsiteY95" fmla="*/ 6662662 h 7216489"/>
                <a:gd name="connsiteX96" fmla="*/ 2940320 w 4016827"/>
                <a:gd name="connsiteY96" fmla="*/ 6629097 h 7216489"/>
                <a:gd name="connsiteX97" fmla="*/ 3010808 w 4016827"/>
                <a:gd name="connsiteY97" fmla="*/ 6699584 h 7216489"/>
                <a:gd name="connsiteX98" fmla="*/ 2940320 w 4016827"/>
                <a:gd name="connsiteY98" fmla="*/ 6770071 h 7216489"/>
                <a:gd name="connsiteX99" fmla="*/ 2869833 w 4016827"/>
                <a:gd name="connsiteY99" fmla="*/ 6699584 h 7216489"/>
                <a:gd name="connsiteX100" fmla="*/ 2940320 w 4016827"/>
                <a:gd name="connsiteY100" fmla="*/ 6629097 h 7216489"/>
                <a:gd name="connsiteX101" fmla="*/ 3776096 w 4016827"/>
                <a:gd name="connsiteY101" fmla="*/ 6619027 h 7216489"/>
                <a:gd name="connsiteX102" fmla="*/ 3849940 w 4016827"/>
                <a:gd name="connsiteY102" fmla="*/ 6692871 h 7216489"/>
                <a:gd name="connsiteX103" fmla="*/ 3776096 w 4016827"/>
                <a:gd name="connsiteY103" fmla="*/ 6766715 h 7216489"/>
                <a:gd name="connsiteX104" fmla="*/ 3702254 w 4016827"/>
                <a:gd name="connsiteY104" fmla="*/ 6692871 h 7216489"/>
                <a:gd name="connsiteX105" fmla="*/ 3776096 w 4016827"/>
                <a:gd name="connsiteY105" fmla="*/ 6619027 h 7216489"/>
                <a:gd name="connsiteX106" fmla="*/ 2329432 w 4016827"/>
                <a:gd name="connsiteY106" fmla="*/ 6612314 h 7216489"/>
                <a:gd name="connsiteX107" fmla="*/ 2396563 w 4016827"/>
                <a:gd name="connsiteY107" fmla="*/ 6679445 h 7216489"/>
                <a:gd name="connsiteX108" fmla="*/ 2329432 w 4016827"/>
                <a:gd name="connsiteY108" fmla="*/ 6746575 h 7216489"/>
                <a:gd name="connsiteX109" fmla="*/ 2262301 w 4016827"/>
                <a:gd name="connsiteY109" fmla="*/ 6679445 h 7216489"/>
                <a:gd name="connsiteX110" fmla="*/ 2329432 w 4016827"/>
                <a:gd name="connsiteY110" fmla="*/ 6612314 h 7216489"/>
                <a:gd name="connsiteX111" fmla="*/ 1747494 w 4016827"/>
                <a:gd name="connsiteY111" fmla="*/ 6604762 h 7216489"/>
                <a:gd name="connsiteX112" fmla="*/ 1748752 w 4016827"/>
                <a:gd name="connsiteY112" fmla="*/ 6605601 h 7216489"/>
                <a:gd name="connsiteX113" fmla="*/ 1748752 w 4016827"/>
                <a:gd name="connsiteY113" fmla="*/ 6608957 h 7216489"/>
                <a:gd name="connsiteX114" fmla="*/ 1747494 w 4016827"/>
                <a:gd name="connsiteY114" fmla="*/ 6604762 h 7216489"/>
                <a:gd name="connsiteX115" fmla="*/ 976750 w 4016827"/>
                <a:gd name="connsiteY115" fmla="*/ 6595531 h 7216489"/>
                <a:gd name="connsiteX116" fmla="*/ 976750 w 4016827"/>
                <a:gd name="connsiteY116" fmla="*/ 6602244 h 7216489"/>
                <a:gd name="connsiteX117" fmla="*/ 976750 w 4016827"/>
                <a:gd name="connsiteY117" fmla="*/ 6595531 h 7216489"/>
                <a:gd name="connsiteX118" fmla="*/ 3574704 w 4016827"/>
                <a:gd name="connsiteY118" fmla="*/ 6568679 h 7216489"/>
                <a:gd name="connsiteX119" fmla="*/ 3658618 w 4016827"/>
                <a:gd name="connsiteY119" fmla="*/ 6652592 h 7216489"/>
                <a:gd name="connsiteX120" fmla="*/ 3574704 w 4016827"/>
                <a:gd name="connsiteY120" fmla="*/ 6736506 h 7216489"/>
                <a:gd name="connsiteX121" fmla="*/ 3490792 w 4016827"/>
                <a:gd name="connsiteY121" fmla="*/ 6652592 h 7216489"/>
                <a:gd name="connsiteX122" fmla="*/ 3574704 w 4016827"/>
                <a:gd name="connsiteY122" fmla="*/ 6568679 h 7216489"/>
                <a:gd name="connsiteX123" fmla="*/ 2151536 w 4016827"/>
                <a:gd name="connsiteY123" fmla="*/ 6558609 h 7216489"/>
                <a:gd name="connsiteX124" fmla="*/ 2171675 w 4016827"/>
                <a:gd name="connsiteY124" fmla="*/ 6582105 h 7216489"/>
                <a:gd name="connsiteX125" fmla="*/ 2151536 w 4016827"/>
                <a:gd name="connsiteY125" fmla="*/ 6605601 h 7216489"/>
                <a:gd name="connsiteX126" fmla="*/ 2128040 w 4016827"/>
                <a:gd name="connsiteY126" fmla="*/ 6582105 h 7216489"/>
                <a:gd name="connsiteX127" fmla="*/ 2151536 w 4016827"/>
                <a:gd name="connsiteY127" fmla="*/ 6558609 h 7216489"/>
                <a:gd name="connsiteX128" fmla="*/ 2752354 w 4016827"/>
                <a:gd name="connsiteY128" fmla="*/ 6548540 h 7216489"/>
                <a:gd name="connsiteX129" fmla="*/ 2829555 w 4016827"/>
                <a:gd name="connsiteY129" fmla="*/ 6625739 h 7216489"/>
                <a:gd name="connsiteX130" fmla="*/ 2752354 w 4016827"/>
                <a:gd name="connsiteY130" fmla="*/ 6702939 h 7216489"/>
                <a:gd name="connsiteX131" fmla="*/ 2675154 w 4016827"/>
                <a:gd name="connsiteY131" fmla="*/ 6625739 h 7216489"/>
                <a:gd name="connsiteX132" fmla="*/ 2752354 w 4016827"/>
                <a:gd name="connsiteY132" fmla="*/ 6548540 h 7216489"/>
                <a:gd name="connsiteX133" fmla="*/ 3380027 w 4016827"/>
                <a:gd name="connsiteY133" fmla="*/ 6521688 h 7216489"/>
                <a:gd name="connsiteX134" fmla="*/ 3460584 w 4016827"/>
                <a:gd name="connsiteY134" fmla="*/ 6602244 h 7216489"/>
                <a:gd name="connsiteX135" fmla="*/ 3380027 w 4016827"/>
                <a:gd name="connsiteY135" fmla="*/ 6682801 h 7216489"/>
                <a:gd name="connsiteX136" fmla="*/ 3299470 w 4016827"/>
                <a:gd name="connsiteY136" fmla="*/ 6602244 h 7216489"/>
                <a:gd name="connsiteX137" fmla="*/ 3380027 w 4016827"/>
                <a:gd name="connsiteY137" fmla="*/ 6521688 h 7216489"/>
                <a:gd name="connsiteX138" fmla="*/ 1578408 w 4016827"/>
                <a:gd name="connsiteY138" fmla="*/ 6490640 h 7216489"/>
                <a:gd name="connsiteX139" fmla="*/ 1580925 w 4016827"/>
                <a:gd name="connsiteY139" fmla="*/ 6491479 h 7216489"/>
                <a:gd name="connsiteX140" fmla="*/ 1580925 w 4016827"/>
                <a:gd name="connsiteY140" fmla="*/ 6494835 h 7216489"/>
                <a:gd name="connsiteX141" fmla="*/ 1578408 w 4016827"/>
                <a:gd name="connsiteY141" fmla="*/ 6490640 h 7216489"/>
                <a:gd name="connsiteX142" fmla="*/ 2567746 w 4016827"/>
                <a:gd name="connsiteY142" fmla="*/ 6467983 h 7216489"/>
                <a:gd name="connsiteX143" fmla="*/ 2641590 w 4016827"/>
                <a:gd name="connsiteY143" fmla="*/ 6541827 h 7216489"/>
                <a:gd name="connsiteX144" fmla="*/ 2567746 w 4016827"/>
                <a:gd name="connsiteY144" fmla="*/ 6615671 h 7216489"/>
                <a:gd name="connsiteX145" fmla="*/ 2493902 w 4016827"/>
                <a:gd name="connsiteY145" fmla="*/ 6541827 h 7216489"/>
                <a:gd name="connsiteX146" fmla="*/ 2567746 w 4016827"/>
                <a:gd name="connsiteY146" fmla="*/ 6467983 h 7216489"/>
                <a:gd name="connsiteX147" fmla="*/ 3185348 w 4016827"/>
                <a:gd name="connsiteY147" fmla="*/ 6464626 h 7216489"/>
                <a:gd name="connsiteX148" fmla="*/ 3265904 w 4016827"/>
                <a:gd name="connsiteY148" fmla="*/ 6545183 h 7216489"/>
                <a:gd name="connsiteX149" fmla="*/ 3185348 w 4016827"/>
                <a:gd name="connsiteY149" fmla="*/ 6625740 h 7216489"/>
                <a:gd name="connsiteX150" fmla="*/ 3104791 w 4016827"/>
                <a:gd name="connsiteY150" fmla="*/ 6545183 h 7216489"/>
                <a:gd name="connsiteX151" fmla="*/ 3185348 w 4016827"/>
                <a:gd name="connsiteY151" fmla="*/ 6464626 h 7216489"/>
                <a:gd name="connsiteX152" fmla="*/ 4016827 w 4016827"/>
                <a:gd name="connsiteY152" fmla="*/ 6446018 h 7216489"/>
                <a:gd name="connsiteX153" fmla="*/ 4016827 w 4016827"/>
                <a:gd name="connsiteY153" fmla="*/ 6563792 h 7216489"/>
                <a:gd name="connsiteX154" fmla="*/ 4000879 w 4016827"/>
                <a:gd name="connsiteY154" fmla="*/ 6560603 h 7216489"/>
                <a:gd name="connsiteX155" fmla="*/ 3964062 w 4016827"/>
                <a:gd name="connsiteY155" fmla="*/ 6504905 h 7216489"/>
                <a:gd name="connsiteX156" fmla="*/ 4000879 w 4016827"/>
                <a:gd name="connsiteY156" fmla="*/ 6449207 h 7216489"/>
                <a:gd name="connsiteX157" fmla="*/ 1976996 w 4016827"/>
                <a:gd name="connsiteY157" fmla="*/ 6441131 h 7216489"/>
                <a:gd name="connsiteX158" fmla="*/ 2017274 w 4016827"/>
                <a:gd name="connsiteY158" fmla="*/ 6481409 h 7216489"/>
                <a:gd name="connsiteX159" fmla="*/ 1976996 w 4016827"/>
                <a:gd name="connsiteY159" fmla="*/ 6521688 h 7216489"/>
                <a:gd name="connsiteX160" fmla="*/ 1936717 w 4016827"/>
                <a:gd name="connsiteY160" fmla="*/ 6481409 h 7216489"/>
                <a:gd name="connsiteX161" fmla="*/ 1976996 w 4016827"/>
                <a:gd name="connsiteY161" fmla="*/ 6441131 h 7216489"/>
                <a:gd name="connsiteX162" fmla="*/ 2990668 w 4016827"/>
                <a:gd name="connsiteY162" fmla="*/ 6410922 h 7216489"/>
                <a:gd name="connsiteX163" fmla="*/ 3057799 w 4016827"/>
                <a:gd name="connsiteY163" fmla="*/ 6478053 h 7216489"/>
                <a:gd name="connsiteX164" fmla="*/ 2990668 w 4016827"/>
                <a:gd name="connsiteY164" fmla="*/ 6545183 h 7216489"/>
                <a:gd name="connsiteX165" fmla="*/ 2923538 w 4016827"/>
                <a:gd name="connsiteY165" fmla="*/ 6478053 h 7216489"/>
                <a:gd name="connsiteX166" fmla="*/ 2990668 w 4016827"/>
                <a:gd name="connsiteY166" fmla="*/ 6410922 h 7216489"/>
                <a:gd name="connsiteX167" fmla="*/ 3826443 w 4016827"/>
                <a:gd name="connsiteY167" fmla="*/ 6400852 h 7216489"/>
                <a:gd name="connsiteX168" fmla="*/ 3900289 w 4016827"/>
                <a:gd name="connsiteY168" fmla="*/ 6474696 h 7216489"/>
                <a:gd name="connsiteX169" fmla="*/ 3826443 w 4016827"/>
                <a:gd name="connsiteY169" fmla="*/ 6548540 h 7216489"/>
                <a:gd name="connsiteX170" fmla="*/ 3752601 w 4016827"/>
                <a:gd name="connsiteY170" fmla="*/ 6474696 h 7216489"/>
                <a:gd name="connsiteX171" fmla="*/ 3826443 w 4016827"/>
                <a:gd name="connsiteY171" fmla="*/ 6400852 h 7216489"/>
                <a:gd name="connsiteX172" fmla="*/ 2383136 w 4016827"/>
                <a:gd name="connsiteY172" fmla="*/ 6380713 h 7216489"/>
                <a:gd name="connsiteX173" fmla="*/ 2456980 w 4016827"/>
                <a:gd name="connsiteY173" fmla="*/ 6454557 h 7216489"/>
                <a:gd name="connsiteX174" fmla="*/ 2383136 w 4016827"/>
                <a:gd name="connsiteY174" fmla="*/ 6528401 h 7216489"/>
                <a:gd name="connsiteX175" fmla="*/ 2309293 w 4016827"/>
                <a:gd name="connsiteY175" fmla="*/ 6454557 h 7216489"/>
                <a:gd name="connsiteX176" fmla="*/ 2383136 w 4016827"/>
                <a:gd name="connsiteY176" fmla="*/ 6380713 h 7216489"/>
                <a:gd name="connsiteX177" fmla="*/ 1415197 w 4016827"/>
                <a:gd name="connsiteY177" fmla="*/ 6369805 h 7216489"/>
                <a:gd name="connsiteX178" fmla="*/ 1416455 w 4016827"/>
                <a:gd name="connsiteY178" fmla="*/ 6370643 h 7216489"/>
                <a:gd name="connsiteX179" fmla="*/ 1416455 w 4016827"/>
                <a:gd name="connsiteY179" fmla="*/ 6374000 h 7216489"/>
                <a:gd name="connsiteX180" fmla="*/ 1415197 w 4016827"/>
                <a:gd name="connsiteY180" fmla="*/ 6369805 h 7216489"/>
                <a:gd name="connsiteX181" fmla="*/ 1805813 w 4016827"/>
                <a:gd name="connsiteY181" fmla="*/ 6360574 h 7216489"/>
                <a:gd name="connsiteX182" fmla="*/ 1815883 w 4016827"/>
                <a:gd name="connsiteY182" fmla="*/ 6370643 h 7216489"/>
                <a:gd name="connsiteX183" fmla="*/ 1805813 w 4016827"/>
                <a:gd name="connsiteY183" fmla="*/ 6380713 h 7216489"/>
                <a:gd name="connsiteX184" fmla="*/ 1795744 w 4016827"/>
                <a:gd name="connsiteY184" fmla="*/ 6370643 h 7216489"/>
                <a:gd name="connsiteX185" fmla="*/ 1805813 w 4016827"/>
                <a:gd name="connsiteY185" fmla="*/ 6360574 h 7216489"/>
                <a:gd name="connsiteX186" fmla="*/ 3625053 w 4016827"/>
                <a:gd name="connsiteY186" fmla="*/ 6357217 h 7216489"/>
                <a:gd name="connsiteX187" fmla="*/ 3698897 w 4016827"/>
                <a:gd name="connsiteY187" fmla="*/ 6431061 h 7216489"/>
                <a:gd name="connsiteX188" fmla="*/ 3625053 w 4016827"/>
                <a:gd name="connsiteY188" fmla="*/ 6504905 h 7216489"/>
                <a:gd name="connsiteX189" fmla="*/ 3551209 w 4016827"/>
                <a:gd name="connsiteY189" fmla="*/ 6431061 h 7216489"/>
                <a:gd name="connsiteX190" fmla="*/ 3625053 w 4016827"/>
                <a:gd name="connsiteY190" fmla="*/ 6357217 h 7216489"/>
                <a:gd name="connsiteX191" fmla="*/ 2802702 w 4016827"/>
                <a:gd name="connsiteY191" fmla="*/ 6323652 h 7216489"/>
                <a:gd name="connsiteX192" fmla="*/ 2879903 w 4016827"/>
                <a:gd name="connsiteY192" fmla="*/ 6400852 h 7216489"/>
                <a:gd name="connsiteX193" fmla="*/ 2802702 w 4016827"/>
                <a:gd name="connsiteY193" fmla="*/ 6478053 h 7216489"/>
                <a:gd name="connsiteX194" fmla="*/ 2725502 w 4016827"/>
                <a:gd name="connsiteY194" fmla="*/ 6400852 h 7216489"/>
                <a:gd name="connsiteX195" fmla="*/ 2802702 w 4016827"/>
                <a:gd name="connsiteY195" fmla="*/ 6323652 h 7216489"/>
                <a:gd name="connsiteX196" fmla="*/ 3430374 w 4016827"/>
                <a:gd name="connsiteY196" fmla="*/ 6306869 h 7216489"/>
                <a:gd name="connsiteX197" fmla="*/ 3507573 w 4016827"/>
                <a:gd name="connsiteY197" fmla="*/ 6384070 h 7216489"/>
                <a:gd name="connsiteX198" fmla="*/ 3430374 w 4016827"/>
                <a:gd name="connsiteY198" fmla="*/ 6461270 h 7216489"/>
                <a:gd name="connsiteX199" fmla="*/ 3353174 w 4016827"/>
                <a:gd name="connsiteY199" fmla="*/ 6384070 h 7216489"/>
                <a:gd name="connsiteX200" fmla="*/ 3430374 w 4016827"/>
                <a:gd name="connsiteY200" fmla="*/ 6306869 h 7216489"/>
                <a:gd name="connsiteX201" fmla="*/ 2205240 w 4016827"/>
                <a:gd name="connsiteY201" fmla="*/ 6276660 h 7216489"/>
                <a:gd name="connsiteX202" fmla="*/ 2282440 w 4016827"/>
                <a:gd name="connsiteY202" fmla="*/ 6353861 h 7216489"/>
                <a:gd name="connsiteX203" fmla="*/ 2205240 w 4016827"/>
                <a:gd name="connsiteY203" fmla="*/ 6431061 h 7216489"/>
                <a:gd name="connsiteX204" fmla="*/ 2128040 w 4016827"/>
                <a:gd name="connsiteY204" fmla="*/ 6353861 h 7216489"/>
                <a:gd name="connsiteX205" fmla="*/ 2205240 w 4016827"/>
                <a:gd name="connsiteY205" fmla="*/ 6276660 h 7216489"/>
                <a:gd name="connsiteX206" fmla="*/ 3235697 w 4016827"/>
                <a:gd name="connsiteY206" fmla="*/ 6253165 h 7216489"/>
                <a:gd name="connsiteX207" fmla="*/ 3306183 w 4016827"/>
                <a:gd name="connsiteY207" fmla="*/ 6323652 h 7216489"/>
                <a:gd name="connsiteX208" fmla="*/ 3235697 w 4016827"/>
                <a:gd name="connsiteY208" fmla="*/ 6394139 h 7216489"/>
                <a:gd name="connsiteX209" fmla="*/ 3165208 w 4016827"/>
                <a:gd name="connsiteY209" fmla="*/ 6323652 h 7216489"/>
                <a:gd name="connsiteX210" fmla="*/ 3235697 w 4016827"/>
                <a:gd name="connsiteY210" fmla="*/ 6253165 h 7216489"/>
                <a:gd name="connsiteX211" fmla="*/ 4016827 w 4016827"/>
                <a:gd name="connsiteY211" fmla="*/ 6248280 h 7216489"/>
                <a:gd name="connsiteX212" fmla="*/ 4016827 w 4016827"/>
                <a:gd name="connsiteY212" fmla="*/ 6308840 h 7216489"/>
                <a:gd name="connsiteX213" fmla="*/ 4014883 w 4016827"/>
                <a:gd name="connsiteY213" fmla="*/ 6306082 h 7216489"/>
                <a:gd name="connsiteX214" fmla="*/ 4007698 w 4016827"/>
                <a:gd name="connsiteY214" fmla="*/ 6280017 h 7216489"/>
                <a:gd name="connsiteX215" fmla="*/ 4012995 w 4016827"/>
                <a:gd name="connsiteY215" fmla="*/ 6253951 h 7216489"/>
                <a:gd name="connsiteX216" fmla="*/ 2618094 w 4016827"/>
                <a:gd name="connsiteY216" fmla="*/ 6243095 h 7216489"/>
                <a:gd name="connsiteX217" fmla="*/ 2691938 w 4016827"/>
                <a:gd name="connsiteY217" fmla="*/ 6316939 h 7216489"/>
                <a:gd name="connsiteX218" fmla="*/ 2618094 w 4016827"/>
                <a:gd name="connsiteY218" fmla="*/ 6390783 h 7216489"/>
                <a:gd name="connsiteX219" fmla="*/ 2544250 w 4016827"/>
                <a:gd name="connsiteY219" fmla="*/ 6316939 h 7216489"/>
                <a:gd name="connsiteX220" fmla="*/ 2618094 w 4016827"/>
                <a:gd name="connsiteY220" fmla="*/ 6243095 h 7216489"/>
                <a:gd name="connsiteX221" fmla="*/ 1258699 w 4016827"/>
                <a:gd name="connsiteY221" fmla="*/ 6243095 h 7216489"/>
                <a:gd name="connsiteX222" fmla="*/ 1262056 w 4016827"/>
                <a:gd name="connsiteY222" fmla="*/ 6246452 h 7216489"/>
                <a:gd name="connsiteX223" fmla="*/ 1258699 w 4016827"/>
                <a:gd name="connsiteY223" fmla="*/ 6249808 h 7216489"/>
                <a:gd name="connsiteX224" fmla="*/ 1255342 w 4016827"/>
                <a:gd name="connsiteY224" fmla="*/ 6246452 h 7216489"/>
                <a:gd name="connsiteX225" fmla="*/ 1258699 w 4016827"/>
                <a:gd name="connsiteY225" fmla="*/ 6243095 h 7216489"/>
                <a:gd name="connsiteX226" fmla="*/ 3876792 w 4016827"/>
                <a:gd name="connsiteY226" fmla="*/ 6189390 h 7216489"/>
                <a:gd name="connsiteX227" fmla="*/ 3940567 w 4016827"/>
                <a:gd name="connsiteY227" fmla="*/ 6253165 h 7216489"/>
                <a:gd name="connsiteX228" fmla="*/ 3876792 w 4016827"/>
                <a:gd name="connsiteY228" fmla="*/ 6316939 h 7216489"/>
                <a:gd name="connsiteX229" fmla="*/ 3813017 w 4016827"/>
                <a:gd name="connsiteY229" fmla="*/ 6253165 h 7216489"/>
                <a:gd name="connsiteX230" fmla="*/ 3876792 w 4016827"/>
                <a:gd name="connsiteY230" fmla="*/ 6189390 h 7216489"/>
                <a:gd name="connsiteX231" fmla="*/ 1637986 w 4016827"/>
                <a:gd name="connsiteY231" fmla="*/ 6182677 h 7216489"/>
                <a:gd name="connsiteX232" fmla="*/ 1708474 w 4016827"/>
                <a:gd name="connsiteY232" fmla="*/ 6253165 h 7216489"/>
                <a:gd name="connsiteX233" fmla="*/ 1637986 w 4016827"/>
                <a:gd name="connsiteY233" fmla="*/ 6323652 h 7216489"/>
                <a:gd name="connsiteX234" fmla="*/ 1567499 w 4016827"/>
                <a:gd name="connsiteY234" fmla="*/ 6253165 h 7216489"/>
                <a:gd name="connsiteX235" fmla="*/ 1637986 w 4016827"/>
                <a:gd name="connsiteY235" fmla="*/ 6182677 h 7216489"/>
                <a:gd name="connsiteX236" fmla="*/ 3044373 w 4016827"/>
                <a:gd name="connsiteY236" fmla="*/ 6179322 h 7216489"/>
                <a:gd name="connsiteX237" fmla="*/ 3118217 w 4016827"/>
                <a:gd name="connsiteY237" fmla="*/ 6253166 h 7216489"/>
                <a:gd name="connsiteX238" fmla="*/ 3044373 w 4016827"/>
                <a:gd name="connsiteY238" fmla="*/ 6327009 h 7216489"/>
                <a:gd name="connsiteX239" fmla="*/ 2970529 w 4016827"/>
                <a:gd name="connsiteY239" fmla="*/ 6253166 h 7216489"/>
                <a:gd name="connsiteX240" fmla="*/ 3044373 w 4016827"/>
                <a:gd name="connsiteY240" fmla="*/ 6179322 h 7216489"/>
                <a:gd name="connsiteX241" fmla="*/ 2030700 w 4016827"/>
                <a:gd name="connsiteY241" fmla="*/ 6172608 h 7216489"/>
                <a:gd name="connsiteX242" fmla="*/ 2107900 w 4016827"/>
                <a:gd name="connsiteY242" fmla="*/ 6249808 h 7216489"/>
                <a:gd name="connsiteX243" fmla="*/ 2030700 w 4016827"/>
                <a:gd name="connsiteY243" fmla="*/ 6327008 h 7216489"/>
                <a:gd name="connsiteX244" fmla="*/ 1953500 w 4016827"/>
                <a:gd name="connsiteY244" fmla="*/ 6249808 h 7216489"/>
                <a:gd name="connsiteX245" fmla="*/ 2030700 w 4016827"/>
                <a:gd name="connsiteY245" fmla="*/ 6172608 h 7216489"/>
                <a:gd name="connsiteX246" fmla="*/ 2436841 w 4016827"/>
                <a:gd name="connsiteY246" fmla="*/ 6155825 h 7216489"/>
                <a:gd name="connsiteX247" fmla="*/ 2503972 w 4016827"/>
                <a:gd name="connsiteY247" fmla="*/ 6222956 h 7216489"/>
                <a:gd name="connsiteX248" fmla="*/ 2436841 w 4016827"/>
                <a:gd name="connsiteY248" fmla="*/ 6290087 h 7216489"/>
                <a:gd name="connsiteX249" fmla="*/ 2369710 w 4016827"/>
                <a:gd name="connsiteY249" fmla="*/ 6222956 h 7216489"/>
                <a:gd name="connsiteX250" fmla="*/ 2436841 w 4016827"/>
                <a:gd name="connsiteY250" fmla="*/ 6155825 h 7216489"/>
                <a:gd name="connsiteX251" fmla="*/ 3675402 w 4016827"/>
                <a:gd name="connsiteY251" fmla="*/ 6139042 h 7216489"/>
                <a:gd name="connsiteX252" fmla="*/ 3745888 w 4016827"/>
                <a:gd name="connsiteY252" fmla="*/ 6209530 h 7216489"/>
                <a:gd name="connsiteX253" fmla="*/ 3675402 w 4016827"/>
                <a:gd name="connsiteY253" fmla="*/ 6280017 h 7216489"/>
                <a:gd name="connsiteX254" fmla="*/ 3604914 w 4016827"/>
                <a:gd name="connsiteY254" fmla="*/ 6209530 h 7216489"/>
                <a:gd name="connsiteX255" fmla="*/ 3675402 w 4016827"/>
                <a:gd name="connsiteY255" fmla="*/ 6139042 h 7216489"/>
                <a:gd name="connsiteX256" fmla="*/ 2856407 w 4016827"/>
                <a:gd name="connsiteY256" fmla="*/ 6102122 h 7216489"/>
                <a:gd name="connsiteX257" fmla="*/ 2930251 w 4016827"/>
                <a:gd name="connsiteY257" fmla="*/ 6175965 h 7216489"/>
                <a:gd name="connsiteX258" fmla="*/ 2856407 w 4016827"/>
                <a:gd name="connsiteY258" fmla="*/ 6249809 h 7216489"/>
                <a:gd name="connsiteX259" fmla="*/ 2782564 w 4016827"/>
                <a:gd name="connsiteY259" fmla="*/ 6175965 h 7216489"/>
                <a:gd name="connsiteX260" fmla="*/ 2856407 w 4016827"/>
                <a:gd name="connsiteY260" fmla="*/ 6102122 h 7216489"/>
                <a:gd name="connsiteX261" fmla="*/ 1476873 w 4016827"/>
                <a:gd name="connsiteY261" fmla="*/ 6092052 h 7216489"/>
                <a:gd name="connsiteX262" fmla="*/ 1517151 w 4016827"/>
                <a:gd name="connsiteY262" fmla="*/ 6132330 h 7216489"/>
                <a:gd name="connsiteX263" fmla="*/ 1476873 w 4016827"/>
                <a:gd name="connsiteY263" fmla="*/ 6172609 h 7216489"/>
                <a:gd name="connsiteX264" fmla="*/ 1436594 w 4016827"/>
                <a:gd name="connsiteY264" fmla="*/ 6132330 h 7216489"/>
                <a:gd name="connsiteX265" fmla="*/ 1476873 w 4016827"/>
                <a:gd name="connsiteY265" fmla="*/ 6092052 h 7216489"/>
                <a:gd name="connsiteX266" fmla="*/ 3480721 w 4016827"/>
                <a:gd name="connsiteY266" fmla="*/ 6088694 h 7216489"/>
                <a:gd name="connsiteX267" fmla="*/ 3551209 w 4016827"/>
                <a:gd name="connsiteY267" fmla="*/ 6159182 h 7216489"/>
                <a:gd name="connsiteX268" fmla="*/ 3480721 w 4016827"/>
                <a:gd name="connsiteY268" fmla="*/ 6229669 h 7216489"/>
                <a:gd name="connsiteX269" fmla="*/ 3410234 w 4016827"/>
                <a:gd name="connsiteY269" fmla="*/ 6159182 h 7216489"/>
                <a:gd name="connsiteX270" fmla="*/ 3480721 w 4016827"/>
                <a:gd name="connsiteY270" fmla="*/ 6088694 h 7216489"/>
                <a:gd name="connsiteX271" fmla="*/ 1862874 w 4016827"/>
                <a:gd name="connsiteY271" fmla="*/ 6061843 h 7216489"/>
                <a:gd name="connsiteX272" fmla="*/ 1940075 w 4016827"/>
                <a:gd name="connsiteY272" fmla="*/ 6139042 h 7216489"/>
                <a:gd name="connsiteX273" fmla="*/ 1862874 w 4016827"/>
                <a:gd name="connsiteY273" fmla="*/ 6216243 h 7216489"/>
                <a:gd name="connsiteX274" fmla="*/ 1785674 w 4016827"/>
                <a:gd name="connsiteY274" fmla="*/ 6139042 h 7216489"/>
                <a:gd name="connsiteX275" fmla="*/ 1862874 w 4016827"/>
                <a:gd name="connsiteY275" fmla="*/ 6061843 h 7216489"/>
                <a:gd name="connsiteX276" fmla="*/ 2262301 w 4016827"/>
                <a:gd name="connsiteY276" fmla="*/ 6055129 h 7216489"/>
                <a:gd name="connsiteX277" fmla="*/ 2329432 w 4016827"/>
                <a:gd name="connsiteY277" fmla="*/ 6122260 h 7216489"/>
                <a:gd name="connsiteX278" fmla="*/ 2262301 w 4016827"/>
                <a:gd name="connsiteY278" fmla="*/ 6189390 h 7216489"/>
                <a:gd name="connsiteX279" fmla="*/ 2195170 w 4016827"/>
                <a:gd name="connsiteY279" fmla="*/ 6122260 h 7216489"/>
                <a:gd name="connsiteX280" fmla="*/ 2262301 w 4016827"/>
                <a:gd name="connsiteY280" fmla="*/ 6055129 h 7216489"/>
                <a:gd name="connsiteX281" fmla="*/ 3286044 w 4016827"/>
                <a:gd name="connsiteY281" fmla="*/ 6031634 h 7216489"/>
                <a:gd name="connsiteX282" fmla="*/ 3356532 w 4016827"/>
                <a:gd name="connsiteY282" fmla="*/ 6102122 h 7216489"/>
                <a:gd name="connsiteX283" fmla="*/ 3286044 w 4016827"/>
                <a:gd name="connsiteY283" fmla="*/ 6172609 h 7216489"/>
                <a:gd name="connsiteX284" fmla="*/ 3215556 w 4016827"/>
                <a:gd name="connsiteY284" fmla="*/ 6102122 h 7216489"/>
                <a:gd name="connsiteX285" fmla="*/ 3286044 w 4016827"/>
                <a:gd name="connsiteY285" fmla="*/ 6031634 h 7216489"/>
                <a:gd name="connsiteX286" fmla="*/ 2671798 w 4016827"/>
                <a:gd name="connsiteY286" fmla="*/ 6014852 h 7216489"/>
                <a:gd name="connsiteX287" fmla="*/ 2745642 w 4016827"/>
                <a:gd name="connsiteY287" fmla="*/ 6088695 h 7216489"/>
                <a:gd name="connsiteX288" fmla="*/ 2671798 w 4016827"/>
                <a:gd name="connsiteY288" fmla="*/ 6162539 h 7216489"/>
                <a:gd name="connsiteX289" fmla="*/ 2597954 w 4016827"/>
                <a:gd name="connsiteY289" fmla="*/ 6088695 h 7216489"/>
                <a:gd name="connsiteX290" fmla="*/ 2671798 w 4016827"/>
                <a:gd name="connsiteY290" fmla="*/ 6014852 h 7216489"/>
                <a:gd name="connsiteX291" fmla="*/ 3927141 w 4016827"/>
                <a:gd name="connsiteY291" fmla="*/ 5971217 h 7216489"/>
                <a:gd name="connsiteX292" fmla="*/ 3984201 w 4016827"/>
                <a:gd name="connsiteY292" fmla="*/ 6028278 h 7216489"/>
                <a:gd name="connsiteX293" fmla="*/ 3927141 w 4016827"/>
                <a:gd name="connsiteY293" fmla="*/ 6085339 h 7216489"/>
                <a:gd name="connsiteX294" fmla="*/ 3870079 w 4016827"/>
                <a:gd name="connsiteY294" fmla="*/ 6028278 h 7216489"/>
                <a:gd name="connsiteX295" fmla="*/ 3927141 w 4016827"/>
                <a:gd name="connsiteY295" fmla="*/ 5971217 h 7216489"/>
                <a:gd name="connsiteX296" fmla="*/ 3094721 w 4016827"/>
                <a:gd name="connsiteY296" fmla="*/ 5961147 h 7216489"/>
                <a:gd name="connsiteX297" fmla="*/ 3165208 w 4016827"/>
                <a:gd name="connsiteY297" fmla="*/ 6031634 h 7216489"/>
                <a:gd name="connsiteX298" fmla="*/ 3094721 w 4016827"/>
                <a:gd name="connsiteY298" fmla="*/ 6102122 h 7216489"/>
                <a:gd name="connsiteX299" fmla="*/ 3024234 w 4016827"/>
                <a:gd name="connsiteY299" fmla="*/ 6031634 h 7216489"/>
                <a:gd name="connsiteX300" fmla="*/ 3094721 w 4016827"/>
                <a:gd name="connsiteY300" fmla="*/ 5961147 h 7216489"/>
                <a:gd name="connsiteX301" fmla="*/ 1322473 w 4016827"/>
                <a:gd name="connsiteY301" fmla="*/ 5954434 h 7216489"/>
                <a:gd name="connsiteX302" fmla="*/ 1369465 w 4016827"/>
                <a:gd name="connsiteY302" fmla="*/ 6001425 h 7216489"/>
                <a:gd name="connsiteX303" fmla="*/ 1322473 w 4016827"/>
                <a:gd name="connsiteY303" fmla="*/ 6048417 h 7216489"/>
                <a:gd name="connsiteX304" fmla="*/ 1275482 w 4016827"/>
                <a:gd name="connsiteY304" fmla="*/ 6001425 h 7216489"/>
                <a:gd name="connsiteX305" fmla="*/ 1322473 w 4016827"/>
                <a:gd name="connsiteY305" fmla="*/ 5954434 h 7216489"/>
                <a:gd name="connsiteX306" fmla="*/ 2087761 w 4016827"/>
                <a:gd name="connsiteY306" fmla="*/ 5947721 h 7216489"/>
                <a:gd name="connsiteX307" fmla="*/ 2158248 w 4016827"/>
                <a:gd name="connsiteY307" fmla="*/ 6018208 h 7216489"/>
                <a:gd name="connsiteX308" fmla="*/ 2087761 w 4016827"/>
                <a:gd name="connsiteY308" fmla="*/ 6088695 h 7216489"/>
                <a:gd name="connsiteX309" fmla="*/ 2017274 w 4016827"/>
                <a:gd name="connsiteY309" fmla="*/ 6018208 h 7216489"/>
                <a:gd name="connsiteX310" fmla="*/ 2087761 w 4016827"/>
                <a:gd name="connsiteY310" fmla="*/ 5947721 h 7216489"/>
                <a:gd name="connsiteX311" fmla="*/ 1698404 w 4016827"/>
                <a:gd name="connsiteY311" fmla="*/ 5934295 h 7216489"/>
                <a:gd name="connsiteX312" fmla="*/ 1778961 w 4016827"/>
                <a:gd name="connsiteY312" fmla="*/ 6014852 h 7216489"/>
                <a:gd name="connsiteX313" fmla="*/ 1698404 w 4016827"/>
                <a:gd name="connsiteY313" fmla="*/ 6095408 h 7216489"/>
                <a:gd name="connsiteX314" fmla="*/ 1617847 w 4016827"/>
                <a:gd name="connsiteY314" fmla="*/ 6014852 h 7216489"/>
                <a:gd name="connsiteX315" fmla="*/ 1698404 w 4016827"/>
                <a:gd name="connsiteY315" fmla="*/ 5934295 h 7216489"/>
                <a:gd name="connsiteX316" fmla="*/ 3725749 w 4016827"/>
                <a:gd name="connsiteY316" fmla="*/ 5924225 h 7216489"/>
                <a:gd name="connsiteX317" fmla="*/ 3789522 w 4016827"/>
                <a:gd name="connsiteY317" fmla="*/ 5987999 h 7216489"/>
                <a:gd name="connsiteX318" fmla="*/ 3725749 w 4016827"/>
                <a:gd name="connsiteY318" fmla="*/ 6051774 h 7216489"/>
                <a:gd name="connsiteX319" fmla="*/ 3661976 w 4016827"/>
                <a:gd name="connsiteY319" fmla="*/ 5987999 h 7216489"/>
                <a:gd name="connsiteX320" fmla="*/ 3725749 w 4016827"/>
                <a:gd name="connsiteY320" fmla="*/ 5924225 h 7216489"/>
                <a:gd name="connsiteX321" fmla="*/ 2490546 w 4016827"/>
                <a:gd name="connsiteY321" fmla="*/ 5920869 h 7216489"/>
                <a:gd name="connsiteX322" fmla="*/ 2564390 w 4016827"/>
                <a:gd name="connsiteY322" fmla="*/ 5994712 h 7216489"/>
                <a:gd name="connsiteX323" fmla="*/ 2490546 w 4016827"/>
                <a:gd name="connsiteY323" fmla="*/ 6068556 h 7216489"/>
                <a:gd name="connsiteX324" fmla="*/ 2416702 w 4016827"/>
                <a:gd name="connsiteY324" fmla="*/ 5994712 h 7216489"/>
                <a:gd name="connsiteX325" fmla="*/ 2490546 w 4016827"/>
                <a:gd name="connsiteY325" fmla="*/ 5920869 h 7216489"/>
                <a:gd name="connsiteX326" fmla="*/ 2906755 w 4016827"/>
                <a:gd name="connsiteY326" fmla="*/ 5877234 h 7216489"/>
                <a:gd name="connsiteX327" fmla="*/ 2980599 w 4016827"/>
                <a:gd name="connsiteY327" fmla="*/ 5951077 h 7216489"/>
                <a:gd name="connsiteX328" fmla="*/ 2906755 w 4016827"/>
                <a:gd name="connsiteY328" fmla="*/ 6024921 h 7216489"/>
                <a:gd name="connsiteX329" fmla="*/ 2832911 w 4016827"/>
                <a:gd name="connsiteY329" fmla="*/ 5951077 h 7216489"/>
                <a:gd name="connsiteX330" fmla="*/ 2906755 w 4016827"/>
                <a:gd name="connsiteY330" fmla="*/ 5877234 h 7216489"/>
                <a:gd name="connsiteX331" fmla="*/ 3531070 w 4016827"/>
                <a:gd name="connsiteY331" fmla="*/ 5867164 h 7216489"/>
                <a:gd name="connsiteX332" fmla="*/ 3601556 w 4016827"/>
                <a:gd name="connsiteY332" fmla="*/ 5937651 h 7216489"/>
                <a:gd name="connsiteX333" fmla="*/ 3531070 w 4016827"/>
                <a:gd name="connsiteY333" fmla="*/ 6008139 h 7216489"/>
                <a:gd name="connsiteX334" fmla="*/ 3460584 w 4016827"/>
                <a:gd name="connsiteY334" fmla="*/ 5937651 h 7216489"/>
                <a:gd name="connsiteX335" fmla="*/ 3531070 w 4016827"/>
                <a:gd name="connsiteY335" fmla="*/ 5867164 h 7216489"/>
                <a:gd name="connsiteX336" fmla="*/ 1923292 w 4016827"/>
                <a:gd name="connsiteY336" fmla="*/ 5826886 h 7216489"/>
                <a:gd name="connsiteX337" fmla="*/ 1997136 w 4016827"/>
                <a:gd name="connsiteY337" fmla="*/ 5900729 h 7216489"/>
                <a:gd name="connsiteX338" fmla="*/ 1923292 w 4016827"/>
                <a:gd name="connsiteY338" fmla="*/ 5974573 h 7216489"/>
                <a:gd name="connsiteX339" fmla="*/ 1849448 w 4016827"/>
                <a:gd name="connsiteY339" fmla="*/ 5900729 h 7216489"/>
                <a:gd name="connsiteX340" fmla="*/ 1923292 w 4016827"/>
                <a:gd name="connsiteY340" fmla="*/ 5826886 h 7216489"/>
                <a:gd name="connsiteX341" fmla="*/ 2316006 w 4016827"/>
                <a:gd name="connsiteY341" fmla="*/ 5823529 h 7216489"/>
                <a:gd name="connsiteX342" fmla="*/ 2386493 w 4016827"/>
                <a:gd name="connsiteY342" fmla="*/ 5894016 h 7216489"/>
                <a:gd name="connsiteX343" fmla="*/ 2316006 w 4016827"/>
                <a:gd name="connsiteY343" fmla="*/ 5964504 h 7216489"/>
                <a:gd name="connsiteX344" fmla="*/ 2245518 w 4016827"/>
                <a:gd name="connsiteY344" fmla="*/ 5894016 h 7216489"/>
                <a:gd name="connsiteX345" fmla="*/ 2316006 w 4016827"/>
                <a:gd name="connsiteY345" fmla="*/ 5823529 h 7216489"/>
                <a:gd name="connsiteX346" fmla="*/ 1540647 w 4016827"/>
                <a:gd name="connsiteY346" fmla="*/ 5823529 h 7216489"/>
                <a:gd name="connsiteX347" fmla="*/ 1607778 w 4016827"/>
                <a:gd name="connsiteY347" fmla="*/ 5890660 h 7216489"/>
                <a:gd name="connsiteX348" fmla="*/ 1540647 w 4016827"/>
                <a:gd name="connsiteY348" fmla="*/ 5957791 h 7216489"/>
                <a:gd name="connsiteX349" fmla="*/ 1473516 w 4016827"/>
                <a:gd name="connsiteY349" fmla="*/ 5890660 h 7216489"/>
                <a:gd name="connsiteX350" fmla="*/ 1540647 w 4016827"/>
                <a:gd name="connsiteY350" fmla="*/ 5823529 h 7216489"/>
                <a:gd name="connsiteX351" fmla="*/ 3336391 w 4016827"/>
                <a:gd name="connsiteY351" fmla="*/ 5810103 h 7216489"/>
                <a:gd name="connsiteX352" fmla="*/ 3403522 w 4016827"/>
                <a:gd name="connsiteY352" fmla="*/ 5877234 h 7216489"/>
                <a:gd name="connsiteX353" fmla="*/ 3336391 w 4016827"/>
                <a:gd name="connsiteY353" fmla="*/ 5944364 h 7216489"/>
                <a:gd name="connsiteX354" fmla="*/ 3269260 w 4016827"/>
                <a:gd name="connsiteY354" fmla="*/ 5877234 h 7216489"/>
                <a:gd name="connsiteX355" fmla="*/ 3336391 w 4016827"/>
                <a:gd name="connsiteY355" fmla="*/ 5810103 h 7216489"/>
                <a:gd name="connsiteX356" fmla="*/ 1171429 w 4016827"/>
                <a:gd name="connsiteY356" fmla="*/ 5796677 h 7216489"/>
                <a:gd name="connsiteX357" fmla="*/ 1238560 w 4016827"/>
                <a:gd name="connsiteY357" fmla="*/ 5863807 h 7216489"/>
                <a:gd name="connsiteX358" fmla="*/ 1171429 w 4016827"/>
                <a:gd name="connsiteY358" fmla="*/ 5930938 h 7216489"/>
                <a:gd name="connsiteX359" fmla="*/ 1104298 w 4016827"/>
                <a:gd name="connsiteY359" fmla="*/ 5863807 h 7216489"/>
                <a:gd name="connsiteX360" fmla="*/ 1171429 w 4016827"/>
                <a:gd name="connsiteY360" fmla="*/ 5796677 h 7216489"/>
                <a:gd name="connsiteX361" fmla="*/ 2725502 w 4016827"/>
                <a:gd name="connsiteY361" fmla="*/ 5793320 h 7216489"/>
                <a:gd name="connsiteX362" fmla="*/ 2795990 w 4016827"/>
                <a:gd name="connsiteY362" fmla="*/ 5863807 h 7216489"/>
                <a:gd name="connsiteX363" fmla="*/ 2725502 w 4016827"/>
                <a:gd name="connsiteY363" fmla="*/ 5934295 h 7216489"/>
                <a:gd name="connsiteX364" fmla="*/ 2655015 w 4016827"/>
                <a:gd name="connsiteY364" fmla="*/ 5863807 h 7216489"/>
                <a:gd name="connsiteX365" fmla="*/ 2725502 w 4016827"/>
                <a:gd name="connsiteY365" fmla="*/ 5793320 h 7216489"/>
                <a:gd name="connsiteX366" fmla="*/ 3977488 w 4016827"/>
                <a:gd name="connsiteY366" fmla="*/ 5746329 h 7216489"/>
                <a:gd name="connsiteX367" fmla="*/ 4001089 w 4016827"/>
                <a:gd name="connsiteY367" fmla="*/ 5751049 h 7216489"/>
                <a:gd name="connsiteX368" fmla="*/ 4016827 w 4016827"/>
                <a:gd name="connsiteY368" fmla="*/ 5761627 h 7216489"/>
                <a:gd name="connsiteX369" fmla="*/ 4016827 w 4016827"/>
                <a:gd name="connsiteY369" fmla="*/ 5851866 h 7216489"/>
                <a:gd name="connsiteX370" fmla="*/ 4001089 w 4016827"/>
                <a:gd name="connsiteY370" fmla="*/ 5862444 h 7216489"/>
                <a:gd name="connsiteX371" fmla="*/ 3977488 w 4016827"/>
                <a:gd name="connsiteY371" fmla="*/ 5867164 h 7216489"/>
                <a:gd name="connsiteX372" fmla="*/ 3917070 w 4016827"/>
                <a:gd name="connsiteY372" fmla="*/ 5806746 h 7216489"/>
                <a:gd name="connsiteX373" fmla="*/ 3977488 w 4016827"/>
                <a:gd name="connsiteY373" fmla="*/ 5746329 h 7216489"/>
                <a:gd name="connsiteX374" fmla="*/ 3145069 w 4016827"/>
                <a:gd name="connsiteY374" fmla="*/ 5742972 h 7216489"/>
                <a:gd name="connsiteX375" fmla="*/ 3208844 w 4016827"/>
                <a:gd name="connsiteY375" fmla="*/ 5806746 h 7216489"/>
                <a:gd name="connsiteX376" fmla="*/ 3145069 w 4016827"/>
                <a:gd name="connsiteY376" fmla="*/ 5870519 h 7216489"/>
                <a:gd name="connsiteX377" fmla="*/ 3081295 w 4016827"/>
                <a:gd name="connsiteY377" fmla="*/ 5806746 h 7216489"/>
                <a:gd name="connsiteX378" fmla="*/ 3145069 w 4016827"/>
                <a:gd name="connsiteY378" fmla="*/ 5742972 h 7216489"/>
                <a:gd name="connsiteX379" fmla="*/ 3776096 w 4016827"/>
                <a:gd name="connsiteY379" fmla="*/ 5716120 h 7216489"/>
                <a:gd name="connsiteX380" fmla="*/ 3829800 w 4016827"/>
                <a:gd name="connsiteY380" fmla="*/ 5769824 h 7216489"/>
                <a:gd name="connsiteX381" fmla="*/ 3776096 w 4016827"/>
                <a:gd name="connsiteY381" fmla="*/ 5823529 h 7216489"/>
                <a:gd name="connsiteX382" fmla="*/ 3722391 w 4016827"/>
                <a:gd name="connsiteY382" fmla="*/ 5769824 h 7216489"/>
                <a:gd name="connsiteX383" fmla="*/ 3776096 w 4016827"/>
                <a:gd name="connsiteY383" fmla="*/ 5716120 h 7216489"/>
                <a:gd name="connsiteX384" fmla="*/ 2144822 w 4016827"/>
                <a:gd name="connsiteY384" fmla="*/ 5706050 h 7216489"/>
                <a:gd name="connsiteX385" fmla="*/ 2218666 w 4016827"/>
                <a:gd name="connsiteY385" fmla="*/ 5779894 h 7216489"/>
                <a:gd name="connsiteX386" fmla="*/ 2144822 w 4016827"/>
                <a:gd name="connsiteY386" fmla="*/ 5853738 h 7216489"/>
                <a:gd name="connsiteX387" fmla="*/ 2070979 w 4016827"/>
                <a:gd name="connsiteY387" fmla="*/ 5779894 h 7216489"/>
                <a:gd name="connsiteX388" fmla="*/ 2144822 w 4016827"/>
                <a:gd name="connsiteY388" fmla="*/ 5706050 h 7216489"/>
                <a:gd name="connsiteX389" fmla="*/ 1758822 w 4016827"/>
                <a:gd name="connsiteY389" fmla="*/ 5706050 h 7216489"/>
                <a:gd name="connsiteX390" fmla="*/ 1832666 w 4016827"/>
                <a:gd name="connsiteY390" fmla="*/ 5779894 h 7216489"/>
                <a:gd name="connsiteX391" fmla="*/ 1758822 w 4016827"/>
                <a:gd name="connsiteY391" fmla="*/ 5853738 h 7216489"/>
                <a:gd name="connsiteX392" fmla="*/ 1684978 w 4016827"/>
                <a:gd name="connsiteY392" fmla="*/ 5779894 h 7216489"/>
                <a:gd name="connsiteX393" fmla="*/ 1758822 w 4016827"/>
                <a:gd name="connsiteY393" fmla="*/ 5706050 h 7216489"/>
                <a:gd name="connsiteX394" fmla="*/ 1027098 w 4016827"/>
                <a:gd name="connsiteY394" fmla="*/ 5706050 h 7216489"/>
                <a:gd name="connsiteX395" fmla="*/ 1043881 w 4016827"/>
                <a:gd name="connsiteY395" fmla="*/ 5722833 h 7216489"/>
                <a:gd name="connsiteX396" fmla="*/ 1027098 w 4016827"/>
                <a:gd name="connsiteY396" fmla="*/ 5739616 h 7216489"/>
                <a:gd name="connsiteX397" fmla="*/ 1010315 w 4016827"/>
                <a:gd name="connsiteY397" fmla="*/ 5722833 h 7216489"/>
                <a:gd name="connsiteX398" fmla="*/ 1027098 w 4016827"/>
                <a:gd name="connsiteY398" fmla="*/ 5706050 h 7216489"/>
                <a:gd name="connsiteX399" fmla="*/ 2544250 w 4016827"/>
                <a:gd name="connsiteY399" fmla="*/ 5692624 h 7216489"/>
                <a:gd name="connsiteX400" fmla="*/ 2618094 w 4016827"/>
                <a:gd name="connsiteY400" fmla="*/ 5766468 h 7216489"/>
                <a:gd name="connsiteX401" fmla="*/ 2544250 w 4016827"/>
                <a:gd name="connsiteY401" fmla="*/ 5840312 h 7216489"/>
                <a:gd name="connsiteX402" fmla="*/ 2470406 w 4016827"/>
                <a:gd name="connsiteY402" fmla="*/ 5766468 h 7216489"/>
                <a:gd name="connsiteX403" fmla="*/ 2544250 w 4016827"/>
                <a:gd name="connsiteY403" fmla="*/ 5692624 h 7216489"/>
                <a:gd name="connsiteX404" fmla="*/ 1386247 w 4016827"/>
                <a:gd name="connsiteY404" fmla="*/ 5682555 h 7216489"/>
                <a:gd name="connsiteX405" fmla="*/ 1460091 w 4016827"/>
                <a:gd name="connsiteY405" fmla="*/ 5756398 h 7216489"/>
                <a:gd name="connsiteX406" fmla="*/ 1386247 w 4016827"/>
                <a:gd name="connsiteY406" fmla="*/ 5830242 h 7216489"/>
                <a:gd name="connsiteX407" fmla="*/ 1312404 w 4016827"/>
                <a:gd name="connsiteY407" fmla="*/ 5756398 h 7216489"/>
                <a:gd name="connsiteX408" fmla="*/ 1386247 w 4016827"/>
                <a:gd name="connsiteY408" fmla="*/ 5682555 h 7216489"/>
                <a:gd name="connsiteX409" fmla="*/ 2960460 w 4016827"/>
                <a:gd name="connsiteY409" fmla="*/ 5662415 h 7216489"/>
                <a:gd name="connsiteX410" fmla="*/ 3024234 w 4016827"/>
                <a:gd name="connsiteY410" fmla="*/ 5726189 h 7216489"/>
                <a:gd name="connsiteX411" fmla="*/ 2960460 w 4016827"/>
                <a:gd name="connsiteY411" fmla="*/ 5789964 h 7216489"/>
                <a:gd name="connsiteX412" fmla="*/ 2896686 w 4016827"/>
                <a:gd name="connsiteY412" fmla="*/ 5726189 h 7216489"/>
                <a:gd name="connsiteX413" fmla="*/ 2960460 w 4016827"/>
                <a:gd name="connsiteY413" fmla="*/ 5662415 h 7216489"/>
                <a:gd name="connsiteX414" fmla="*/ 3581419 w 4016827"/>
                <a:gd name="connsiteY414" fmla="*/ 5659059 h 7216489"/>
                <a:gd name="connsiteX415" fmla="*/ 3638479 w 4016827"/>
                <a:gd name="connsiteY415" fmla="*/ 5716120 h 7216489"/>
                <a:gd name="connsiteX416" fmla="*/ 3581419 w 4016827"/>
                <a:gd name="connsiteY416" fmla="*/ 5773181 h 7216489"/>
                <a:gd name="connsiteX417" fmla="*/ 3524357 w 4016827"/>
                <a:gd name="connsiteY417" fmla="*/ 5716120 h 7216489"/>
                <a:gd name="connsiteX418" fmla="*/ 3581419 w 4016827"/>
                <a:gd name="connsiteY418" fmla="*/ 5659059 h 7216489"/>
                <a:gd name="connsiteX419" fmla="*/ 3386738 w 4016827"/>
                <a:gd name="connsiteY419" fmla="*/ 5605354 h 7216489"/>
                <a:gd name="connsiteX420" fmla="*/ 3440442 w 4016827"/>
                <a:gd name="connsiteY420" fmla="*/ 5659059 h 7216489"/>
                <a:gd name="connsiteX421" fmla="*/ 3386738 w 4016827"/>
                <a:gd name="connsiteY421" fmla="*/ 5712763 h 7216489"/>
                <a:gd name="connsiteX422" fmla="*/ 3333033 w 4016827"/>
                <a:gd name="connsiteY422" fmla="*/ 5659059 h 7216489"/>
                <a:gd name="connsiteX423" fmla="*/ 3386738 w 4016827"/>
                <a:gd name="connsiteY423" fmla="*/ 5605354 h 7216489"/>
                <a:gd name="connsiteX424" fmla="*/ 2373067 w 4016827"/>
                <a:gd name="connsiteY424" fmla="*/ 5588572 h 7216489"/>
                <a:gd name="connsiteX425" fmla="*/ 2446911 w 4016827"/>
                <a:gd name="connsiteY425" fmla="*/ 5662415 h 7216489"/>
                <a:gd name="connsiteX426" fmla="*/ 2373067 w 4016827"/>
                <a:gd name="connsiteY426" fmla="*/ 5736259 h 7216489"/>
                <a:gd name="connsiteX427" fmla="*/ 2299223 w 4016827"/>
                <a:gd name="connsiteY427" fmla="*/ 5662415 h 7216489"/>
                <a:gd name="connsiteX428" fmla="*/ 2373067 w 4016827"/>
                <a:gd name="connsiteY428" fmla="*/ 5588572 h 7216489"/>
                <a:gd name="connsiteX429" fmla="*/ 1980353 w 4016827"/>
                <a:gd name="connsiteY429" fmla="*/ 5588572 h 7216489"/>
                <a:gd name="connsiteX430" fmla="*/ 2054197 w 4016827"/>
                <a:gd name="connsiteY430" fmla="*/ 5662415 h 7216489"/>
                <a:gd name="connsiteX431" fmla="*/ 1980353 w 4016827"/>
                <a:gd name="connsiteY431" fmla="*/ 5736259 h 7216489"/>
                <a:gd name="connsiteX432" fmla="*/ 1906510 w 4016827"/>
                <a:gd name="connsiteY432" fmla="*/ 5662415 h 7216489"/>
                <a:gd name="connsiteX433" fmla="*/ 1980353 w 4016827"/>
                <a:gd name="connsiteY433" fmla="*/ 5588572 h 7216489"/>
                <a:gd name="connsiteX434" fmla="*/ 1604421 w 4016827"/>
                <a:gd name="connsiteY434" fmla="*/ 5575146 h 7216489"/>
                <a:gd name="connsiteX435" fmla="*/ 1678265 w 4016827"/>
                <a:gd name="connsiteY435" fmla="*/ 5648990 h 7216489"/>
                <a:gd name="connsiteX436" fmla="*/ 1604421 w 4016827"/>
                <a:gd name="connsiteY436" fmla="*/ 5722834 h 7216489"/>
                <a:gd name="connsiteX437" fmla="*/ 1530577 w 4016827"/>
                <a:gd name="connsiteY437" fmla="*/ 5648990 h 7216489"/>
                <a:gd name="connsiteX438" fmla="*/ 1604421 w 4016827"/>
                <a:gd name="connsiteY438" fmla="*/ 5575146 h 7216489"/>
                <a:gd name="connsiteX439" fmla="*/ 2775850 w 4016827"/>
                <a:gd name="connsiteY439" fmla="*/ 5571789 h 7216489"/>
                <a:gd name="connsiteX440" fmla="*/ 2839624 w 4016827"/>
                <a:gd name="connsiteY440" fmla="*/ 5635563 h 7216489"/>
                <a:gd name="connsiteX441" fmla="*/ 2775850 w 4016827"/>
                <a:gd name="connsiteY441" fmla="*/ 5699337 h 7216489"/>
                <a:gd name="connsiteX442" fmla="*/ 2712076 w 4016827"/>
                <a:gd name="connsiteY442" fmla="*/ 5635563 h 7216489"/>
                <a:gd name="connsiteX443" fmla="*/ 2775850 w 4016827"/>
                <a:gd name="connsiteY443" fmla="*/ 5571789 h 7216489"/>
                <a:gd name="connsiteX444" fmla="*/ 886123 w 4016827"/>
                <a:gd name="connsiteY444" fmla="*/ 5568432 h 7216489"/>
                <a:gd name="connsiteX445" fmla="*/ 892837 w 4016827"/>
                <a:gd name="connsiteY445" fmla="*/ 5575145 h 7216489"/>
                <a:gd name="connsiteX446" fmla="*/ 886123 w 4016827"/>
                <a:gd name="connsiteY446" fmla="*/ 5581858 h 7216489"/>
                <a:gd name="connsiteX447" fmla="*/ 879410 w 4016827"/>
                <a:gd name="connsiteY447" fmla="*/ 5575145 h 7216489"/>
                <a:gd name="connsiteX448" fmla="*/ 886123 w 4016827"/>
                <a:gd name="connsiteY448" fmla="*/ 5568432 h 7216489"/>
                <a:gd name="connsiteX449" fmla="*/ 4016827 w 4016827"/>
                <a:gd name="connsiteY449" fmla="*/ 5546256 h 7216489"/>
                <a:gd name="connsiteX450" fmla="*/ 4016827 w 4016827"/>
                <a:gd name="connsiteY450" fmla="*/ 5624629 h 7216489"/>
                <a:gd name="connsiteX451" fmla="*/ 3997208 w 4016827"/>
                <a:gd name="connsiteY451" fmla="*/ 5617103 h 7216489"/>
                <a:gd name="connsiteX452" fmla="*/ 3984201 w 4016827"/>
                <a:gd name="connsiteY452" fmla="*/ 5585216 h 7216489"/>
                <a:gd name="connsiteX453" fmla="*/ 3997208 w 4016827"/>
                <a:gd name="connsiteY453" fmla="*/ 5554588 h 7216489"/>
                <a:gd name="connsiteX454" fmla="*/ 1238560 w 4016827"/>
                <a:gd name="connsiteY454" fmla="*/ 5538223 h 7216489"/>
                <a:gd name="connsiteX455" fmla="*/ 1315760 w 4016827"/>
                <a:gd name="connsiteY455" fmla="*/ 5615424 h 7216489"/>
                <a:gd name="connsiteX456" fmla="*/ 1238560 w 4016827"/>
                <a:gd name="connsiteY456" fmla="*/ 5692624 h 7216489"/>
                <a:gd name="connsiteX457" fmla="*/ 1161360 w 4016827"/>
                <a:gd name="connsiteY457" fmla="*/ 5615424 h 7216489"/>
                <a:gd name="connsiteX458" fmla="*/ 1238560 w 4016827"/>
                <a:gd name="connsiteY458" fmla="*/ 5538223 h 7216489"/>
                <a:gd name="connsiteX459" fmla="*/ 3195416 w 4016827"/>
                <a:gd name="connsiteY459" fmla="*/ 5531511 h 7216489"/>
                <a:gd name="connsiteX460" fmla="*/ 3249121 w 4016827"/>
                <a:gd name="connsiteY460" fmla="*/ 5585216 h 7216489"/>
                <a:gd name="connsiteX461" fmla="*/ 3195416 w 4016827"/>
                <a:gd name="connsiteY461" fmla="*/ 5638921 h 7216489"/>
                <a:gd name="connsiteX462" fmla="*/ 3141712 w 4016827"/>
                <a:gd name="connsiteY462" fmla="*/ 5585216 h 7216489"/>
                <a:gd name="connsiteX463" fmla="*/ 3195416 w 4016827"/>
                <a:gd name="connsiteY463" fmla="*/ 5531511 h 7216489"/>
                <a:gd name="connsiteX464" fmla="*/ 3826443 w 4016827"/>
                <a:gd name="connsiteY464" fmla="*/ 5501302 h 7216489"/>
                <a:gd name="connsiteX465" fmla="*/ 3873436 w 4016827"/>
                <a:gd name="connsiteY465" fmla="*/ 5548293 h 7216489"/>
                <a:gd name="connsiteX466" fmla="*/ 3826443 w 4016827"/>
                <a:gd name="connsiteY466" fmla="*/ 5595285 h 7216489"/>
                <a:gd name="connsiteX467" fmla="*/ 3779454 w 4016827"/>
                <a:gd name="connsiteY467" fmla="*/ 5548293 h 7216489"/>
                <a:gd name="connsiteX468" fmla="*/ 3826443 w 4016827"/>
                <a:gd name="connsiteY468" fmla="*/ 5501302 h 7216489"/>
                <a:gd name="connsiteX469" fmla="*/ 2205240 w 4016827"/>
                <a:gd name="connsiteY469" fmla="*/ 5474450 h 7216489"/>
                <a:gd name="connsiteX470" fmla="*/ 2275728 w 4016827"/>
                <a:gd name="connsiteY470" fmla="*/ 5544938 h 7216489"/>
                <a:gd name="connsiteX471" fmla="*/ 2205240 w 4016827"/>
                <a:gd name="connsiteY471" fmla="*/ 5615425 h 7216489"/>
                <a:gd name="connsiteX472" fmla="*/ 2134753 w 4016827"/>
                <a:gd name="connsiteY472" fmla="*/ 5544938 h 7216489"/>
                <a:gd name="connsiteX473" fmla="*/ 2205240 w 4016827"/>
                <a:gd name="connsiteY473" fmla="*/ 5474450 h 7216489"/>
                <a:gd name="connsiteX474" fmla="*/ 1822596 w 4016827"/>
                <a:gd name="connsiteY474" fmla="*/ 5467736 h 7216489"/>
                <a:gd name="connsiteX475" fmla="*/ 1893083 w 4016827"/>
                <a:gd name="connsiteY475" fmla="*/ 5538223 h 7216489"/>
                <a:gd name="connsiteX476" fmla="*/ 1822596 w 4016827"/>
                <a:gd name="connsiteY476" fmla="*/ 5608711 h 7216489"/>
                <a:gd name="connsiteX477" fmla="*/ 1752109 w 4016827"/>
                <a:gd name="connsiteY477" fmla="*/ 5538223 h 7216489"/>
                <a:gd name="connsiteX478" fmla="*/ 1822596 w 4016827"/>
                <a:gd name="connsiteY478" fmla="*/ 5467736 h 7216489"/>
                <a:gd name="connsiteX479" fmla="*/ 2601312 w 4016827"/>
                <a:gd name="connsiteY479" fmla="*/ 5461023 h 7216489"/>
                <a:gd name="connsiteX480" fmla="*/ 2675155 w 4016827"/>
                <a:gd name="connsiteY480" fmla="*/ 5534867 h 7216489"/>
                <a:gd name="connsiteX481" fmla="*/ 2601312 w 4016827"/>
                <a:gd name="connsiteY481" fmla="*/ 5608711 h 7216489"/>
                <a:gd name="connsiteX482" fmla="*/ 2527468 w 4016827"/>
                <a:gd name="connsiteY482" fmla="*/ 5534867 h 7216489"/>
                <a:gd name="connsiteX483" fmla="*/ 2601312 w 4016827"/>
                <a:gd name="connsiteY483" fmla="*/ 5461023 h 7216489"/>
                <a:gd name="connsiteX484" fmla="*/ 3631766 w 4016827"/>
                <a:gd name="connsiteY484" fmla="*/ 5450954 h 7216489"/>
                <a:gd name="connsiteX485" fmla="*/ 3678758 w 4016827"/>
                <a:gd name="connsiteY485" fmla="*/ 5497945 h 7216489"/>
                <a:gd name="connsiteX486" fmla="*/ 3631766 w 4016827"/>
                <a:gd name="connsiteY486" fmla="*/ 5544937 h 7216489"/>
                <a:gd name="connsiteX487" fmla="*/ 3584774 w 4016827"/>
                <a:gd name="connsiteY487" fmla="*/ 5497945 h 7216489"/>
                <a:gd name="connsiteX488" fmla="*/ 3631766 w 4016827"/>
                <a:gd name="connsiteY488" fmla="*/ 5450954 h 7216489"/>
                <a:gd name="connsiteX489" fmla="*/ 3010808 w 4016827"/>
                <a:gd name="connsiteY489" fmla="*/ 5437528 h 7216489"/>
                <a:gd name="connsiteX490" fmla="*/ 3071226 w 4016827"/>
                <a:gd name="connsiteY490" fmla="*/ 5497946 h 7216489"/>
                <a:gd name="connsiteX491" fmla="*/ 3010808 w 4016827"/>
                <a:gd name="connsiteY491" fmla="*/ 5558364 h 7216489"/>
                <a:gd name="connsiteX492" fmla="*/ 2950390 w 4016827"/>
                <a:gd name="connsiteY492" fmla="*/ 5497946 h 7216489"/>
                <a:gd name="connsiteX493" fmla="*/ 3010808 w 4016827"/>
                <a:gd name="connsiteY493" fmla="*/ 5437528 h 7216489"/>
                <a:gd name="connsiteX494" fmla="*/ 1453378 w 4016827"/>
                <a:gd name="connsiteY494" fmla="*/ 5434171 h 7216489"/>
                <a:gd name="connsiteX495" fmla="*/ 1530578 w 4016827"/>
                <a:gd name="connsiteY495" fmla="*/ 5511371 h 7216489"/>
                <a:gd name="connsiteX496" fmla="*/ 1453378 w 4016827"/>
                <a:gd name="connsiteY496" fmla="*/ 5588572 h 7216489"/>
                <a:gd name="connsiteX497" fmla="*/ 1376178 w 4016827"/>
                <a:gd name="connsiteY497" fmla="*/ 5511371 h 7216489"/>
                <a:gd name="connsiteX498" fmla="*/ 1453378 w 4016827"/>
                <a:gd name="connsiteY498" fmla="*/ 5434171 h 7216489"/>
                <a:gd name="connsiteX499" fmla="*/ 1097585 w 4016827"/>
                <a:gd name="connsiteY499" fmla="*/ 5410676 h 7216489"/>
                <a:gd name="connsiteX500" fmla="*/ 1158003 w 4016827"/>
                <a:gd name="connsiteY500" fmla="*/ 5471094 h 7216489"/>
                <a:gd name="connsiteX501" fmla="*/ 1097585 w 4016827"/>
                <a:gd name="connsiteY501" fmla="*/ 5531511 h 7216489"/>
                <a:gd name="connsiteX502" fmla="*/ 1037168 w 4016827"/>
                <a:gd name="connsiteY502" fmla="*/ 5471094 h 7216489"/>
                <a:gd name="connsiteX503" fmla="*/ 1097585 w 4016827"/>
                <a:gd name="connsiteY503" fmla="*/ 5410676 h 7216489"/>
                <a:gd name="connsiteX504" fmla="*/ 751863 w 4016827"/>
                <a:gd name="connsiteY504" fmla="*/ 5393893 h 7216489"/>
                <a:gd name="connsiteX505" fmla="*/ 778715 w 4016827"/>
                <a:gd name="connsiteY505" fmla="*/ 5420746 h 7216489"/>
                <a:gd name="connsiteX506" fmla="*/ 751863 w 4016827"/>
                <a:gd name="connsiteY506" fmla="*/ 5447598 h 7216489"/>
                <a:gd name="connsiteX507" fmla="*/ 725011 w 4016827"/>
                <a:gd name="connsiteY507" fmla="*/ 5420746 h 7216489"/>
                <a:gd name="connsiteX508" fmla="*/ 751863 w 4016827"/>
                <a:gd name="connsiteY508" fmla="*/ 5393893 h 7216489"/>
                <a:gd name="connsiteX509" fmla="*/ 3437087 w 4016827"/>
                <a:gd name="connsiteY509" fmla="*/ 5380467 h 7216489"/>
                <a:gd name="connsiteX510" fmla="*/ 3490792 w 4016827"/>
                <a:gd name="connsiteY510" fmla="*/ 5434172 h 7216489"/>
                <a:gd name="connsiteX511" fmla="*/ 3437087 w 4016827"/>
                <a:gd name="connsiteY511" fmla="*/ 5487876 h 7216489"/>
                <a:gd name="connsiteX512" fmla="*/ 3383382 w 4016827"/>
                <a:gd name="connsiteY512" fmla="*/ 5434172 h 7216489"/>
                <a:gd name="connsiteX513" fmla="*/ 3437087 w 4016827"/>
                <a:gd name="connsiteY513" fmla="*/ 5380467 h 7216489"/>
                <a:gd name="connsiteX514" fmla="*/ 2430128 w 4016827"/>
                <a:gd name="connsiteY514" fmla="*/ 5360328 h 7216489"/>
                <a:gd name="connsiteX515" fmla="*/ 2497259 w 4016827"/>
                <a:gd name="connsiteY515" fmla="*/ 5427459 h 7216489"/>
                <a:gd name="connsiteX516" fmla="*/ 2430128 w 4016827"/>
                <a:gd name="connsiteY516" fmla="*/ 5494590 h 7216489"/>
                <a:gd name="connsiteX517" fmla="*/ 2362997 w 4016827"/>
                <a:gd name="connsiteY517" fmla="*/ 5427459 h 7216489"/>
                <a:gd name="connsiteX518" fmla="*/ 2430128 w 4016827"/>
                <a:gd name="connsiteY518" fmla="*/ 5360328 h 7216489"/>
                <a:gd name="connsiteX519" fmla="*/ 2040771 w 4016827"/>
                <a:gd name="connsiteY519" fmla="*/ 5356972 h 7216489"/>
                <a:gd name="connsiteX520" fmla="*/ 2107902 w 4016827"/>
                <a:gd name="connsiteY520" fmla="*/ 5424102 h 7216489"/>
                <a:gd name="connsiteX521" fmla="*/ 2040771 w 4016827"/>
                <a:gd name="connsiteY521" fmla="*/ 5491233 h 7216489"/>
                <a:gd name="connsiteX522" fmla="*/ 1973640 w 4016827"/>
                <a:gd name="connsiteY522" fmla="*/ 5424102 h 7216489"/>
                <a:gd name="connsiteX523" fmla="*/ 2040771 w 4016827"/>
                <a:gd name="connsiteY523" fmla="*/ 5356972 h 7216489"/>
                <a:gd name="connsiteX524" fmla="*/ 2829555 w 4016827"/>
                <a:gd name="connsiteY524" fmla="*/ 5346902 h 7216489"/>
                <a:gd name="connsiteX525" fmla="*/ 2886616 w 4016827"/>
                <a:gd name="connsiteY525" fmla="*/ 5407320 h 7216489"/>
                <a:gd name="connsiteX526" fmla="*/ 2829555 w 4016827"/>
                <a:gd name="connsiteY526" fmla="*/ 5467737 h 7216489"/>
                <a:gd name="connsiteX527" fmla="*/ 2769137 w 4016827"/>
                <a:gd name="connsiteY527" fmla="*/ 5407320 h 7216489"/>
                <a:gd name="connsiteX528" fmla="*/ 2829555 w 4016827"/>
                <a:gd name="connsiteY528" fmla="*/ 5346902 h 7216489"/>
                <a:gd name="connsiteX529" fmla="*/ 1668195 w 4016827"/>
                <a:gd name="connsiteY529" fmla="*/ 5333476 h 7216489"/>
                <a:gd name="connsiteX530" fmla="*/ 1738683 w 4016827"/>
                <a:gd name="connsiteY530" fmla="*/ 5403963 h 7216489"/>
                <a:gd name="connsiteX531" fmla="*/ 1668195 w 4016827"/>
                <a:gd name="connsiteY531" fmla="*/ 5474450 h 7216489"/>
                <a:gd name="connsiteX532" fmla="*/ 1597708 w 4016827"/>
                <a:gd name="connsiteY532" fmla="*/ 5403963 h 7216489"/>
                <a:gd name="connsiteX533" fmla="*/ 1668195 w 4016827"/>
                <a:gd name="connsiteY533" fmla="*/ 5333476 h 7216489"/>
                <a:gd name="connsiteX534" fmla="*/ 3249123 w 4016827"/>
                <a:gd name="connsiteY534" fmla="*/ 5309980 h 7216489"/>
                <a:gd name="connsiteX535" fmla="*/ 3299470 w 4016827"/>
                <a:gd name="connsiteY535" fmla="*/ 5360328 h 7216489"/>
                <a:gd name="connsiteX536" fmla="*/ 3249123 w 4016827"/>
                <a:gd name="connsiteY536" fmla="*/ 5410676 h 7216489"/>
                <a:gd name="connsiteX537" fmla="*/ 3198774 w 4016827"/>
                <a:gd name="connsiteY537" fmla="*/ 5360328 h 7216489"/>
                <a:gd name="connsiteX538" fmla="*/ 3249123 w 4016827"/>
                <a:gd name="connsiteY538" fmla="*/ 5309980 h 7216489"/>
                <a:gd name="connsiteX539" fmla="*/ 3876792 w 4016827"/>
                <a:gd name="connsiteY539" fmla="*/ 5296554 h 7216489"/>
                <a:gd name="connsiteX540" fmla="*/ 3907000 w 4016827"/>
                <a:gd name="connsiteY540" fmla="*/ 5326763 h 7216489"/>
                <a:gd name="connsiteX541" fmla="*/ 3876792 w 4016827"/>
                <a:gd name="connsiteY541" fmla="*/ 5356972 h 7216489"/>
                <a:gd name="connsiteX542" fmla="*/ 3846584 w 4016827"/>
                <a:gd name="connsiteY542" fmla="*/ 5326763 h 7216489"/>
                <a:gd name="connsiteX543" fmla="*/ 3876792 w 4016827"/>
                <a:gd name="connsiteY543" fmla="*/ 5296554 h 7216489"/>
                <a:gd name="connsiteX544" fmla="*/ 1309047 w 4016827"/>
                <a:gd name="connsiteY544" fmla="*/ 5293197 h 7216489"/>
                <a:gd name="connsiteX545" fmla="*/ 1382891 w 4016827"/>
                <a:gd name="connsiteY545" fmla="*/ 5367041 h 7216489"/>
                <a:gd name="connsiteX546" fmla="*/ 1309047 w 4016827"/>
                <a:gd name="connsiteY546" fmla="*/ 5440884 h 7216489"/>
                <a:gd name="connsiteX547" fmla="*/ 1235203 w 4016827"/>
                <a:gd name="connsiteY547" fmla="*/ 5367041 h 7216489"/>
                <a:gd name="connsiteX548" fmla="*/ 1309047 w 4016827"/>
                <a:gd name="connsiteY548" fmla="*/ 5293197 h 7216489"/>
                <a:gd name="connsiteX549" fmla="*/ 963324 w 4016827"/>
                <a:gd name="connsiteY549" fmla="*/ 5246206 h 7216489"/>
                <a:gd name="connsiteX550" fmla="*/ 1037168 w 4016827"/>
                <a:gd name="connsiteY550" fmla="*/ 5320050 h 7216489"/>
                <a:gd name="connsiteX551" fmla="*/ 963324 w 4016827"/>
                <a:gd name="connsiteY551" fmla="*/ 5393893 h 7216489"/>
                <a:gd name="connsiteX552" fmla="*/ 889480 w 4016827"/>
                <a:gd name="connsiteY552" fmla="*/ 5320050 h 7216489"/>
                <a:gd name="connsiteX553" fmla="*/ 963324 w 4016827"/>
                <a:gd name="connsiteY553" fmla="*/ 5246206 h 7216489"/>
                <a:gd name="connsiteX554" fmla="*/ 2262301 w 4016827"/>
                <a:gd name="connsiteY554" fmla="*/ 5242849 h 7216489"/>
                <a:gd name="connsiteX555" fmla="*/ 2329432 w 4016827"/>
                <a:gd name="connsiteY555" fmla="*/ 5309980 h 7216489"/>
                <a:gd name="connsiteX556" fmla="*/ 2262301 w 4016827"/>
                <a:gd name="connsiteY556" fmla="*/ 5377111 h 7216489"/>
                <a:gd name="connsiteX557" fmla="*/ 2195170 w 4016827"/>
                <a:gd name="connsiteY557" fmla="*/ 5309980 h 7216489"/>
                <a:gd name="connsiteX558" fmla="*/ 2262301 w 4016827"/>
                <a:gd name="connsiteY558" fmla="*/ 5242849 h 7216489"/>
                <a:gd name="connsiteX559" fmla="*/ 3682113 w 4016827"/>
                <a:gd name="connsiteY559" fmla="*/ 5239493 h 7216489"/>
                <a:gd name="connsiteX560" fmla="*/ 3719036 w 4016827"/>
                <a:gd name="connsiteY560" fmla="*/ 5276415 h 7216489"/>
                <a:gd name="connsiteX561" fmla="*/ 3682113 w 4016827"/>
                <a:gd name="connsiteY561" fmla="*/ 5313337 h 7216489"/>
                <a:gd name="connsiteX562" fmla="*/ 3645192 w 4016827"/>
                <a:gd name="connsiteY562" fmla="*/ 5276415 h 7216489"/>
                <a:gd name="connsiteX563" fmla="*/ 3682113 w 4016827"/>
                <a:gd name="connsiteY563" fmla="*/ 5239493 h 7216489"/>
                <a:gd name="connsiteX564" fmla="*/ 2655015 w 4016827"/>
                <a:gd name="connsiteY564" fmla="*/ 5239493 h 7216489"/>
                <a:gd name="connsiteX565" fmla="*/ 2718789 w 4016827"/>
                <a:gd name="connsiteY565" fmla="*/ 5303267 h 7216489"/>
                <a:gd name="connsiteX566" fmla="*/ 2655015 w 4016827"/>
                <a:gd name="connsiteY566" fmla="*/ 5367040 h 7216489"/>
                <a:gd name="connsiteX567" fmla="*/ 2591241 w 4016827"/>
                <a:gd name="connsiteY567" fmla="*/ 5303267 h 7216489"/>
                <a:gd name="connsiteX568" fmla="*/ 2655015 w 4016827"/>
                <a:gd name="connsiteY568" fmla="*/ 5239493 h 7216489"/>
                <a:gd name="connsiteX569" fmla="*/ 1886370 w 4016827"/>
                <a:gd name="connsiteY569" fmla="*/ 5222710 h 7216489"/>
                <a:gd name="connsiteX570" fmla="*/ 1956858 w 4016827"/>
                <a:gd name="connsiteY570" fmla="*/ 5293197 h 7216489"/>
                <a:gd name="connsiteX571" fmla="*/ 1886370 w 4016827"/>
                <a:gd name="connsiteY571" fmla="*/ 5363685 h 7216489"/>
                <a:gd name="connsiteX572" fmla="*/ 1815883 w 4016827"/>
                <a:gd name="connsiteY572" fmla="*/ 5293197 h 7216489"/>
                <a:gd name="connsiteX573" fmla="*/ 1886370 w 4016827"/>
                <a:gd name="connsiteY573" fmla="*/ 5222710 h 7216489"/>
                <a:gd name="connsiteX574" fmla="*/ 3064512 w 4016827"/>
                <a:gd name="connsiteY574" fmla="*/ 5212641 h 7216489"/>
                <a:gd name="connsiteX575" fmla="*/ 3124930 w 4016827"/>
                <a:gd name="connsiteY575" fmla="*/ 5273058 h 7216489"/>
                <a:gd name="connsiteX576" fmla="*/ 3064512 w 4016827"/>
                <a:gd name="connsiteY576" fmla="*/ 5333476 h 7216489"/>
                <a:gd name="connsiteX577" fmla="*/ 3004095 w 4016827"/>
                <a:gd name="connsiteY577" fmla="*/ 5273058 h 7216489"/>
                <a:gd name="connsiteX578" fmla="*/ 3064512 w 4016827"/>
                <a:gd name="connsiteY578" fmla="*/ 5212641 h 7216489"/>
                <a:gd name="connsiteX579" fmla="*/ 1523864 w 4016827"/>
                <a:gd name="connsiteY579" fmla="*/ 5185788 h 7216489"/>
                <a:gd name="connsiteX580" fmla="*/ 1597708 w 4016827"/>
                <a:gd name="connsiteY580" fmla="*/ 5259632 h 7216489"/>
                <a:gd name="connsiteX581" fmla="*/ 1523864 w 4016827"/>
                <a:gd name="connsiteY581" fmla="*/ 5333476 h 7216489"/>
                <a:gd name="connsiteX582" fmla="*/ 1450020 w 4016827"/>
                <a:gd name="connsiteY582" fmla="*/ 5259632 h 7216489"/>
                <a:gd name="connsiteX583" fmla="*/ 1523864 w 4016827"/>
                <a:gd name="connsiteY583" fmla="*/ 5185788 h 7216489"/>
                <a:gd name="connsiteX584" fmla="*/ 3487436 w 4016827"/>
                <a:gd name="connsiteY584" fmla="*/ 5169006 h 7216489"/>
                <a:gd name="connsiteX585" fmla="*/ 3531070 w 4016827"/>
                <a:gd name="connsiteY585" fmla="*/ 5212641 h 7216489"/>
                <a:gd name="connsiteX586" fmla="*/ 3487436 w 4016827"/>
                <a:gd name="connsiteY586" fmla="*/ 5256275 h 7216489"/>
                <a:gd name="connsiteX587" fmla="*/ 3443800 w 4016827"/>
                <a:gd name="connsiteY587" fmla="*/ 5212641 h 7216489"/>
                <a:gd name="connsiteX588" fmla="*/ 3487436 w 4016827"/>
                <a:gd name="connsiteY588" fmla="*/ 5169006 h 7216489"/>
                <a:gd name="connsiteX589" fmla="*/ 1174786 w 4016827"/>
                <a:gd name="connsiteY589" fmla="*/ 5142153 h 7216489"/>
                <a:gd name="connsiteX590" fmla="*/ 1248629 w 4016827"/>
                <a:gd name="connsiteY590" fmla="*/ 5215997 h 7216489"/>
                <a:gd name="connsiteX591" fmla="*/ 1174786 w 4016827"/>
                <a:gd name="connsiteY591" fmla="*/ 5289841 h 7216489"/>
                <a:gd name="connsiteX592" fmla="*/ 1100942 w 4016827"/>
                <a:gd name="connsiteY592" fmla="*/ 5215997 h 7216489"/>
                <a:gd name="connsiteX593" fmla="*/ 1174786 w 4016827"/>
                <a:gd name="connsiteY593" fmla="*/ 5142153 h 7216489"/>
                <a:gd name="connsiteX594" fmla="*/ 2487189 w 4016827"/>
                <a:gd name="connsiteY594" fmla="*/ 5132084 h 7216489"/>
                <a:gd name="connsiteX595" fmla="*/ 2544250 w 4016827"/>
                <a:gd name="connsiteY595" fmla="*/ 5189145 h 7216489"/>
                <a:gd name="connsiteX596" fmla="*/ 2487189 w 4016827"/>
                <a:gd name="connsiteY596" fmla="*/ 5246206 h 7216489"/>
                <a:gd name="connsiteX597" fmla="*/ 2430128 w 4016827"/>
                <a:gd name="connsiteY597" fmla="*/ 5189145 h 7216489"/>
                <a:gd name="connsiteX598" fmla="*/ 2487189 w 4016827"/>
                <a:gd name="connsiteY598" fmla="*/ 5132084 h 7216489"/>
                <a:gd name="connsiteX599" fmla="*/ 2886616 w 4016827"/>
                <a:gd name="connsiteY599" fmla="*/ 5125371 h 7216489"/>
                <a:gd name="connsiteX600" fmla="*/ 2940320 w 4016827"/>
                <a:gd name="connsiteY600" fmla="*/ 5179075 h 7216489"/>
                <a:gd name="connsiteX601" fmla="*/ 2886616 w 4016827"/>
                <a:gd name="connsiteY601" fmla="*/ 5232780 h 7216489"/>
                <a:gd name="connsiteX602" fmla="*/ 2832911 w 4016827"/>
                <a:gd name="connsiteY602" fmla="*/ 5179075 h 7216489"/>
                <a:gd name="connsiteX603" fmla="*/ 2886616 w 4016827"/>
                <a:gd name="connsiteY603" fmla="*/ 5125371 h 7216489"/>
                <a:gd name="connsiteX604" fmla="*/ 2104544 w 4016827"/>
                <a:gd name="connsiteY604" fmla="*/ 5122014 h 7216489"/>
                <a:gd name="connsiteX605" fmla="*/ 2164962 w 4016827"/>
                <a:gd name="connsiteY605" fmla="*/ 5182432 h 7216489"/>
                <a:gd name="connsiteX606" fmla="*/ 2104544 w 4016827"/>
                <a:gd name="connsiteY606" fmla="*/ 5242849 h 7216489"/>
                <a:gd name="connsiteX607" fmla="*/ 2044126 w 4016827"/>
                <a:gd name="connsiteY607" fmla="*/ 5182432 h 7216489"/>
                <a:gd name="connsiteX608" fmla="*/ 2104544 w 4016827"/>
                <a:gd name="connsiteY608" fmla="*/ 5122014 h 7216489"/>
                <a:gd name="connsiteX609" fmla="*/ 835776 w 4016827"/>
                <a:gd name="connsiteY609" fmla="*/ 5101875 h 7216489"/>
                <a:gd name="connsiteX610" fmla="*/ 896194 w 4016827"/>
                <a:gd name="connsiteY610" fmla="*/ 5162292 h 7216489"/>
                <a:gd name="connsiteX611" fmla="*/ 835776 w 4016827"/>
                <a:gd name="connsiteY611" fmla="*/ 5222710 h 7216489"/>
                <a:gd name="connsiteX612" fmla="*/ 775359 w 4016827"/>
                <a:gd name="connsiteY612" fmla="*/ 5162292 h 7216489"/>
                <a:gd name="connsiteX613" fmla="*/ 835776 w 4016827"/>
                <a:gd name="connsiteY613" fmla="*/ 5101875 h 7216489"/>
                <a:gd name="connsiteX614" fmla="*/ 3299470 w 4016827"/>
                <a:gd name="connsiteY614" fmla="*/ 5098518 h 7216489"/>
                <a:gd name="connsiteX615" fmla="*/ 3336391 w 4016827"/>
                <a:gd name="connsiteY615" fmla="*/ 5135440 h 7216489"/>
                <a:gd name="connsiteX616" fmla="*/ 3299470 w 4016827"/>
                <a:gd name="connsiteY616" fmla="*/ 5172362 h 7216489"/>
                <a:gd name="connsiteX617" fmla="*/ 3262547 w 4016827"/>
                <a:gd name="connsiteY617" fmla="*/ 5135440 h 7216489"/>
                <a:gd name="connsiteX618" fmla="*/ 3299470 w 4016827"/>
                <a:gd name="connsiteY618" fmla="*/ 5098518 h 7216489"/>
                <a:gd name="connsiteX619" fmla="*/ 1738683 w 4016827"/>
                <a:gd name="connsiteY619" fmla="*/ 5091805 h 7216489"/>
                <a:gd name="connsiteX620" fmla="*/ 1802457 w 4016827"/>
                <a:gd name="connsiteY620" fmla="*/ 5155579 h 7216489"/>
                <a:gd name="connsiteX621" fmla="*/ 1738683 w 4016827"/>
                <a:gd name="connsiteY621" fmla="*/ 5219354 h 7216489"/>
                <a:gd name="connsiteX622" fmla="*/ 1674908 w 4016827"/>
                <a:gd name="connsiteY622" fmla="*/ 5155579 h 7216489"/>
                <a:gd name="connsiteX623" fmla="*/ 1738683 w 4016827"/>
                <a:gd name="connsiteY623" fmla="*/ 5091805 h 7216489"/>
                <a:gd name="connsiteX624" fmla="*/ 506836 w 4016827"/>
                <a:gd name="connsiteY624" fmla="*/ 5091805 h 7216489"/>
                <a:gd name="connsiteX625" fmla="*/ 513549 w 4016827"/>
                <a:gd name="connsiteY625" fmla="*/ 5098518 h 7216489"/>
                <a:gd name="connsiteX626" fmla="*/ 506836 w 4016827"/>
                <a:gd name="connsiteY626" fmla="*/ 5105231 h 7216489"/>
                <a:gd name="connsiteX627" fmla="*/ 500123 w 4016827"/>
                <a:gd name="connsiteY627" fmla="*/ 5098518 h 7216489"/>
                <a:gd name="connsiteX628" fmla="*/ 506836 w 4016827"/>
                <a:gd name="connsiteY628" fmla="*/ 5091805 h 7216489"/>
                <a:gd name="connsiteX629" fmla="*/ 3927141 w 4016827"/>
                <a:gd name="connsiteY629" fmla="*/ 5088449 h 7216489"/>
                <a:gd name="connsiteX630" fmla="*/ 3943923 w 4016827"/>
                <a:gd name="connsiteY630" fmla="*/ 5105231 h 7216489"/>
                <a:gd name="connsiteX631" fmla="*/ 3927141 w 4016827"/>
                <a:gd name="connsiteY631" fmla="*/ 5122014 h 7216489"/>
                <a:gd name="connsiteX632" fmla="*/ 3910358 w 4016827"/>
                <a:gd name="connsiteY632" fmla="*/ 5105231 h 7216489"/>
                <a:gd name="connsiteX633" fmla="*/ 3927141 w 4016827"/>
                <a:gd name="connsiteY633" fmla="*/ 5088449 h 7216489"/>
                <a:gd name="connsiteX634" fmla="*/ 1382891 w 4016827"/>
                <a:gd name="connsiteY634" fmla="*/ 5041457 h 7216489"/>
                <a:gd name="connsiteX635" fmla="*/ 1453378 w 4016827"/>
                <a:gd name="connsiteY635" fmla="*/ 5111944 h 7216489"/>
                <a:gd name="connsiteX636" fmla="*/ 1382891 w 4016827"/>
                <a:gd name="connsiteY636" fmla="*/ 5182432 h 7216489"/>
                <a:gd name="connsiteX637" fmla="*/ 1312404 w 4016827"/>
                <a:gd name="connsiteY637" fmla="*/ 5111944 h 7216489"/>
                <a:gd name="connsiteX638" fmla="*/ 1382891 w 4016827"/>
                <a:gd name="connsiteY638" fmla="*/ 5041457 h 7216489"/>
                <a:gd name="connsiteX639" fmla="*/ 3732462 w 4016827"/>
                <a:gd name="connsiteY639" fmla="*/ 5028031 h 7216489"/>
                <a:gd name="connsiteX640" fmla="*/ 3759314 w 4016827"/>
                <a:gd name="connsiteY640" fmla="*/ 5054883 h 7216489"/>
                <a:gd name="connsiteX641" fmla="*/ 3732462 w 4016827"/>
                <a:gd name="connsiteY641" fmla="*/ 5081736 h 7216489"/>
                <a:gd name="connsiteX642" fmla="*/ 3705610 w 4016827"/>
                <a:gd name="connsiteY642" fmla="*/ 5054883 h 7216489"/>
                <a:gd name="connsiteX643" fmla="*/ 3732462 w 4016827"/>
                <a:gd name="connsiteY643" fmla="*/ 5028031 h 7216489"/>
                <a:gd name="connsiteX644" fmla="*/ 2712076 w 4016827"/>
                <a:gd name="connsiteY644" fmla="*/ 5014605 h 7216489"/>
                <a:gd name="connsiteX645" fmla="*/ 2769137 w 4016827"/>
                <a:gd name="connsiteY645" fmla="*/ 5071666 h 7216489"/>
                <a:gd name="connsiteX646" fmla="*/ 2712076 w 4016827"/>
                <a:gd name="connsiteY646" fmla="*/ 5128727 h 7216489"/>
                <a:gd name="connsiteX647" fmla="*/ 2655015 w 4016827"/>
                <a:gd name="connsiteY647" fmla="*/ 5071666 h 7216489"/>
                <a:gd name="connsiteX648" fmla="*/ 2712076 w 4016827"/>
                <a:gd name="connsiteY648" fmla="*/ 5014605 h 7216489"/>
                <a:gd name="connsiteX649" fmla="*/ 2326076 w 4016827"/>
                <a:gd name="connsiteY649" fmla="*/ 5007892 h 7216489"/>
                <a:gd name="connsiteX650" fmla="*/ 2386493 w 4016827"/>
                <a:gd name="connsiteY650" fmla="*/ 5068309 h 7216489"/>
                <a:gd name="connsiteX651" fmla="*/ 2326076 w 4016827"/>
                <a:gd name="connsiteY651" fmla="*/ 5128727 h 7216489"/>
                <a:gd name="connsiteX652" fmla="*/ 2265658 w 4016827"/>
                <a:gd name="connsiteY652" fmla="*/ 5068309 h 7216489"/>
                <a:gd name="connsiteX653" fmla="*/ 2326076 w 4016827"/>
                <a:gd name="connsiteY653" fmla="*/ 5007892 h 7216489"/>
                <a:gd name="connsiteX654" fmla="*/ 3118216 w 4016827"/>
                <a:gd name="connsiteY654" fmla="*/ 4997822 h 7216489"/>
                <a:gd name="connsiteX655" fmla="*/ 3168564 w 4016827"/>
                <a:gd name="connsiteY655" fmla="*/ 5048170 h 7216489"/>
                <a:gd name="connsiteX656" fmla="*/ 3118216 w 4016827"/>
                <a:gd name="connsiteY656" fmla="*/ 5098518 h 7216489"/>
                <a:gd name="connsiteX657" fmla="*/ 3067869 w 4016827"/>
                <a:gd name="connsiteY657" fmla="*/ 5048170 h 7216489"/>
                <a:gd name="connsiteX658" fmla="*/ 3118216 w 4016827"/>
                <a:gd name="connsiteY658" fmla="*/ 4997822 h 7216489"/>
                <a:gd name="connsiteX659" fmla="*/ 1043881 w 4016827"/>
                <a:gd name="connsiteY659" fmla="*/ 4987754 h 7216489"/>
                <a:gd name="connsiteX660" fmla="*/ 1117724 w 4016827"/>
                <a:gd name="connsiteY660" fmla="*/ 5061597 h 7216489"/>
                <a:gd name="connsiteX661" fmla="*/ 1043881 w 4016827"/>
                <a:gd name="connsiteY661" fmla="*/ 5135441 h 7216489"/>
                <a:gd name="connsiteX662" fmla="*/ 970037 w 4016827"/>
                <a:gd name="connsiteY662" fmla="*/ 5061597 h 7216489"/>
                <a:gd name="connsiteX663" fmla="*/ 1043881 w 4016827"/>
                <a:gd name="connsiteY663" fmla="*/ 4987754 h 7216489"/>
                <a:gd name="connsiteX664" fmla="*/ 1953501 w 4016827"/>
                <a:gd name="connsiteY664" fmla="*/ 4984396 h 7216489"/>
                <a:gd name="connsiteX665" fmla="*/ 2017275 w 4016827"/>
                <a:gd name="connsiteY665" fmla="*/ 5048170 h 7216489"/>
                <a:gd name="connsiteX666" fmla="*/ 1953501 w 4016827"/>
                <a:gd name="connsiteY666" fmla="*/ 5111944 h 7216489"/>
                <a:gd name="connsiteX667" fmla="*/ 1889727 w 4016827"/>
                <a:gd name="connsiteY667" fmla="*/ 5048170 h 7216489"/>
                <a:gd name="connsiteX668" fmla="*/ 1953501 w 4016827"/>
                <a:gd name="connsiteY668" fmla="*/ 4984396 h 7216489"/>
                <a:gd name="connsiteX669" fmla="*/ 3537783 w 4016827"/>
                <a:gd name="connsiteY669" fmla="*/ 4954188 h 7216489"/>
                <a:gd name="connsiteX670" fmla="*/ 3571348 w 4016827"/>
                <a:gd name="connsiteY670" fmla="*/ 4987754 h 7216489"/>
                <a:gd name="connsiteX671" fmla="*/ 3537783 w 4016827"/>
                <a:gd name="connsiteY671" fmla="*/ 5021319 h 7216489"/>
                <a:gd name="connsiteX672" fmla="*/ 3504218 w 4016827"/>
                <a:gd name="connsiteY672" fmla="*/ 4987754 h 7216489"/>
                <a:gd name="connsiteX673" fmla="*/ 3537783 w 4016827"/>
                <a:gd name="connsiteY673" fmla="*/ 4954188 h 7216489"/>
                <a:gd name="connsiteX674" fmla="*/ 1594352 w 4016827"/>
                <a:gd name="connsiteY674" fmla="*/ 4947474 h 7216489"/>
                <a:gd name="connsiteX675" fmla="*/ 1658126 w 4016827"/>
                <a:gd name="connsiteY675" fmla="*/ 5011248 h 7216489"/>
                <a:gd name="connsiteX676" fmla="*/ 1594352 w 4016827"/>
                <a:gd name="connsiteY676" fmla="*/ 5075023 h 7216489"/>
                <a:gd name="connsiteX677" fmla="*/ 1530577 w 4016827"/>
                <a:gd name="connsiteY677" fmla="*/ 5011248 h 7216489"/>
                <a:gd name="connsiteX678" fmla="*/ 1594352 w 4016827"/>
                <a:gd name="connsiteY678" fmla="*/ 4947474 h 7216489"/>
                <a:gd name="connsiteX679" fmla="*/ 711585 w 4016827"/>
                <a:gd name="connsiteY679" fmla="*/ 4937406 h 7216489"/>
                <a:gd name="connsiteX680" fmla="*/ 772002 w 4016827"/>
                <a:gd name="connsiteY680" fmla="*/ 4997823 h 7216489"/>
                <a:gd name="connsiteX681" fmla="*/ 711585 w 4016827"/>
                <a:gd name="connsiteY681" fmla="*/ 5058241 h 7216489"/>
                <a:gd name="connsiteX682" fmla="*/ 651167 w 4016827"/>
                <a:gd name="connsiteY682" fmla="*/ 4997823 h 7216489"/>
                <a:gd name="connsiteX683" fmla="*/ 711585 w 4016827"/>
                <a:gd name="connsiteY683" fmla="*/ 4937406 h 7216489"/>
                <a:gd name="connsiteX684" fmla="*/ 392714 w 4016827"/>
                <a:gd name="connsiteY684" fmla="*/ 4930691 h 7216489"/>
                <a:gd name="connsiteX685" fmla="*/ 392714 w 4016827"/>
                <a:gd name="connsiteY685" fmla="*/ 4934048 h 7216489"/>
                <a:gd name="connsiteX686" fmla="*/ 392714 w 4016827"/>
                <a:gd name="connsiteY686" fmla="*/ 4930691 h 7216489"/>
                <a:gd name="connsiteX687" fmla="*/ 2940320 w 4016827"/>
                <a:gd name="connsiteY687" fmla="*/ 4907196 h 7216489"/>
                <a:gd name="connsiteX688" fmla="*/ 2983956 w 4016827"/>
                <a:gd name="connsiteY688" fmla="*/ 4950831 h 7216489"/>
                <a:gd name="connsiteX689" fmla="*/ 2940320 w 4016827"/>
                <a:gd name="connsiteY689" fmla="*/ 4994466 h 7216489"/>
                <a:gd name="connsiteX690" fmla="*/ 2896686 w 4016827"/>
                <a:gd name="connsiteY690" fmla="*/ 4950831 h 7216489"/>
                <a:gd name="connsiteX691" fmla="*/ 2940320 w 4016827"/>
                <a:gd name="connsiteY691" fmla="*/ 4907196 h 7216489"/>
                <a:gd name="connsiteX692" fmla="*/ 2547607 w 4016827"/>
                <a:gd name="connsiteY692" fmla="*/ 4903840 h 7216489"/>
                <a:gd name="connsiteX693" fmla="*/ 2597955 w 4016827"/>
                <a:gd name="connsiteY693" fmla="*/ 4954188 h 7216489"/>
                <a:gd name="connsiteX694" fmla="*/ 2547607 w 4016827"/>
                <a:gd name="connsiteY694" fmla="*/ 5004536 h 7216489"/>
                <a:gd name="connsiteX695" fmla="*/ 2497259 w 4016827"/>
                <a:gd name="connsiteY695" fmla="*/ 4954188 h 7216489"/>
                <a:gd name="connsiteX696" fmla="*/ 2547607 w 4016827"/>
                <a:gd name="connsiteY696" fmla="*/ 4903840 h 7216489"/>
                <a:gd name="connsiteX697" fmla="*/ 3353174 w 4016827"/>
                <a:gd name="connsiteY697" fmla="*/ 4883701 h 7216489"/>
                <a:gd name="connsiteX698" fmla="*/ 3380027 w 4016827"/>
                <a:gd name="connsiteY698" fmla="*/ 4910553 h 7216489"/>
                <a:gd name="connsiteX699" fmla="*/ 3353174 w 4016827"/>
                <a:gd name="connsiteY699" fmla="*/ 4937406 h 7216489"/>
                <a:gd name="connsiteX700" fmla="*/ 3326322 w 4016827"/>
                <a:gd name="connsiteY700" fmla="*/ 4910553 h 7216489"/>
                <a:gd name="connsiteX701" fmla="*/ 3353174 w 4016827"/>
                <a:gd name="connsiteY701" fmla="*/ 4883701 h 7216489"/>
                <a:gd name="connsiteX702" fmla="*/ 1251986 w 4016827"/>
                <a:gd name="connsiteY702" fmla="*/ 4883701 h 7216489"/>
                <a:gd name="connsiteX703" fmla="*/ 1325830 w 4016827"/>
                <a:gd name="connsiteY703" fmla="*/ 4957545 h 7216489"/>
                <a:gd name="connsiteX704" fmla="*/ 1251986 w 4016827"/>
                <a:gd name="connsiteY704" fmla="*/ 5031389 h 7216489"/>
                <a:gd name="connsiteX705" fmla="*/ 1178142 w 4016827"/>
                <a:gd name="connsiteY705" fmla="*/ 4957545 h 7216489"/>
                <a:gd name="connsiteX706" fmla="*/ 1251986 w 4016827"/>
                <a:gd name="connsiteY706" fmla="*/ 4883701 h 7216489"/>
                <a:gd name="connsiteX707" fmla="*/ 2168318 w 4016827"/>
                <a:gd name="connsiteY707" fmla="*/ 4873631 h 7216489"/>
                <a:gd name="connsiteX708" fmla="*/ 2232092 w 4016827"/>
                <a:gd name="connsiteY708" fmla="*/ 4937406 h 7216489"/>
                <a:gd name="connsiteX709" fmla="*/ 2168318 w 4016827"/>
                <a:gd name="connsiteY709" fmla="*/ 5001180 h 7216489"/>
                <a:gd name="connsiteX710" fmla="*/ 2104544 w 4016827"/>
                <a:gd name="connsiteY710" fmla="*/ 4937406 h 7216489"/>
                <a:gd name="connsiteX711" fmla="*/ 2168318 w 4016827"/>
                <a:gd name="connsiteY711" fmla="*/ 4873631 h 7216489"/>
                <a:gd name="connsiteX712" fmla="*/ 3977488 w 4016827"/>
                <a:gd name="connsiteY712" fmla="*/ 4873630 h 7216489"/>
                <a:gd name="connsiteX713" fmla="*/ 3990914 w 4016827"/>
                <a:gd name="connsiteY713" fmla="*/ 4887056 h 7216489"/>
                <a:gd name="connsiteX714" fmla="*/ 3977488 w 4016827"/>
                <a:gd name="connsiteY714" fmla="*/ 4900483 h 7216489"/>
                <a:gd name="connsiteX715" fmla="*/ 3964062 w 4016827"/>
                <a:gd name="connsiteY715" fmla="*/ 4887056 h 7216489"/>
                <a:gd name="connsiteX716" fmla="*/ 3977488 w 4016827"/>
                <a:gd name="connsiteY716" fmla="*/ 4873630 h 7216489"/>
                <a:gd name="connsiteX717" fmla="*/ 1809170 w 4016827"/>
                <a:gd name="connsiteY717" fmla="*/ 4843423 h 7216489"/>
                <a:gd name="connsiteX718" fmla="*/ 1872944 w 4016827"/>
                <a:gd name="connsiteY718" fmla="*/ 4907197 h 7216489"/>
                <a:gd name="connsiteX719" fmla="*/ 1809170 w 4016827"/>
                <a:gd name="connsiteY719" fmla="*/ 4970971 h 7216489"/>
                <a:gd name="connsiteX720" fmla="*/ 1745396 w 4016827"/>
                <a:gd name="connsiteY720" fmla="*/ 4907197 h 7216489"/>
                <a:gd name="connsiteX721" fmla="*/ 1809170 w 4016827"/>
                <a:gd name="connsiteY721" fmla="*/ 4843423 h 7216489"/>
                <a:gd name="connsiteX722" fmla="*/ 919690 w 4016827"/>
                <a:gd name="connsiteY722" fmla="*/ 4826640 h 7216489"/>
                <a:gd name="connsiteX723" fmla="*/ 993534 w 4016827"/>
                <a:gd name="connsiteY723" fmla="*/ 4900484 h 7216489"/>
                <a:gd name="connsiteX724" fmla="*/ 919690 w 4016827"/>
                <a:gd name="connsiteY724" fmla="*/ 4974327 h 7216489"/>
                <a:gd name="connsiteX725" fmla="*/ 845846 w 4016827"/>
                <a:gd name="connsiteY725" fmla="*/ 4900484 h 7216489"/>
                <a:gd name="connsiteX726" fmla="*/ 919690 w 4016827"/>
                <a:gd name="connsiteY726" fmla="*/ 4826640 h 7216489"/>
                <a:gd name="connsiteX727" fmla="*/ 3782809 w 4016827"/>
                <a:gd name="connsiteY727" fmla="*/ 4813213 h 7216489"/>
                <a:gd name="connsiteX728" fmla="*/ 3802948 w 4016827"/>
                <a:gd name="connsiteY728" fmla="*/ 4833352 h 7216489"/>
                <a:gd name="connsiteX729" fmla="*/ 3782809 w 4016827"/>
                <a:gd name="connsiteY729" fmla="*/ 4853491 h 7216489"/>
                <a:gd name="connsiteX730" fmla="*/ 3762670 w 4016827"/>
                <a:gd name="connsiteY730" fmla="*/ 4833352 h 7216489"/>
                <a:gd name="connsiteX731" fmla="*/ 3782809 w 4016827"/>
                <a:gd name="connsiteY731" fmla="*/ 4813213 h 7216489"/>
                <a:gd name="connsiteX732" fmla="*/ 597462 w 4016827"/>
                <a:gd name="connsiteY732" fmla="*/ 4799788 h 7216489"/>
                <a:gd name="connsiteX733" fmla="*/ 627671 w 4016827"/>
                <a:gd name="connsiteY733" fmla="*/ 4829996 h 7216489"/>
                <a:gd name="connsiteX734" fmla="*/ 597462 w 4016827"/>
                <a:gd name="connsiteY734" fmla="*/ 4860205 h 7216489"/>
                <a:gd name="connsiteX735" fmla="*/ 567254 w 4016827"/>
                <a:gd name="connsiteY735" fmla="*/ 4829996 h 7216489"/>
                <a:gd name="connsiteX736" fmla="*/ 597462 w 4016827"/>
                <a:gd name="connsiteY736" fmla="*/ 4799788 h 7216489"/>
                <a:gd name="connsiteX737" fmla="*/ 3171920 w 4016827"/>
                <a:gd name="connsiteY737" fmla="*/ 4793075 h 7216489"/>
                <a:gd name="connsiteX738" fmla="*/ 3198772 w 4016827"/>
                <a:gd name="connsiteY738" fmla="*/ 4819927 h 7216489"/>
                <a:gd name="connsiteX739" fmla="*/ 3171920 w 4016827"/>
                <a:gd name="connsiteY739" fmla="*/ 4846779 h 7216489"/>
                <a:gd name="connsiteX740" fmla="*/ 3145067 w 4016827"/>
                <a:gd name="connsiteY740" fmla="*/ 4819927 h 7216489"/>
                <a:gd name="connsiteX741" fmla="*/ 3171920 w 4016827"/>
                <a:gd name="connsiteY741" fmla="*/ 4793075 h 7216489"/>
                <a:gd name="connsiteX742" fmla="*/ 2769137 w 4016827"/>
                <a:gd name="connsiteY742" fmla="*/ 4789718 h 7216489"/>
                <a:gd name="connsiteX743" fmla="*/ 2816129 w 4016827"/>
                <a:gd name="connsiteY743" fmla="*/ 4836710 h 7216489"/>
                <a:gd name="connsiteX744" fmla="*/ 2769137 w 4016827"/>
                <a:gd name="connsiteY744" fmla="*/ 4883701 h 7216489"/>
                <a:gd name="connsiteX745" fmla="*/ 2722146 w 4016827"/>
                <a:gd name="connsiteY745" fmla="*/ 4836710 h 7216489"/>
                <a:gd name="connsiteX746" fmla="*/ 2769137 w 4016827"/>
                <a:gd name="connsiteY746" fmla="*/ 4789718 h 7216489"/>
                <a:gd name="connsiteX747" fmla="*/ 1460091 w 4016827"/>
                <a:gd name="connsiteY747" fmla="*/ 4789718 h 7216489"/>
                <a:gd name="connsiteX748" fmla="*/ 1527222 w 4016827"/>
                <a:gd name="connsiteY748" fmla="*/ 4856849 h 7216489"/>
                <a:gd name="connsiteX749" fmla="*/ 1460091 w 4016827"/>
                <a:gd name="connsiteY749" fmla="*/ 4923979 h 7216489"/>
                <a:gd name="connsiteX750" fmla="*/ 1392960 w 4016827"/>
                <a:gd name="connsiteY750" fmla="*/ 4856849 h 7216489"/>
                <a:gd name="connsiteX751" fmla="*/ 1460091 w 4016827"/>
                <a:gd name="connsiteY751" fmla="*/ 4789718 h 7216489"/>
                <a:gd name="connsiteX752" fmla="*/ 2386493 w 4016827"/>
                <a:gd name="connsiteY752" fmla="*/ 4769579 h 7216489"/>
                <a:gd name="connsiteX753" fmla="*/ 2446911 w 4016827"/>
                <a:gd name="connsiteY753" fmla="*/ 4829996 h 7216489"/>
                <a:gd name="connsiteX754" fmla="*/ 2386493 w 4016827"/>
                <a:gd name="connsiteY754" fmla="*/ 4890414 h 7216489"/>
                <a:gd name="connsiteX755" fmla="*/ 2326076 w 4016827"/>
                <a:gd name="connsiteY755" fmla="*/ 4829996 h 7216489"/>
                <a:gd name="connsiteX756" fmla="*/ 2386493 w 4016827"/>
                <a:gd name="connsiteY756" fmla="*/ 4769579 h 7216489"/>
                <a:gd name="connsiteX757" fmla="*/ 285305 w 4016827"/>
                <a:gd name="connsiteY757" fmla="*/ 4756153 h 7216489"/>
                <a:gd name="connsiteX758" fmla="*/ 285305 w 4016827"/>
                <a:gd name="connsiteY758" fmla="*/ 4759509 h 7216489"/>
                <a:gd name="connsiteX759" fmla="*/ 285305 w 4016827"/>
                <a:gd name="connsiteY759" fmla="*/ 4756153 h 7216489"/>
                <a:gd name="connsiteX760" fmla="*/ 3591488 w 4016827"/>
                <a:gd name="connsiteY760" fmla="*/ 4746083 h 7216489"/>
                <a:gd name="connsiteX761" fmla="*/ 3611627 w 4016827"/>
                <a:gd name="connsiteY761" fmla="*/ 4766222 h 7216489"/>
                <a:gd name="connsiteX762" fmla="*/ 3591488 w 4016827"/>
                <a:gd name="connsiteY762" fmla="*/ 4786361 h 7216489"/>
                <a:gd name="connsiteX763" fmla="*/ 3571348 w 4016827"/>
                <a:gd name="connsiteY763" fmla="*/ 4766222 h 7216489"/>
                <a:gd name="connsiteX764" fmla="*/ 3591488 w 4016827"/>
                <a:gd name="connsiteY764" fmla="*/ 4746083 h 7216489"/>
                <a:gd name="connsiteX765" fmla="*/ 2020632 w 4016827"/>
                <a:gd name="connsiteY765" fmla="*/ 4736013 h 7216489"/>
                <a:gd name="connsiteX766" fmla="*/ 2084406 w 4016827"/>
                <a:gd name="connsiteY766" fmla="*/ 4799788 h 7216489"/>
                <a:gd name="connsiteX767" fmla="*/ 2020632 w 4016827"/>
                <a:gd name="connsiteY767" fmla="*/ 4863561 h 7216489"/>
                <a:gd name="connsiteX768" fmla="*/ 1956858 w 4016827"/>
                <a:gd name="connsiteY768" fmla="*/ 4799788 h 7216489"/>
                <a:gd name="connsiteX769" fmla="*/ 2020632 w 4016827"/>
                <a:gd name="connsiteY769" fmla="*/ 4736013 h 7216489"/>
                <a:gd name="connsiteX770" fmla="*/ 1127794 w 4016827"/>
                <a:gd name="connsiteY770" fmla="*/ 4725944 h 7216489"/>
                <a:gd name="connsiteX771" fmla="*/ 1201638 w 4016827"/>
                <a:gd name="connsiteY771" fmla="*/ 4799788 h 7216489"/>
                <a:gd name="connsiteX772" fmla="*/ 1127794 w 4016827"/>
                <a:gd name="connsiteY772" fmla="*/ 4873631 h 7216489"/>
                <a:gd name="connsiteX773" fmla="*/ 1053951 w 4016827"/>
                <a:gd name="connsiteY773" fmla="*/ 4799788 h 7216489"/>
                <a:gd name="connsiteX774" fmla="*/ 1127794 w 4016827"/>
                <a:gd name="connsiteY774" fmla="*/ 4725944 h 7216489"/>
                <a:gd name="connsiteX775" fmla="*/ 1671552 w 4016827"/>
                <a:gd name="connsiteY775" fmla="*/ 4699092 h 7216489"/>
                <a:gd name="connsiteX776" fmla="*/ 1728613 w 4016827"/>
                <a:gd name="connsiteY776" fmla="*/ 4756153 h 7216489"/>
                <a:gd name="connsiteX777" fmla="*/ 1671552 w 4016827"/>
                <a:gd name="connsiteY777" fmla="*/ 4813214 h 7216489"/>
                <a:gd name="connsiteX778" fmla="*/ 1614491 w 4016827"/>
                <a:gd name="connsiteY778" fmla="*/ 4756153 h 7216489"/>
                <a:gd name="connsiteX779" fmla="*/ 1671552 w 4016827"/>
                <a:gd name="connsiteY779" fmla="*/ 4699092 h 7216489"/>
                <a:gd name="connsiteX780" fmla="*/ 2997382 w 4016827"/>
                <a:gd name="connsiteY780" fmla="*/ 4685665 h 7216489"/>
                <a:gd name="connsiteX781" fmla="*/ 3027590 w 4016827"/>
                <a:gd name="connsiteY781" fmla="*/ 4715874 h 7216489"/>
                <a:gd name="connsiteX782" fmla="*/ 2997382 w 4016827"/>
                <a:gd name="connsiteY782" fmla="*/ 4746083 h 7216489"/>
                <a:gd name="connsiteX783" fmla="*/ 2967173 w 4016827"/>
                <a:gd name="connsiteY783" fmla="*/ 4715874 h 7216489"/>
                <a:gd name="connsiteX784" fmla="*/ 2997382 w 4016827"/>
                <a:gd name="connsiteY784" fmla="*/ 4685665 h 7216489"/>
                <a:gd name="connsiteX785" fmla="*/ 805568 w 4016827"/>
                <a:gd name="connsiteY785" fmla="*/ 4678952 h 7216489"/>
                <a:gd name="connsiteX786" fmla="*/ 859272 w 4016827"/>
                <a:gd name="connsiteY786" fmla="*/ 4732657 h 7216489"/>
                <a:gd name="connsiteX787" fmla="*/ 805568 w 4016827"/>
                <a:gd name="connsiteY787" fmla="*/ 4786361 h 7216489"/>
                <a:gd name="connsiteX788" fmla="*/ 751863 w 4016827"/>
                <a:gd name="connsiteY788" fmla="*/ 4732657 h 7216489"/>
                <a:gd name="connsiteX789" fmla="*/ 805568 w 4016827"/>
                <a:gd name="connsiteY789" fmla="*/ 4678952 h 7216489"/>
                <a:gd name="connsiteX790" fmla="*/ 2608024 w 4016827"/>
                <a:gd name="connsiteY790" fmla="*/ 4675596 h 7216489"/>
                <a:gd name="connsiteX791" fmla="*/ 2648302 w 4016827"/>
                <a:gd name="connsiteY791" fmla="*/ 4715874 h 7216489"/>
                <a:gd name="connsiteX792" fmla="*/ 2608024 w 4016827"/>
                <a:gd name="connsiteY792" fmla="*/ 4756153 h 7216489"/>
                <a:gd name="connsiteX793" fmla="*/ 2567745 w 4016827"/>
                <a:gd name="connsiteY793" fmla="*/ 4715874 h 7216489"/>
                <a:gd name="connsiteX794" fmla="*/ 2608024 w 4016827"/>
                <a:gd name="connsiteY794" fmla="*/ 4675596 h 7216489"/>
                <a:gd name="connsiteX795" fmla="*/ 3403522 w 4016827"/>
                <a:gd name="connsiteY795" fmla="*/ 4672239 h 7216489"/>
                <a:gd name="connsiteX796" fmla="*/ 3416948 w 4016827"/>
                <a:gd name="connsiteY796" fmla="*/ 4685665 h 7216489"/>
                <a:gd name="connsiteX797" fmla="*/ 3403522 w 4016827"/>
                <a:gd name="connsiteY797" fmla="*/ 4699092 h 7216489"/>
                <a:gd name="connsiteX798" fmla="*/ 3390095 w 4016827"/>
                <a:gd name="connsiteY798" fmla="*/ 4685665 h 7216489"/>
                <a:gd name="connsiteX799" fmla="*/ 3403522 w 4016827"/>
                <a:gd name="connsiteY799" fmla="*/ 4672239 h 7216489"/>
                <a:gd name="connsiteX800" fmla="*/ 2235449 w 4016827"/>
                <a:gd name="connsiteY800" fmla="*/ 4635317 h 7216489"/>
                <a:gd name="connsiteX801" fmla="*/ 2292510 w 4016827"/>
                <a:gd name="connsiteY801" fmla="*/ 4692378 h 7216489"/>
                <a:gd name="connsiteX802" fmla="*/ 2235449 w 4016827"/>
                <a:gd name="connsiteY802" fmla="*/ 4749440 h 7216489"/>
                <a:gd name="connsiteX803" fmla="*/ 2178388 w 4016827"/>
                <a:gd name="connsiteY803" fmla="*/ 4692378 h 7216489"/>
                <a:gd name="connsiteX804" fmla="*/ 2235449 w 4016827"/>
                <a:gd name="connsiteY804" fmla="*/ 4635317 h 7216489"/>
                <a:gd name="connsiteX805" fmla="*/ 1335899 w 4016827"/>
                <a:gd name="connsiteY805" fmla="*/ 4628604 h 7216489"/>
                <a:gd name="connsiteX806" fmla="*/ 1406387 w 4016827"/>
                <a:gd name="connsiteY806" fmla="*/ 4699092 h 7216489"/>
                <a:gd name="connsiteX807" fmla="*/ 1335899 w 4016827"/>
                <a:gd name="connsiteY807" fmla="*/ 4769579 h 7216489"/>
                <a:gd name="connsiteX808" fmla="*/ 1265412 w 4016827"/>
                <a:gd name="connsiteY808" fmla="*/ 4699092 h 7216489"/>
                <a:gd name="connsiteX809" fmla="*/ 1335899 w 4016827"/>
                <a:gd name="connsiteY809" fmla="*/ 4628604 h 7216489"/>
                <a:gd name="connsiteX810" fmla="*/ 490053 w 4016827"/>
                <a:gd name="connsiteY810" fmla="*/ 4615178 h 7216489"/>
                <a:gd name="connsiteX811" fmla="*/ 533688 w 4016827"/>
                <a:gd name="connsiteY811" fmla="*/ 4658813 h 7216489"/>
                <a:gd name="connsiteX812" fmla="*/ 490053 w 4016827"/>
                <a:gd name="connsiteY812" fmla="*/ 4702448 h 7216489"/>
                <a:gd name="connsiteX813" fmla="*/ 446418 w 4016827"/>
                <a:gd name="connsiteY813" fmla="*/ 4658813 h 7216489"/>
                <a:gd name="connsiteX814" fmla="*/ 490053 w 4016827"/>
                <a:gd name="connsiteY814" fmla="*/ 4615178 h 7216489"/>
                <a:gd name="connsiteX815" fmla="*/ 3833158 w 4016827"/>
                <a:gd name="connsiteY815" fmla="*/ 4598395 h 7216489"/>
                <a:gd name="connsiteX816" fmla="*/ 3846584 w 4016827"/>
                <a:gd name="connsiteY816" fmla="*/ 4611822 h 7216489"/>
                <a:gd name="connsiteX817" fmla="*/ 3833158 w 4016827"/>
                <a:gd name="connsiteY817" fmla="*/ 4625248 h 7216489"/>
                <a:gd name="connsiteX818" fmla="*/ 3819732 w 4016827"/>
                <a:gd name="connsiteY818" fmla="*/ 4611822 h 7216489"/>
                <a:gd name="connsiteX819" fmla="*/ 3833158 w 4016827"/>
                <a:gd name="connsiteY819" fmla="*/ 4598395 h 7216489"/>
                <a:gd name="connsiteX820" fmla="*/ 1883014 w 4016827"/>
                <a:gd name="connsiteY820" fmla="*/ 4584969 h 7216489"/>
                <a:gd name="connsiteX821" fmla="*/ 1946788 w 4016827"/>
                <a:gd name="connsiteY821" fmla="*/ 4648743 h 7216489"/>
                <a:gd name="connsiteX822" fmla="*/ 1883014 w 4016827"/>
                <a:gd name="connsiteY822" fmla="*/ 4712517 h 7216489"/>
                <a:gd name="connsiteX823" fmla="*/ 1819240 w 4016827"/>
                <a:gd name="connsiteY823" fmla="*/ 4648743 h 7216489"/>
                <a:gd name="connsiteX824" fmla="*/ 1883014 w 4016827"/>
                <a:gd name="connsiteY824" fmla="*/ 4584969 h 7216489"/>
                <a:gd name="connsiteX825" fmla="*/ 3225624 w 4016827"/>
                <a:gd name="connsiteY825" fmla="*/ 4568187 h 7216489"/>
                <a:gd name="connsiteX826" fmla="*/ 3245765 w 4016827"/>
                <a:gd name="connsiteY826" fmla="*/ 4588326 h 7216489"/>
                <a:gd name="connsiteX827" fmla="*/ 3225624 w 4016827"/>
                <a:gd name="connsiteY827" fmla="*/ 4608465 h 7216489"/>
                <a:gd name="connsiteX828" fmla="*/ 3205487 w 4016827"/>
                <a:gd name="connsiteY828" fmla="*/ 4588326 h 7216489"/>
                <a:gd name="connsiteX829" fmla="*/ 3225624 w 4016827"/>
                <a:gd name="connsiteY829" fmla="*/ 4568187 h 7216489"/>
                <a:gd name="connsiteX830" fmla="*/ 2829555 w 4016827"/>
                <a:gd name="connsiteY830" fmla="*/ 4561474 h 7216489"/>
                <a:gd name="connsiteX831" fmla="*/ 2866477 w 4016827"/>
                <a:gd name="connsiteY831" fmla="*/ 4598395 h 7216489"/>
                <a:gd name="connsiteX832" fmla="*/ 2829555 w 4016827"/>
                <a:gd name="connsiteY832" fmla="*/ 4635317 h 7216489"/>
                <a:gd name="connsiteX833" fmla="*/ 2792633 w 4016827"/>
                <a:gd name="connsiteY833" fmla="*/ 4598395 h 7216489"/>
                <a:gd name="connsiteX834" fmla="*/ 2829555 w 4016827"/>
                <a:gd name="connsiteY834" fmla="*/ 4561474 h 7216489"/>
                <a:gd name="connsiteX835" fmla="*/ 1010315 w 4016827"/>
                <a:gd name="connsiteY835" fmla="*/ 4561474 h 7216489"/>
                <a:gd name="connsiteX836" fmla="*/ 1080803 w 4016827"/>
                <a:gd name="connsiteY836" fmla="*/ 4631961 h 7216489"/>
                <a:gd name="connsiteX837" fmla="*/ 1010315 w 4016827"/>
                <a:gd name="connsiteY837" fmla="*/ 4702448 h 7216489"/>
                <a:gd name="connsiteX838" fmla="*/ 939828 w 4016827"/>
                <a:gd name="connsiteY838" fmla="*/ 4631961 h 7216489"/>
                <a:gd name="connsiteX839" fmla="*/ 1010315 w 4016827"/>
                <a:gd name="connsiteY839" fmla="*/ 4561474 h 7216489"/>
                <a:gd name="connsiteX840" fmla="*/ 2453624 w 4016827"/>
                <a:gd name="connsiteY840" fmla="*/ 4541334 h 7216489"/>
                <a:gd name="connsiteX841" fmla="*/ 2497259 w 4016827"/>
                <a:gd name="connsiteY841" fmla="*/ 4584969 h 7216489"/>
                <a:gd name="connsiteX842" fmla="*/ 2453624 w 4016827"/>
                <a:gd name="connsiteY842" fmla="*/ 4628604 h 7216489"/>
                <a:gd name="connsiteX843" fmla="*/ 2409989 w 4016827"/>
                <a:gd name="connsiteY843" fmla="*/ 4584969 h 7216489"/>
                <a:gd name="connsiteX844" fmla="*/ 2453624 w 4016827"/>
                <a:gd name="connsiteY844" fmla="*/ 4541334 h 7216489"/>
                <a:gd name="connsiteX845" fmla="*/ 1544004 w 4016827"/>
                <a:gd name="connsiteY845" fmla="*/ 4534621 h 7216489"/>
                <a:gd name="connsiteX846" fmla="*/ 1607778 w 4016827"/>
                <a:gd name="connsiteY846" fmla="*/ 4598395 h 7216489"/>
                <a:gd name="connsiteX847" fmla="*/ 1544004 w 4016827"/>
                <a:gd name="connsiteY847" fmla="*/ 4662169 h 7216489"/>
                <a:gd name="connsiteX848" fmla="*/ 1480229 w 4016827"/>
                <a:gd name="connsiteY848" fmla="*/ 4598395 h 7216489"/>
                <a:gd name="connsiteX849" fmla="*/ 1544004 w 4016827"/>
                <a:gd name="connsiteY849" fmla="*/ 4534621 h 7216489"/>
                <a:gd name="connsiteX850" fmla="*/ 3641834 w 4016827"/>
                <a:gd name="connsiteY850" fmla="*/ 4531265 h 7216489"/>
                <a:gd name="connsiteX851" fmla="*/ 3655261 w 4016827"/>
                <a:gd name="connsiteY851" fmla="*/ 4544691 h 7216489"/>
                <a:gd name="connsiteX852" fmla="*/ 3641834 w 4016827"/>
                <a:gd name="connsiteY852" fmla="*/ 4558117 h 7216489"/>
                <a:gd name="connsiteX853" fmla="*/ 3628408 w 4016827"/>
                <a:gd name="connsiteY853" fmla="*/ 4544691 h 7216489"/>
                <a:gd name="connsiteX854" fmla="*/ 3641834 w 4016827"/>
                <a:gd name="connsiteY854" fmla="*/ 4531265 h 7216489"/>
                <a:gd name="connsiteX855" fmla="*/ 694802 w 4016827"/>
                <a:gd name="connsiteY855" fmla="*/ 4504412 h 7216489"/>
                <a:gd name="connsiteX856" fmla="*/ 748507 w 4016827"/>
                <a:gd name="connsiteY856" fmla="*/ 4558117 h 7216489"/>
                <a:gd name="connsiteX857" fmla="*/ 694802 w 4016827"/>
                <a:gd name="connsiteY857" fmla="*/ 4611822 h 7216489"/>
                <a:gd name="connsiteX858" fmla="*/ 641097 w 4016827"/>
                <a:gd name="connsiteY858" fmla="*/ 4558117 h 7216489"/>
                <a:gd name="connsiteX859" fmla="*/ 694802 w 4016827"/>
                <a:gd name="connsiteY859" fmla="*/ 4504412 h 7216489"/>
                <a:gd name="connsiteX860" fmla="*/ 2094474 w 4016827"/>
                <a:gd name="connsiteY860" fmla="*/ 4487630 h 7216489"/>
                <a:gd name="connsiteX861" fmla="*/ 2151536 w 4016827"/>
                <a:gd name="connsiteY861" fmla="*/ 4544691 h 7216489"/>
                <a:gd name="connsiteX862" fmla="*/ 2094474 w 4016827"/>
                <a:gd name="connsiteY862" fmla="*/ 4601752 h 7216489"/>
                <a:gd name="connsiteX863" fmla="*/ 2037413 w 4016827"/>
                <a:gd name="connsiteY863" fmla="*/ 4544691 h 7216489"/>
                <a:gd name="connsiteX864" fmla="*/ 2094474 w 4016827"/>
                <a:gd name="connsiteY864" fmla="*/ 4487630 h 7216489"/>
                <a:gd name="connsiteX865" fmla="*/ 3051086 w 4016827"/>
                <a:gd name="connsiteY865" fmla="*/ 4467491 h 7216489"/>
                <a:gd name="connsiteX866" fmla="*/ 3064512 w 4016827"/>
                <a:gd name="connsiteY866" fmla="*/ 4480917 h 7216489"/>
                <a:gd name="connsiteX867" fmla="*/ 3051086 w 4016827"/>
                <a:gd name="connsiteY867" fmla="*/ 4494343 h 7216489"/>
                <a:gd name="connsiteX868" fmla="*/ 3037660 w 4016827"/>
                <a:gd name="connsiteY868" fmla="*/ 4480917 h 7216489"/>
                <a:gd name="connsiteX869" fmla="*/ 3051086 w 4016827"/>
                <a:gd name="connsiteY869" fmla="*/ 4467491 h 7216489"/>
                <a:gd name="connsiteX870" fmla="*/ 392714 w 4016827"/>
                <a:gd name="connsiteY870" fmla="*/ 4467491 h 7216489"/>
                <a:gd name="connsiteX871" fmla="*/ 406140 w 4016827"/>
                <a:gd name="connsiteY871" fmla="*/ 4480917 h 7216489"/>
                <a:gd name="connsiteX872" fmla="*/ 392714 w 4016827"/>
                <a:gd name="connsiteY872" fmla="*/ 4494343 h 7216489"/>
                <a:gd name="connsiteX873" fmla="*/ 379288 w 4016827"/>
                <a:gd name="connsiteY873" fmla="*/ 4480917 h 7216489"/>
                <a:gd name="connsiteX874" fmla="*/ 392714 w 4016827"/>
                <a:gd name="connsiteY874" fmla="*/ 4467491 h 7216489"/>
                <a:gd name="connsiteX875" fmla="*/ 1215064 w 4016827"/>
                <a:gd name="connsiteY875" fmla="*/ 4460777 h 7216489"/>
                <a:gd name="connsiteX876" fmla="*/ 1285551 w 4016827"/>
                <a:gd name="connsiteY876" fmla="*/ 4531265 h 7216489"/>
                <a:gd name="connsiteX877" fmla="*/ 1215064 w 4016827"/>
                <a:gd name="connsiteY877" fmla="*/ 4601752 h 7216489"/>
                <a:gd name="connsiteX878" fmla="*/ 1144577 w 4016827"/>
                <a:gd name="connsiteY878" fmla="*/ 4531265 h 7216489"/>
                <a:gd name="connsiteX879" fmla="*/ 1215064 w 4016827"/>
                <a:gd name="connsiteY879" fmla="*/ 4460777 h 7216489"/>
                <a:gd name="connsiteX880" fmla="*/ 3457226 w 4016827"/>
                <a:gd name="connsiteY880" fmla="*/ 4454064 h 7216489"/>
                <a:gd name="connsiteX881" fmla="*/ 3463939 w 4016827"/>
                <a:gd name="connsiteY881" fmla="*/ 4460777 h 7216489"/>
                <a:gd name="connsiteX882" fmla="*/ 3457226 w 4016827"/>
                <a:gd name="connsiteY882" fmla="*/ 4467491 h 7216489"/>
                <a:gd name="connsiteX883" fmla="*/ 3450513 w 4016827"/>
                <a:gd name="connsiteY883" fmla="*/ 4460777 h 7216489"/>
                <a:gd name="connsiteX884" fmla="*/ 3457226 w 4016827"/>
                <a:gd name="connsiteY884" fmla="*/ 4454064 h 7216489"/>
                <a:gd name="connsiteX885" fmla="*/ 2668441 w 4016827"/>
                <a:gd name="connsiteY885" fmla="*/ 4454064 h 7216489"/>
                <a:gd name="connsiteX886" fmla="*/ 2688580 w 4016827"/>
                <a:gd name="connsiteY886" fmla="*/ 4474204 h 7216489"/>
                <a:gd name="connsiteX887" fmla="*/ 2668441 w 4016827"/>
                <a:gd name="connsiteY887" fmla="*/ 4494343 h 7216489"/>
                <a:gd name="connsiteX888" fmla="*/ 2648302 w 4016827"/>
                <a:gd name="connsiteY888" fmla="*/ 4474204 h 7216489"/>
                <a:gd name="connsiteX889" fmla="*/ 2668441 w 4016827"/>
                <a:gd name="connsiteY889" fmla="*/ 4454064 h 7216489"/>
                <a:gd name="connsiteX890" fmla="*/ 1752109 w 4016827"/>
                <a:gd name="connsiteY890" fmla="*/ 4440638 h 7216489"/>
                <a:gd name="connsiteX891" fmla="*/ 1805813 w 4016827"/>
                <a:gd name="connsiteY891" fmla="*/ 4494343 h 7216489"/>
                <a:gd name="connsiteX892" fmla="*/ 1752109 w 4016827"/>
                <a:gd name="connsiteY892" fmla="*/ 4548047 h 7216489"/>
                <a:gd name="connsiteX893" fmla="*/ 1698404 w 4016827"/>
                <a:gd name="connsiteY893" fmla="*/ 4494343 h 7216489"/>
                <a:gd name="connsiteX894" fmla="*/ 1752109 w 4016827"/>
                <a:gd name="connsiteY894" fmla="*/ 4440638 h 7216489"/>
                <a:gd name="connsiteX895" fmla="*/ 899550 w 4016827"/>
                <a:gd name="connsiteY895" fmla="*/ 4413786 h 7216489"/>
                <a:gd name="connsiteX896" fmla="*/ 949898 w 4016827"/>
                <a:gd name="connsiteY896" fmla="*/ 4464134 h 7216489"/>
                <a:gd name="connsiteX897" fmla="*/ 899550 w 4016827"/>
                <a:gd name="connsiteY897" fmla="*/ 4514482 h 7216489"/>
                <a:gd name="connsiteX898" fmla="*/ 849202 w 4016827"/>
                <a:gd name="connsiteY898" fmla="*/ 4464134 h 7216489"/>
                <a:gd name="connsiteX899" fmla="*/ 899550 w 4016827"/>
                <a:gd name="connsiteY899" fmla="*/ 4413786 h 7216489"/>
                <a:gd name="connsiteX900" fmla="*/ 2305936 w 4016827"/>
                <a:gd name="connsiteY900" fmla="*/ 4410429 h 7216489"/>
                <a:gd name="connsiteX901" fmla="*/ 2336145 w 4016827"/>
                <a:gd name="connsiteY901" fmla="*/ 4440638 h 7216489"/>
                <a:gd name="connsiteX902" fmla="*/ 2305936 w 4016827"/>
                <a:gd name="connsiteY902" fmla="*/ 4470847 h 7216489"/>
                <a:gd name="connsiteX903" fmla="*/ 2275728 w 4016827"/>
                <a:gd name="connsiteY903" fmla="*/ 4440638 h 7216489"/>
                <a:gd name="connsiteX904" fmla="*/ 2305936 w 4016827"/>
                <a:gd name="connsiteY904" fmla="*/ 4410429 h 7216489"/>
                <a:gd name="connsiteX905" fmla="*/ 3882246 w 4016827"/>
                <a:gd name="connsiteY905" fmla="*/ 4389453 h 7216489"/>
                <a:gd name="connsiteX906" fmla="*/ 3883505 w 4016827"/>
                <a:gd name="connsiteY906" fmla="*/ 4390291 h 7216489"/>
                <a:gd name="connsiteX907" fmla="*/ 3883505 w 4016827"/>
                <a:gd name="connsiteY907" fmla="*/ 4393648 h 7216489"/>
                <a:gd name="connsiteX908" fmla="*/ 3882246 w 4016827"/>
                <a:gd name="connsiteY908" fmla="*/ 4389453 h 7216489"/>
                <a:gd name="connsiteX909" fmla="*/ 1423169 w 4016827"/>
                <a:gd name="connsiteY909" fmla="*/ 4373507 h 7216489"/>
                <a:gd name="connsiteX910" fmla="*/ 1480230 w 4016827"/>
                <a:gd name="connsiteY910" fmla="*/ 4430569 h 7216489"/>
                <a:gd name="connsiteX911" fmla="*/ 1423169 w 4016827"/>
                <a:gd name="connsiteY911" fmla="*/ 4487630 h 7216489"/>
                <a:gd name="connsiteX912" fmla="*/ 1366108 w 4016827"/>
                <a:gd name="connsiteY912" fmla="*/ 4430569 h 7216489"/>
                <a:gd name="connsiteX913" fmla="*/ 1423169 w 4016827"/>
                <a:gd name="connsiteY913" fmla="*/ 4373507 h 7216489"/>
                <a:gd name="connsiteX914" fmla="*/ 1960214 w 4016827"/>
                <a:gd name="connsiteY914" fmla="*/ 4353368 h 7216489"/>
                <a:gd name="connsiteX915" fmla="*/ 2000492 w 4016827"/>
                <a:gd name="connsiteY915" fmla="*/ 4393647 h 7216489"/>
                <a:gd name="connsiteX916" fmla="*/ 1960214 w 4016827"/>
                <a:gd name="connsiteY916" fmla="*/ 4433925 h 7216489"/>
                <a:gd name="connsiteX917" fmla="*/ 1919936 w 4016827"/>
                <a:gd name="connsiteY917" fmla="*/ 4393647 h 7216489"/>
                <a:gd name="connsiteX918" fmla="*/ 1960214 w 4016827"/>
                <a:gd name="connsiteY918" fmla="*/ 4353368 h 7216489"/>
                <a:gd name="connsiteX919" fmla="*/ 3279328 w 4016827"/>
                <a:gd name="connsiteY919" fmla="*/ 4350013 h 7216489"/>
                <a:gd name="connsiteX920" fmla="*/ 3289399 w 4016827"/>
                <a:gd name="connsiteY920" fmla="*/ 4360082 h 7216489"/>
                <a:gd name="connsiteX921" fmla="*/ 3279328 w 4016827"/>
                <a:gd name="connsiteY921" fmla="*/ 4370152 h 7216489"/>
                <a:gd name="connsiteX922" fmla="*/ 3269260 w 4016827"/>
                <a:gd name="connsiteY922" fmla="*/ 4360082 h 7216489"/>
                <a:gd name="connsiteX923" fmla="*/ 3279328 w 4016827"/>
                <a:gd name="connsiteY923" fmla="*/ 4350013 h 7216489"/>
                <a:gd name="connsiteX924" fmla="*/ 2889972 w 4016827"/>
                <a:gd name="connsiteY924" fmla="*/ 4343299 h 7216489"/>
                <a:gd name="connsiteX925" fmla="*/ 2906755 w 4016827"/>
                <a:gd name="connsiteY925" fmla="*/ 4360081 h 7216489"/>
                <a:gd name="connsiteX926" fmla="*/ 2889972 w 4016827"/>
                <a:gd name="connsiteY926" fmla="*/ 4376864 h 7216489"/>
                <a:gd name="connsiteX927" fmla="*/ 2873190 w 4016827"/>
                <a:gd name="connsiteY927" fmla="*/ 4360081 h 7216489"/>
                <a:gd name="connsiteX928" fmla="*/ 2889972 w 4016827"/>
                <a:gd name="connsiteY928" fmla="*/ 4343299 h 7216489"/>
                <a:gd name="connsiteX929" fmla="*/ 597462 w 4016827"/>
                <a:gd name="connsiteY929" fmla="*/ 4336586 h 7216489"/>
                <a:gd name="connsiteX930" fmla="*/ 644454 w 4016827"/>
                <a:gd name="connsiteY930" fmla="*/ 4383577 h 7216489"/>
                <a:gd name="connsiteX931" fmla="*/ 597462 w 4016827"/>
                <a:gd name="connsiteY931" fmla="*/ 4430569 h 7216489"/>
                <a:gd name="connsiteX932" fmla="*/ 550471 w 4016827"/>
                <a:gd name="connsiteY932" fmla="*/ 4383577 h 7216489"/>
                <a:gd name="connsiteX933" fmla="*/ 597462 w 4016827"/>
                <a:gd name="connsiteY933" fmla="*/ 4336586 h 7216489"/>
                <a:gd name="connsiteX934" fmla="*/ 3692184 w 4016827"/>
                <a:gd name="connsiteY934" fmla="*/ 4316447 h 7216489"/>
                <a:gd name="connsiteX935" fmla="*/ 3695539 w 4016827"/>
                <a:gd name="connsiteY935" fmla="*/ 4319804 h 7216489"/>
                <a:gd name="connsiteX936" fmla="*/ 3692184 w 4016827"/>
                <a:gd name="connsiteY936" fmla="*/ 4323161 h 7216489"/>
                <a:gd name="connsiteX937" fmla="*/ 3688828 w 4016827"/>
                <a:gd name="connsiteY937" fmla="*/ 4319804 h 7216489"/>
                <a:gd name="connsiteX938" fmla="*/ 3692184 w 4016827"/>
                <a:gd name="connsiteY938" fmla="*/ 4316447 h 7216489"/>
                <a:gd name="connsiteX939" fmla="*/ 2520754 w 4016827"/>
                <a:gd name="connsiteY939" fmla="*/ 4316447 h 7216489"/>
                <a:gd name="connsiteX940" fmla="*/ 2540894 w 4016827"/>
                <a:gd name="connsiteY940" fmla="*/ 4336587 h 7216489"/>
                <a:gd name="connsiteX941" fmla="*/ 2520754 w 4016827"/>
                <a:gd name="connsiteY941" fmla="*/ 4356726 h 7216489"/>
                <a:gd name="connsiteX942" fmla="*/ 2500615 w 4016827"/>
                <a:gd name="connsiteY942" fmla="*/ 4336587 h 7216489"/>
                <a:gd name="connsiteX943" fmla="*/ 2520754 w 4016827"/>
                <a:gd name="connsiteY943" fmla="*/ 4316447 h 7216489"/>
                <a:gd name="connsiteX944" fmla="*/ 1104298 w 4016827"/>
                <a:gd name="connsiteY944" fmla="*/ 4299665 h 7216489"/>
                <a:gd name="connsiteX945" fmla="*/ 1164716 w 4016827"/>
                <a:gd name="connsiteY945" fmla="*/ 4360082 h 7216489"/>
                <a:gd name="connsiteX946" fmla="*/ 1104298 w 4016827"/>
                <a:gd name="connsiteY946" fmla="*/ 4420500 h 7216489"/>
                <a:gd name="connsiteX947" fmla="*/ 1043881 w 4016827"/>
                <a:gd name="connsiteY947" fmla="*/ 4360082 h 7216489"/>
                <a:gd name="connsiteX948" fmla="*/ 1104298 w 4016827"/>
                <a:gd name="connsiteY948" fmla="*/ 4299665 h 7216489"/>
                <a:gd name="connsiteX949" fmla="*/ 1627917 w 4016827"/>
                <a:gd name="connsiteY949" fmla="*/ 4279526 h 7216489"/>
                <a:gd name="connsiteX950" fmla="*/ 1681622 w 4016827"/>
                <a:gd name="connsiteY950" fmla="*/ 4333230 h 7216489"/>
                <a:gd name="connsiteX951" fmla="*/ 1627917 w 4016827"/>
                <a:gd name="connsiteY951" fmla="*/ 4386935 h 7216489"/>
                <a:gd name="connsiteX952" fmla="*/ 1574212 w 4016827"/>
                <a:gd name="connsiteY952" fmla="*/ 4333230 h 7216489"/>
                <a:gd name="connsiteX953" fmla="*/ 1627917 w 4016827"/>
                <a:gd name="connsiteY953" fmla="*/ 4279526 h 7216489"/>
                <a:gd name="connsiteX954" fmla="*/ 2168318 w 4016827"/>
                <a:gd name="connsiteY954" fmla="*/ 4269455 h 7216489"/>
                <a:gd name="connsiteX955" fmla="*/ 2191814 w 4016827"/>
                <a:gd name="connsiteY955" fmla="*/ 4292951 h 7216489"/>
                <a:gd name="connsiteX956" fmla="*/ 2168318 w 4016827"/>
                <a:gd name="connsiteY956" fmla="*/ 4316446 h 7216489"/>
                <a:gd name="connsiteX957" fmla="*/ 2144822 w 4016827"/>
                <a:gd name="connsiteY957" fmla="*/ 4292951 h 7216489"/>
                <a:gd name="connsiteX958" fmla="*/ 2168318 w 4016827"/>
                <a:gd name="connsiteY958" fmla="*/ 4269455 h 7216489"/>
                <a:gd name="connsiteX959" fmla="*/ 298731 w 4016827"/>
                <a:gd name="connsiteY959" fmla="*/ 4269455 h 7216489"/>
                <a:gd name="connsiteX960" fmla="*/ 328940 w 4016827"/>
                <a:gd name="connsiteY960" fmla="*/ 4299664 h 7216489"/>
                <a:gd name="connsiteX961" fmla="*/ 298731 w 4016827"/>
                <a:gd name="connsiteY961" fmla="*/ 4329873 h 7216489"/>
                <a:gd name="connsiteX962" fmla="*/ 268522 w 4016827"/>
                <a:gd name="connsiteY962" fmla="*/ 4299664 h 7216489"/>
                <a:gd name="connsiteX963" fmla="*/ 298731 w 4016827"/>
                <a:gd name="connsiteY963" fmla="*/ 4269455 h 7216489"/>
                <a:gd name="connsiteX964" fmla="*/ 798855 w 4016827"/>
                <a:gd name="connsiteY964" fmla="*/ 4245960 h 7216489"/>
                <a:gd name="connsiteX965" fmla="*/ 839133 w 4016827"/>
                <a:gd name="connsiteY965" fmla="*/ 4286239 h 7216489"/>
                <a:gd name="connsiteX966" fmla="*/ 798855 w 4016827"/>
                <a:gd name="connsiteY966" fmla="*/ 4326517 h 7216489"/>
                <a:gd name="connsiteX967" fmla="*/ 758576 w 4016827"/>
                <a:gd name="connsiteY967" fmla="*/ 4286239 h 7216489"/>
                <a:gd name="connsiteX968" fmla="*/ 798855 w 4016827"/>
                <a:gd name="connsiteY968" fmla="*/ 4245960 h 7216489"/>
                <a:gd name="connsiteX969" fmla="*/ 3111504 w 4016827"/>
                <a:gd name="connsiteY969" fmla="*/ 4235891 h 7216489"/>
                <a:gd name="connsiteX970" fmla="*/ 3121574 w 4016827"/>
                <a:gd name="connsiteY970" fmla="*/ 4245960 h 7216489"/>
                <a:gd name="connsiteX971" fmla="*/ 3111504 w 4016827"/>
                <a:gd name="connsiteY971" fmla="*/ 4256030 h 7216489"/>
                <a:gd name="connsiteX972" fmla="*/ 3101434 w 4016827"/>
                <a:gd name="connsiteY972" fmla="*/ 4245960 h 7216489"/>
                <a:gd name="connsiteX973" fmla="*/ 3111504 w 4016827"/>
                <a:gd name="connsiteY973" fmla="*/ 4235891 h 7216489"/>
                <a:gd name="connsiteX974" fmla="*/ 3510931 w 4016827"/>
                <a:gd name="connsiteY974" fmla="*/ 4229177 h 7216489"/>
                <a:gd name="connsiteX975" fmla="*/ 3510931 w 4016827"/>
                <a:gd name="connsiteY975" fmla="*/ 4235891 h 7216489"/>
                <a:gd name="connsiteX976" fmla="*/ 3510931 w 4016827"/>
                <a:gd name="connsiteY976" fmla="*/ 4229177 h 7216489"/>
                <a:gd name="connsiteX977" fmla="*/ 2735572 w 4016827"/>
                <a:gd name="connsiteY977" fmla="*/ 4215751 h 7216489"/>
                <a:gd name="connsiteX978" fmla="*/ 2748998 w 4016827"/>
                <a:gd name="connsiteY978" fmla="*/ 4229177 h 7216489"/>
                <a:gd name="connsiteX979" fmla="*/ 2735572 w 4016827"/>
                <a:gd name="connsiteY979" fmla="*/ 4242604 h 7216489"/>
                <a:gd name="connsiteX980" fmla="*/ 2722146 w 4016827"/>
                <a:gd name="connsiteY980" fmla="*/ 4229177 h 7216489"/>
                <a:gd name="connsiteX981" fmla="*/ 2735572 w 4016827"/>
                <a:gd name="connsiteY981" fmla="*/ 4215751 h 7216489"/>
                <a:gd name="connsiteX982" fmla="*/ 1312404 w 4016827"/>
                <a:gd name="connsiteY982" fmla="*/ 4212395 h 7216489"/>
                <a:gd name="connsiteX983" fmla="*/ 1362752 w 4016827"/>
                <a:gd name="connsiteY983" fmla="*/ 4262743 h 7216489"/>
                <a:gd name="connsiteX984" fmla="*/ 1312404 w 4016827"/>
                <a:gd name="connsiteY984" fmla="*/ 4313091 h 7216489"/>
                <a:gd name="connsiteX985" fmla="*/ 1262056 w 4016827"/>
                <a:gd name="connsiteY985" fmla="*/ 4262743 h 7216489"/>
                <a:gd name="connsiteX986" fmla="*/ 1312404 w 4016827"/>
                <a:gd name="connsiteY986" fmla="*/ 4212395 h 7216489"/>
                <a:gd name="connsiteX987" fmla="*/ 1836022 w 4016827"/>
                <a:gd name="connsiteY987" fmla="*/ 4198969 h 7216489"/>
                <a:gd name="connsiteX988" fmla="*/ 1869588 w 4016827"/>
                <a:gd name="connsiteY988" fmla="*/ 4232534 h 7216489"/>
                <a:gd name="connsiteX989" fmla="*/ 1836022 w 4016827"/>
                <a:gd name="connsiteY989" fmla="*/ 4266099 h 7216489"/>
                <a:gd name="connsiteX990" fmla="*/ 1802457 w 4016827"/>
                <a:gd name="connsiteY990" fmla="*/ 4232534 h 7216489"/>
                <a:gd name="connsiteX991" fmla="*/ 1836022 w 4016827"/>
                <a:gd name="connsiteY991" fmla="*/ 4198969 h 7216489"/>
                <a:gd name="connsiteX992" fmla="*/ 2379780 w 4016827"/>
                <a:gd name="connsiteY992" fmla="*/ 4172116 h 7216489"/>
                <a:gd name="connsiteX993" fmla="*/ 2396563 w 4016827"/>
                <a:gd name="connsiteY993" fmla="*/ 4188899 h 7216489"/>
                <a:gd name="connsiteX994" fmla="*/ 2379780 w 4016827"/>
                <a:gd name="connsiteY994" fmla="*/ 4205682 h 7216489"/>
                <a:gd name="connsiteX995" fmla="*/ 2362997 w 4016827"/>
                <a:gd name="connsiteY995" fmla="*/ 4188899 h 7216489"/>
                <a:gd name="connsiteX996" fmla="*/ 2379780 w 4016827"/>
                <a:gd name="connsiteY996" fmla="*/ 4172116 h 7216489"/>
                <a:gd name="connsiteX997" fmla="*/ 503479 w 4016827"/>
                <a:gd name="connsiteY997" fmla="*/ 4158690 h 7216489"/>
                <a:gd name="connsiteX998" fmla="*/ 547114 w 4016827"/>
                <a:gd name="connsiteY998" fmla="*/ 4202325 h 7216489"/>
                <a:gd name="connsiteX999" fmla="*/ 503479 w 4016827"/>
                <a:gd name="connsiteY999" fmla="*/ 4245960 h 7216489"/>
                <a:gd name="connsiteX1000" fmla="*/ 459844 w 4016827"/>
                <a:gd name="connsiteY1000" fmla="*/ 4202325 h 7216489"/>
                <a:gd name="connsiteX1001" fmla="*/ 503479 w 4016827"/>
                <a:gd name="connsiteY1001" fmla="*/ 4158690 h 7216489"/>
                <a:gd name="connsiteX1002" fmla="*/ 1003602 w 4016827"/>
                <a:gd name="connsiteY1002" fmla="*/ 4128481 h 7216489"/>
                <a:gd name="connsiteX1003" fmla="*/ 1060663 w 4016827"/>
                <a:gd name="connsiteY1003" fmla="*/ 4185542 h 7216489"/>
                <a:gd name="connsiteX1004" fmla="*/ 1003602 w 4016827"/>
                <a:gd name="connsiteY1004" fmla="*/ 4242604 h 7216489"/>
                <a:gd name="connsiteX1005" fmla="*/ 946541 w 4016827"/>
                <a:gd name="connsiteY1005" fmla="*/ 4185542 h 7216489"/>
                <a:gd name="connsiteX1006" fmla="*/ 1003602 w 4016827"/>
                <a:gd name="connsiteY1006" fmla="*/ 4128481 h 7216489"/>
                <a:gd name="connsiteX1007" fmla="*/ 3336391 w 4016827"/>
                <a:gd name="connsiteY1007" fmla="*/ 4125125 h 7216489"/>
                <a:gd name="connsiteX1008" fmla="*/ 3339748 w 4016827"/>
                <a:gd name="connsiteY1008" fmla="*/ 4128481 h 7216489"/>
                <a:gd name="connsiteX1009" fmla="*/ 3336391 w 4016827"/>
                <a:gd name="connsiteY1009" fmla="*/ 4131838 h 7216489"/>
                <a:gd name="connsiteX1010" fmla="*/ 3333033 w 4016827"/>
                <a:gd name="connsiteY1010" fmla="*/ 4128481 h 7216489"/>
                <a:gd name="connsiteX1011" fmla="*/ 3336391 w 4016827"/>
                <a:gd name="connsiteY1011" fmla="*/ 4125125 h 7216489"/>
                <a:gd name="connsiteX1012" fmla="*/ 2044126 w 4016827"/>
                <a:gd name="connsiteY1012" fmla="*/ 4111699 h 7216489"/>
                <a:gd name="connsiteX1013" fmla="*/ 2067622 w 4016827"/>
                <a:gd name="connsiteY1013" fmla="*/ 4135194 h 7216489"/>
                <a:gd name="connsiteX1014" fmla="*/ 2044126 w 4016827"/>
                <a:gd name="connsiteY1014" fmla="*/ 4158690 h 7216489"/>
                <a:gd name="connsiteX1015" fmla="*/ 2020631 w 4016827"/>
                <a:gd name="connsiteY1015" fmla="*/ 4135194 h 7216489"/>
                <a:gd name="connsiteX1016" fmla="*/ 2044126 w 4016827"/>
                <a:gd name="connsiteY1016" fmla="*/ 4111699 h 7216489"/>
                <a:gd name="connsiteX1017" fmla="*/ 1517151 w 4016827"/>
                <a:gd name="connsiteY1017" fmla="*/ 4111699 h 7216489"/>
                <a:gd name="connsiteX1018" fmla="*/ 1570856 w 4016827"/>
                <a:gd name="connsiteY1018" fmla="*/ 4165403 h 7216489"/>
                <a:gd name="connsiteX1019" fmla="*/ 1517151 w 4016827"/>
                <a:gd name="connsiteY1019" fmla="*/ 4219108 h 7216489"/>
                <a:gd name="connsiteX1020" fmla="*/ 1463447 w 4016827"/>
                <a:gd name="connsiteY1020" fmla="*/ 4165403 h 7216489"/>
                <a:gd name="connsiteX1021" fmla="*/ 1517151 w 4016827"/>
                <a:gd name="connsiteY1021" fmla="*/ 4111699 h 7216489"/>
                <a:gd name="connsiteX1022" fmla="*/ 2953747 w 4016827"/>
                <a:gd name="connsiteY1022" fmla="*/ 4108342 h 7216489"/>
                <a:gd name="connsiteX1023" fmla="*/ 2963816 w 4016827"/>
                <a:gd name="connsiteY1023" fmla="*/ 4118412 h 7216489"/>
                <a:gd name="connsiteX1024" fmla="*/ 2953747 w 4016827"/>
                <a:gd name="connsiteY1024" fmla="*/ 4128481 h 7216489"/>
                <a:gd name="connsiteX1025" fmla="*/ 2943677 w 4016827"/>
                <a:gd name="connsiteY1025" fmla="*/ 4118412 h 7216489"/>
                <a:gd name="connsiteX1026" fmla="*/ 2953747 w 4016827"/>
                <a:gd name="connsiteY1026" fmla="*/ 4108342 h 7216489"/>
                <a:gd name="connsiteX1027" fmla="*/ 2591242 w 4016827"/>
                <a:gd name="connsiteY1027" fmla="*/ 4071420 h 7216489"/>
                <a:gd name="connsiteX1028" fmla="*/ 2604668 w 4016827"/>
                <a:gd name="connsiteY1028" fmla="*/ 4084846 h 7216489"/>
                <a:gd name="connsiteX1029" fmla="*/ 2591242 w 4016827"/>
                <a:gd name="connsiteY1029" fmla="*/ 4098272 h 7216489"/>
                <a:gd name="connsiteX1030" fmla="*/ 2577816 w 4016827"/>
                <a:gd name="connsiteY1030" fmla="*/ 4084846 h 7216489"/>
                <a:gd name="connsiteX1031" fmla="*/ 2591242 w 4016827"/>
                <a:gd name="connsiteY1031" fmla="*/ 4071420 h 7216489"/>
                <a:gd name="connsiteX1032" fmla="*/ 708228 w 4016827"/>
                <a:gd name="connsiteY1032" fmla="*/ 4064707 h 7216489"/>
                <a:gd name="connsiteX1033" fmla="*/ 748507 w 4016827"/>
                <a:gd name="connsiteY1033" fmla="*/ 4104986 h 7216489"/>
                <a:gd name="connsiteX1034" fmla="*/ 708228 w 4016827"/>
                <a:gd name="connsiteY1034" fmla="*/ 4145264 h 7216489"/>
                <a:gd name="connsiteX1035" fmla="*/ 667950 w 4016827"/>
                <a:gd name="connsiteY1035" fmla="*/ 4104986 h 7216489"/>
                <a:gd name="connsiteX1036" fmla="*/ 708228 w 4016827"/>
                <a:gd name="connsiteY1036" fmla="*/ 4064707 h 7216489"/>
                <a:gd name="connsiteX1037" fmla="*/ 1208351 w 4016827"/>
                <a:gd name="connsiteY1037" fmla="*/ 4037855 h 7216489"/>
                <a:gd name="connsiteX1038" fmla="*/ 1258699 w 4016827"/>
                <a:gd name="connsiteY1038" fmla="*/ 4088203 h 7216489"/>
                <a:gd name="connsiteX1039" fmla="*/ 1208351 w 4016827"/>
                <a:gd name="connsiteY1039" fmla="*/ 4138551 h 7216489"/>
                <a:gd name="connsiteX1040" fmla="*/ 1158003 w 4016827"/>
                <a:gd name="connsiteY1040" fmla="*/ 4088203 h 7216489"/>
                <a:gd name="connsiteX1041" fmla="*/ 1208351 w 4016827"/>
                <a:gd name="connsiteY1041" fmla="*/ 4037855 h 7216489"/>
                <a:gd name="connsiteX1042" fmla="*/ 1721900 w 4016827"/>
                <a:gd name="connsiteY1042" fmla="*/ 4031142 h 7216489"/>
                <a:gd name="connsiteX1043" fmla="*/ 1755465 w 4016827"/>
                <a:gd name="connsiteY1043" fmla="*/ 4064707 h 7216489"/>
                <a:gd name="connsiteX1044" fmla="*/ 1721900 w 4016827"/>
                <a:gd name="connsiteY1044" fmla="*/ 4098272 h 7216489"/>
                <a:gd name="connsiteX1045" fmla="*/ 1688335 w 4016827"/>
                <a:gd name="connsiteY1045" fmla="*/ 4064707 h 7216489"/>
                <a:gd name="connsiteX1046" fmla="*/ 1721900 w 4016827"/>
                <a:gd name="connsiteY1046" fmla="*/ 4031142 h 7216489"/>
                <a:gd name="connsiteX1047" fmla="*/ 2252232 w 4016827"/>
                <a:gd name="connsiteY1047" fmla="*/ 4021072 h 7216489"/>
                <a:gd name="connsiteX1048" fmla="*/ 2265658 w 4016827"/>
                <a:gd name="connsiteY1048" fmla="*/ 4034498 h 7216489"/>
                <a:gd name="connsiteX1049" fmla="*/ 2252232 w 4016827"/>
                <a:gd name="connsiteY1049" fmla="*/ 4047924 h 7216489"/>
                <a:gd name="connsiteX1050" fmla="*/ 2238806 w 4016827"/>
                <a:gd name="connsiteY1050" fmla="*/ 4034498 h 7216489"/>
                <a:gd name="connsiteX1051" fmla="*/ 2252232 w 4016827"/>
                <a:gd name="connsiteY1051" fmla="*/ 4021072 h 7216489"/>
                <a:gd name="connsiteX1052" fmla="*/ 3170662 w 4016827"/>
                <a:gd name="connsiteY1052" fmla="*/ 4006807 h 7216489"/>
                <a:gd name="connsiteX1053" fmla="*/ 3171920 w 4016827"/>
                <a:gd name="connsiteY1053" fmla="*/ 4007646 h 7216489"/>
                <a:gd name="connsiteX1054" fmla="*/ 3171920 w 4016827"/>
                <a:gd name="connsiteY1054" fmla="*/ 4011003 h 7216489"/>
                <a:gd name="connsiteX1055" fmla="*/ 3170662 w 4016827"/>
                <a:gd name="connsiteY1055" fmla="*/ 4006807 h 7216489"/>
                <a:gd name="connsiteX1056" fmla="*/ 419566 w 4016827"/>
                <a:gd name="connsiteY1056" fmla="*/ 3980794 h 7216489"/>
                <a:gd name="connsiteX1057" fmla="*/ 456488 w 4016827"/>
                <a:gd name="connsiteY1057" fmla="*/ 4017716 h 7216489"/>
                <a:gd name="connsiteX1058" fmla="*/ 419566 w 4016827"/>
                <a:gd name="connsiteY1058" fmla="*/ 4054637 h 7216489"/>
                <a:gd name="connsiteX1059" fmla="*/ 382644 w 4016827"/>
                <a:gd name="connsiteY1059" fmla="*/ 4017716 h 7216489"/>
                <a:gd name="connsiteX1060" fmla="*/ 419566 w 4016827"/>
                <a:gd name="connsiteY1060" fmla="*/ 3980794 h 7216489"/>
                <a:gd name="connsiteX1061" fmla="*/ 912976 w 4016827"/>
                <a:gd name="connsiteY1061" fmla="*/ 3974081 h 7216489"/>
                <a:gd name="connsiteX1062" fmla="*/ 946541 w 4016827"/>
                <a:gd name="connsiteY1062" fmla="*/ 4007646 h 7216489"/>
                <a:gd name="connsiteX1063" fmla="*/ 912976 w 4016827"/>
                <a:gd name="connsiteY1063" fmla="*/ 4041211 h 7216489"/>
                <a:gd name="connsiteX1064" fmla="*/ 879410 w 4016827"/>
                <a:gd name="connsiteY1064" fmla="*/ 4007646 h 7216489"/>
                <a:gd name="connsiteX1065" fmla="*/ 912976 w 4016827"/>
                <a:gd name="connsiteY1065" fmla="*/ 3974081 h 7216489"/>
                <a:gd name="connsiteX1066" fmla="*/ 2802702 w 4016827"/>
                <a:gd name="connsiteY1066" fmla="*/ 3970724 h 7216489"/>
                <a:gd name="connsiteX1067" fmla="*/ 2812772 w 4016827"/>
                <a:gd name="connsiteY1067" fmla="*/ 3980794 h 7216489"/>
                <a:gd name="connsiteX1068" fmla="*/ 2802702 w 4016827"/>
                <a:gd name="connsiteY1068" fmla="*/ 3990863 h 7216489"/>
                <a:gd name="connsiteX1069" fmla="*/ 2792633 w 4016827"/>
                <a:gd name="connsiteY1069" fmla="*/ 3980794 h 7216489"/>
                <a:gd name="connsiteX1070" fmla="*/ 2802702 w 4016827"/>
                <a:gd name="connsiteY1070" fmla="*/ 3970724 h 7216489"/>
                <a:gd name="connsiteX1071" fmla="*/ 1413099 w 4016827"/>
                <a:gd name="connsiteY1071" fmla="*/ 3953941 h 7216489"/>
                <a:gd name="connsiteX1072" fmla="*/ 1450020 w 4016827"/>
                <a:gd name="connsiteY1072" fmla="*/ 3990863 h 7216489"/>
                <a:gd name="connsiteX1073" fmla="*/ 1413099 w 4016827"/>
                <a:gd name="connsiteY1073" fmla="*/ 4027785 h 7216489"/>
                <a:gd name="connsiteX1074" fmla="*/ 1376178 w 4016827"/>
                <a:gd name="connsiteY1074" fmla="*/ 3990863 h 7216489"/>
                <a:gd name="connsiteX1075" fmla="*/ 1413099 w 4016827"/>
                <a:gd name="connsiteY1075" fmla="*/ 3953941 h 7216489"/>
                <a:gd name="connsiteX1076" fmla="*/ 1926649 w 4016827"/>
                <a:gd name="connsiteY1076" fmla="*/ 3947228 h 7216489"/>
                <a:gd name="connsiteX1077" fmla="*/ 1946788 w 4016827"/>
                <a:gd name="connsiteY1077" fmla="*/ 3967368 h 7216489"/>
                <a:gd name="connsiteX1078" fmla="*/ 1926649 w 4016827"/>
                <a:gd name="connsiteY1078" fmla="*/ 3987507 h 7216489"/>
                <a:gd name="connsiteX1079" fmla="*/ 1906510 w 4016827"/>
                <a:gd name="connsiteY1079" fmla="*/ 3967368 h 7216489"/>
                <a:gd name="connsiteX1080" fmla="*/ 1926649 w 4016827"/>
                <a:gd name="connsiteY1080" fmla="*/ 3947228 h 7216489"/>
                <a:gd name="connsiteX1081" fmla="*/ 2460337 w 4016827"/>
                <a:gd name="connsiteY1081" fmla="*/ 3927089 h 7216489"/>
                <a:gd name="connsiteX1082" fmla="*/ 2467050 w 4016827"/>
                <a:gd name="connsiteY1082" fmla="*/ 3933802 h 7216489"/>
                <a:gd name="connsiteX1083" fmla="*/ 2460337 w 4016827"/>
                <a:gd name="connsiteY1083" fmla="*/ 3940515 h 7216489"/>
                <a:gd name="connsiteX1084" fmla="*/ 2453624 w 4016827"/>
                <a:gd name="connsiteY1084" fmla="*/ 3933802 h 7216489"/>
                <a:gd name="connsiteX1085" fmla="*/ 2460337 w 4016827"/>
                <a:gd name="connsiteY1085" fmla="*/ 3927089 h 7216489"/>
                <a:gd name="connsiteX1086" fmla="*/ 137618 w 4016827"/>
                <a:gd name="connsiteY1086" fmla="*/ 3927089 h 7216489"/>
                <a:gd name="connsiteX1087" fmla="*/ 137618 w 4016827"/>
                <a:gd name="connsiteY1087" fmla="*/ 3930446 h 7216489"/>
                <a:gd name="connsiteX1088" fmla="*/ 137618 w 4016827"/>
                <a:gd name="connsiteY1088" fmla="*/ 3929187 h 7216489"/>
                <a:gd name="connsiteX1089" fmla="*/ 624315 w 4016827"/>
                <a:gd name="connsiteY1089" fmla="*/ 3890167 h 7216489"/>
                <a:gd name="connsiteX1090" fmla="*/ 654524 w 4016827"/>
                <a:gd name="connsiteY1090" fmla="*/ 3920376 h 7216489"/>
                <a:gd name="connsiteX1091" fmla="*/ 624315 w 4016827"/>
                <a:gd name="connsiteY1091" fmla="*/ 3950585 h 7216489"/>
                <a:gd name="connsiteX1092" fmla="*/ 594106 w 4016827"/>
                <a:gd name="connsiteY1092" fmla="*/ 3920376 h 7216489"/>
                <a:gd name="connsiteX1093" fmla="*/ 624315 w 4016827"/>
                <a:gd name="connsiteY1093" fmla="*/ 3890167 h 7216489"/>
                <a:gd name="connsiteX1094" fmla="*/ 1114368 w 4016827"/>
                <a:gd name="connsiteY1094" fmla="*/ 3873385 h 7216489"/>
                <a:gd name="connsiteX1095" fmla="*/ 1147933 w 4016827"/>
                <a:gd name="connsiteY1095" fmla="*/ 3906950 h 7216489"/>
                <a:gd name="connsiteX1096" fmla="*/ 1114368 w 4016827"/>
                <a:gd name="connsiteY1096" fmla="*/ 3940515 h 7216489"/>
                <a:gd name="connsiteX1097" fmla="*/ 1080803 w 4016827"/>
                <a:gd name="connsiteY1097" fmla="*/ 3906950 h 7216489"/>
                <a:gd name="connsiteX1098" fmla="*/ 1114368 w 4016827"/>
                <a:gd name="connsiteY1098" fmla="*/ 3873385 h 7216489"/>
                <a:gd name="connsiteX1099" fmla="*/ 3017521 w 4016827"/>
                <a:gd name="connsiteY1099" fmla="*/ 3866671 h 7216489"/>
                <a:gd name="connsiteX1100" fmla="*/ 3024234 w 4016827"/>
                <a:gd name="connsiteY1100" fmla="*/ 3873385 h 7216489"/>
                <a:gd name="connsiteX1101" fmla="*/ 3017521 w 4016827"/>
                <a:gd name="connsiteY1101" fmla="*/ 3880098 h 7216489"/>
                <a:gd name="connsiteX1102" fmla="*/ 3010808 w 4016827"/>
                <a:gd name="connsiteY1102" fmla="*/ 3873385 h 7216489"/>
                <a:gd name="connsiteX1103" fmla="*/ 3017521 w 4016827"/>
                <a:gd name="connsiteY1103" fmla="*/ 3866671 h 7216489"/>
                <a:gd name="connsiteX1104" fmla="*/ 1617847 w 4016827"/>
                <a:gd name="connsiteY1104" fmla="*/ 3859958 h 7216489"/>
                <a:gd name="connsiteX1105" fmla="*/ 1651413 w 4016827"/>
                <a:gd name="connsiteY1105" fmla="*/ 3893524 h 7216489"/>
                <a:gd name="connsiteX1106" fmla="*/ 1617847 w 4016827"/>
                <a:gd name="connsiteY1106" fmla="*/ 3927089 h 7216489"/>
                <a:gd name="connsiteX1107" fmla="*/ 1584282 w 4016827"/>
                <a:gd name="connsiteY1107" fmla="*/ 3893524 h 7216489"/>
                <a:gd name="connsiteX1108" fmla="*/ 1617847 w 4016827"/>
                <a:gd name="connsiteY1108" fmla="*/ 3859958 h 7216489"/>
                <a:gd name="connsiteX1109" fmla="*/ 2131396 w 4016827"/>
                <a:gd name="connsiteY1109" fmla="*/ 3853245 h 7216489"/>
                <a:gd name="connsiteX1110" fmla="*/ 2144822 w 4016827"/>
                <a:gd name="connsiteY1110" fmla="*/ 3866671 h 7216489"/>
                <a:gd name="connsiteX1111" fmla="*/ 2131396 w 4016827"/>
                <a:gd name="connsiteY1111" fmla="*/ 3880098 h 7216489"/>
                <a:gd name="connsiteX1112" fmla="*/ 2117970 w 4016827"/>
                <a:gd name="connsiteY1112" fmla="*/ 3866671 h 7216489"/>
                <a:gd name="connsiteX1113" fmla="*/ 2131396 w 4016827"/>
                <a:gd name="connsiteY1113" fmla="*/ 3853245 h 7216489"/>
                <a:gd name="connsiteX1114" fmla="*/ 2668441 w 4016827"/>
                <a:gd name="connsiteY1114" fmla="*/ 3823036 h 7216489"/>
                <a:gd name="connsiteX1115" fmla="*/ 2675154 w 4016827"/>
                <a:gd name="connsiteY1115" fmla="*/ 3829750 h 7216489"/>
                <a:gd name="connsiteX1116" fmla="*/ 2668441 w 4016827"/>
                <a:gd name="connsiteY1116" fmla="*/ 3836463 h 7216489"/>
                <a:gd name="connsiteX1117" fmla="*/ 2661728 w 4016827"/>
                <a:gd name="connsiteY1117" fmla="*/ 3829750 h 7216489"/>
                <a:gd name="connsiteX1118" fmla="*/ 2668441 w 4016827"/>
                <a:gd name="connsiteY1118" fmla="*/ 3823036 h 7216489"/>
                <a:gd name="connsiteX1119" fmla="*/ 342366 w 4016827"/>
                <a:gd name="connsiteY1119" fmla="*/ 3792828 h 7216489"/>
                <a:gd name="connsiteX1120" fmla="*/ 379288 w 4016827"/>
                <a:gd name="connsiteY1120" fmla="*/ 3829750 h 7216489"/>
                <a:gd name="connsiteX1121" fmla="*/ 342366 w 4016827"/>
                <a:gd name="connsiteY1121" fmla="*/ 3866671 h 7216489"/>
                <a:gd name="connsiteX1122" fmla="*/ 305444 w 4016827"/>
                <a:gd name="connsiteY1122" fmla="*/ 3829750 h 7216489"/>
                <a:gd name="connsiteX1123" fmla="*/ 342366 w 4016827"/>
                <a:gd name="connsiteY1123" fmla="*/ 3792828 h 7216489"/>
                <a:gd name="connsiteX1124" fmla="*/ 829063 w 4016827"/>
                <a:gd name="connsiteY1124" fmla="*/ 3789471 h 7216489"/>
                <a:gd name="connsiteX1125" fmla="*/ 859272 w 4016827"/>
                <a:gd name="connsiteY1125" fmla="*/ 3819680 h 7216489"/>
                <a:gd name="connsiteX1126" fmla="*/ 829063 w 4016827"/>
                <a:gd name="connsiteY1126" fmla="*/ 3849889 h 7216489"/>
                <a:gd name="connsiteX1127" fmla="*/ 798855 w 4016827"/>
                <a:gd name="connsiteY1127" fmla="*/ 3819680 h 7216489"/>
                <a:gd name="connsiteX1128" fmla="*/ 829063 w 4016827"/>
                <a:gd name="connsiteY1128" fmla="*/ 3789471 h 7216489"/>
                <a:gd name="connsiteX1129" fmla="*/ 1822596 w 4016827"/>
                <a:gd name="connsiteY1129" fmla="*/ 3776045 h 7216489"/>
                <a:gd name="connsiteX1130" fmla="*/ 1839379 w 4016827"/>
                <a:gd name="connsiteY1130" fmla="*/ 3792828 h 7216489"/>
                <a:gd name="connsiteX1131" fmla="*/ 1822596 w 4016827"/>
                <a:gd name="connsiteY1131" fmla="*/ 3809610 h 7216489"/>
                <a:gd name="connsiteX1132" fmla="*/ 1805813 w 4016827"/>
                <a:gd name="connsiteY1132" fmla="*/ 3792828 h 7216489"/>
                <a:gd name="connsiteX1133" fmla="*/ 1822596 w 4016827"/>
                <a:gd name="connsiteY1133" fmla="*/ 3776045 h 7216489"/>
                <a:gd name="connsiteX1134" fmla="*/ 1319117 w 4016827"/>
                <a:gd name="connsiteY1134" fmla="*/ 3769333 h 7216489"/>
                <a:gd name="connsiteX1135" fmla="*/ 1359395 w 4016827"/>
                <a:gd name="connsiteY1135" fmla="*/ 3809611 h 7216489"/>
                <a:gd name="connsiteX1136" fmla="*/ 1319117 w 4016827"/>
                <a:gd name="connsiteY1136" fmla="*/ 3849890 h 7216489"/>
                <a:gd name="connsiteX1137" fmla="*/ 1278838 w 4016827"/>
                <a:gd name="connsiteY1137" fmla="*/ 3809611 h 7216489"/>
                <a:gd name="connsiteX1138" fmla="*/ 1319117 w 4016827"/>
                <a:gd name="connsiteY1138" fmla="*/ 3769333 h 7216489"/>
                <a:gd name="connsiteX1139" fmla="*/ 2339502 w 4016827"/>
                <a:gd name="connsiteY1139" fmla="*/ 3755906 h 7216489"/>
                <a:gd name="connsiteX1140" fmla="*/ 2349571 w 4016827"/>
                <a:gd name="connsiteY1140" fmla="*/ 3765975 h 7216489"/>
                <a:gd name="connsiteX1141" fmla="*/ 2339502 w 4016827"/>
                <a:gd name="connsiteY1141" fmla="*/ 3776045 h 7216489"/>
                <a:gd name="connsiteX1142" fmla="*/ 2329432 w 4016827"/>
                <a:gd name="connsiteY1142" fmla="*/ 3765975 h 7216489"/>
                <a:gd name="connsiteX1143" fmla="*/ 2339502 w 4016827"/>
                <a:gd name="connsiteY1143" fmla="*/ 3755906 h 7216489"/>
                <a:gd name="connsiteX1144" fmla="*/ 70487 w 4016827"/>
                <a:gd name="connsiteY1144" fmla="*/ 3732410 h 7216489"/>
                <a:gd name="connsiteX1145" fmla="*/ 73844 w 4016827"/>
                <a:gd name="connsiteY1145" fmla="*/ 3735767 h 7216489"/>
                <a:gd name="connsiteX1146" fmla="*/ 70487 w 4016827"/>
                <a:gd name="connsiteY1146" fmla="*/ 3739123 h 7216489"/>
                <a:gd name="connsiteX1147" fmla="*/ 67131 w 4016827"/>
                <a:gd name="connsiteY1147" fmla="*/ 3735767 h 7216489"/>
                <a:gd name="connsiteX1148" fmla="*/ 70487 w 4016827"/>
                <a:gd name="connsiteY1148" fmla="*/ 3732410 h 7216489"/>
                <a:gd name="connsiteX1149" fmla="*/ 2876546 w 4016827"/>
                <a:gd name="connsiteY1149" fmla="*/ 3718985 h 7216489"/>
                <a:gd name="connsiteX1150" fmla="*/ 2883260 w 4016827"/>
                <a:gd name="connsiteY1150" fmla="*/ 3725698 h 7216489"/>
                <a:gd name="connsiteX1151" fmla="*/ 2876546 w 4016827"/>
                <a:gd name="connsiteY1151" fmla="*/ 3732411 h 7216489"/>
                <a:gd name="connsiteX1152" fmla="*/ 2869833 w 4016827"/>
                <a:gd name="connsiteY1152" fmla="*/ 3725698 h 7216489"/>
                <a:gd name="connsiteX1153" fmla="*/ 2876546 w 4016827"/>
                <a:gd name="connsiteY1153" fmla="*/ 3718985 h 7216489"/>
                <a:gd name="connsiteX1154" fmla="*/ 550471 w 4016827"/>
                <a:gd name="connsiteY1154" fmla="*/ 3698845 h 7216489"/>
                <a:gd name="connsiteX1155" fmla="*/ 580680 w 4016827"/>
                <a:gd name="connsiteY1155" fmla="*/ 3729053 h 7216489"/>
                <a:gd name="connsiteX1156" fmla="*/ 550471 w 4016827"/>
                <a:gd name="connsiteY1156" fmla="*/ 3759262 h 7216489"/>
                <a:gd name="connsiteX1157" fmla="*/ 520262 w 4016827"/>
                <a:gd name="connsiteY1157" fmla="*/ 3729053 h 7216489"/>
                <a:gd name="connsiteX1158" fmla="*/ 550471 w 4016827"/>
                <a:gd name="connsiteY1158" fmla="*/ 3698845 h 7216489"/>
                <a:gd name="connsiteX1159" fmla="*/ 1033811 w 4016827"/>
                <a:gd name="connsiteY1159" fmla="*/ 3685420 h 7216489"/>
                <a:gd name="connsiteX1160" fmla="*/ 1070733 w 4016827"/>
                <a:gd name="connsiteY1160" fmla="*/ 3722341 h 7216489"/>
                <a:gd name="connsiteX1161" fmla="*/ 1033811 w 4016827"/>
                <a:gd name="connsiteY1161" fmla="*/ 3759263 h 7216489"/>
                <a:gd name="connsiteX1162" fmla="*/ 996889 w 4016827"/>
                <a:gd name="connsiteY1162" fmla="*/ 3722341 h 7216489"/>
                <a:gd name="connsiteX1163" fmla="*/ 1033811 w 4016827"/>
                <a:gd name="connsiteY1163" fmla="*/ 3685420 h 7216489"/>
                <a:gd name="connsiteX1164" fmla="*/ 2027345 w 4016827"/>
                <a:gd name="connsiteY1164" fmla="*/ 3678707 h 7216489"/>
                <a:gd name="connsiteX1165" fmla="*/ 2044128 w 4016827"/>
                <a:gd name="connsiteY1165" fmla="*/ 3695489 h 7216489"/>
                <a:gd name="connsiteX1166" fmla="*/ 2027345 w 4016827"/>
                <a:gd name="connsiteY1166" fmla="*/ 3712272 h 7216489"/>
                <a:gd name="connsiteX1167" fmla="*/ 2010562 w 4016827"/>
                <a:gd name="connsiteY1167" fmla="*/ 3695489 h 7216489"/>
                <a:gd name="connsiteX1168" fmla="*/ 2027345 w 4016827"/>
                <a:gd name="connsiteY1168" fmla="*/ 3678707 h 7216489"/>
                <a:gd name="connsiteX1169" fmla="*/ 1523864 w 4016827"/>
                <a:gd name="connsiteY1169" fmla="*/ 3678707 h 7216489"/>
                <a:gd name="connsiteX1170" fmla="*/ 1554073 w 4016827"/>
                <a:gd name="connsiteY1170" fmla="*/ 3708915 h 7216489"/>
                <a:gd name="connsiteX1171" fmla="*/ 1523864 w 4016827"/>
                <a:gd name="connsiteY1171" fmla="*/ 3739124 h 7216489"/>
                <a:gd name="connsiteX1172" fmla="*/ 1493656 w 4016827"/>
                <a:gd name="connsiteY1172" fmla="*/ 3708915 h 7216489"/>
                <a:gd name="connsiteX1173" fmla="*/ 1523864 w 4016827"/>
                <a:gd name="connsiteY1173" fmla="*/ 3678707 h 7216489"/>
                <a:gd name="connsiteX1174" fmla="*/ 2544250 w 4016827"/>
                <a:gd name="connsiteY1174" fmla="*/ 3661924 h 7216489"/>
                <a:gd name="connsiteX1175" fmla="*/ 2550963 w 4016827"/>
                <a:gd name="connsiteY1175" fmla="*/ 3668637 h 7216489"/>
                <a:gd name="connsiteX1176" fmla="*/ 2544250 w 4016827"/>
                <a:gd name="connsiteY1176" fmla="*/ 3675350 h 7216489"/>
                <a:gd name="connsiteX1177" fmla="*/ 2537537 w 4016827"/>
                <a:gd name="connsiteY1177" fmla="*/ 3668637 h 7216489"/>
                <a:gd name="connsiteX1178" fmla="*/ 2544250 w 4016827"/>
                <a:gd name="connsiteY1178" fmla="*/ 3661924 h 7216489"/>
                <a:gd name="connsiteX1179" fmla="*/ 755220 w 4016827"/>
                <a:gd name="connsiteY1179" fmla="*/ 3601509 h 7216489"/>
                <a:gd name="connsiteX1180" fmla="*/ 785428 w 4016827"/>
                <a:gd name="connsiteY1180" fmla="*/ 3631715 h 7216489"/>
                <a:gd name="connsiteX1181" fmla="*/ 755220 w 4016827"/>
                <a:gd name="connsiteY1181" fmla="*/ 3661924 h 7216489"/>
                <a:gd name="connsiteX1182" fmla="*/ 725011 w 4016827"/>
                <a:gd name="connsiteY1182" fmla="*/ 3631715 h 7216489"/>
                <a:gd name="connsiteX1183" fmla="*/ 755220 w 4016827"/>
                <a:gd name="connsiteY1183" fmla="*/ 3601509 h 7216489"/>
                <a:gd name="connsiteX1184" fmla="*/ 275236 w 4016827"/>
                <a:gd name="connsiteY1184" fmla="*/ 3601509 h 7216489"/>
                <a:gd name="connsiteX1185" fmla="*/ 312158 w 4016827"/>
                <a:gd name="connsiteY1185" fmla="*/ 3638428 h 7216489"/>
                <a:gd name="connsiteX1186" fmla="*/ 275236 w 4016827"/>
                <a:gd name="connsiteY1186" fmla="*/ 3675350 h 7216489"/>
                <a:gd name="connsiteX1187" fmla="*/ 238314 w 4016827"/>
                <a:gd name="connsiteY1187" fmla="*/ 3638428 h 7216489"/>
                <a:gd name="connsiteX1188" fmla="*/ 275236 w 4016827"/>
                <a:gd name="connsiteY1188" fmla="*/ 3601509 h 7216489"/>
                <a:gd name="connsiteX1189" fmla="*/ 2228736 w 4016827"/>
                <a:gd name="connsiteY1189" fmla="*/ 3591438 h 7216489"/>
                <a:gd name="connsiteX1190" fmla="*/ 2235449 w 4016827"/>
                <a:gd name="connsiteY1190" fmla="*/ 3598153 h 7216489"/>
                <a:gd name="connsiteX1191" fmla="*/ 2228736 w 4016827"/>
                <a:gd name="connsiteY1191" fmla="*/ 3604864 h 7216489"/>
                <a:gd name="connsiteX1192" fmla="*/ 2222023 w 4016827"/>
                <a:gd name="connsiteY1192" fmla="*/ 3598153 h 7216489"/>
                <a:gd name="connsiteX1193" fmla="*/ 2228736 w 4016827"/>
                <a:gd name="connsiteY1193" fmla="*/ 3591438 h 7216489"/>
                <a:gd name="connsiteX1194" fmla="*/ 1728613 w 4016827"/>
                <a:gd name="connsiteY1194" fmla="*/ 3591438 h 7216489"/>
                <a:gd name="connsiteX1195" fmla="*/ 1748752 w 4016827"/>
                <a:gd name="connsiteY1195" fmla="*/ 3611580 h 7216489"/>
                <a:gd name="connsiteX1196" fmla="*/ 1728613 w 4016827"/>
                <a:gd name="connsiteY1196" fmla="*/ 3631715 h 7216489"/>
                <a:gd name="connsiteX1197" fmla="*/ 1708474 w 4016827"/>
                <a:gd name="connsiteY1197" fmla="*/ 3611580 h 7216489"/>
                <a:gd name="connsiteX1198" fmla="*/ 1728613 w 4016827"/>
                <a:gd name="connsiteY1198" fmla="*/ 3591438 h 7216489"/>
                <a:gd name="connsiteX1199" fmla="*/ 1235203 w 4016827"/>
                <a:gd name="connsiteY1199" fmla="*/ 3584726 h 7216489"/>
                <a:gd name="connsiteX1200" fmla="*/ 1275482 w 4016827"/>
                <a:gd name="connsiteY1200" fmla="*/ 3625002 h 7216489"/>
                <a:gd name="connsiteX1201" fmla="*/ 1235203 w 4016827"/>
                <a:gd name="connsiteY1201" fmla="*/ 3665281 h 7216489"/>
                <a:gd name="connsiteX1202" fmla="*/ 1194925 w 4016827"/>
                <a:gd name="connsiteY1202" fmla="*/ 3625002 h 7216489"/>
                <a:gd name="connsiteX1203" fmla="*/ 1235203 w 4016827"/>
                <a:gd name="connsiteY1203" fmla="*/ 3584726 h 7216489"/>
                <a:gd name="connsiteX1204" fmla="*/ 2749837 w 4016827"/>
                <a:gd name="connsiteY1204" fmla="*/ 3567103 h 7216489"/>
                <a:gd name="connsiteX1205" fmla="*/ 2752354 w 4016827"/>
                <a:gd name="connsiteY1205" fmla="*/ 3567943 h 7216489"/>
                <a:gd name="connsiteX1206" fmla="*/ 2752354 w 4016827"/>
                <a:gd name="connsiteY1206" fmla="*/ 3570041 h 7216489"/>
                <a:gd name="connsiteX1207" fmla="*/ 2752354 w 4016827"/>
                <a:gd name="connsiteY1207" fmla="*/ 3571299 h 7216489"/>
                <a:gd name="connsiteX1208" fmla="*/ 2749837 w 4016827"/>
                <a:gd name="connsiteY1208" fmla="*/ 3567103 h 7216489"/>
                <a:gd name="connsiteX1209" fmla="*/ 10070 w 4016827"/>
                <a:gd name="connsiteY1209" fmla="*/ 3531021 h 7216489"/>
                <a:gd name="connsiteX1210" fmla="*/ 20139 w 4016827"/>
                <a:gd name="connsiteY1210" fmla="*/ 3541090 h 7216489"/>
                <a:gd name="connsiteX1211" fmla="*/ 10070 w 4016827"/>
                <a:gd name="connsiteY1211" fmla="*/ 3551160 h 7216489"/>
                <a:gd name="connsiteX1212" fmla="*/ 0 w 4016827"/>
                <a:gd name="connsiteY1212" fmla="*/ 3541090 h 7216489"/>
                <a:gd name="connsiteX1213" fmla="*/ 10070 w 4016827"/>
                <a:gd name="connsiteY1213" fmla="*/ 3531021 h 7216489"/>
                <a:gd name="connsiteX1214" fmla="*/ 483340 w 4016827"/>
                <a:gd name="connsiteY1214" fmla="*/ 3510884 h 7216489"/>
                <a:gd name="connsiteX1215" fmla="*/ 510192 w 4016827"/>
                <a:gd name="connsiteY1215" fmla="*/ 3537734 h 7216489"/>
                <a:gd name="connsiteX1216" fmla="*/ 483340 w 4016827"/>
                <a:gd name="connsiteY1216" fmla="*/ 3564584 h 7216489"/>
                <a:gd name="connsiteX1217" fmla="*/ 456488 w 4016827"/>
                <a:gd name="connsiteY1217" fmla="*/ 3537734 h 7216489"/>
                <a:gd name="connsiteX1218" fmla="*/ 483340 w 4016827"/>
                <a:gd name="connsiteY1218" fmla="*/ 3510884 h 7216489"/>
                <a:gd name="connsiteX1219" fmla="*/ 1930005 w 4016827"/>
                <a:gd name="connsiteY1219" fmla="*/ 3504169 h 7216489"/>
                <a:gd name="connsiteX1220" fmla="*/ 1940075 w 4016827"/>
                <a:gd name="connsiteY1220" fmla="*/ 3514242 h 7216489"/>
                <a:gd name="connsiteX1221" fmla="*/ 1930005 w 4016827"/>
                <a:gd name="connsiteY1221" fmla="*/ 3524310 h 7216489"/>
                <a:gd name="connsiteX1222" fmla="*/ 1919936 w 4016827"/>
                <a:gd name="connsiteY1222" fmla="*/ 3514242 h 7216489"/>
                <a:gd name="connsiteX1223" fmla="*/ 1930005 w 4016827"/>
                <a:gd name="connsiteY1223" fmla="*/ 3504169 h 7216489"/>
                <a:gd name="connsiteX1224" fmla="*/ 1439952 w 4016827"/>
                <a:gd name="connsiteY1224" fmla="*/ 3504169 h 7216489"/>
                <a:gd name="connsiteX1225" fmla="*/ 1463448 w 4016827"/>
                <a:gd name="connsiteY1225" fmla="*/ 3527666 h 7216489"/>
                <a:gd name="connsiteX1226" fmla="*/ 1439952 w 4016827"/>
                <a:gd name="connsiteY1226" fmla="*/ 3551160 h 7216489"/>
                <a:gd name="connsiteX1227" fmla="*/ 1416456 w 4016827"/>
                <a:gd name="connsiteY1227" fmla="*/ 3527666 h 7216489"/>
                <a:gd name="connsiteX1228" fmla="*/ 1439952 w 4016827"/>
                <a:gd name="connsiteY1228" fmla="*/ 3504169 h 7216489"/>
                <a:gd name="connsiteX1229" fmla="*/ 959967 w 4016827"/>
                <a:gd name="connsiteY1229" fmla="*/ 3500813 h 7216489"/>
                <a:gd name="connsiteX1230" fmla="*/ 990176 w 4016827"/>
                <a:gd name="connsiteY1230" fmla="*/ 3531021 h 7216489"/>
                <a:gd name="connsiteX1231" fmla="*/ 959967 w 4016827"/>
                <a:gd name="connsiteY1231" fmla="*/ 3561228 h 7216489"/>
                <a:gd name="connsiteX1232" fmla="*/ 929758 w 4016827"/>
                <a:gd name="connsiteY1232" fmla="*/ 3531021 h 7216489"/>
                <a:gd name="connsiteX1233" fmla="*/ 959967 w 4016827"/>
                <a:gd name="connsiteY1233" fmla="*/ 3500813 h 7216489"/>
                <a:gd name="connsiteX1234" fmla="*/ 2433484 w 4016827"/>
                <a:gd name="connsiteY1234" fmla="*/ 3487389 h 7216489"/>
                <a:gd name="connsiteX1235" fmla="*/ 2443554 w 4016827"/>
                <a:gd name="connsiteY1235" fmla="*/ 3497458 h 7216489"/>
                <a:gd name="connsiteX1236" fmla="*/ 2433484 w 4016827"/>
                <a:gd name="connsiteY1236" fmla="*/ 3507528 h 7216489"/>
                <a:gd name="connsiteX1237" fmla="*/ 2423415 w 4016827"/>
                <a:gd name="connsiteY1237" fmla="*/ 3497458 h 7216489"/>
                <a:gd name="connsiteX1238" fmla="*/ 2433484 w 4016827"/>
                <a:gd name="connsiteY1238" fmla="*/ 3487389 h 7216489"/>
                <a:gd name="connsiteX1239" fmla="*/ 218175 w 4016827"/>
                <a:gd name="connsiteY1239" fmla="*/ 3430330 h 7216489"/>
                <a:gd name="connsiteX1240" fmla="*/ 228244 w 4016827"/>
                <a:gd name="connsiteY1240" fmla="*/ 3440398 h 7216489"/>
                <a:gd name="connsiteX1241" fmla="*/ 218175 w 4016827"/>
                <a:gd name="connsiteY1241" fmla="*/ 3450468 h 7216489"/>
                <a:gd name="connsiteX1242" fmla="*/ 208105 w 4016827"/>
                <a:gd name="connsiteY1242" fmla="*/ 3440398 h 7216489"/>
                <a:gd name="connsiteX1243" fmla="*/ 218175 w 4016827"/>
                <a:gd name="connsiteY1243" fmla="*/ 3430330 h 7216489"/>
                <a:gd name="connsiteX1244" fmla="*/ 2134753 w 4016827"/>
                <a:gd name="connsiteY1244" fmla="*/ 3410193 h 7216489"/>
                <a:gd name="connsiteX1245" fmla="*/ 2141466 w 4016827"/>
                <a:gd name="connsiteY1245" fmla="*/ 3416903 h 7216489"/>
                <a:gd name="connsiteX1246" fmla="*/ 2134753 w 4016827"/>
                <a:gd name="connsiteY1246" fmla="*/ 3423617 h 7216489"/>
                <a:gd name="connsiteX1247" fmla="*/ 2128040 w 4016827"/>
                <a:gd name="connsiteY1247" fmla="*/ 3416903 h 7216489"/>
                <a:gd name="connsiteX1248" fmla="*/ 2134753 w 4016827"/>
                <a:gd name="connsiteY1248" fmla="*/ 3410193 h 7216489"/>
                <a:gd name="connsiteX1249" fmla="*/ 1644700 w 4016827"/>
                <a:gd name="connsiteY1249" fmla="*/ 3406837 h 7216489"/>
                <a:gd name="connsiteX1250" fmla="*/ 1664839 w 4016827"/>
                <a:gd name="connsiteY1250" fmla="*/ 3426974 h 7216489"/>
                <a:gd name="connsiteX1251" fmla="*/ 1644700 w 4016827"/>
                <a:gd name="connsiteY1251" fmla="*/ 3447112 h 7216489"/>
                <a:gd name="connsiteX1252" fmla="*/ 1624560 w 4016827"/>
                <a:gd name="connsiteY1252" fmla="*/ 3426974 h 7216489"/>
                <a:gd name="connsiteX1253" fmla="*/ 1644700 w 4016827"/>
                <a:gd name="connsiteY1253" fmla="*/ 3406837 h 7216489"/>
                <a:gd name="connsiteX1254" fmla="*/ 688089 w 4016827"/>
                <a:gd name="connsiteY1254" fmla="*/ 3406837 h 7216489"/>
                <a:gd name="connsiteX1255" fmla="*/ 718298 w 4016827"/>
                <a:gd name="connsiteY1255" fmla="*/ 3437045 h 7216489"/>
                <a:gd name="connsiteX1256" fmla="*/ 688089 w 4016827"/>
                <a:gd name="connsiteY1256" fmla="*/ 3467249 h 7216489"/>
                <a:gd name="connsiteX1257" fmla="*/ 657880 w 4016827"/>
                <a:gd name="connsiteY1257" fmla="*/ 3437045 h 7216489"/>
                <a:gd name="connsiteX1258" fmla="*/ 688089 w 4016827"/>
                <a:gd name="connsiteY1258" fmla="*/ 3406837 h 7216489"/>
                <a:gd name="connsiteX1259" fmla="*/ 1164716 w 4016827"/>
                <a:gd name="connsiteY1259" fmla="*/ 3400123 h 7216489"/>
                <a:gd name="connsiteX1260" fmla="*/ 1198281 w 4016827"/>
                <a:gd name="connsiteY1260" fmla="*/ 3433688 h 7216489"/>
                <a:gd name="connsiteX1261" fmla="*/ 1164716 w 4016827"/>
                <a:gd name="connsiteY1261" fmla="*/ 3467249 h 7216489"/>
                <a:gd name="connsiteX1262" fmla="*/ 1131151 w 4016827"/>
                <a:gd name="connsiteY1262" fmla="*/ 3433688 h 7216489"/>
                <a:gd name="connsiteX1263" fmla="*/ 1164716 w 4016827"/>
                <a:gd name="connsiteY1263" fmla="*/ 3400123 h 7216489"/>
                <a:gd name="connsiteX1264" fmla="*/ 2638232 w 4016827"/>
                <a:gd name="connsiteY1264" fmla="*/ 3390052 h 7216489"/>
                <a:gd name="connsiteX1265" fmla="*/ 2644945 w 4016827"/>
                <a:gd name="connsiteY1265" fmla="*/ 3396767 h 7216489"/>
                <a:gd name="connsiteX1266" fmla="*/ 2638232 w 4016827"/>
                <a:gd name="connsiteY1266" fmla="*/ 3403479 h 7216489"/>
                <a:gd name="connsiteX1267" fmla="*/ 2631519 w 4016827"/>
                <a:gd name="connsiteY1267" fmla="*/ 3396767 h 7216489"/>
                <a:gd name="connsiteX1268" fmla="*/ 2638232 w 4016827"/>
                <a:gd name="connsiteY1268" fmla="*/ 3390052 h 7216489"/>
                <a:gd name="connsiteX1269" fmla="*/ 1849448 w 4016827"/>
                <a:gd name="connsiteY1269" fmla="*/ 3322926 h 7216489"/>
                <a:gd name="connsiteX1270" fmla="*/ 1856161 w 4016827"/>
                <a:gd name="connsiteY1270" fmla="*/ 3329641 h 7216489"/>
                <a:gd name="connsiteX1271" fmla="*/ 1849448 w 4016827"/>
                <a:gd name="connsiteY1271" fmla="*/ 3336355 h 7216489"/>
                <a:gd name="connsiteX1272" fmla="*/ 1842735 w 4016827"/>
                <a:gd name="connsiteY1272" fmla="*/ 3329641 h 7216489"/>
                <a:gd name="connsiteX1273" fmla="*/ 1849448 w 4016827"/>
                <a:gd name="connsiteY1273" fmla="*/ 3322926 h 7216489"/>
                <a:gd name="connsiteX1274" fmla="*/ 1369465 w 4016827"/>
                <a:gd name="connsiteY1274" fmla="*/ 3316213 h 7216489"/>
                <a:gd name="connsiteX1275" fmla="*/ 1389604 w 4016827"/>
                <a:gd name="connsiteY1275" fmla="*/ 3336355 h 7216489"/>
                <a:gd name="connsiteX1276" fmla="*/ 1369465 w 4016827"/>
                <a:gd name="connsiteY1276" fmla="*/ 3356491 h 7216489"/>
                <a:gd name="connsiteX1277" fmla="*/ 1349326 w 4016827"/>
                <a:gd name="connsiteY1277" fmla="*/ 3336355 h 7216489"/>
                <a:gd name="connsiteX1278" fmla="*/ 1369465 w 4016827"/>
                <a:gd name="connsiteY1278" fmla="*/ 3316213 h 7216489"/>
                <a:gd name="connsiteX1279" fmla="*/ 896193 w 4016827"/>
                <a:gd name="connsiteY1279" fmla="*/ 3316213 h 7216489"/>
                <a:gd name="connsiteX1280" fmla="*/ 919689 w 4016827"/>
                <a:gd name="connsiteY1280" fmla="*/ 3339707 h 7216489"/>
                <a:gd name="connsiteX1281" fmla="*/ 896193 w 4016827"/>
                <a:gd name="connsiteY1281" fmla="*/ 3363206 h 7216489"/>
                <a:gd name="connsiteX1282" fmla="*/ 872697 w 4016827"/>
                <a:gd name="connsiteY1282" fmla="*/ 3339707 h 7216489"/>
                <a:gd name="connsiteX1283" fmla="*/ 896193 w 4016827"/>
                <a:gd name="connsiteY1283" fmla="*/ 3316213 h 7216489"/>
                <a:gd name="connsiteX1284" fmla="*/ 2339502 w 4016827"/>
                <a:gd name="connsiteY1284" fmla="*/ 3312859 h 7216489"/>
                <a:gd name="connsiteX1285" fmla="*/ 2346215 w 4016827"/>
                <a:gd name="connsiteY1285" fmla="*/ 3319570 h 7216489"/>
                <a:gd name="connsiteX1286" fmla="*/ 2339502 w 4016827"/>
                <a:gd name="connsiteY1286" fmla="*/ 3326282 h 7216489"/>
                <a:gd name="connsiteX1287" fmla="*/ 2332788 w 4016827"/>
                <a:gd name="connsiteY1287" fmla="*/ 3319570 h 7216489"/>
                <a:gd name="connsiteX1288" fmla="*/ 2339502 w 4016827"/>
                <a:gd name="connsiteY1288" fmla="*/ 3312859 h 7216489"/>
                <a:gd name="connsiteX1289" fmla="*/ 426279 w 4016827"/>
                <a:gd name="connsiteY1289" fmla="*/ 3309498 h 7216489"/>
                <a:gd name="connsiteX1290" fmla="*/ 456488 w 4016827"/>
                <a:gd name="connsiteY1290" fmla="*/ 3339707 h 7216489"/>
                <a:gd name="connsiteX1291" fmla="*/ 426279 w 4016827"/>
                <a:gd name="connsiteY1291" fmla="*/ 3369914 h 7216489"/>
                <a:gd name="connsiteX1292" fmla="*/ 396070 w 4016827"/>
                <a:gd name="connsiteY1292" fmla="*/ 3339707 h 7216489"/>
                <a:gd name="connsiteX1293" fmla="*/ 426279 w 4016827"/>
                <a:gd name="connsiteY1293" fmla="*/ 3309498 h 7216489"/>
                <a:gd name="connsiteX1294" fmla="*/ 167827 w 4016827"/>
                <a:gd name="connsiteY1294" fmla="*/ 3232301 h 7216489"/>
                <a:gd name="connsiteX1295" fmla="*/ 181253 w 4016827"/>
                <a:gd name="connsiteY1295" fmla="*/ 3245730 h 7216489"/>
                <a:gd name="connsiteX1296" fmla="*/ 167827 w 4016827"/>
                <a:gd name="connsiteY1296" fmla="*/ 3259154 h 7216489"/>
                <a:gd name="connsiteX1297" fmla="*/ 154401 w 4016827"/>
                <a:gd name="connsiteY1297" fmla="*/ 3245730 h 7216489"/>
                <a:gd name="connsiteX1298" fmla="*/ 167827 w 4016827"/>
                <a:gd name="connsiteY1298" fmla="*/ 3232301 h 7216489"/>
                <a:gd name="connsiteX1299" fmla="*/ 2054196 w 4016827"/>
                <a:gd name="connsiteY1299" fmla="*/ 3222236 h 7216489"/>
                <a:gd name="connsiteX1300" fmla="*/ 2060909 w 4016827"/>
                <a:gd name="connsiteY1300" fmla="*/ 3228948 h 7216489"/>
                <a:gd name="connsiteX1301" fmla="*/ 2054196 w 4016827"/>
                <a:gd name="connsiteY1301" fmla="*/ 3235663 h 7216489"/>
                <a:gd name="connsiteX1302" fmla="*/ 2047483 w 4016827"/>
                <a:gd name="connsiteY1302" fmla="*/ 3228948 h 7216489"/>
                <a:gd name="connsiteX1303" fmla="*/ 2054196 w 4016827"/>
                <a:gd name="connsiteY1303" fmla="*/ 3222236 h 7216489"/>
                <a:gd name="connsiteX1304" fmla="*/ 1574212 w 4016827"/>
                <a:gd name="connsiteY1304" fmla="*/ 3215524 h 7216489"/>
                <a:gd name="connsiteX1305" fmla="*/ 1594352 w 4016827"/>
                <a:gd name="connsiteY1305" fmla="*/ 3235663 h 7216489"/>
                <a:gd name="connsiteX1306" fmla="*/ 1574212 w 4016827"/>
                <a:gd name="connsiteY1306" fmla="*/ 3255801 h 7216489"/>
                <a:gd name="connsiteX1307" fmla="*/ 1554073 w 4016827"/>
                <a:gd name="connsiteY1307" fmla="*/ 3235663 h 7216489"/>
                <a:gd name="connsiteX1308" fmla="*/ 1574212 w 4016827"/>
                <a:gd name="connsiteY1308" fmla="*/ 3215524 h 7216489"/>
                <a:gd name="connsiteX1309" fmla="*/ 634384 w 4016827"/>
                <a:gd name="connsiteY1309" fmla="*/ 3215524 h 7216489"/>
                <a:gd name="connsiteX1310" fmla="*/ 661237 w 4016827"/>
                <a:gd name="connsiteY1310" fmla="*/ 3242373 h 7216489"/>
                <a:gd name="connsiteX1311" fmla="*/ 634384 w 4016827"/>
                <a:gd name="connsiteY1311" fmla="*/ 3269225 h 7216489"/>
                <a:gd name="connsiteX1312" fmla="*/ 607532 w 4016827"/>
                <a:gd name="connsiteY1312" fmla="*/ 3242373 h 7216489"/>
                <a:gd name="connsiteX1313" fmla="*/ 634384 w 4016827"/>
                <a:gd name="connsiteY1313" fmla="*/ 3215524 h 7216489"/>
                <a:gd name="connsiteX1314" fmla="*/ 1100942 w 4016827"/>
                <a:gd name="connsiteY1314" fmla="*/ 3202095 h 7216489"/>
                <a:gd name="connsiteX1315" fmla="*/ 1137864 w 4016827"/>
                <a:gd name="connsiteY1315" fmla="*/ 3239020 h 7216489"/>
                <a:gd name="connsiteX1316" fmla="*/ 1100942 w 4016827"/>
                <a:gd name="connsiteY1316" fmla="*/ 3275937 h 7216489"/>
                <a:gd name="connsiteX1317" fmla="*/ 1064020 w 4016827"/>
                <a:gd name="connsiteY1317" fmla="*/ 3239020 h 7216489"/>
                <a:gd name="connsiteX1318" fmla="*/ 1100942 w 4016827"/>
                <a:gd name="connsiteY1318" fmla="*/ 3202095 h 7216489"/>
                <a:gd name="connsiteX1319" fmla="*/ 2258945 w 4016827"/>
                <a:gd name="connsiteY1319" fmla="*/ 3124895 h 7216489"/>
                <a:gd name="connsiteX1320" fmla="*/ 2265658 w 4016827"/>
                <a:gd name="connsiteY1320" fmla="*/ 3131608 h 7216489"/>
                <a:gd name="connsiteX1321" fmla="*/ 2258945 w 4016827"/>
                <a:gd name="connsiteY1321" fmla="*/ 3138322 h 7216489"/>
                <a:gd name="connsiteX1322" fmla="*/ 2252232 w 4016827"/>
                <a:gd name="connsiteY1322" fmla="*/ 3131608 h 7216489"/>
                <a:gd name="connsiteX1323" fmla="*/ 2258945 w 4016827"/>
                <a:gd name="connsiteY1323" fmla="*/ 3124895 h 7216489"/>
                <a:gd name="connsiteX1324" fmla="*/ 1782318 w 4016827"/>
                <a:gd name="connsiteY1324" fmla="*/ 3124895 h 7216489"/>
                <a:gd name="connsiteX1325" fmla="*/ 1792387 w 4016827"/>
                <a:gd name="connsiteY1325" fmla="*/ 3134964 h 7216489"/>
                <a:gd name="connsiteX1326" fmla="*/ 1782318 w 4016827"/>
                <a:gd name="connsiteY1326" fmla="*/ 3145033 h 7216489"/>
                <a:gd name="connsiteX1327" fmla="*/ 1772248 w 4016827"/>
                <a:gd name="connsiteY1327" fmla="*/ 3134964 h 7216489"/>
                <a:gd name="connsiteX1328" fmla="*/ 1782318 w 4016827"/>
                <a:gd name="connsiteY1328" fmla="*/ 3124895 h 7216489"/>
                <a:gd name="connsiteX1329" fmla="*/ 842490 w 4016827"/>
                <a:gd name="connsiteY1329" fmla="*/ 3121541 h 7216489"/>
                <a:gd name="connsiteX1330" fmla="*/ 862629 w 4016827"/>
                <a:gd name="connsiteY1330" fmla="*/ 3141679 h 7216489"/>
                <a:gd name="connsiteX1331" fmla="*/ 842490 w 4016827"/>
                <a:gd name="connsiteY1331" fmla="*/ 3161818 h 7216489"/>
                <a:gd name="connsiteX1332" fmla="*/ 822350 w 4016827"/>
                <a:gd name="connsiteY1332" fmla="*/ 3141679 h 7216489"/>
                <a:gd name="connsiteX1333" fmla="*/ 842490 w 4016827"/>
                <a:gd name="connsiteY1333" fmla="*/ 3121541 h 7216489"/>
                <a:gd name="connsiteX1334" fmla="*/ 1309047 w 4016827"/>
                <a:gd name="connsiteY1334" fmla="*/ 3118183 h 7216489"/>
                <a:gd name="connsiteX1335" fmla="*/ 1332543 w 4016827"/>
                <a:gd name="connsiteY1335" fmla="*/ 3141679 h 7216489"/>
                <a:gd name="connsiteX1336" fmla="*/ 1309047 w 4016827"/>
                <a:gd name="connsiteY1336" fmla="*/ 3165175 h 7216489"/>
                <a:gd name="connsiteX1337" fmla="*/ 1285551 w 4016827"/>
                <a:gd name="connsiteY1337" fmla="*/ 3141679 h 7216489"/>
                <a:gd name="connsiteX1338" fmla="*/ 1309047 w 4016827"/>
                <a:gd name="connsiteY1338" fmla="*/ 3118183 h 7216489"/>
                <a:gd name="connsiteX1339" fmla="*/ 379288 w 4016827"/>
                <a:gd name="connsiteY1339" fmla="*/ 3118181 h 7216489"/>
                <a:gd name="connsiteX1340" fmla="*/ 406140 w 4016827"/>
                <a:gd name="connsiteY1340" fmla="*/ 3145033 h 7216489"/>
                <a:gd name="connsiteX1341" fmla="*/ 379288 w 4016827"/>
                <a:gd name="connsiteY1341" fmla="*/ 3171888 h 7216489"/>
                <a:gd name="connsiteX1342" fmla="*/ 352435 w 4016827"/>
                <a:gd name="connsiteY1342" fmla="*/ 3145033 h 7216489"/>
                <a:gd name="connsiteX1343" fmla="*/ 379288 w 4016827"/>
                <a:gd name="connsiteY1343" fmla="*/ 3118181 h 7216489"/>
                <a:gd name="connsiteX1344" fmla="*/ 127548 w 4016827"/>
                <a:gd name="connsiteY1344" fmla="*/ 3034265 h 7216489"/>
                <a:gd name="connsiteX1345" fmla="*/ 137618 w 4016827"/>
                <a:gd name="connsiteY1345" fmla="*/ 3044336 h 7216489"/>
                <a:gd name="connsiteX1346" fmla="*/ 127548 w 4016827"/>
                <a:gd name="connsiteY1346" fmla="*/ 3054407 h 7216489"/>
                <a:gd name="connsiteX1347" fmla="*/ 117479 w 4016827"/>
                <a:gd name="connsiteY1347" fmla="*/ 3044336 h 7216489"/>
                <a:gd name="connsiteX1348" fmla="*/ 127548 w 4016827"/>
                <a:gd name="connsiteY1348" fmla="*/ 3034265 h 7216489"/>
                <a:gd name="connsiteX1349" fmla="*/ 2463694 w 4016827"/>
                <a:gd name="connsiteY1349" fmla="*/ 3030915 h 7216489"/>
                <a:gd name="connsiteX1350" fmla="*/ 2467050 w 4016827"/>
                <a:gd name="connsiteY1350" fmla="*/ 3034273 h 7216489"/>
                <a:gd name="connsiteX1351" fmla="*/ 2463694 w 4016827"/>
                <a:gd name="connsiteY1351" fmla="*/ 3037628 h 7216489"/>
                <a:gd name="connsiteX1352" fmla="*/ 2460337 w 4016827"/>
                <a:gd name="connsiteY1352" fmla="*/ 3034273 h 7216489"/>
                <a:gd name="connsiteX1353" fmla="*/ 2463694 w 4016827"/>
                <a:gd name="connsiteY1353" fmla="*/ 3030915 h 7216489"/>
                <a:gd name="connsiteX1354" fmla="*/ 1987066 w 4016827"/>
                <a:gd name="connsiteY1354" fmla="*/ 3030915 h 7216489"/>
                <a:gd name="connsiteX1355" fmla="*/ 1993779 w 4016827"/>
                <a:gd name="connsiteY1355" fmla="*/ 3037628 h 7216489"/>
                <a:gd name="connsiteX1356" fmla="*/ 1987066 w 4016827"/>
                <a:gd name="connsiteY1356" fmla="*/ 3044345 h 7216489"/>
                <a:gd name="connsiteX1357" fmla="*/ 1980353 w 4016827"/>
                <a:gd name="connsiteY1357" fmla="*/ 3037628 h 7216489"/>
                <a:gd name="connsiteX1358" fmla="*/ 1987066 w 4016827"/>
                <a:gd name="connsiteY1358" fmla="*/ 3030915 h 7216489"/>
                <a:gd name="connsiteX1359" fmla="*/ 1517151 w 4016827"/>
                <a:gd name="connsiteY1359" fmla="*/ 3027560 h 7216489"/>
                <a:gd name="connsiteX1360" fmla="*/ 1530577 w 4016827"/>
                <a:gd name="connsiteY1360" fmla="*/ 3040986 h 7216489"/>
                <a:gd name="connsiteX1361" fmla="*/ 1517151 w 4016827"/>
                <a:gd name="connsiteY1361" fmla="*/ 3054413 h 7216489"/>
                <a:gd name="connsiteX1362" fmla="*/ 1503725 w 4016827"/>
                <a:gd name="connsiteY1362" fmla="*/ 3040986 h 7216489"/>
                <a:gd name="connsiteX1363" fmla="*/ 1517151 w 4016827"/>
                <a:gd name="connsiteY1363" fmla="*/ 3027560 h 7216489"/>
                <a:gd name="connsiteX1364" fmla="*/ 587393 w 4016827"/>
                <a:gd name="connsiteY1364" fmla="*/ 3020845 h 7216489"/>
                <a:gd name="connsiteX1365" fmla="*/ 610889 w 4016827"/>
                <a:gd name="connsiteY1365" fmla="*/ 3044341 h 7216489"/>
                <a:gd name="connsiteX1366" fmla="*/ 587393 w 4016827"/>
                <a:gd name="connsiteY1366" fmla="*/ 3067838 h 7216489"/>
                <a:gd name="connsiteX1367" fmla="*/ 563897 w 4016827"/>
                <a:gd name="connsiteY1367" fmla="*/ 3044341 h 7216489"/>
                <a:gd name="connsiteX1368" fmla="*/ 587393 w 4016827"/>
                <a:gd name="connsiteY1368" fmla="*/ 3020845 h 7216489"/>
                <a:gd name="connsiteX1369" fmla="*/ 1050594 w 4016827"/>
                <a:gd name="connsiteY1369" fmla="*/ 3017489 h 7216489"/>
                <a:gd name="connsiteX1370" fmla="*/ 1077446 w 4016827"/>
                <a:gd name="connsiteY1370" fmla="*/ 3044345 h 7216489"/>
                <a:gd name="connsiteX1371" fmla="*/ 1050594 w 4016827"/>
                <a:gd name="connsiteY1371" fmla="*/ 3071196 h 7216489"/>
                <a:gd name="connsiteX1372" fmla="*/ 1023741 w 4016827"/>
                <a:gd name="connsiteY1372" fmla="*/ 3044345 h 7216489"/>
                <a:gd name="connsiteX1373" fmla="*/ 1050594 w 4016827"/>
                <a:gd name="connsiteY1373" fmla="*/ 3017489 h 7216489"/>
                <a:gd name="connsiteX1374" fmla="*/ 2195170 w 4016827"/>
                <a:gd name="connsiteY1374" fmla="*/ 2930223 h 7216489"/>
                <a:gd name="connsiteX1375" fmla="*/ 2201884 w 4016827"/>
                <a:gd name="connsiteY1375" fmla="*/ 2936935 h 7216489"/>
                <a:gd name="connsiteX1376" fmla="*/ 2195170 w 4016827"/>
                <a:gd name="connsiteY1376" fmla="*/ 2943649 h 7216489"/>
                <a:gd name="connsiteX1377" fmla="*/ 2188458 w 4016827"/>
                <a:gd name="connsiteY1377" fmla="*/ 2936935 h 7216489"/>
                <a:gd name="connsiteX1378" fmla="*/ 2195170 w 4016827"/>
                <a:gd name="connsiteY1378" fmla="*/ 2930223 h 7216489"/>
                <a:gd name="connsiteX1379" fmla="*/ 1725256 w 4016827"/>
                <a:gd name="connsiteY1379" fmla="*/ 2930223 h 7216489"/>
                <a:gd name="connsiteX1380" fmla="*/ 1735326 w 4016827"/>
                <a:gd name="connsiteY1380" fmla="*/ 2940292 h 7216489"/>
                <a:gd name="connsiteX1381" fmla="*/ 1725256 w 4016827"/>
                <a:gd name="connsiteY1381" fmla="*/ 2950360 h 7216489"/>
                <a:gd name="connsiteX1382" fmla="*/ 1715187 w 4016827"/>
                <a:gd name="connsiteY1382" fmla="*/ 2940292 h 7216489"/>
                <a:gd name="connsiteX1383" fmla="*/ 1725256 w 4016827"/>
                <a:gd name="connsiteY1383" fmla="*/ 2930223 h 7216489"/>
                <a:gd name="connsiteX1384" fmla="*/ 1262056 w 4016827"/>
                <a:gd name="connsiteY1384" fmla="*/ 2926865 h 7216489"/>
                <a:gd name="connsiteX1385" fmla="*/ 1278838 w 4016827"/>
                <a:gd name="connsiteY1385" fmla="*/ 2943649 h 7216489"/>
                <a:gd name="connsiteX1386" fmla="*/ 1262056 w 4016827"/>
                <a:gd name="connsiteY1386" fmla="*/ 2960431 h 7216489"/>
                <a:gd name="connsiteX1387" fmla="*/ 1245273 w 4016827"/>
                <a:gd name="connsiteY1387" fmla="*/ 2943649 h 7216489"/>
                <a:gd name="connsiteX1388" fmla="*/ 1262056 w 4016827"/>
                <a:gd name="connsiteY1388" fmla="*/ 2926865 h 7216489"/>
                <a:gd name="connsiteX1389" fmla="*/ 798855 w 4016827"/>
                <a:gd name="connsiteY1389" fmla="*/ 2923508 h 7216489"/>
                <a:gd name="connsiteX1390" fmla="*/ 818994 w 4016827"/>
                <a:gd name="connsiteY1390" fmla="*/ 2943649 h 7216489"/>
                <a:gd name="connsiteX1391" fmla="*/ 798855 w 4016827"/>
                <a:gd name="connsiteY1391" fmla="*/ 2963787 h 7216489"/>
                <a:gd name="connsiteX1392" fmla="*/ 778715 w 4016827"/>
                <a:gd name="connsiteY1392" fmla="*/ 2943649 h 7216489"/>
                <a:gd name="connsiteX1393" fmla="*/ 798855 w 4016827"/>
                <a:gd name="connsiteY1393" fmla="*/ 2923508 h 7216489"/>
                <a:gd name="connsiteX1394" fmla="*/ 339009 w 4016827"/>
                <a:gd name="connsiteY1394" fmla="*/ 2916791 h 7216489"/>
                <a:gd name="connsiteX1395" fmla="*/ 365861 w 4016827"/>
                <a:gd name="connsiteY1395" fmla="*/ 2943643 h 7216489"/>
                <a:gd name="connsiteX1396" fmla="*/ 339009 w 4016827"/>
                <a:gd name="connsiteY1396" fmla="*/ 2970495 h 7216489"/>
                <a:gd name="connsiteX1397" fmla="*/ 312157 w 4016827"/>
                <a:gd name="connsiteY1397" fmla="*/ 2943643 h 7216489"/>
                <a:gd name="connsiteX1398" fmla="*/ 339009 w 4016827"/>
                <a:gd name="connsiteY1398" fmla="*/ 2916791 h 7216489"/>
                <a:gd name="connsiteX1399" fmla="*/ 97340 w 4016827"/>
                <a:gd name="connsiteY1399" fmla="*/ 2839587 h 7216489"/>
                <a:gd name="connsiteX1400" fmla="*/ 104053 w 4016827"/>
                <a:gd name="connsiteY1400" fmla="*/ 2846299 h 7216489"/>
                <a:gd name="connsiteX1401" fmla="*/ 97340 w 4016827"/>
                <a:gd name="connsiteY1401" fmla="*/ 2853013 h 7216489"/>
                <a:gd name="connsiteX1402" fmla="*/ 90626 w 4016827"/>
                <a:gd name="connsiteY1402" fmla="*/ 2846299 h 7216489"/>
                <a:gd name="connsiteX1403" fmla="*/ 97340 w 4016827"/>
                <a:gd name="connsiteY1403" fmla="*/ 2839587 h 7216489"/>
                <a:gd name="connsiteX1404" fmla="*/ 1933362 w 4016827"/>
                <a:gd name="connsiteY1404" fmla="*/ 2836241 h 7216489"/>
                <a:gd name="connsiteX1405" fmla="*/ 1940075 w 4016827"/>
                <a:gd name="connsiteY1405" fmla="*/ 2842956 h 7216489"/>
                <a:gd name="connsiteX1406" fmla="*/ 1933362 w 4016827"/>
                <a:gd name="connsiteY1406" fmla="*/ 2849666 h 7216489"/>
                <a:gd name="connsiteX1407" fmla="*/ 1926649 w 4016827"/>
                <a:gd name="connsiteY1407" fmla="*/ 2842956 h 7216489"/>
                <a:gd name="connsiteX1408" fmla="*/ 1933362 w 4016827"/>
                <a:gd name="connsiteY1408" fmla="*/ 2836241 h 7216489"/>
                <a:gd name="connsiteX1409" fmla="*/ 1473516 w 4016827"/>
                <a:gd name="connsiteY1409" fmla="*/ 2829530 h 7216489"/>
                <a:gd name="connsiteX1410" fmla="*/ 1486942 w 4016827"/>
                <a:gd name="connsiteY1410" fmla="*/ 2842956 h 7216489"/>
                <a:gd name="connsiteX1411" fmla="*/ 1473516 w 4016827"/>
                <a:gd name="connsiteY1411" fmla="*/ 2856382 h 7216489"/>
                <a:gd name="connsiteX1412" fmla="*/ 1460090 w 4016827"/>
                <a:gd name="connsiteY1412" fmla="*/ 2842956 h 7216489"/>
                <a:gd name="connsiteX1413" fmla="*/ 1473516 w 4016827"/>
                <a:gd name="connsiteY1413" fmla="*/ 2829530 h 7216489"/>
                <a:gd name="connsiteX1414" fmla="*/ 553827 w 4016827"/>
                <a:gd name="connsiteY1414" fmla="*/ 2829526 h 7216489"/>
                <a:gd name="connsiteX1415" fmla="*/ 570610 w 4016827"/>
                <a:gd name="connsiteY1415" fmla="*/ 2846311 h 7216489"/>
                <a:gd name="connsiteX1416" fmla="*/ 553827 w 4016827"/>
                <a:gd name="connsiteY1416" fmla="*/ 2863090 h 7216489"/>
                <a:gd name="connsiteX1417" fmla="*/ 537045 w 4016827"/>
                <a:gd name="connsiteY1417" fmla="*/ 2846311 h 7216489"/>
                <a:gd name="connsiteX1418" fmla="*/ 553827 w 4016827"/>
                <a:gd name="connsiteY1418" fmla="*/ 2829526 h 7216489"/>
                <a:gd name="connsiteX1419" fmla="*/ 1013672 w 4016827"/>
                <a:gd name="connsiteY1419" fmla="*/ 2822817 h 7216489"/>
                <a:gd name="connsiteX1420" fmla="*/ 1037168 w 4016827"/>
                <a:gd name="connsiteY1420" fmla="*/ 2846311 h 7216489"/>
                <a:gd name="connsiteX1421" fmla="*/ 1013672 w 4016827"/>
                <a:gd name="connsiteY1421" fmla="*/ 2869806 h 7216489"/>
                <a:gd name="connsiteX1422" fmla="*/ 990176 w 4016827"/>
                <a:gd name="connsiteY1422" fmla="*/ 2846311 h 7216489"/>
                <a:gd name="connsiteX1423" fmla="*/ 1013672 w 4016827"/>
                <a:gd name="connsiteY1423" fmla="*/ 2822817 h 7216489"/>
                <a:gd name="connsiteX1424" fmla="*/ 2144822 w 4016827"/>
                <a:gd name="connsiteY1424" fmla="*/ 2735548 h 7216489"/>
                <a:gd name="connsiteX1425" fmla="*/ 2151536 w 4016827"/>
                <a:gd name="connsiteY1425" fmla="*/ 2742260 h 7216489"/>
                <a:gd name="connsiteX1426" fmla="*/ 2144822 w 4016827"/>
                <a:gd name="connsiteY1426" fmla="*/ 2748973 h 7216489"/>
                <a:gd name="connsiteX1427" fmla="*/ 2138110 w 4016827"/>
                <a:gd name="connsiteY1427" fmla="*/ 2742260 h 7216489"/>
                <a:gd name="connsiteX1428" fmla="*/ 2144822 w 4016827"/>
                <a:gd name="connsiteY1428" fmla="*/ 2735548 h 7216489"/>
                <a:gd name="connsiteX1429" fmla="*/ 1684978 w 4016827"/>
                <a:gd name="connsiteY1429" fmla="*/ 2732191 h 7216489"/>
                <a:gd name="connsiteX1430" fmla="*/ 1695048 w 4016827"/>
                <a:gd name="connsiteY1430" fmla="*/ 2742260 h 7216489"/>
                <a:gd name="connsiteX1431" fmla="*/ 1684978 w 4016827"/>
                <a:gd name="connsiteY1431" fmla="*/ 2752334 h 7216489"/>
                <a:gd name="connsiteX1432" fmla="*/ 1674908 w 4016827"/>
                <a:gd name="connsiteY1432" fmla="*/ 2742260 h 7216489"/>
                <a:gd name="connsiteX1433" fmla="*/ 1684978 w 4016827"/>
                <a:gd name="connsiteY1433" fmla="*/ 2732191 h 7216489"/>
                <a:gd name="connsiteX1434" fmla="*/ 1225134 w 4016827"/>
                <a:gd name="connsiteY1434" fmla="*/ 2725478 h 7216489"/>
                <a:gd name="connsiteX1435" fmla="*/ 1241916 w 4016827"/>
                <a:gd name="connsiteY1435" fmla="*/ 2742260 h 7216489"/>
                <a:gd name="connsiteX1436" fmla="*/ 1225134 w 4016827"/>
                <a:gd name="connsiteY1436" fmla="*/ 2759042 h 7216489"/>
                <a:gd name="connsiteX1437" fmla="*/ 1208351 w 4016827"/>
                <a:gd name="connsiteY1437" fmla="*/ 2742260 h 7216489"/>
                <a:gd name="connsiteX1438" fmla="*/ 1225134 w 4016827"/>
                <a:gd name="connsiteY1438" fmla="*/ 2725478 h 7216489"/>
                <a:gd name="connsiteX1439" fmla="*/ 312157 w 4016827"/>
                <a:gd name="connsiteY1439" fmla="*/ 2722116 h 7216489"/>
                <a:gd name="connsiteX1440" fmla="*/ 335653 w 4016827"/>
                <a:gd name="connsiteY1440" fmla="*/ 2745613 h 7216489"/>
                <a:gd name="connsiteX1441" fmla="*/ 312157 w 4016827"/>
                <a:gd name="connsiteY1441" fmla="*/ 2769105 h 7216489"/>
                <a:gd name="connsiteX1442" fmla="*/ 288661 w 4016827"/>
                <a:gd name="connsiteY1442" fmla="*/ 2745613 h 7216489"/>
                <a:gd name="connsiteX1443" fmla="*/ 312157 w 4016827"/>
                <a:gd name="connsiteY1443" fmla="*/ 2722116 h 7216489"/>
                <a:gd name="connsiteX1444" fmla="*/ 768646 w 4016827"/>
                <a:gd name="connsiteY1444" fmla="*/ 2718764 h 7216489"/>
                <a:gd name="connsiteX1445" fmla="*/ 795498 w 4016827"/>
                <a:gd name="connsiteY1445" fmla="*/ 2742260 h 7216489"/>
                <a:gd name="connsiteX1446" fmla="*/ 768646 w 4016827"/>
                <a:gd name="connsiteY1446" fmla="*/ 2769113 h 7216489"/>
                <a:gd name="connsiteX1447" fmla="*/ 741793 w 4016827"/>
                <a:gd name="connsiteY1447" fmla="*/ 2745618 h 7216489"/>
                <a:gd name="connsiteX1448" fmla="*/ 768646 w 4016827"/>
                <a:gd name="connsiteY1448" fmla="*/ 2718764 h 7216489"/>
                <a:gd name="connsiteX1449" fmla="*/ 73844 w 4016827"/>
                <a:gd name="connsiteY1449" fmla="*/ 2641550 h 7216489"/>
                <a:gd name="connsiteX1450" fmla="*/ 77200 w 4016827"/>
                <a:gd name="connsiteY1450" fmla="*/ 2644906 h 7216489"/>
                <a:gd name="connsiteX1451" fmla="*/ 73844 w 4016827"/>
                <a:gd name="connsiteY1451" fmla="*/ 2648264 h 7216489"/>
                <a:gd name="connsiteX1452" fmla="*/ 70487 w 4016827"/>
                <a:gd name="connsiteY1452" fmla="*/ 2644906 h 7216489"/>
                <a:gd name="connsiteX1453" fmla="*/ 73844 w 4016827"/>
                <a:gd name="connsiteY1453" fmla="*/ 2641550 h 7216489"/>
                <a:gd name="connsiteX1454" fmla="*/ 1896440 w 4016827"/>
                <a:gd name="connsiteY1454" fmla="*/ 2634851 h 7216489"/>
                <a:gd name="connsiteX1455" fmla="*/ 1903153 w 4016827"/>
                <a:gd name="connsiteY1455" fmla="*/ 2641566 h 7216489"/>
                <a:gd name="connsiteX1456" fmla="*/ 1896440 w 4016827"/>
                <a:gd name="connsiteY1456" fmla="*/ 2648275 h 7216489"/>
                <a:gd name="connsiteX1457" fmla="*/ 1889727 w 4016827"/>
                <a:gd name="connsiteY1457" fmla="*/ 2641566 h 7216489"/>
                <a:gd name="connsiteX1458" fmla="*/ 1896440 w 4016827"/>
                <a:gd name="connsiteY1458" fmla="*/ 2634851 h 7216489"/>
                <a:gd name="connsiteX1459" fmla="*/ 1439952 w 4016827"/>
                <a:gd name="connsiteY1459" fmla="*/ 2624778 h 7216489"/>
                <a:gd name="connsiteX1460" fmla="*/ 1456735 w 4016827"/>
                <a:gd name="connsiteY1460" fmla="*/ 2641566 h 7216489"/>
                <a:gd name="connsiteX1461" fmla="*/ 1439952 w 4016827"/>
                <a:gd name="connsiteY1461" fmla="*/ 2658342 h 7216489"/>
                <a:gd name="connsiteX1462" fmla="*/ 1423169 w 4016827"/>
                <a:gd name="connsiteY1462" fmla="*/ 2641566 h 7216489"/>
                <a:gd name="connsiteX1463" fmla="*/ 1439952 w 4016827"/>
                <a:gd name="connsiteY1463" fmla="*/ 2624778 h 7216489"/>
                <a:gd name="connsiteX1464" fmla="*/ 983463 w 4016827"/>
                <a:gd name="connsiteY1464" fmla="*/ 2621425 h 7216489"/>
                <a:gd name="connsiteX1465" fmla="*/ 1006959 w 4016827"/>
                <a:gd name="connsiteY1465" fmla="*/ 2644917 h 7216489"/>
                <a:gd name="connsiteX1466" fmla="*/ 983463 w 4016827"/>
                <a:gd name="connsiteY1466" fmla="*/ 2668417 h 7216489"/>
                <a:gd name="connsiteX1467" fmla="*/ 959967 w 4016827"/>
                <a:gd name="connsiteY1467" fmla="*/ 2644917 h 7216489"/>
                <a:gd name="connsiteX1468" fmla="*/ 983463 w 4016827"/>
                <a:gd name="connsiteY1468" fmla="*/ 2621425 h 7216489"/>
                <a:gd name="connsiteX1469" fmla="*/ 526975 w 4016827"/>
                <a:gd name="connsiteY1469" fmla="*/ 2621421 h 7216489"/>
                <a:gd name="connsiteX1470" fmla="*/ 547114 w 4016827"/>
                <a:gd name="connsiteY1470" fmla="*/ 2641560 h 7216489"/>
                <a:gd name="connsiteX1471" fmla="*/ 526975 w 4016827"/>
                <a:gd name="connsiteY1471" fmla="*/ 2661700 h 7216489"/>
                <a:gd name="connsiteX1472" fmla="*/ 506836 w 4016827"/>
                <a:gd name="connsiteY1472" fmla="*/ 2641560 h 7216489"/>
                <a:gd name="connsiteX1473" fmla="*/ 526975 w 4016827"/>
                <a:gd name="connsiteY1473" fmla="*/ 2621421 h 7216489"/>
                <a:gd name="connsiteX1474" fmla="*/ 2111257 w 4016827"/>
                <a:gd name="connsiteY1474" fmla="*/ 2540868 h 7216489"/>
                <a:gd name="connsiteX1475" fmla="*/ 2114614 w 4016827"/>
                <a:gd name="connsiteY1475" fmla="*/ 2544225 h 7216489"/>
                <a:gd name="connsiteX1476" fmla="*/ 2111257 w 4016827"/>
                <a:gd name="connsiteY1476" fmla="*/ 2547584 h 7216489"/>
                <a:gd name="connsiteX1477" fmla="*/ 2107900 w 4016827"/>
                <a:gd name="connsiteY1477" fmla="*/ 2544225 h 7216489"/>
                <a:gd name="connsiteX1478" fmla="*/ 2111257 w 4016827"/>
                <a:gd name="connsiteY1478" fmla="*/ 2540868 h 7216489"/>
                <a:gd name="connsiteX1479" fmla="*/ 1654769 w 4016827"/>
                <a:gd name="connsiteY1479" fmla="*/ 2537512 h 7216489"/>
                <a:gd name="connsiteX1480" fmla="*/ 1661482 w 4016827"/>
                <a:gd name="connsiteY1480" fmla="*/ 2544225 h 7216489"/>
                <a:gd name="connsiteX1481" fmla="*/ 1654769 w 4016827"/>
                <a:gd name="connsiteY1481" fmla="*/ 2550939 h 7216489"/>
                <a:gd name="connsiteX1482" fmla="*/ 1648056 w 4016827"/>
                <a:gd name="connsiteY1482" fmla="*/ 2544225 h 7216489"/>
                <a:gd name="connsiteX1483" fmla="*/ 1654769 w 4016827"/>
                <a:gd name="connsiteY1483" fmla="*/ 2537512 h 7216489"/>
                <a:gd name="connsiteX1484" fmla="*/ 1201638 w 4016827"/>
                <a:gd name="connsiteY1484" fmla="*/ 2524085 h 7216489"/>
                <a:gd name="connsiteX1485" fmla="*/ 1218421 w 4016827"/>
                <a:gd name="connsiteY1485" fmla="*/ 2540868 h 7216489"/>
                <a:gd name="connsiteX1486" fmla="*/ 1201638 w 4016827"/>
                <a:gd name="connsiteY1486" fmla="*/ 2557650 h 7216489"/>
                <a:gd name="connsiteX1487" fmla="*/ 1184855 w 4016827"/>
                <a:gd name="connsiteY1487" fmla="*/ 2540868 h 7216489"/>
                <a:gd name="connsiteX1488" fmla="*/ 1201638 w 4016827"/>
                <a:gd name="connsiteY1488" fmla="*/ 2524085 h 7216489"/>
                <a:gd name="connsiteX1489" fmla="*/ 745150 w 4016827"/>
                <a:gd name="connsiteY1489" fmla="*/ 2524085 h 7216489"/>
                <a:gd name="connsiteX1490" fmla="*/ 765289 w 4016827"/>
                <a:gd name="connsiteY1490" fmla="*/ 2544223 h 7216489"/>
                <a:gd name="connsiteX1491" fmla="*/ 745150 w 4016827"/>
                <a:gd name="connsiteY1491" fmla="*/ 2564366 h 7216489"/>
                <a:gd name="connsiteX1492" fmla="*/ 725011 w 4016827"/>
                <a:gd name="connsiteY1492" fmla="*/ 2544223 h 7216489"/>
                <a:gd name="connsiteX1493" fmla="*/ 745150 w 4016827"/>
                <a:gd name="connsiteY1493" fmla="*/ 2524085 h 7216489"/>
                <a:gd name="connsiteX1494" fmla="*/ 292018 w 4016827"/>
                <a:gd name="connsiteY1494" fmla="*/ 2520725 h 7216489"/>
                <a:gd name="connsiteX1495" fmla="*/ 315513 w 4016827"/>
                <a:gd name="connsiteY1495" fmla="*/ 2544222 h 7216489"/>
                <a:gd name="connsiteX1496" fmla="*/ 292018 w 4016827"/>
                <a:gd name="connsiteY1496" fmla="*/ 2567717 h 7216489"/>
                <a:gd name="connsiteX1497" fmla="*/ 268522 w 4016827"/>
                <a:gd name="connsiteY1497" fmla="*/ 2544222 h 7216489"/>
                <a:gd name="connsiteX1498" fmla="*/ 292018 w 4016827"/>
                <a:gd name="connsiteY1498" fmla="*/ 2520725 h 7216489"/>
                <a:gd name="connsiteX1499" fmla="*/ 60418 w 4016827"/>
                <a:gd name="connsiteY1499" fmla="*/ 2440158 h 7216489"/>
                <a:gd name="connsiteX1500" fmla="*/ 60418 w 4016827"/>
                <a:gd name="connsiteY1500" fmla="*/ 2443514 h 7216489"/>
                <a:gd name="connsiteX1501" fmla="*/ 60418 w 4016827"/>
                <a:gd name="connsiteY1501" fmla="*/ 2440158 h 7216489"/>
                <a:gd name="connsiteX1502" fmla="*/ 1872944 w 4016827"/>
                <a:gd name="connsiteY1502" fmla="*/ 2433454 h 7216489"/>
                <a:gd name="connsiteX1503" fmla="*/ 1879657 w 4016827"/>
                <a:gd name="connsiteY1503" fmla="*/ 2440170 h 7216489"/>
                <a:gd name="connsiteX1504" fmla="*/ 1872944 w 4016827"/>
                <a:gd name="connsiteY1504" fmla="*/ 2446884 h 7216489"/>
                <a:gd name="connsiteX1505" fmla="*/ 1866231 w 4016827"/>
                <a:gd name="connsiteY1505" fmla="*/ 2440170 h 7216489"/>
                <a:gd name="connsiteX1506" fmla="*/ 1872944 w 4016827"/>
                <a:gd name="connsiteY1506" fmla="*/ 2433454 h 7216489"/>
                <a:gd name="connsiteX1507" fmla="*/ 1419813 w 4016827"/>
                <a:gd name="connsiteY1507" fmla="*/ 2426743 h 7216489"/>
                <a:gd name="connsiteX1508" fmla="*/ 1433239 w 4016827"/>
                <a:gd name="connsiteY1508" fmla="*/ 2440170 h 7216489"/>
                <a:gd name="connsiteX1509" fmla="*/ 1419813 w 4016827"/>
                <a:gd name="connsiteY1509" fmla="*/ 2453597 h 7216489"/>
                <a:gd name="connsiteX1510" fmla="*/ 1406387 w 4016827"/>
                <a:gd name="connsiteY1510" fmla="*/ 2440170 h 7216489"/>
                <a:gd name="connsiteX1511" fmla="*/ 1419813 w 4016827"/>
                <a:gd name="connsiteY1511" fmla="*/ 2426743 h 7216489"/>
                <a:gd name="connsiteX1512" fmla="*/ 513549 w 4016827"/>
                <a:gd name="connsiteY1512" fmla="*/ 2423383 h 7216489"/>
                <a:gd name="connsiteX1513" fmla="*/ 530332 w 4016827"/>
                <a:gd name="connsiteY1513" fmla="*/ 2440166 h 7216489"/>
                <a:gd name="connsiteX1514" fmla="*/ 513549 w 4016827"/>
                <a:gd name="connsiteY1514" fmla="*/ 2456950 h 7216489"/>
                <a:gd name="connsiteX1515" fmla="*/ 496766 w 4016827"/>
                <a:gd name="connsiteY1515" fmla="*/ 2440166 h 7216489"/>
                <a:gd name="connsiteX1516" fmla="*/ 513549 w 4016827"/>
                <a:gd name="connsiteY1516" fmla="*/ 2423383 h 7216489"/>
                <a:gd name="connsiteX1517" fmla="*/ 966680 w 4016827"/>
                <a:gd name="connsiteY1517" fmla="*/ 2416672 h 7216489"/>
                <a:gd name="connsiteX1518" fmla="*/ 990176 w 4016827"/>
                <a:gd name="connsiteY1518" fmla="*/ 2440170 h 7216489"/>
                <a:gd name="connsiteX1519" fmla="*/ 966680 w 4016827"/>
                <a:gd name="connsiteY1519" fmla="*/ 2463667 h 7216489"/>
                <a:gd name="connsiteX1520" fmla="*/ 943185 w 4016827"/>
                <a:gd name="connsiteY1520" fmla="*/ 2440170 h 7216489"/>
                <a:gd name="connsiteX1521" fmla="*/ 966680 w 4016827"/>
                <a:gd name="connsiteY1521" fmla="*/ 2416672 h 7216489"/>
                <a:gd name="connsiteX1522" fmla="*/ 2094474 w 4016827"/>
                <a:gd name="connsiteY1522" fmla="*/ 2336109 h 7216489"/>
                <a:gd name="connsiteX1523" fmla="*/ 2094474 w 4016827"/>
                <a:gd name="connsiteY1523" fmla="*/ 2342822 h 7216489"/>
                <a:gd name="connsiteX1524" fmla="*/ 2094474 w 4016827"/>
                <a:gd name="connsiteY1524" fmla="*/ 2336109 h 7216489"/>
                <a:gd name="connsiteX1525" fmla="*/ 1641343 w 4016827"/>
                <a:gd name="connsiteY1525" fmla="*/ 2336109 h 7216489"/>
                <a:gd name="connsiteX1526" fmla="*/ 1644700 w 4016827"/>
                <a:gd name="connsiteY1526" fmla="*/ 2339466 h 7216489"/>
                <a:gd name="connsiteX1527" fmla="*/ 1641343 w 4016827"/>
                <a:gd name="connsiteY1527" fmla="*/ 2342822 h 7216489"/>
                <a:gd name="connsiteX1528" fmla="*/ 1637986 w 4016827"/>
                <a:gd name="connsiteY1528" fmla="*/ 2339466 h 7216489"/>
                <a:gd name="connsiteX1529" fmla="*/ 1641343 w 4016827"/>
                <a:gd name="connsiteY1529" fmla="*/ 2336109 h 7216489"/>
                <a:gd name="connsiteX1530" fmla="*/ 1188212 w 4016827"/>
                <a:gd name="connsiteY1530" fmla="*/ 2322682 h 7216489"/>
                <a:gd name="connsiteX1531" fmla="*/ 1204994 w 4016827"/>
                <a:gd name="connsiteY1531" fmla="*/ 2339466 h 7216489"/>
                <a:gd name="connsiteX1532" fmla="*/ 1188212 w 4016827"/>
                <a:gd name="connsiteY1532" fmla="*/ 2356250 h 7216489"/>
                <a:gd name="connsiteX1533" fmla="*/ 1171429 w 4016827"/>
                <a:gd name="connsiteY1533" fmla="*/ 2339466 h 7216489"/>
                <a:gd name="connsiteX1534" fmla="*/ 1188212 w 4016827"/>
                <a:gd name="connsiteY1534" fmla="*/ 2322682 h 7216489"/>
                <a:gd name="connsiteX1535" fmla="*/ 281948 w 4016827"/>
                <a:gd name="connsiteY1535" fmla="*/ 2322679 h 7216489"/>
                <a:gd name="connsiteX1536" fmla="*/ 298731 w 4016827"/>
                <a:gd name="connsiteY1536" fmla="*/ 2339461 h 7216489"/>
                <a:gd name="connsiteX1537" fmla="*/ 281948 w 4016827"/>
                <a:gd name="connsiteY1537" fmla="*/ 2356245 h 7216489"/>
                <a:gd name="connsiteX1538" fmla="*/ 265165 w 4016827"/>
                <a:gd name="connsiteY1538" fmla="*/ 2339461 h 7216489"/>
                <a:gd name="connsiteX1539" fmla="*/ 281948 w 4016827"/>
                <a:gd name="connsiteY1539" fmla="*/ 2322679 h 7216489"/>
                <a:gd name="connsiteX1540" fmla="*/ 735080 w 4016827"/>
                <a:gd name="connsiteY1540" fmla="*/ 2319326 h 7216489"/>
                <a:gd name="connsiteX1541" fmla="*/ 755220 w 4016827"/>
                <a:gd name="connsiteY1541" fmla="*/ 2339466 h 7216489"/>
                <a:gd name="connsiteX1542" fmla="*/ 735080 w 4016827"/>
                <a:gd name="connsiteY1542" fmla="*/ 2359607 h 7216489"/>
                <a:gd name="connsiteX1543" fmla="*/ 714941 w 4016827"/>
                <a:gd name="connsiteY1543" fmla="*/ 2339466 h 7216489"/>
                <a:gd name="connsiteX1544" fmla="*/ 735080 w 4016827"/>
                <a:gd name="connsiteY1544" fmla="*/ 2319326 h 7216489"/>
                <a:gd name="connsiteX1545" fmla="*/ 1866231 w 4016827"/>
                <a:gd name="connsiteY1545" fmla="*/ 2235417 h 7216489"/>
                <a:gd name="connsiteX1546" fmla="*/ 1869588 w 4016827"/>
                <a:gd name="connsiteY1546" fmla="*/ 2238772 h 7216489"/>
                <a:gd name="connsiteX1547" fmla="*/ 1866231 w 4016827"/>
                <a:gd name="connsiteY1547" fmla="*/ 2242129 h 7216489"/>
                <a:gd name="connsiteX1548" fmla="*/ 1862874 w 4016827"/>
                <a:gd name="connsiteY1548" fmla="*/ 2238772 h 7216489"/>
                <a:gd name="connsiteX1549" fmla="*/ 1866231 w 4016827"/>
                <a:gd name="connsiteY1549" fmla="*/ 2235417 h 7216489"/>
                <a:gd name="connsiteX1550" fmla="*/ 1413099 w 4016827"/>
                <a:gd name="connsiteY1550" fmla="*/ 2228699 h 7216489"/>
                <a:gd name="connsiteX1551" fmla="*/ 1423168 w 4016827"/>
                <a:gd name="connsiteY1551" fmla="*/ 2238772 h 7216489"/>
                <a:gd name="connsiteX1552" fmla="*/ 1413099 w 4016827"/>
                <a:gd name="connsiteY1552" fmla="*/ 2248841 h 7216489"/>
                <a:gd name="connsiteX1553" fmla="*/ 1403029 w 4016827"/>
                <a:gd name="connsiteY1553" fmla="*/ 2238772 h 7216489"/>
                <a:gd name="connsiteX1554" fmla="*/ 1413099 w 4016827"/>
                <a:gd name="connsiteY1554" fmla="*/ 2228699 h 7216489"/>
                <a:gd name="connsiteX1555" fmla="*/ 506836 w 4016827"/>
                <a:gd name="connsiteY1555" fmla="*/ 2221987 h 7216489"/>
                <a:gd name="connsiteX1556" fmla="*/ 523619 w 4016827"/>
                <a:gd name="connsiteY1556" fmla="*/ 2238769 h 7216489"/>
                <a:gd name="connsiteX1557" fmla="*/ 506836 w 4016827"/>
                <a:gd name="connsiteY1557" fmla="*/ 2255551 h 7216489"/>
                <a:gd name="connsiteX1558" fmla="*/ 490053 w 4016827"/>
                <a:gd name="connsiteY1558" fmla="*/ 2238769 h 7216489"/>
                <a:gd name="connsiteX1559" fmla="*/ 506836 w 4016827"/>
                <a:gd name="connsiteY1559" fmla="*/ 2221987 h 7216489"/>
                <a:gd name="connsiteX1560" fmla="*/ 959967 w 4016827"/>
                <a:gd name="connsiteY1560" fmla="*/ 2215275 h 7216489"/>
                <a:gd name="connsiteX1561" fmla="*/ 983463 w 4016827"/>
                <a:gd name="connsiteY1561" fmla="*/ 2238772 h 7216489"/>
                <a:gd name="connsiteX1562" fmla="*/ 959967 w 4016827"/>
                <a:gd name="connsiteY1562" fmla="*/ 2262269 h 7216489"/>
                <a:gd name="connsiteX1563" fmla="*/ 936472 w 4016827"/>
                <a:gd name="connsiteY1563" fmla="*/ 2238772 h 7216489"/>
                <a:gd name="connsiteX1564" fmla="*/ 959967 w 4016827"/>
                <a:gd name="connsiteY1564" fmla="*/ 2215275 h 7216489"/>
                <a:gd name="connsiteX1565" fmla="*/ 1641343 w 4016827"/>
                <a:gd name="connsiteY1565" fmla="*/ 2128008 h 7216489"/>
                <a:gd name="connsiteX1566" fmla="*/ 1648056 w 4016827"/>
                <a:gd name="connsiteY1566" fmla="*/ 2134720 h 7216489"/>
                <a:gd name="connsiteX1567" fmla="*/ 1641343 w 4016827"/>
                <a:gd name="connsiteY1567" fmla="*/ 2141432 h 7216489"/>
                <a:gd name="connsiteX1568" fmla="*/ 1634630 w 4016827"/>
                <a:gd name="connsiteY1568" fmla="*/ 2134720 h 7216489"/>
                <a:gd name="connsiteX1569" fmla="*/ 1641343 w 4016827"/>
                <a:gd name="connsiteY1569" fmla="*/ 2128008 h 7216489"/>
                <a:gd name="connsiteX1570" fmla="*/ 1188212 w 4016827"/>
                <a:gd name="connsiteY1570" fmla="*/ 2124651 h 7216489"/>
                <a:gd name="connsiteX1571" fmla="*/ 1201638 w 4016827"/>
                <a:gd name="connsiteY1571" fmla="*/ 2138075 h 7216489"/>
                <a:gd name="connsiteX1572" fmla="*/ 1188212 w 4016827"/>
                <a:gd name="connsiteY1572" fmla="*/ 2151499 h 7216489"/>
                <a:gd name="connsiteX1573" fmla="*/ 1174786 w 4016827"/>
                <a:gd name="connsiteY1573" fmla="*/ 2138075 h 7216489"/>
                <a:gd name="connsiteX1574" fmla="*/ 1188212 w 4016827"/>
                <a:gd name="connsiteY1574" fmla="*/ 2124651 h 7216489"/>
                <a:gd name="connsiteX1575" fmla="*/ 281948 w 4016827"/>
                <a:gd name="connsiteY1575" fmla="*/ 2121290 h 7216489"/>
                <a:gd name="connsiteX1576" fmla="*/ 295374 w 4016827"/>
                <a:gd name="connsiteY1576" fmla="*/ 2134715 h 7216489"/>
                <a:gd name="connsiteX1577" fmla="*/ 281948 w 4016827"/>
                <a:gd name="connsiteY1577" fmla="*/ 2148141 h 7216489"/>
                <a:gd name="connsiteX1578" fmla="*/ 268522 w 4016827"/>
                <a:gd name="connsiteY1578" fmla="*/ 2134715 h 7216489"/>
                <a:gd name="connsiteX1579" fmla="*/ 281948 w 4016827"/>
                <a:gd name="connsiteY1579" fmla="*/ 2121290 h 7216489"/>
                <a:gd name="connsiteX1580" fmla="*/ 735080 w 4016827"/>
                <a:gd name="connsiteY1580" fmla="*/ 2114579 h 7216489"/>
                <a:gd name="connsiteX1581" fmla="*/ 755220 w 4016827"/>
                <a:gd name="connsiteY1581" fmla="*/ 2134720 h 7216489"/>
                <a:gd name="connsiteX1582" fmla="*/ 735080 w 4016827"/>
                <a:gd name="connsiteY1582" fmla="*/ 2154857 h 7216489"/>
                <a:gd name="connsiteX1583" fmla="*/ 714941 w 4016827"/>
                <a:gd name="connsiteY1583" fmla="*/ 2134720 h 7216489"/>
                <a:gd name="connsiteX1584" fmla="*/ 735080 w 4016827"/>
                <a:gd name="connsiteY1584" fmla="*/ 2114579 h 7216489"/>
                <a:gd name="connsiteX1585" fmla="*/ 1419813 w 4016827"/>
                <a:gd name="connsiteY1585" fmla="*/ 2023989 h 7216489"/>
                <a:gd name="connsiteX1586" fmla="*/ 1429882 w 4016827"/>
                <a:gd name="connsiteY1586" fmla="*/ 2034058 h 7216489"/>
                <a:gd name="connsiteX1587" fmla="*/ 1419813 w 4016827"/>
                <a:gd name="connsiteY1587" fmla="*/ 2044129 h 7216489"/>
                <a:gd name="connsiteX1588" fmla="*/ 1409743 w 4016827"/>
                <a:gd name="connsiteY1588" fmla="*/ 2034058 h 7216489"/>
                <a:gd name="connsiteX1589" fmla="*/ 1419813 w 4016827"/>
                <a:gd name="connsiteY1589" fmla="*/ 2023989 h 7216489"/>
                <a:gd name="connsiteX1590" fmla="*/ 513549 w 4016827"/>
                <a:gd name="connsiteY1590" fmla="*/ 2017249 h 7216489"/>
                <a:gd name="connsiteX1591" fmla="*/ 530332 w 4016827"/>
                <a:gd name="connsiteY1591" fmla="*/ 2034033 h 7216489"/>
                <a:gd name="connsiteX1592" fmla="*/ 513549 w 4016827"/>
                <a:gd name="connsiteY1592" fmla="*/ 2050813 h 7216489"/>
                <a:gd name="connsiteX1593" fmla="*/ 496766 w 4016827"/>
                <a:gd name="connsiteY1593" fmla="*/ 2034033 h 7216489"/>
                <a:gd name="connsiteX1594" fmla="*/ 513549 w 4016827"/>
                <a:gd name="connsiteY1594" fmla="*/ 2017249 h 7216489"/>
                <a:gd name="connsiteX1595" fmla="*/ 966680 w 4016827"/>
                <a:gd name="connsiteY1595" fmla="*/ 2013905 h 7216489"/>
                <a:gd name="connsiteX1596" fmla="*/ 986820 w 4016827"/>
                <a:gd name="connsiteY1596" fmla="*/ 2034043 h 7216489"/>
                <a:gd name="connsiteX1597" fmla="*/ 966680 w 4016827"/>
                <a:gd name="connsiteY1597" fmla="*/ 2054181 h 7216489"/>
                <a:gd name="connsiteX1598" fmla="*/ 946541 w 4016827"/>
                <a:gd name="connsiteY1598" fmla="*/ 2034043 h 7216489"/>
                <a:gd name="connsiteX1599" fmla="*/ 966680 w 4016827"/>
                <a:gd name="connsiteY1599" fmla="*/ 2013905 h 7216489"/>
                <a:gd name="connsiteX1600" fmla="*/ 1654769 w 4016827"/>
                <a:gd name="connsiteY1600" fmla="*/ 1926656 h 7216489"/>
                <a:gd name="connsiteX1601" fmla="*/ 1661482 w 4016827"/>
                <a:gd name="connsiteY1601" fmla="*/ 1933370 h 7216489"/>
                <a:gd name="connsiteX1602" fmla="*/ 1654769 w 4016827"/>
                <a:gd name="connsiteY1602" fmla="*/ 1940086 h 7216489"/>
                <a:gd name="connsiteX1603" fmla="*/ 1648056 w 4016827"/>
                <a:gd name="connsiteY1603" fmla="*/ 1933370 h 7216489"/>
                <a:gd name="connsiteX1604" fmla="*/ 1654769 w 4016827"/>
                <a:gd name="connsiteY1604" fmla="*/ 1926656 h 7216489"/>
                <a:gd name="connsiteX1605" fmla="*/ 292018 w 4016827"/>
                <a:gd name="connsiteY1605" fmla="*/ 1926618 h 7216489"/>
                <a:gd name="connsiteX1606" fmla="*/ 298731 w 4016827"/>
                <a:gd name="connsiteY1606" fmla="*/ 1933330 h 7216489"/>
                <a:gd name="connsiteX1607" fmla="*/ 292018 w 4016827"/>
                <a:gd name="connsiteY1607" fmla="*/ 1940042 h 7216489"/>
                <a:gd name="connsiteX1608" fmla="*/ 285305 w 4016827"/>
                <a:gd name="connsiteY1608" fmla="*/ 1933330 h 7216489"/>
                <a:gd name="connsiteX1609" fmla="*/ 292018 w 4016827"/>
                <a:gd name="connsiteY1609" fmla="*/ 1926618 h 7216489"/>
                <a:gd name="connsiteX1610" fmla="*/ 1201638 w 4016827"/>
                <a:gd name="connsiteY1610" fmla="*/ 1923286 h 7216489"/>
                <a:gd name="connsiteX1611" fmla="*/ 1211708 w 4016827"/>
                <a:gd name="connsiteY1611" fmla="*/ 1933354 h 7216489"/>
                <a:gd name="connsiteX1612" fmla="*/ 1201638 w 4016827"/>
                <a:gd name="connsiteY1612" fmla="*/ 1943424 h 7216489"/>
                <a:gd name="connsiteX1613" fmla="*/ 1191568 w 4016827"/>
                <a:gd name="connsiteY1613" fmla="*/ 1933354 h 7216489"/>
                <a:gd name="connsiteX1614" fmla="*/ 1201638 w 4016827"/>
                <a:gd name="connsiteY1614" fmla="*/ 1923286 h 7216489"/>
                <a:gd name="connsiteX1615" fmla="*/ 745150 w 4016827"/>
                <a:gd name="connsiteY1615" fmla="*/ 1916558 h 7216489"/>
                <a:gd name="connsiteX1616" fmla="*/ 761933 w 4016827"/>
                <a:gd name="connsiteY1616" fmla="*/ 1933342 h 7216489"/>
                <a:gd name="connsiteX1617" fmla="*/ 745150 w 4016827"/>
                <a:gd name="connsiteY1617" fmla="*/ 1950123 h 7216489"/>
                <a:gd name="connsiteX1618" fmla="*/ 728367 w 4016827"/>
                <a:gd name="connsiteY1618" fmla="*/ 1933342 h 7216489"/>
                <a:gd name="connsiteX1619" fmla="*/ 745150 w 4016827"/>
                <a:gd name="connsiteY1619" fmla="*/ 1916558 h 7216489"/>
                <a:gd name="connsiteX1620" fmla="*/ 1439951 w 4016827"/>
                <a:gd name="connsiteY1620" fmla="*/ 1822595 h 7216489"/>
                <a:gd name="connsiteX1621" fmla="*/ 1450020 w 4016827"/>
                <a:gd name="connsiteY1621" fmla="*/ 1832665 h 7216489"/>
                <a:gd name="connsiteX1622" fmla="*/ 1439951 w 4016827"/>
                <a:gd name="connsiteY1622" fmla="*/ 1842734 h 7216489"/>
                <a:gd name="connsiteX1623" fmla="*/ 1429881 w 4016827"/>
                <a:gd name="connsiteY1623" fmla="*/ 1832665 h 7216489"/>
                <a:gd name="connsiteX1624" fmla="*/ 1439951 w 4016827"/>
                <a:gd name="connsiteY1624" fmla="*/ 1822595 h 7216489"/>
                <a:gd name="connsiteX1625" fmla="*/ 526975 w 4016827"/>
                <a:gd name="connsiteY1625" fmla="*/ 1815858 h 7216489"/>
                <a:gd name="connsiteX1626" fmla="*/ 543758 w 4016827"/>
                <a:gd name="connsiteY1626" fmla="*/ 1832640 h 7216489"/>
                <a:gd name="connsiteX1627" fmla="*/ 526975 w 4016827"/>
                <a:gd name="connsiteY1627" fmla="*/ 1849423 h 7216489"/>
                <a:gd name="connsiteX1628" fmla="*/ 510192 w 4016827"/>
                <a:gd name="connsiteY1628" fmla="*/ 1832640 h 7216489"/>
                <a:gd name="connsiteX1629" fmla="*/ 526975 w 4016827"/>
                <a:gd name="connsiteY1629" fmla="*/ 1815858 h 7216489"/>
                <a:gd name="connsiteX1630" fmla="*/ 983463 w 4016827"/>
                <a:gd name="connsiteY1630" fmla="*/ 1812512 h 7216489"/>
                <a:gd name="connsiteX1631" fmla="*/ 1003602 w 4016827"/>
                <a:gd name="connsiteY1631" fmla="*/ 1829294 h 7216489"/>
                <a:gd name="connsiteX1632" fmla="*/ 983463 w 4016827"/>
                <a:gd name="connsiteY1632" fmla="*/ 1849434 h 7216489"/>
                <a:gd name="connsiteX1633" fmla="*/ 963324 w 4016827"/>
                <a:gd name="connsiteY1633" fmla="*/ 1832650 h 7216489"/>
                <a:gd name="connsiteX1634" fmla="*/ 983463 w 4016827"/>
                <a:gd name="connsiteY1634" fmla="*/ 1812512 h 7216489"/>
                <a:gd name="connsiteX1635" fmla="*/ 312157 w 4016827"/>
                <a:gd name="connsiteY1635" fmla="*/ 1728581 h 7216489"/>
                <a:gd name="connsiteX1636" fmla="*/ 312157 w 4016827"/>
                <a:gd name="connsiteY1636" fmla="*/ 1731938 h 7216489"/>
                <a:gd name="connsiteX1637" fmla="*/ 312157 w 4016827"/>
                <a:gd name="connsiteY1637" fmla="*/ 1728581 h 7216489"/>
                <a:gd name="connsiteX1638" fmla="*/ 1225134 w 4016827"/>
                <a:gd name="connsiteY1638" fmla="*/ 1715181 h 7216489"/>
                <a:gd name="connsiteX1639" fmla="*/ 1238560 w 4016827"/>
                <a:gd name="connsiteY1639" fmla="*/ 1728607 h 7216489"/>
                <a:gd name="connsiteX1640" fmla="*/ 1225134 w 4016827"/>
                <a:gd name="connsiteY1640" fmla="*/ 1742033 h 7216489"/>
                <a:gd name="connsiteX1641" fmla="*/ 1211708 w 4016827"/>
                <a:gd name="connsiteY1641" fmla="*/ 1728607 h 7216489"/>
                <a:gd name="connsiteX1642" fmla="*/ 1225134 w 4016827"/>
                <a:gd name="connsiteY1642" fmla="*/ 1715181 h 7216489"/>
                <a:gd name="connsiteX1643" fmla="*/ 768646 w 4016827"/>
                <a:gd name="connsiteY1643" fmla="*/ 1708456 h 7216489"/>
                <a:gd name="connsiteX1644" fmla="*/ 792142 w 4016827"/>
                <a:gd name="connsiteY1644" fmla="*/ 1731951 h 7216489"/>
                <a:gd name="connsiteX1645" fmla="*/ 768646 w 4016827"/>
                <a:gd name="connsiteY1645" fmla="*/ 1755446 h 7216489"/>
                <a:gd name="connsiteX1646" fmla="*/ 745150 w 4016827"/>
                <a:gd name="connsiteY1646" fmla="*/ 1731951 h 7216489"/>
                <a:gd name="connsiteX1647" fmla="*/ 768646 w 4016827"/>
                <a:gd name="connsiteY1647" fmla="*/ 1708456 h 7216489"/>
                <a:gd name="connsiteX1648" fmla="*/ 1473517 w 4016827"/>
                <a:gd name="connsiteY1648" fmla="*/ 1624561 h 7216489"/>
                <a:gd name="connsiteX1649" fmla="*/ 1480230 w 4016827"/>
                <a:gd name="connsiteY1649" fmla="*/ 1631275 h 7216489"/>
                <a:gd name="connsiteX1650" fmla="*/ 1473517 w 4016827"/>
                <a:gd name="connsiteY1650" fmla="*/ 1637987 h 7216489"/>
                <a:gd name="connsiteX1651" fmla="*/ 1466804 w 4016827"/>
                <a:gd name="connsiteY1651" fmla="*/ 1631275 h 7216489"/>
                <a:gd name="connsiteX1652" fmla="*/ 1473517 w 4016827"/>
                <a:gd name="connsiteY1652" fmla="*/ 1624561 h 7216489"/>
                <a:gd name="connsiteX1653" fmla="*/ 553827 w 4016827"/>
                <a:gd name="connsiteY1653" fmla="*/ 1617822 h 7216489"/>
                <a:gd name="connsiteX1654" fmla="*/ 567254 w 4016827"/>
                <a:gd name="connsiteY1654" fmla="*/ 1631249 h 7216489"/>
                <a:gd name="connsiteX1655" fmla="*/ 553827 w 4016827"/>
                <a:gd name="connsiteY1655" fmla="*/ 1644675 h 7216489"/>
                <a:gd name="connsiteX1656" fmla="*/ 540401 w 4016827"/>
                <a:gd name="connsiteY1656" fmla="*/ 1631249 h 7216489"/>
                <a:gd name="connsiteX1657" fmla="*/ 553827 w 4016827"/>
                <a:gd name="connsiteY1657" fmla="*/ 1617822 h 7216489"/>
                <a:gd name="connsiteX1658" fmla="*/ 1013672 w 4016827"/>
                <a:gd name="connsiteY1658" fmla="*/ 1611121 h 7216489"/>
                <a:gd name="connsiteX1659" fmla="*/ 1033811 w 4016827"/>
                <a:gd name="connsiteY1659" fmla="*/ 1631261 h 7216489"/>
                <a:gd name="connsiteX1660" fmla="*/ 1013672 w 4016827"/>
                <a:gd name="connsiteY1660" fmla="*/ 1651401 h 7216489"/>
                <a:gd name="connsiteX1661" fmla="*/ 993533 w 4016827"/>
                <a:gd name="connsiteY1661" fmla="*/ 1631261 h 7216489"/>
                <a:gd name="connsiteX1662" fmla="*/ 1013672 w 4016827"/>
                <a:gd name="connsiteY1662" fmla="*/ 1611121 h 7216489"/>
                <a:gd name="connsiteX1663" fmla="*/ 1725256 w 4016827"/>
                <a:gd name="connsiteY1663" fmla="*/ 1530583 h 7216489"/>
                <a:gd name="connsiteX1664" fmla="*/ 1728613 w 4016827"/>
                <a:gd name="connsiteY1664" fmla="*/ 1533939 h 7216489"/>
                <a:gd name="connsiteX1665" fmla="*/ 1725256 w 4016827"/>
                <a:gd name="connsiteY1665" fmla="*/ 1537296 h 7216489"/>
                <a:gd name="connsiteX1666" fmla="*/ 1721900 w 4016827"/>
                <a:gd name="connsiteY1666" fmla="*/ 1533939 h 7216489"/>
                <a:gd name="connsiteX1667" fmla="*/ 1725256 w 4016827"/>
                <a:gd name="connsiteY1667" fmla="*/ 1530583 h 7216489"/>
                <a:gd name="connsiteX1668" fmla="*/ 1262056 w 4016827"/>
                <a:gd name="connsiteY1668" fmla="*/ 1523856 h 7216489"/>
                <a:gd name="connsiteX1669" fmla="*/ 1272125 w 4016827"/>
                <a:gd name="connsiteY1669" fmla="*/ 1533926 h 7216489"/>
                <a:gd name="connsiteX1670" fmla="*/ 1262056 w 4016827"/>
                <a:gd name="connsiteY1670" fmla="*/ 1543996 h 7216489"/>
                <a:gd name="connsiteX1671" fmla="*/ 1251986 w 4016827"/>
                <a:gd name="connsiteY1671" fmla="*/ 1533926 h 7216489"/>
                <a:gd name="connsiteX1672" fmla="*/ 1262056 w 4016827"/>
                <a:gd name="connsiteY1672" fmla="*/ 1523856 h 7216489"/>
                <a:gd name="connsiteX1673" fmla="*/ 798855 w 4016827"/>
                <a:gd name="connsiteY1673" fmla="*/ 1513777 h 7216489"/>
                <a:gd name="connsiteX1674" fmla="*/ 815637 w 4016827"/>
                <a:gd name="connsiteY1674" fmla="*/ 1530558 h 7216489"/>
                <a:gd name="connsiteX1675" fmla="*/ 798855 w 4016827"/>
                <a:gd name="connsiteY1675" fmla="*/ 1547340 h 7216489"/>
                <a:gd name="connsiteX1676" fmla="*/ 782072 w 4016827"/>
                <a:gd name="connsiteY1676" fmla="*/ 1530558 h 7216489"/>
                <a:gd name="connsiteX1677" fmla="*/ 798855 w 4016827"/>
                <a:gd name="connsiteY1677" fmla="*/ 1513777 h 7216489"/>
                <a:gd name="connsiteX1678" fmla="*/ 1517151 w 4016827"/>
                <a:gd name="connsiteY1678" fmla="*/ 1433236 h 7216489"/>
                <a:gd name="connsiteX1679" fmla="*/ 1520508 w 4016827"/>
                <a:gd name="connsiteY1679" fmla="*/ 1436592 h 7216489"/>
                <a:gd name="connsiteX1680" fmla="*/ 1517151 w 4016827"/>
                <a:gd name="connsiteY1680" fmla="*/ 1439949 h 7216489"/>
                <a:gd name="connsiteX1681" fmla="*/ 1513795 w 4016827"/>
                <a:gd name="connsiteY1681" fmla="*/ 1436592 h 7216489"/>
                <a:gd name="connsiteX1682" fmla="*/ 1517151 w 4016827"/>
                <a:gd name="connsiteY1682" fmla="*/ 1433236 h 7216489"/>
                <a:gd name="connsiteX1683" fmla="*/ 587393 w 4016827"/>
                <a:gd name="connsiteY1683" fmla="*/ 1423142 h 7216489"/>
                <a:gd name="connsiteX1684" fmla="*/ 594106 w 4016827"/>
                <a:gd name="connsiteY1684" fmla="*/ 1429855 h 7216489"/>
                <a:gd name="connsiteX1685" fmla="*/ 587393 w 4016827"/>
                <a:gd name="connsiteY1685" fmla="*/ 1436568 h 7216489"/>
                <a:gd name="connsiteX1686" fmla="*/ 580680 w 4016827"/>
                <a:gd name="connsiteY1686" fmla="*/ 1429855 h 7216489"/>
                <a:gd name="connsiteX1687" fmla="*/ 587393 w 4016827"/>
                <a:gd name="connsiteY1687" fmla="*/ 1423142 h 7216489"/>
                <a:gd name="connsiteX1688" fmla="*/ 1050594 w 4016827"/>
                <a:gd name="connsiteY1688" fmla="*/ 1419798 h 7216489"/>
                <a:gd name="connsiteX1689" fmla="*/ 1064020 w 4016827"/>
                <a:gd name="connsiteY1689" fmla="*/ 1433224 h 7216489"/>
                <a:gd name="connsiteX1690" fmla="*/ 1050594 w 4016827"/>
                <a:gd name="connsiteY1690" fmla="*/ 1446650 h 7216489"/>
                <a:gd name="connsiteX1691" fmla="*/ 1037168 w 4016827"/>
                <a:gd name="connsiteY1691" fmla="*/ 1433224 h 7216489"/>
                <a:gd name="connsiteX1692" fmla="*/ 1050594 w 4016827"/>
                <a:gd name="connsiteY1692" fmla="*/ 1419798 h 7216489"/>
                <a:gd name="connsiteX1693" fmla="*/ 1782318 w 4016827"/>
                <a:gd name="connsiteY1693" fmla="*/ 1335905 h 7216489"/>
                <a:gd name="connsiteX1694" fmla="*/ 1782318 w 4016827"/>
                <a:gd name="connsiteY1694" fmla="*/ 1341359 h 7216489"/>
                <a:gd name="connsiteX1695" fmla="*/ 1782318 w 4016827"/>
                <a:gd name="connsiteY1695" fmla="*/ 1342618 h 7216489"/>
                <a:gd name="connsiteX1696" fmla="*/ 1782318 w 4016827"/>
                <a:gd name="connsiteY1696" fmla="*/ 1335905 h 7216489"/>
                <a:gd name="connsiteX1697" fmla="*/ 1309047 w 4016827"/>
                <a:gd name="connsiteY1697" fmla="*/ 1325824 h 7216489"/>
                <a:gd name="connsiteX1698" fmla="*/ 1319117 w 4016827"/>
                <a:gd name="connsiteY1698" fmla="*/ 1335892 h 7216489"/>
                <a:gd name="connsiteX1699" fmla="*/ 1309047 w 4016827"/>
                <a:gd name="connsiteY1699" fmla="*/ 1345962 h 7216489"/>
                <a:gd name="connsiteX1700" fmla="*/ 1298977 w 4016827"/>
                <a:gd name="connsiteY1700" fmla="*/ 1335892 h 7216489"/>
                <a:gd name="connsiteX1701" fmla="*/ 1309047 w 4016827"/>
                <a:gd name="connsiteY1701" fmla="*/ 1325824 h 7216489"/>
                <a:gd name="connsiteX1702" fmla="*/ 842488 w 4016827"/>
                <a:gd name="connsiteY1702" fmla="*/ 1322455 h 7216489"/>
                <a:gd name="connsiteX1703" fmla="*/ 852558 w 4016827"/>
                <a:gd name="connsiteY1703" fmla="*/ 1332525 h 7216489"/>
                <a:gd name="connsiteX1704" fmla="*/ 842488 w 4016827"/>
                <a:gd name="connsiteY1704" fmla="*/ 1342593 h 7216489"/>
                <a:gd name="connsiteX1705" fmla="*/ 832419 w 4016827"/>
                <a:gd name="connsiteY1705" fmla="*/ 1332525 h 7216489"/>
                <a:gd name="connsiteX1706" fmla="*/ 842488 w 4016827"/>
                <a:gd name="connsiteY1706" fmla="*/ 1322455 h 7216489"/>
                <a:gd name="connsiteX1707" fmla="*/ 1574212 w 4016827"/>
                <a:gd name="connsiteY1707" fmla="*/ 1231846 h 7216489"/>
                <a:gd name="connsiteX1708" fmla="*/ 1580925 w 4016827"/>
                <a:gd name="connsiteY1708" fmla="*/ 1238559 h 7216489"/>
                <a:gd name="connsiteX1709" fmla="*/ 1574212 w 4016827"/>
                <a:gd name="connsiteY1709" fmla="*/ 1245269 h 7216489"/>
                <a:gd name="connsiteX1710" fmla="*/ 1567499 w 4016827"/>
                <a:gd name="connsiteY1710" fmla="*/ 1238559 h 7216489"/>
                <a:gd name="connsiteX1711" fmla="*/ 1574212 w 4016827"/>
                <a:gd name="connsiteY1711" fmla="*/ 1231846 h 7216489"/>
                <a:gd name="connsiteX1712" fmla="*/ 1100942 w 4016827"/>
                <a:gd name="connsiteY1712" fmla="*/ 1218408 h 7216489"/>
                <a:gd name="connsiteX1713" fmla="*/ 1117724 w 4016827"/>
                <a:gd name="connsiteY1713" fmla="*/ 1235192 h 7216489"/>
                <a:gd name="connsiteX1714" fmla="*/ 1100942 w 4016827"/>
                <a:gd name="connsiteY1714" fmla="*/ 1251973 h 7216489"/>
                <a:gd name="connsiteX1715" fmla="*/ 1084159 w 4016827"/>
                <a:gd name="connsiteY1715" fmla="*/ 1235192 h 7216489"/>
                <a:gd name="connsiteX1716" fmla="*/ 1100942 w 4016827"/>
                <a:gd name="connsiteY1716" fmla="*/ 1218408 h 7216489"/>
                <a:gd name="connsiteX1717" fmla="*/ 1369465 w 4016827"/>
                <a:gd name="connsiteY1717" fmla="*/ 1134500 h 7216489"/>
                <a:gd name="connsiteX1718" fmla="*/ 1376178 w 4016827"/>
                <a:gd name="connsiteY1718" fmla="*/ 1141213 h 7216489"/>
                <a:gd name="connsiteX1719" fmla="*/ 1369465 w 4016827"/>
                <a:gd name="connsiteY1719" fmla="*/ 1147925 h 7216489"/>
                <a:gd name="connsiteX1720" fmla="*/ 1362752 w 4016827"/>
                <a:gd name="connsiteY1720" fmla="*/ 1141213 h 7216489"/>
                <a:gd name="connsiteX1721" fmla="*/ 1369465 w 4016827"/>
                <a:gd name="connsiteY1721" fmla="*/ 1134500 h 7216489"/>
                <a:gd name="connsiteX1722" fmla="*/ 896193 w 4016827"/>
                <a:gd name="connsiteY1722" fmla="*/ 1127776 h 7216489"/>
                <a:gd name="connsiteX1723" fmla="*/ 906263 w 4016827"/>
                <a:gd name="connsiteY1723" fmla="*/ 1137846 h 7216489"/>
                <a:gd name="connsiteX1724" fmla="*/ 896193 w 4016827"/>
                <a:gd name="connsiteY1724" fmla="*/ 1147915 h 7216489"/>
                <a:gd name="connsiteX1725" fmla="*/ 886123 w 4016827"/>
                <a:gd name="connsiteY1725" fmla="*/ 1137846 h 7216489"/>
                <a:gd name="connsiteX1726" fmla="*/ 896193 w 4016827"/>
                <a:gd name="connsiteY1726" fmla="*/ 1127776 h 7216489"/>
                <a:gd name="connsiteX1727" fmla="*/ 1644700 w 4016827"/>
                <a:gd name="connsiteY1727" fmla="*/ 1043878 h 7216489"/>
                <a:gd name="connsiteX1728" fmla="*/ 1644700 w 4016827"/>
                <a:gd name="connsiteY1728" fmla="*/ 1050591 h 7216489"/>
                <a:gd name="connsiteX1729" fmla="*/ 1644700 w 4016827"/>
                <a:gd name="connsiteY1729" fmla="*/ 1043878 h 7216489"/>
                <a:gd name="connsiteX1730" fmla="*/ 1164716 w 4016827"/>
                <a:gd name="connsiteY1730" fmla="*/ 1030441 h 7216489"/>
                <a:gd name="connsiteX1731" fmla="*/ 1174786 w 4016827"/>
                <a:gd name="connsiteY1731" fmla="*/ 1040512 h 7216489"/>
                <a:gd name="connsiteX1732" fmla="*/ 1164716 w 4016827"/>
                <a:gd name="connsiteY1732" fmla="*/ 1050581 h 7216489"/>
                <a:gd name="connsiteX1733" fmla="*/ 1154646 w 4016827"/>
                <a:gd name="connsiteY1733" fmla="*/ 1040512 h 7216489"/>
                <a:gd name="connsiteX1734" fmla="*/ 1164716 w 4016827"/>
                <a:gd name="connsiteY1734" fmla="*/ 1030441 h 7216489"/>
                <a:gd name="connsiteX1735" fmla="*/ 1439951 w 4016827"/>
                <a:gd name="connsiteY1735" fmla="*/ 939813 h 7216489"/>
                <a:gd name="connsiteX1736" fmla="*/ 1450020 w 4016827"/>
                <a:gd name="connsiteY1736" fmla="*/ 949882 h 7216489"/>
                <a:gd name="connsiteX1737" fmla="*/ 1439951 w 4016827"/>
                <a:gd name="connsiteY1737" fmla="*/ 959953 h 7216489"/>
                <a:gd name="connsiteX1738" fmla="*/ 1429881 w 4016827"/>
                <a:gd name="connsiteY1738" fmla="*/ 949882 h 7216489"/>
                <a:gd name="connsiteX1739" fmla="*/ 1439951 w 4016827"/>
                <a:gd name="connsiteY1739" fmla="*/ 939813 h 7216489"/>
                <a:gd name="connsiteX1740" fmla="*/ 959967 w 4016827"/>
                <a:gd name="connsiteY1740" fmla="*/ 933090 h 7216489"/>
                <a:gd name="connsiteX1741" fmla="*/ 970037 w 4016827"/>
                <a:gd name="connsiteY1741" fmla="*/ 943159 h 7216489"/>
                <a:gd name="connsiteX1742" fmla="*/ 959967 w 4016827"/>
                <a:gd name="connsiteY1742" fmla="*/ 953228 h 7216489"/>
                <a:gd name="connsiteX1743" fmla="*/ 949898 w 4016827"/>
                <a:gd name="connsiteY1743" fmla="*/ 943159 h 7216489"/>
                <a:gd name="connsiteX1744" fmla="*/ 959967 w 4016827"/>
                <a:gd name="connsiteY1744" fmla="*/ 933090 h 7216489"/>
                <a:gd name="connsiteX1745" fmla="*/ 1728613 w 4016827"/>
                <a:gd name="connsiteY1745" fmla="*/ 859262 h 7216489"/>
                <a:gd name="connsiteX1746" fmla="*/ 1731970 w 4016827"/>
                <a:gd name="connsiteY1746" fmla="*/ 862618 h 7216489"/>
                <a:gd name="connsiteX1747" fmla="*/ 1728613 w 4016827"/>
                <a:gd name="connsiteY1747" fmla="*/ 865975 h 7216489"/>
                <a:gd name="connsiteX1748" fmla="*/ 1725256 w 4016827"/>
                <a:gd name="connsiteY1748" fmla="*/ 862618 h 7216489"/>
                <a:gd name="connsiteX1749" fmla="*/ 1728613 w 4016827"/>
                <a:gd name="connsiteY1749" fmla="*/ 859262 h 7216489"/>
                <a:gd name="connsiteX1750" fmla="*/ 1235203 w 4016827"/>
                <a:gd name="connsiteY1750" fmla="*/ 845825 h 7216489"/>
                <a:gd name="connsiteX1751" fmla="*/ 1241916 w 4016827"/>
                <a:gd name="connsiteY1751" fmla="*/ 852538 h 7216489"/>
                <a:gd name="connsiteX1752" fmla="*/ 1235203 w 4016827"/>
                <a:gd name="connsiteY1752" fmla="*/ 859251 h 7216489"/>
                <a:gd name="connsiteX1753" fmla="*/ 1228490 w 4016827"/>
                <a:gd name="connsiteY1753" fmla="*/ 852538 h 7216489"/>
                <a:gd name="connsiteX1754" fmla="*/ 1235203 w 4016827"/>
                <a:gd name="connsiteY1754" fmla="*/ 845825 h 7216489"/>
                <a:gd name="connsiteX1755" fmla="*/ 2027344 w 4016827"/>
                <a:gd name="connsiteY1755" fmla="*/ 778710 h 7216489"/>
                <a:gd name="connsiteX1756" fmla="*/ 2027344 w 4016827"/>
                <a:gd name="connsiteY1756" fmla="*/ 782066 h 7216489"/>
                <a:gd name="connsiteX1757" fmla="*/ 2027344 w 4016827"/>
                <a:gd name="connsiteY1757" fmla="*/ 778710 h 7216489"/>
                <a:gd name="connsiteX1758" fmla="*/ 1523864 w 4016827"/>
                <a:gd name="connsiteY1758" fmla="*/ 751848 h 7216489"/>
                <a:gd name="connsiteX1759" fmla="*/ 1537290 w 4016827"/>
                <a:gd name="connsiteY1759" fmla="*/ 765275 h 7216489"/>
                <a:gd name="connsiteX1760" fmla="*/ 1523864 w 4016827"/>
                <a:gd name="connsiteY1760" fmla="*/ 778701 h 7216489"/>
                <a:gd name="connsiteX1761" fmla="*/ 1510438 w 4016827"/>
                <a:gd name="connsiteY1761" fmla="*/ 765275 h 7216489"/>
                <a:gd name="connsiteX1762" fmla="*/ 1523864 w 4016827"/>
                <a:gd name="connsiteY1762" fmla="*/ 751848 h 7216489"/>
                <a:gd name="connsiteX1763" fmla="*/ 1033811 w 4016827"/>
                <a:gd name="connsiteY1763" fmla="*/ 745126 h 7216489"/>
                <a:gd name="connsiteX1764" fmla="*/ 1040524 w 4016827"/>
                <a:gd name="connsiteY1764" fmla="*/ 751838 h 7216489"/>
                <a:gd name="connsiteX1765" fmla="*/ 1033811 w 4016827"/>
                <a:gd name="connsiteY1765" fmla="*/ 758551 h 7216489"/>
                <a:gd name="connsiteX1766" fmla="*/ 1027098 w 4016827"/>
                <a:gd name="connsiteY1766" fmla="*/ 751838 h 7216489"/>
                <a:gd name="connsiteX1767" fmla="*/ 1033811 w 4016827"/>
                <a:gd name="connsiteY1767" fmla="*/ 745126 h 7216489"/>
                <a:gd name="connsiteX1768" fmla="*/ 1822596 w 4016827"/>
                <a:gd name="connsiteY1768" fmla="*/ 681366 h 7216489"/>
                <a:gd name="connsiteX1769" fmla="*/ 1822596 w 4016827"/>
                <a:gd name="connsiteY1769" fmla="*/ 684723 h 7216489"/>
                <a:gd name="connsiteX1770" fmla="*/ 1822596 w 4016827"/>
                <a:gd name="connsiteY1770" fmla="*/ 681366 h 7216489"/>
                <a:gd name="connsiteX1771" fmla="*/ 1319117 w 4016827"/>
                <a:gd name="connsiteY1771" fmla="*/ 654504 h 7216489"/>
                <a:gd name="connsiteX1772" fmla="*/ 1329186 w 4016827"/>
                <a:gd name="connsiteY1772" fmla="*/ 664574 h 7216489"/>
                <a:gd name="connsiteX1773" fmla="*/ 1319117 w 4016827"/>
                <a:gd name="connsiteY1773" fmla="*/ 674643 h 7216489"/>
                <a:gd name="connsiteX1774" fmla="*/ 1309047 w 4016827"/>
                <a:gd name="connsiteY1774" fmla="*/ 664574 h 7216489"/>
                <a:gd name="connsiteX1775" fmla="*/ 1319117 w 4016827"/>
                <a:gd name="connsiteY1775" fmla="*/ 654504 h 7216489"/>
                <a:gd name="connsiteX1776" fmla="*/ 2131396 w 4016827"/>
                <a:gd name="connsiteY1776" fmla="*/ 607528 h 7216489"/>
                <a:gd name="connsiteX1777" fmla="*/ 2131396 w 4016827"/>
                <a:gd name="connsiteY1777" fmla="*/ 610885 h 7216489"/>
                <a:gd name="connsiteX1778" fmla="*/ 2131396 w 4016827"/>
                <a:gd name="connsiteY1778" fmla="*/ 609627 h 7216489"/>
                <a:gd name="connsiteX1779" fmla="*/ 1617847 w 4016827"/>
                <a:gd name="connsiteY1779" fmla="*/ 577309 h 7216489"/>
                <a:gd name="connsiteX1780" fmla="*/ 1624560 w 4016827"/>
                <a:gd name="connsiteY1780" fmla="*/ 584023 h 7216489"/>
                <a:gd name="connsiteX1781" fmla="*/ 1617847 w 4016827"/>
                <a:gd name="connsiteY1781" fmla="*/ 590735 h 7216489"/>
                <a:gd name="connsiteX1782" fmla="*/ 1611134 w 4016827"/>
                <a:gd name="connsiteY1782" fmla="*/ 584023 h 7216489"/>
                <a:gd name="connsiteX1783" fmla="*/ 1617847 w 4016827"/>
                <a:gd name="connsiteY1783" fmla="*/ 577309 h 7216489"/>
                <a:gd name="connsiteX1784" fmla="*/ 1926649 w 4016827"/>
                <a:gd name="connsiteY1784" fmla="*/ 506828 h 7216489"/>
                <a:gd name="connsiteX1785" fmla="*/ 1930005 w 4016827"/>
                <a:gd name="connsiteY1785" fmla="*/ 510184 h 7216489"/>
                <a:gd name="connsiteX1786" fmla="*/ 1926649 w 4016827"/>
                <a:gd name="connsiteY1786" fmla="*/ 513541 h 7216489"/>
                <a:gd name="connsiteX1787" fmla="*/ 1923292 w 4016827"/>
                <a:gd name="connsiteY1787" fmla="*/ 510184 h 7216489"/>
                <a:gd name="connsiteX1788" fmla="*/ 1926649 w 4016827"/>
                <a:gd name="connsiteY1788" fmla="*/ 506828 h 7216489"/>
                <a:gd name="connsiteX1789" fmla="*/ 1413099 w 4016827"/>
                <a:gd name="connsiteY1789" fmla="*/ 476608 h 7216489"/>
                <a:gd name="connsiteX1790" fmla="*/ 1423168 w 4016827"/>
                <a:gd name="connsiteY1790" fmla="*/ 486678 h 7216489"/>
                <a:gd name="connsiteX1791" fmla="*/ 1413099 w 4016827"/>
                <a:gd name="connsiteY1791" fmla="*/ 496747 h 7216489"/>
                <a:gd name="connsiteX1792" fmla="*/ 1403029 w 4016827"/>
                <a:gd name="connsiteY1792" fmla="*/ 486678 h 7216489"/>
                <a:gd name="connsiteX1793" fmla="*/ 1413099 w 4016827"/>
                <a:gd name="connsiteY1793" fmla="*/ 476608 h 7216489"/>
                <a:gd name="connsiteX1794" fmla="*/ 2252232 w 4016827"/>
                <a:gd name="connsiteY1794" fmla="*/ 439702 h 7216489"/>
                <a:gd name="connsiteX1795" fmla="*/ 2252232 w 4016827"/>
                <a:gd name="connsiteY1795" fmla="*/ 446415 h 7216489"/>
                <a:gd name="connsiteX1796" fmla="*/ 2252232 w 4016827"/>
                <a:gd name="connsiteY1796" fmla="*/ 439702 h 7216489"/>
                <a:gd name="connsiteX1797" fmla="*/ 1721900 w 4016827"/>
                <a:gd name="connsiteY1797" fmla="*/ 402770 h 7216489"/>
                <a:gd name="connsiteX1798" fmla="*/ 1728613 w 4016827"/>
                <a:gd name="connsiteY1798" fmla="*/ 409483 h 7216489"/>
                <a:gd name="connsiteX1799" fmla="*/ 1721900 w 4016827"/>
                <a:gd name="connsiteY1799" fmla="*/ 416196 h 7216489"/>
                <a:gd name="connsiteX1800" fmla="*/ 1715187 w 4016827"/>
                <a:gd name="connsiteY1800" fmla="*/ 409483 h 7216489"/>
                <a:gd name="connsiteX1801" fmla="*/ 1721900 w 4016827"/>
                <a:gd name="connsiteY1801" fmla="*/ 402770 h 7216489"/>
                <a:gd name="connsiteX1802" fmla="*/ 2044126 w 4016827"/>
                <a:gd name="connsiteY1802" fmla="*/ 339001 h 7216489"/>
                <a:gd name="connsiteX1803" fmla="*/ 2044126 w 4016827"/>
                <a:gd name="connsiteY1803" fmla="*/ 345715 h 7216489"/>
                <a:gd name="connsiteX1804" fmla="*/ 2044126 w 4016827"/>
                <a:gd name="connsiteY1804" fmla="*/ 339001 h 7216489"/>
                <a:gd name="connsiteX1805" fmla="*/ 1517151 w 4016827"/>
                <a:gd name="connsiteY1805" fmla="*/ 305426 h 7216489"/>
                <a:gd name="connsiteX1806" fmla="*/ 1517151 w 4016827"/>
                <a:gd name="connsiteY1806" fmla="*/ 312139 h 7216489"/>
                <a:gd name="connsiteX1807" fmla="*/ 1517151 w 4016827"/>
                <a:gd name="connsiteY1807" fmla="*/ 305426 h 7216489"/>
                <a:gd name="connsiteX1808" fmla="*/ 2379780 w 4016827"/>
                <a:gd name="connsiteY1808" fmla="*/ 285303 h 7216489"/>
                <a:gd name="connsiteX1809" fmla="*/ 2379780 w 4016827"/>
                <a:gd name="connsiteY1809" fmla="*/ 288659 h 7216489"/>
                <a:gd name="connsiteX1810" fmla="*/ 2379780 w 4016827"/>
                <a:gd name="connsiteY1810" fmla="*/ 285303 h 7216489"/>
                <a:gd name="connsiteX1811" fmla="*/ 1834762 w 4016827"/>
                <a:gd name="connsiteY1811" fmla="*/ 240820 h 7216489"/>
                <a:gd name="connsiteX1812" fmla="*/ 1836021 w 4016827"/>
                <a:gd name="connsiteY1812" fmla="*/ 241658 h 7216489"/>
                <a:gd name="connsiteX1813" fmla="*/ 1836021 w 4016827"/>
                <a:gd name="connsiteY1813" fmla="*/ 245015 h 7216489"/>
                <a:gd name="connsiteX1814" fmla="*/ 1834762 w 4016827"/>
                <a:gd name="connsiteY1814" fmla="*/ 240820 h 7216489"/>
                <a:gd name="connsiteX1815" fmla="*/ 2168318 w 4016827"/>
                <a:gd name="connsiteY1815" fmla="*/ 181245 h 7216489"/>
                <a:gd name="connsiteX1816" fmla="*/ 2168318 w 4016827"/>
                <a:gd name="connsiteY1816" fmla="*/ 184602 h 7216489"/>
                <a:gd name="connsiteX1817" fmla="*/ 2168318 w 4016827"/>
                <a:gd name="connsiteY1817" fmla="*/ 181245 h 7216489"/>
                <a:gd name="connsiteX1818" fmla="*/ 2520754 w 4016827"/>
                <a:gd name="connsiteY1818" fmla="*/ 137617 h 7216489"/>
                <a:gd name="connsiteX1819" fmla="*/ 2520754 w 4016827"/>
                <a:gd name="connsiteY1819" fmla="*/ 140974 h 7216489"/>
                <a:gd name="connsiteX1820" fmla="*/ 2520754 w 4016827"/>
                <a:gd name="connsiteY1820" fmla="*/ 137617 h 7216489"/>
                <a:gd name="connsiteX1821" fmla="*/ 1960213 w 4016827"/>
                <a:gd name="connsiteY1821" fmla="*/ 77189 h 7216489"/>
                <a:gd name="connsiteX1822" fmla="*/ 1960213 w 4016827"/>
                <a:gd name="connsiteY1822" fmla="*/ 83901 h 7216489"/>
                <a:gd name="connsiteX1823" fmla="*/ 1960213 w 4016827"/>
                <a:gd name="connsiteY1823" fmla="*/ 77189 h 7216489"/>
                <a:gd name="connsiteX1824" fmla="*/ 2305936 w 4016827"/>
                <a:gd name="connsiteY1824" fmla="*/ 30203 h 7216489"/>
                <a:gd name="connsiteX1825" fmla="*/ 2305936 w 4016827"/>
                <a:gd name="connsiteY1825" fmla="*/ 33559 h 7216489"/>
                <a:gd name="connsiteX1826" fmla="*/ 2305936 w 4016827"/>
                <a:gd name="connsiteY1826" fmla="*/ 30203 h 7216489"/>
                <a:gd name="connsiteX1827" fmla="*/ 2668441 w 4016827"/>
                <a:gd name="connsiteY1827" fmla="*/ 0 h 7216489"/>
                <a:gd name="connsiteX1828" fmla="*/ 2668441 w 4016827"/>
                <a:gd name="connsiteY1828" fmla="*/ 3357 h 7216489"/>
                <a:gd name="connsiteX1829" fmla="*/ 2668441 w 4016827"/>
                <a:gd name="connsiteY1829" fmla="*/ 0 h 721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Lst>
              <a:rect l="l" t="t" r="r" b="b"/>
              <a:pathLst>
                <a:path w="4016827" h="7216489">
                  <a:moveTo>
                    <a:pt x="3030947" y="7203063"/>
                  </a:moveTo>
                  <a:cubicBezTo>
                    <a:pt x="3034304" y="7203063"/>
                    <a:pt x="3037660" y="7206420"/>
                    <a:pt x="3037660" y="7209776"/>
                  </a:cubicBezTo>
                  <a:cubicBezTo>
                    <a:pt x="3037660" y="7213133"/>
                    <a:pt x="3034304" y="7216489"/>
                    <a:pt x="3030947" y="7216489"/>
                  </a:cubicBezTo>
                  <a:cubicBezTo>
                    <a:pt x="3027590" y="7216489"/>
                    <a:pt x="3024234" y="7213133"/>
                    <a:pt x="3024234" y="7209776"/>
                  </a:cubicBezTo>
                  <a:cubicBezTo>
                    <a:pt x="3024234" y="7206420"/>
                    <a:pt x="3027590" y="7203063"/>
                    <a:pt x="3030947" y="7203063"/>
                  </a:cubicBezTo>
                  <a:close/>
                  <a:moveTo>
                    <a:pt x="3873436" y="7149359"/>
                  </a:moveTo>
                  <a:cubicBezTo>
                    <a:pt x="3883505" y="7149359"/>
                    <a:pt x="3893574" y="7159428"/>
                    <a:pt x="3893574" y="7169498"/>
                  </a:cubicBezTo>
                  <a:cubicBezTo>
                    <a:pt x="3893574" y="7179568"/>
                    <a:pt x="3883505" y="7189637"/>
                    <a:pt x="3873436" y="7189637"/>
                  </a:cubicBezTo>
                  <a:cubicBezTo>
                    <a:pt x="3863366" y="7189637"/>
                    <a:pt x="3853295" y="7179568"/>
                    <a:pt x="3853295" y="7169498"/>
                  </a:cubicBezTo>
                  <a:cubicBezTo>
                    <a:pt x="3853295" y="7159428"/>
                    <a:pt x="3863366" y="7149359"/>
                    <a:pt x="3873436" y="7149359"/>
                  </a:cubicBezTo>
                  <a:close/>
                  <a:moveTo>
                    <a:pt x="2839624" y="7142646"/>
                  </a:moveTo>
                  <a:cubicBezTo>
                    <a:pt x="2839624" y="7142646"/>
                    <a:pt x="2842981" y="7142646"/>
                    <a:pt x="2839624" y="7146002"/>
                  </a:cubicBezTo>
                  <a:cubicBezTo>
                    <a:pt x="2836268" y="7142646"/>
                    <a:pt x="2839624" y="7142646"/>
                    <a:pt x="2839624" y="7142646"/>
                  </a:cubicBezTo>
                  <a:close/>
                  <a:moveTo>
                    <a:pt x="3675402" y="7109080"/>
                  </a:moveTo>
                  <a:cubicBezTo>
                    <a:pt x="3688828" y="7109080"/>
                    <a:pt x="3702254" y="7122506"/>
                    <a:pt x="3702254" y="7135933"/>
                  </a:cubicBezTo>
                  <a:cubicBezTo>
                    <a:pt x="3702254" y="7149359"/>
                    <a:pt x="3688828" y="7162785"/>
                    <a:pt x="3675402" y="7162785"/>
                  </a:cubicBezTo>
                  <a:cubicBezTo>
                    <a:pt x="3658618" y="7162785"/>
                    <a:pt x="3645192" y="7149359"/>
                    <a:pt x="3648550" y="7135933"/>
                  </a:cubicBezTo>
                  <a:cubicBezTo>
                    <a:pt x="3648550" y="7122506"/>
                    <a:pt x="3661976" y="7109080"/>
                    <a:pt x="3675402" y="7109080"/>
                  </a:cubicBezTo>
                  <a:close/>
                  <a:moveTo>
                    <a:pt x="3474010" y="7055376"/>
                  </a:moveTo>
                  <a:cubicBezTo>
                    <a:pt x="3494147" y="7055376"/>
                    <a:pt x="3510931" y="7072158"/>
                    <a:pt x="3510931" y="7092298"/>
                  </a:cubicBezTo>
                  <a:cubicBezTo>
                    <a:pt x="3510931" y="7112437"/>
                    <a:pt x="3494147" y="7129220"/>
                    <a:pt x="3474010" y="7129220"/>
                  </a:cubicBezTo>
                  <a:cubicBezTo>
                    <a:pt x="3453868" y="7129220"/>
                    <a:pt x="3437087" y="7112437"/>
                    <a:pt x="3437087" y="7092298"/>
                  </a:cubicBezTo>
                  <a:cubicBezTo>
                    <a:pt x="3437087" y="7072158"/>
                    <a:pt x="3453868" y="7055376"/>
                    <a:pt x="3474010" y="7055376"/>
                  </a:cubicBezTo>
                  <a:close/>
                  <a:moveTo>
                    <a:pt x="3279328" y="7021810"/>
                  </a:moveTo>
                  <a:cubicBezTo>
                    <a:pt x="3292755" y="7021810"/>
                    <a:pt x="3302826" y="7031880"/>
                    <a:pt x="3302826" y="7045306"/>
                  </a:cubicBezTo>
                  <a:cubicBezTo>
                    <a:pt x="3302826" y="7058732"/>
                    <a:pt x="3292755" y="7068802"/>
                    <a:pt x="3279328" y="7068802"/>
                  </a:cubicBezTo>
                  <a:cubicBezTo>
                    <a:pt x="3265902" y="7068802"/>
                    <a:pt x="3252476" y="7058732"/>
                    <a:pt x="3255834" y="7045306"/>
                  </a:cubicBezTo>
                  <a:cubicBezTo>
                    <a:pt x="3255834" y="7031880"/>
                    <a:pt x="3265902" y="7021810"/>
                    <a:pt x="3279328" y="7021810"/>
                  </a:cubicBezTo>
                  <a:close/>
                  <a:moveTo>
                    <a:pt x="2463694" y="6984888"/>
                  </a:moveTo>
                  <a:cubicBezTo>
                    <a:pt x="2467050" y="6984888"/>
                    <a:pt x="2470406" y="6988245"/>
                    <a:pt x="2470406" y="6991602"/>
                  </a:cubicBezTo>
                  <a:cubicBezTo>
                    <a:pt x="2470406" y="6994958"/>
                    <a:pt x="2467050" y="6998315"/>
                    <a:pt x="2463694" y="6998315"/>
                  </a:cubicBezTo>
                  <a:cubicBezTo>
                    <a:pt x="2460337" y="6998315"/>
                    <a:pt x="2456980" y="6994958"/>
                    <a:pt x="2456980" y="6991602"/>
                  </a:cubicBezTo>
                  <a:cubicBezTo>
                    <a:pt x="2456980" y="6988245"/>
                    <a:pt x="2460337" y="6984888"/>
                    <a:pt x="2463694" y="6984888"/>
                  </a:cubicBezTo>
                  <a:close/>
                  <a:moveTo>
                    <a:pt x="3081295" y="6911045"/>
                  </a:moveTo>
                  <a:cubicBezTo>
                    <a:pt x="3123931" y="6911045"/>
                    <a:pt x="3158496" y="6945608"/>
                    <a:pt x="3158496" y="6988245"/>
                  </a:cubicBezTo>
                  <a:cubicBezTo>
                    <a:pt x="3158496" y="7030881"/>
                    <a:pt x="3123931" y="7065445"/>
                    <a:pt x="3081295" y="7065445"/>
                  </a:cubicBezTo>
                  <a:cubicBezTo>
                    <a:pt x="3038658" y="7065445"/>
                    <a:pt x="3004095" y="7030882"/>
                    <a:pt x="3004095" y="6988245"/>
                  </a:cubicBezTo>
                  <a:cubicBezTo>
                    <a:pt x="3004095" y="6945609"/>
                    <a:pt x="3038658" y="6911045"/>
                    <a:pt x="3081295" y="6911045"/>
                  </a:cubicBezTo>
                  <a:close/>
                  <a:moveTo>
                    <a:pt x="2279084" y="6897619"/>
                  </a:moveTo>
                  <a:cubicBezTo>
                    <a:pt x="2282440" y="6897619"/>
                    <a:pt x="2285797" y="6900975"/>
                    <a:pt x="2285797" y="6904332"/>
                  </a:cubicBezTo>
                  <a:cubicBezTo>
                    <a:pt x="2285797" y="6907688"/>
                    <a:pt x="2282440" y="6911045"/>
                    <a:pt x="2279084" y="6911045"/>
                  </a:cubicBezTo>
                  <a:cubicBezTo>
                    <a:pt x="2275728" y="6911045"/>
                    <a:pt x="2272371" y="6911045"/>
                    <a:pt x="2272371" y="6904332"/>
                  </a:cubicBezTo>
                  <a:cubicBezTo>
                    <a:pt x="2272371" y="6900975"/>
                    <a:pt x="2275728" y="6897619"/>
                    <a:pt x="2279084" y="6897619"/>
                  </a:cubicBezTo>
                  <a:close/>
                  <a:moveTo>
                    <a:pt x="3923784" y="6877479"/>
                  </a:moveTo>
                  <a:cubicBezTo>
                    <a:pt x="3960704" y="6877479"/>
                    <a:pt x="3994272" y="6907688"/>
                    <a:pt x="3994272" y="6947967"/>
                  </a:cubicBezTo>
                  <a:cubicBezTo>
                    <a:pt x="3994272" y="6984888"/>
                    <a:pt x="3964062" y="7018454"/>
                    <a:pt x="3923784" y="7018454"/>
                  </a:cubicBezTo>
                  <a:cubicBezTo>
                    <a:pt x="3886863" y="7018454"/>
                    <a:pt x="3853295" y="6984888"/>
                    <a:pt x="3853295" y="6947967"/>
                  </a:cubicBezTo>
                  <a:cubicBezTo>
                    <a:pt x="3853295" y="6911045"/>
                    <a:pt x="3883505" y="6877479"/>
                    <a:pt x="3923784" y="6877479"/>
                  </a:cubicBezTo>
                  <a:close/>
                  <a:moveTo>
                    <a:pt x="2889972" y="6860697"/>
                  </a:moveTo>
                  <a:cubicBezTo>
                    <a:pt x="2923538" y="6860697"/>
                    <a:pt x="2950390" y="6887549"/>
                    <a:pt x="2950390" y="6921114"/>
                  </a:cubicBezTo>
                  <a:cubicBezTo>
                    <a:pt x="2950390" y="6954680"/>
                    <a:pt x="2923538" y="6981532"/>
                    <a:pt x="2889972" y="6981532"/>
                  </a:cubicBezTo>
                  <a:cubicBezTo>
                    <a:pt x="2856407" y="6981532"/>
                    <a:pt x="2829555" y="6954680"/>
                    <a:pt x="2829555" y="6921114"/>
                  </a:cubicBezTo>
                  <a:cubicBezTo>
                    <a:pt x="2829555" y="6887549"/>
                    <a:pt x="2856407" y="6860697"/>
                    <a:pt x="2889972" y="6860697"/>
                  </a:cubicBezTo>
                  <a:close/>
                  <a:moveTo>
                    <a:pt x="3725749" y="6840557"/>
                  </a:moveTo>
                  <a:cubicBezTo>
                    <a:pt x="3766028" y="6840557"/>
                    <a:pt x="3796237" y="6874123"/>
                    <a:pt x="3796237" y="6911045"/>
                  </a:cubicBezTo>
                  <a:cubicBezTo>
                    <a:pt x="3796237" y="6951323"/>
                    <a:pt x="3762670" y="6981532"/>
                    <a:pt x="3725749" y="6981532"/>
                  </a:cubicBezTo>
                  <a:cubicBezTo>
                    <a:pt x="3685470" y="6981532"/>
                    <a:pt x="3655261" y="6951323"/>
                    <a:pt x="3655261" y="6911045"/>
                  </a:cubicBezTo>
                  <a:cubicBezTo>
                    <a:pt x="3655261" y="6870766"/>
                    <a:pt x="3688828" y="6840557"/>
                    <a:pt x="3725749" y="6840557"/>
                  </a:cubicBezTo>
                  <a:close/>
                  <a:moveTo>
                    <a:pt x="2702006" y="6817062"/>
                  </a:moveTo>
                  <a:cubicBezTo>
                    <a:pt x="2718789" y="6817062"/>
                    <a:pt x="2732215" y="6830488"/>
                    <a:pt x="2732215" y="6847271"/>
                  </a:cubicBezTo>
                  <a:cubicBezTo>
                    <a:pt x="2732215" y="6864053"/>
                    <a:pt x="2718789" y="6877479"/>
                    <a:pt x="2702006" y="6877479"/>
                  </a:cubicBezTo>
                  <a:cubicBezTo>
                    <a:pt x="2685224" y="6877479"/>
                    <a:pt x="2671798" y="6864053"/>
                    <a:pt x="2671798" y="6847271"/>
                  </a:cubicBezTo>
                  <a:cubicBezTo>
                    <a:pt x="2671798" y="6830488"/>
                    <a:pt x="2685224" y="6817062"/>
                    <a:pt x="2702006" y="6817062"/>
                  </a:cubicBezTo>
                  <a:close/>
                  <a:moveTo>
                    <a:pt x="3524357" y="6793566"/>
                  </a:moveTo>
                  <a:cubicBezTo>
                    <a:pt x="3567993" y="6793566"/>
                    <a:pt x="3601556" y="6827131"/>
                    <a:pt x="3601556" y="6870766"/>
                  </a:cubicBezTo>
                  <a:cubicBezTo>
                    <a:pt x="3601556" y="6914401"/>
                    <a:pt x="3567993" y="6947967"/>
                    <a:pt x="3524357" y="6947967"/>
                  </a:cubicBezTo>
                  <a:cubicBezTo>
                    <a:pt x="3484078" y="6947967"/>
                    <a:pt x="3447158" y="6914401"/>
                    <a:pt x="3447158" y="6870766"/>
                  </a:cubicBezTo>
                  <a:cubicBezTo>
                    <a:pt x="3447158" y="6827131"/>
                    <a:pt x="3480721" y="6793566"/>
                    <a:pt x="3524357" y="6793566"/>
                  </a:cubicBezTo>
                  <a:close/>
                  <a:moveTo>
                    <a:pt x="3329678" y="6743218"/>
                  </a:moveTo>
                  <a:cubicBezTo>
                    <a:pt x="3373312" y="6743218"/>
                    <a:pt x="3406879" y="6776783"/>
                    <a:pt x="3406879" y="6820418"/>
                  </a:cubicBezTo>
                  <a:cubicBezTo>
                    <a:pt x="3406879" y="6864053"/>
                    <a:pt x="3373312" y="6897619"/>
                    <a:pt x="3329678" y="6897619"/>
                  </a:cubicBezTo>
                  <a:cubicBezTo>
                    <a:pt x="3286044" y="6897619"/>
                    <a:pt x="3252476" y="6864053"/>
                    <a:pt x="3252476" y="6820418"/>
                  </a:cubicBezTo>
                  <a:cubicBezTo>
                    <a:pt x="3252476" y="6776783"/>
                    <a:pt x="3286044" y="6743218"/>
                    <a:pt x="3329678" y="6743218"/>
                  </a:cubicBezTo>
                  <a:close/>
                  <a:moveTo>
                    <a:pt x="1919936" y="6709653"/>
                  </a:moveTo>
                  <a:cubicBezTo>
                    <a:pt x="1919936" y="6709653"/>
                    <a:pt x="1923292" y="6709653"/>
                    <a:pt x="1923292" y="6713009"/>
                  </a:cubicBezTo>
                  <a:cubicBezTo>
                    <a:pt x="1923292" y="6713009"/>
                    <a:pt x="1923292" y="6716366"/>
                    <a:pt x="1919936" y="6716366"/>
                  </a:cubicBezTo>
                  <a:cubicBezTo>
                    <a:pt x="1919936" y="6716366"/>
                    <a:pt x="1916579" y="6716366"/>
                    <a:pt x="1916579" y="6713009"/>
                  </a:cubicBezTo>
                  <a:cubicBezTo>
                    <a:pt x="1916579" y="6713009"/>
                    <a:pt x="1916579" y="6709653"/>
                    <a:pt x="1919936" y="6709653"/>
                  </a:cubicBezTo>
                  <a:close/>
                  <a:moveTo>
                    <a:pt x="3131643" y="6696226"/>
                  </a:moveTo>
                  <a:cubicBezTo>
                    <a:pt x="3168566" y="6696226"/>
                    <a:pt x="3202129" y="6726435"/>
                    <a:pt x="3202129" y="6766714"/>
                  </a:cubicBezTo>
                  <a:cubicBezTo>
                    <a:pt x="3202129" y="6803636"/>
                    <a:pt x="3171922" y="6837201"/>
                    <a:pt x="3131643" y="6837201"/>
                  </a:cubicBezTo>
                  <a:cubicBezTo>
                    <a:pt x="3094721" y="6837201"/>
                    <a:pt x="3061156" y="6803636"/>
                    <a:pt x="3061156" y="6766714"/>
                  </a:cubicBezTo>
                  <a:cubicBezTo>
                    <a:pt x="3061156" y="6729792"/>
                    <a:pt x="3091365" y="6696226"/>
                    <a:pt x="3131643" y="6696226"/>
                  </a:cubicBezTo>
                  <a:close/>
                  <a:moveTo>
                    <a:pt x="2514042" y="6686157"/>
                  </a:moveTo>
                  <a:cubicBezTo>
                    <a:pt x="2557676" y="6686157"/>
                    <a:pt x="2594598" y="6723079"/>
                    <a:pt x="2594598" y="6766714"/>
                  </a:cubicBezTo>
                  <a:cubicBezTo>
                    <a:pt x="2594598" y="6810349"/>
                    <a:pt x="2557676" y="6847271"/>
                    <a:pt x="2514042" y="6847271"/>
                  </a:cubicBezTo>
                  <a:cubicBezTo>
                    <a:pt x="2470406" y="6847271"/>
                    <a:pt x="2433484" y="6813705"/>
                    <a:pt x="2433484" y="6766714"/>
                  </a:cubicBezTo>
                  <a:cubicBezTo>
                    <a:pt x="2433484" y="6723079"/>
                    <a:pt x="2470406" y="6686157"/>
                    <a:pt x="2514042" y="6686157"/>
                  </a:cubicBezTo>
                  <a:close/>
                  <a:moveTo>
                    <a:pt x="3974130" y="6662662"/>
                  </a:moveTo>
                  <a:cubicBezTo>
                    <a:pt x="3982522" y="6662662"/>
                    <a:pt x="3990494" y="6664340"/>
                    <a:pt x="3997732" y="6667382"/>
                  </a:cubicBezTo>
                  <a:lnTo>
                    <a:pt x="4016827" y="6680216"/>
                  </a:lnTo>
                  <a:lnTo>
                    <a:pt x="4016827" y="6765944"/>
                  </a:lnTo>
                  <a:lnTo>
                    <a:pt x="3997732" y="6778777"/>
                  </a:lnTo>
                  <a:cubicBezTo>
                    <a:pt x="3990494" y="6781819"/>
                    <a:pt x="3982522" y="6783497"/>
                    <a:pt x="3974130" y="6783497"/>
                  </a:cubicBezTo>
                  <a:cubicBezTo>
                    <a:pt x="3943923" y="6783497"/>
                    <a:pt x="3917070" y="6756645"/>
                    <a:pt x="3913715" y="6723080"/>
                  </a:cubicBezTo>
                  <a:cubicBezTo>
                    <a:pt x="3913715" y="6689514"/>
                    <a:pt x="3940567" y="6662662"/>
                    <a:pt x="3974130" y="6662662"/>
                  </a:cubicBezTo>
                  <a:close/>
                  <a:moveTo>
                    <a:pt x="2940320" y="6629097"/>
                  </a:moveTo>
                  <a:cubicBezTo>
                    <a:pt x="2977242" y="6629097"/>
                    <a:pt x="3010808" y="6662662"/>
                    <a:pt x="3010808" y="6699584"/>
                  </a:cubicBezTo>
                  <a:cubicBezTo>
                    <a:pt x="3010808" y="6736506"/>
                    <a:pt x="2980599" y="6770071"/>
                    <a:pt x="2940320" y="6770071"/>
                  </a:cubicBezTo>
                  <a:cubicBezTo>
                    <a:pt x="2900042" y="6770071"/>
                    <a:pt x="2869833" y="6736506"/>
                    <a:pt x="2869833" y="6699584"/>
                  </a:cubicBezTo>
                  <a:cubicBezTo>
                    <a:pt x="2869833" y="6662662"/>
                    <a:pt x="2903398" y="6629097"/>
                    <a:pt x="2940320" y="6629097"/>
                  </a:cubicBezTo>
                  <a:close/>
                  <a:moveTo>
                    <a:pt x="3776096" y="6619027"/>
                  </a:moveTo>
                  <a:cubicBezTo>
                    <a:pt x="3816374" y="6619027"/>
                    <a:pt x="3849940" y="6652592"/>
                    <a:pt x="3849940" y="6692871"/>
                  </a:cubicBezTo>
                  <a:cubicBezTo>
                    <a:pt x="3849940" y="6733149"/>
                    <a:pt x="3816374" y="6766715"/>
                    <a:pt x="3776096" y="6766715"/>
                  </a:cubicBezTo>
                  <a:cubicBezTo>
                    <a:pt x="3732460" y="6766715"/>
                    <a:pt x="3698897" y="6733149"/>
                    <a:pt x="3702254" y="6692871"/>
                  </a:cubicBezTo>
                  <a:cubicBezTo>
                    <a:pt x="3702254" y="6652592"/>
                    <a:pt x="3735818" y="6619027"/>
                    <a:pt x="3776096" y="6619027"/>
                  </a:cubicBezTo>
                  <a:close/>
                  <a:moveTo>
                    <a:pt x="2329432" y="6612314"/>
                  </a:moveTo>
                  <a:cubicBezTo>
                    <a:pt x="2366354" y="6612314"/>
                    <a:pt x="2396563" y="6642523"/>
                    <a:pt x="2396563" y="6679445"/>
                  </a:cubicBezTo>
                  <a:cubicBezTo>
                    <a:pt x="2396563" y="6716367"/>
                    <a:pt x="2366354" y="6746575"/>
                    <a:pt x="2329432" y="6746575"/>
                  </a:cubicBezTo>
                  <a:cubicBezTo>
                    <a:pt x="2295866" y="6746575"/>
                    <a:pt x="2265658" y="6716367"/>
                    <a:pt x="2262301" y="6679445"/>
                  </a:cubicBezTo>
                  <a:cubicBezTo>
                    <a:pt x="2262301" y="6642523"/>
                    <a:pt x="2292510" y="6612314"/>
                    <a:pt x="2329432" y="6612314"/>
                  </a:cubicBezTo>
                  <a:close/>
                  <a:moveTo>
                    <a:pt x="1747494" y="6604762"/>
                  </a:moveTo>
                  <a:cubicBezTo>
                    <a:pt x="1747913" y="6603923"/>
                    <a:pt x="1748752" y="6603923"/>
                    <a:pt x="1748752" y="6605601"/>
                  </a:cubicBezTo>
                  <a:cubicBezTo>
                    <a:pt x="1748752" y="6605601"/>
                    <a:pt x="1752109" y="6605601"/>
                    <a:pt x="1748752" y="6608957"/>
                  </a:cubicBezTo>
                  <a:cubicBezTo>
                    <a:pt x="1747074" y="6607280"/>
                    <a:pt x="1747074" y="6605601"/>
                    <a:pt x="1747494" y="6604762"/>
                  </a:cubicBezTo>
                  <a:close/>
                  <a:moveTo>
                    <a:pt x="976750" y="6595531"/>
                  </a:moveTo>
                  <a:cubicBezTo>
                    <a:pt x="976750" y="6595531"/>
                    <a:pt x="980106" y="6598888"/>
                    <a:pt x="976750" y="6602244"/>
                  </a:cubicBezTo>
                  <a:cubicBezTo>
                    <a:pt x="973393" y="6595531"/>
                    <a:pt x="973393" y="6595531"/>
                    <a:pt x="976750" y="6595531"/>
                  </a:cubicBezTo>
                  <a:close/>
                  <a:moveTo>
                    <a:pt x="3574704" y="6568679"/>
                  </a:moveTo>
                  <a:cubicBezTo>
                    <a:pt x="3621698" y="6568679"/>
                    <a:pt x="3658618" y="6605601"/>
                    <a:pt x="3658618" y="6652592"/>
                  </a:cubicBezTo>
                  <a:cubicBezTo>
                    <a:pt x="3658618" y="6699584"/>
                    <a:pt x="3621698" y="6736506"/>
                    <a:pt x="3574704" y="6736506"/>
                  </a:cubicBezTo>
                  <a:cubicBezTo>
                    <a:pt x="3527714" y="6736506"/>
                    <a:pt x="3490792" y="6699584"/>
                    <a:pt x="3490792" y="6652592"/>
                  </a:cubicBezTo>
                  <a:cubicBezTo>
                    <a:pt x="3490792" y="6605601"/>
                    <a:pt x="3527714" y="6568679"/>
                    <a:pt x="3574704" y="6568679"/>
                  </a:cubicBezTo>
                  <a:close/>
                  <a:moveTo>
                    <a:pt x="2151536" y="6558609"/>
                  </a:moveTo>
                  <a:cubicBezTo>
                    <a:pt x="2161605" y="6558609"/>
                    <a:pt x="2171675" y="6568679"/>
                    <a:pt x="2171675" y="6582105"/>
                  </a:cubicBezTo>
                  <a:cubicBezTo>
                    <a:pt x="2171675" y="6595531"/>
                    <a:pt x="2164962" y="6605601"/>
                    <a:pt x="2151536" y="6605601"/>
                  </a:cubicBezTo>
                  <a:cubicBezTo>
                    <a:pt x="2138110" y="6605601"/>
                    <a:pt x="2131396" y="6595531"/>
                    <a:pt x="2128040" y="6582105"/>
                  </a:cubicBezTo>
                  <a:cubicBezTo>
                    <a:pt x="2128040" y="6568679"/>
                    <a:pt x="2138110" y="6558609"/>
                    <a:pt x="2151536" y="6558609"/>
                  </a:cubicBezTo>
                  <a:close/>
                  <a:moveTo>
                    <a:pt x="2752354" y="6548540"/>
                  </a:moveTo>
                  <a:cubicBezTo>
                    <a:pt x="2795990" y="6548540"/>
                    <a:pt x="2829555" y="6582105"/>
                    <a:pt x="2829555" y="6625739"/>
                  </a:cubicBezTo>
                  <a:cubicBezTo>
                    <a:pt x="2829555" y="6669375"/>
                    <a:pt x="2795990" y="6702939"/>
                    <a:pt x="2752354" y="6702939"/>
                  </a:cubicBezTo>
                  <a:cubicBezTo>
                    <a:pt x="2708720" y="6702939"/>
                    <a:pt x="2675154" y="6669375"/>
                    <a:pt x="2675154" y="6625739"/>
                  </a:cubicBezTo>
                  <a:cubicBezTo>
                    <a:pt x="2675154" y="6582105"/>
                    <a:pt x="2708720" y="6548540"/>
                    <a:pt x="2752354" y="6548540"/>
                  </a:cubicBezTo>
                  <a:close/>
                  <a:moveTo>
                    <a:pt x="3380027" y="6521688"/>
                  </a:moveTo>
                  <a:cubicBezTo>
                    <a:pt x="3423661" y="6521688"/>
                    <a:pt x="3460584" y="6558609"/>
                    <a:pt x="3460584" y="6602244"/>
                  </a:cubicBezTo>
                  <a:cubicBezTo>
                    <a:pt x="3460584" y="6645879"/>
                    <a:pt x="3423661" y="6682801"/>
                    <a:pt x="3380027" y="6682801"/>
                  </a:cubicBezTo>
                  <a:cubicBezTo>
                    <a:pt x="3336391" y="6682801"/>
                    <a:pt x="3299470" y="6645879"/>
                    <a:pt x="3299470" y="6602244"/>
                  </a:cubicBezTo>
                  <a:cubicBezTo>
                    <a:pt x="3299470" y="6558609"/>
                    <a:pt x="3336391" y="6521688"/>
                    <a:pt x="3380027" y="6521688"/>
                  </a:cubicBezTo>
                  <a:close/>
                  <a:moveTo>
                    <a:pt x="1578408" y="6490640"/>
                  </a:moveTo>
                  <a:cubicBezTo>
                    <a:pt x="1578408" y="6489801"/>
                    <a:pt x="1579248" y="6489801"/>
                    <a:pt x="1580925" y="6491479"/>
                  </a:cubicBezTo>
                  <a:cubicBezTo>
                    <a:pt x="1580925" y="6491479"/>
                    <a:pt x="1584282" y="6491479"/>
                    <a:pt x="1580925" y="6494835"/>
                  </a:cubicBezTo>
                  <a:cubicBezTo>
                    <a:pt x="1579248" y="6493158"/>
                    <a:pt x="1578408" y="6491479"/>
                    <a:pt x="1578408" y="6490640"/>
                  </a:cubicBezTo>
                  <a:close/>
                  <a:moveTo>
                    <a:pt x="2567746" y="6467983"/>
                  </a:moveTo>
                  <a:cubicBezTo>
                    <a:pt x="2608024" y="6467983"/>
                    <a:pt x="2641590" y="6501548"/>
                    <a:pt x="2641590" y="6541827"/>
                  </a:cubicBezTo>
                  <a:cubicBezTo>
                    <a:pt x="2641590" y="6582105"/>
                    <a:pt x="2608024" y="6615671"/>
                    <a:pt x="2567746" y="6615671"/>
                  </a:cubicBezTo>
                  <a:cubicBezTo>
                    <a:pt x="2527468" y="6615671"/>
                    <a:pt x="2493902" y="6582105"/>
                    <a:pt x="2493902" y="6541827"/>
                  </a:cubicBezTo>
                  <a:cubicBezTo>
                    <a:pt x="2493902" y="6501548"/>
                    <a:pt x="2527468" y="6467983"/>
                    <a:pt x="2567746" y="6467983"/>
                  </a:cubicBezTo>
                  <a:close/>
                  <a:moveTo>
                    <a:pt x="3185348" y="6464626"/>
                  </a:moveTo>
                  <a:cubicBezTo>
                    <a:pt x="3229837" y="6464626"/>
                    <a:pt x="3265904" y="6500693"/>
                    <a:pt x="3265904" y="6545183"/>
                  </a:cubicBezTo>
                  <a:cubicBezTo>
                    <a:pt x="3265904" y="6589674"/>
                    <a:pt x="3229837" y="6625740"/>
                    <a:pt x="3185348" y="6625740"/>
                  </a:cubicBezTo>
                  <a:cubicBezTo>
                    <a:pt x="3140858" y="6625740"/>
                    <a:pt x="3104791" y="6589673"/>
                    <a:pt x="3104791" y="6545183"/>
                  </a:cubicBezTo>
                  <a:cubicBezTo>
                    <a:pt x="3104791" y="6500693"/>
                    <a:pt x="3140858" y="6464626"/>
                    <a:pt x="3185348" y="6464626"/>
                  </a:cubicBezTo>
                  <a:close/>
                  <a:moveTo>
                    <a:pt x="4016827" y="6446018"/>
                  </a:moveTo>
                  <a:lnTo>
                    <a:pt x="4016827" y="6563792"/>
                  </a:lnTo>
                  <a:lnTo>
                    <a:pt x="4000879" y="6560603"/>
                  </a:lnTo>
                  <a:cubicBezTo>
                    <a:pt x="3979166" y="6551477"/>
                    <a:pt x="3964062" y="6530079"/>
                    <a:pt x="3964062" y="6504905"/>
                  </a:cubicBezTo>
                  <a:cubicBezTo>
                    <a:pt x="3964062" y="6479731"/>
                    <a:pt x="3979166" y="6458333"/>
                    <a:pt x="4000879" y="6449207"/>
                  </a:cubicBezTo>
                  <a:close/>
                  <a:moveTo>
                    <a:pt x="1976996" y="6441131"/>
                  </a:moveTo>
                  <a:cubicBezTo>
                    <a:pt x="1997135" y="6441131"/>
                    <a:pt x="2017274" y="6457913"/>
                    <a:pt x="2017274" y="6481409"/>
                  </a:cubicBezTo>
                  <a:cubicBezTo>
                    <a:pt x="2017274" y="6501548"/>
                    <a:pt x="2000491" y="6521688"/>
                    <a:pt x="1976996" y="6521688"/>
                  </a:cubicBezTo>
                  <a:cubicBezTo>
                    <a:pt x="1953500" y="6521688"/>
                    <a:pt x="1933361" y="6504905"/>
                    <a:pt x="1936717" y="6481409"/>
                  </a:cubicBezTo>
                  <a:cubicBezTo>
                    <a:pt x="1936717" y="6461270"/>
                    <a:pt x="1953500" y="6441131"/>
                    <a:pt x="1976996" y="6441131"/>
                  </a:cubicBezTo>
                  <a:close/>
                  <a:moveTo>
                    <a:pt x="2990668" y="6410922"/>
                  </a:moveTo>
                  <a:cubicBezTo>
                    <a:pt x="3027590" y="6410922"/>
                    <a:pt x="3057799" y="6441131"/>
                    <a:pt x="3057799" y="6478053"/>
                  </a:cubicBezTo>
                  <a:cubicBezTo>
                    <a:pt x="3057799" y="6514974"/>
                    <a:pt x="3027590" y="6545183"/>
                    <a:pt x="2990668" y="6545183"/>
                  </a:cubicBezTo>
                  <a:cubicBezTo>
                    <a:pt x="2953747" y="6545183"/>
                    <a:pt x="2923538" y="6514974"/>
                    <a:pt x="2923538" y="6478053"/>
                  </a:cubicBezTo>
                  <a:cubicBezTo>
                    <a:pt x="2923538" y="6441131"/>
                    <a:pt x="2953747" y="6410922"/>
                    <a:pt x="2990668" y="6410922"/>
                  </a:cubicBezTo>
                  <a:close/>
                  <a:moveTo>
                    <a:pt x="3826443" y="6400852"/>
                  </a:moveTo>
                  <a:cubicBezTo>
                    <a:pt x="3866721" y="6400852"/>
                    <a:pt x="3900289" y="6434418"/>
                    <a:pt x="3900289" y="6474696"/>
                  </a:cubicBezTo>
                  <a:cubicBezTo>
                    <a:pt x="3900289" y="6514974"/>
                    <a:pt x="3866721" y="6548540"/>
                    <a:pt x="3826443" y="6548540"/>
                  </a:cubicBezTo>
                  <a:cubicBezTo>
                    <a:pt x="3782809" y="6548540"/>
                    <a:pt x="3749244" y="6514974"/>
                    <a:pt x="3752601" y="6474696"/>
                  </a:cubicBezTo>
                  <a:cubicBezTo>
                    <a:pt x="3752601" y="6434418"/>
                    <a:pt x="3786166" y="6400852"/>
                    <a:pt x="3826443" y="6400852"/>
                  </a:cubicBezTo>
                  <a:close/>
                  <a:moveTo>
                    <a:pt x="2383136" y="6380713"/>
                  </a:moveTo>
                  <a:cubicBezTo>
                    <a:pt x="2423415" y="6380713"/>
                    <a:pt x="2456980" y="6414278"/>
                    <a:pt x="2456980" y="6454557"/>
                  </a:cubicBezTo>
                  <a:cubicBezTo>
                    <a:pt x="2456980" y="6494835"/>
                    <a:pt x="2423415" y="6528401"/>
                    <a:pt x="2383136" y="6528401"/>
                  </a:cubicBezTo>
                  <a:cubicBezTo>
                    <a:pt x="2342858" y="6528401"/>
                    <a:pt x="2309293" y="6494835"/>
                    <a:pt x="2309293" y="6454557"/>
                  </a:cubicBezTo>
                  <a:cubicBezTo>
                    <a:pt x="2309293" y="6414278"/>
                    <a:pt x="2342858" y="6380713"/>
                    <a:pt x="2383136" y="6380713"/>
                  </a:cubicBezTo>
                  <a:close/>
                  <a:moveTo>
                    <a:pt x="1415197" y="6369805"/>
                  </a:moveTo>
                  <a:cubicBezTo>
                    <a:pt x="1415616" y="6368966"/>
                    <a:pt x="1416455" y="6368966"/>
                    <a:pt x="1416455" y="6370643"/>
                  </a:cubicBezTo>
                  <a:cubicBezTo>
                    <a:pt x="1416455" y="6370643"/>
                    <a:pt x="1419812" y="6370643"/>
                    <a:pt x="1416455" y="6374000"/>
                  </a:cubicBezTo>
                  <a:cubicBezTo>
                    <a:pt x="1414777" y="6372322"/>
                    <a:pt x="1414777" y="6370643"/>
                    <a:pt x="1415197" y="6369805"/>
                  </a:cubicBezTo>
                  <a:close/>
                  <a:moveTo>
                    <a:pt x="1805813" y="6360574"/>
                  </a:moveTo>
                  <a:cubicBezTo>
                    <a:pt x="1812526" y="6360574"/>
                    <a:pt x="1815883" y="6363930"/>
                    <a:pt x="1815883" y="6370643"/>
                  </a:cubicBezTo>
                  <a:cubicBezTo>
                    <a:pt x="1815883" y="6377356"/>
                    <a:pt x="1812526" y="6380713"/>
                    <a:pt x="1805813" y="6380713"/>
                  </a:cubicBezTo>
                  <a:cubicBezTo>
                    <a:pt x="1799100" y="6380713"/>
                    <a:pt x="1795744" y="6377356"/>
                    <a:pt x="1795744" y="6370643"/>
                  </a:cubicBezTo>
                  <a:cubicBezTo>
                    <a:pt x="1795744" y="6363930"/>
                    <a:pt x="1799100" y="6360574"/>
                    <a:pt x="1805813" y="6360574"/>
                  </a:cubicBezTo>
                  <a:close/>
                  <a:moveTo>
                    <a:pt x="3625053" y="6357217"/>
                  </a:moveTo>
                  <a:cubicBezTo>
                    <a:pt x="3665331" y="6357217"/>
                    <a:pt x="3698897" y="6390783"/>
                    <a:pt x="3698897" y="6431061"/>
                  </a:cubicBezTo>
                  <a:cubicBezTo>
                    <a:pt x="3698897" y="6471339"/>
                    <a:pt x="3665331" y="6504905"/>
                    <a:pt x="3625053" y="6504905"/>
                  </a:cubicBezTo>
                  <a:cubicBezTo>
                    <a:pt x="3584774" y="6504905"/>
                    <a:pt x="3551209" y="6471339"/>
                    <a:pt x="3551209" y="6431061"/>
                  </a:cubicBezTo>
                  <a:cubicBezTo>
                    <a:pt x="3551209" y="6390783"/>
                    <a:pt x="3584774" y="6357217"/>
                    <a:pt x="3625053" y="6357217"/>
                  </a:cubicBezTo>
                  <a:close/>
                  <a:moveTo>
                    <a:pt x="2802702" y="6323652"/>
                  </a:moveTo>
                  <a:cubicBezTo>
                    <a:pt x="2845338" y="6323652"/>
                    <a:pt x="2879903" y="6358215"/>
                    <a:pt x="2879903" y="6400852"/>
                  </a:cubicBezTo>
                  <a:cubicBezTo>
                    <a:pt x="2879903" y="6443488"/>
                    <a:pt x="2845338" y="6478053"/>
                    <a:pt x="2802702" y="6478053"/>
                  </a:cubicBezTo>
                  <a:cubicBezTo>
                    <a:pt x="2760066" y="6478053"/>
                    <a:pt x="2725502" y="6443489"/>
                    <a:pt x="2725502" y="6400852"/>
                  </a:cubicBezTo>
                  <a:cubicBezTo>
                    <a:pt x="2725502" y="6358216"/>
                    <a:pt x="2760066" y="6323652"/>
                    <a:pt x="2802702" y="6323652"/>
                  </a:cubicBezTo>
                  <a:close/>
                  <a:moveTo>
                    <a:pt x="3430374" y="6306869"/>
                  </a:moveTo>
                  <a:cubicBezTo>
                    <a:pt x="3474010" y="6306869"/>
                    <a:pt x="3507573" y="6340435"/>
                    <a:pt x="3507573" y="6384070"/>
                  </a:cubicBezTo>
                  <a:cubicBezTo>
                    <a:pt x="3507573" y="6427705"/>
                    <a:pt x="3474010" y="6461270"/>
                    <a:pt x="3430374" y="6461270"/>
                  </a:cubicBezTo>
                  <a:cubicBezTo>
                    <a:pt x="3386738" y="6461270"/>
                    <a:pt x="3349817" y="6424348"/>
                    <a:pt x="3353174" y="6384070"/>
                  </a:cubicBezTo>
                  <a:cubicBezTo>
                    <a:pt x="3353174" y="6340435"/>
                    <a:pt x="3386738" y="6306869"/>
                    <a:pt x="3430374" y="6306869"/>
                  </a:cubicBezTo>
                  <a:close/>
                  <a:moveTo>
                    <a:pt x="2205240" y="6276660"/>
                  </a:moveTo>
                  <a:cubicBezTo>
                    <a:pt x="2248875" y="6276660"/>
                    <a:pt x="2282440" y="6310226"/>
                    <a:pt x="2282440" y="6353861"/>
                  </a:cubicBezTo>
                  <a:cubicBezTo>
                    <a:pt x="2282440" y="6397496"/>
                    <a:pt x="2248875" y="6431061"/>
                    <a:pt x="2205240" y="6431061"/>
                  </a:cubicBezTo>
                  <a:cubicBezTo>
                    <a:pt x="2164962" y="6431061"/>
                    <a:pt x="2131396" y="6397496"/>
                    <a:pt x="2128040" y="6353861"/>
                  </a:cubicBezTo>
                  <a:cubicBezTo>
                    <a:pt x="2128040" y="6310226"/>
                    <a:pt x="2161605" y="6276660"/>
                    <a:pt x="2205240" y="6276660"/>
                  </a:cubicBezTo>
                  <a:close/>
                  <a:moveTo>
                    <a:pt x="3235697" y="6253165"/>
                  </a:moveTo>
                  <a:cubicBezTo>
                    <a:pt x="3275975" y="6253165"/>
                    <a:pt x="3306183" y="6283373"/>
                    <a:pt x="3306183" y="6323652"/>
                  </a:cubicBezTo>
                  <a:cubicBezTo>
                    <a:pt x="3306183" y="6363930"/>
                    <a:pt x="3275975" y="6394139"/>
                    <a:pt x="3235697" y="6394139"/>
                  </a:cubicBezTo>
                  <a:cubicBezTo>
                    <a:pt x="3195418" y="6394139"/>
                    <a:pt x="3165208" y="6360574"/>
                    <a:pt x="3165208" y="6323652"/>
                  </a:cubicBezTo>
                  <a:cubicBezTo>
                    <a:pt x="3165208" y="6283373"/>
                    <a:pt x="3195418" y="6253165"/>
                    <a:pt x="3235697" y="6253165"/>
                  </a:cubicBezTo>
                  <a:close/>
                  <a:moveTo>
                    <a:pt x="4016827" y="6248280"/>
                  </a:moveTo>
                  <a:lnTo>
                    <a:pt x="4016827" y="6308840"/>
                  </a:lnTo>
                  <a:lnTo>
                    <a:pt x="4014883" y="6306082"/>
                  </a:lnTo>
                  <a:cubicBezTo>
                    <a:pt x="4011054" y="6298058"/>
                    <a:pt x="4008537" y="6289247"/>
                    <a:pt x="4007698" y="6280017"/>
                  </a:cubicBezTo>
                  <a:cubicBezTo>
                    <a:pt x="4007698" y="6270786"/>
                    <a:pt x="4009586" y="6261976"/>
                    <a:pt x="4012995" y="6253951"/>
                  </a:cubicBezTo>
                  <a:close/>
                  <a:moveTo>
                    <a:pt x="2618094" y="6243095"/>
                  </a:moveTo>
                  <a:cubicBezTo>
                    <a:pt x="2658372" y="6243095"/>
                    <a:pt x="2691938" y="6276660"/>
                    <a:pt x="2691938" y="6316939"/>
                  </a:cubicBezTo>
                  <a:cubicBezTo>
                    <a:pt x="2691938" y="6357217"/>
                    <a:pt x="2658372" y="6390783"/>
                    <a:pt x="2618094" y="6390783"/>
                  </a:cubicBezTo>
                  <a:cubicBezTo>
                    <a:pt x="2577816" y="6390783"/>
                    <a:pt x="2544250" y="6357217"/>
                    <a:pt x="2544250" y="6316939"/>
                  </a:cubicBezTo>
                  <a:cubicBezTo>
                    <a:pt x="2544250" y="6276660"/>
                    <a:pt x="2577816" y="6243095"/>
                    <a:pt x="2618094" y="6243095"/>
                  </a:cubicBezTo>
                  <a:close/>
                  <a:moveTo>
                    <a:pt x="1258699" y="6243095"/>
                  </a:moveTo>
                  <a:cubicBezTo>
                    <a:pt x="1258699" y="6243095"/>
                    <a:pt x="1262056" y="6243095"/>
                    <a:pt x="1262056" y="6246452"/>
                  </a:cubicBezTo>
                  <a:cubicBezTo>
                    <a:pt x="1262056" y="6246452"/>
                    <a:pt x="1262056" y="6249808"/>
                    <a:pt x="1258699" y="6249808"/>
                  </a:cubicBezTo>
                  <a:cubicBezTo>
                    <a:pt x="1255342" y="6249808"/>
                    <a:pt x="1251986" y="6246452"/>
                    <a:pt x="1255342" y="6246452"/>
                  </a:cubicBezTo>
                  <a:cubicBezTo>
                    <a:pt x="1255342" y="6246452"/>
                    <a:pt x="1255342" y="6243095"/>
                    <a:pt x="1258699" y="6243095"/>
                  </a:cubicBezTo>
                  <a:close/>
                  <a:moveTo>
                    <a:pt x="3876792" y="6189390"/>
                  </a:moveTo>
                  <a:cubicBezTo>
                    <a:pt x="3910358" y="6189390"/>
                    <a:pt x="3940567" y="6216243"/>
                    <a:pt x="3940567" y="6253165"/>
                  </a:cubicBezTo>
                  <a:cubicBezTo>
                    <a:pt x="3940567" y="6286730"/>
                    <a:pt x="3913715" y="6316939"/>
                    <a:pt x="3876792" y="6316939"/>
                  </a:cubicBezTo>
                  <a:cubicBezTo>
                    <a:pt x="3839869" y="6316939"/>
                    <a:pt x="3809661" y="6286730"/>
                    <a:pt x="3813017" y="6253165"/>
                  </a:cubicBezTo>
                  <a:cubicBezTo>
                    <a:pt x="3813017" y="6219599"/>
                    <a:pt x="3839869" y="6189390"/>
                    <a:pt x="3876792" y="6189390"/>
                  </a:cubicBezTo>
                  <a:close/>
                  <a:moveTo>
                    <a:pt x="1637986" y="6182677"/>
                  </a:moveTo>
                  <a:cubicBezTo>
                    <a:pt x="1678265" y="6182677"/>
                    <a:pt x="1708474" y="6216243"/>
                    <a:pt x="1708474" y="6253165"/>
                  </a:cubicBezTo>
                  <a:cubicBezTo>
                    <a:pt x="1708474" y="6293443"/>
                    <a:pt x="1674908" y="6323652"/>
                    <a:pt x="1637986" y="6323652"/>
                  </a:cubicBezTo>
                  <a:cubicBezTo>
                    <a:pt x="1601065" y="6323652"/>
                    <a:pt x="1570856" y="6293443"/>
                    <a:pt x="1567499" y="6253165"/>
                  </a:cubicBezTo>
                  <a:cubicBezTo>
                    <a:pt x="1567499" y="6212886"/>
                    <a:pt x="1601065" y="6182677"/>
                    <a:pt x="1637986" y="6182677"/>
                  </a:cubicBezTo>
                  <a:close/>
                  <a:moveTo>
                    <a:pt x="3044373" y="6179322"/>
                  </a:moveTo>
                  <a:cubicBezTo>
                    <a:pt x="3084652" y="6179322"/>
                    <a:pt x="3118217" y="6212887"/>
                    <a:pt x="3118217" y="6253166"/>
                  </a:cubicBezTo>
                  <a:cubicBezTo>
                    <a:pt x="3118217" y="6293444"/>
                    <a:pt x="3084652" y="6327009"/>
                    <a:pt x="3044373" y="6327009"/>
                  </a:cubicBezTo>
                  <a:cubicBezTo>
                    <a:pt x="3004095" y="6327009"/>
                    <a:pt x="2970529" y="6293444"/>
                    <a:pt x="2970529" y="6253166"/>
                  </a:cubicBezTo>
                  <a:cubicBezTo>
                    <a:pt x="2970529" y="6212887"/>
                    <a:pt x="3004095" y="6179322"/>
                    <a:pt x="3044373" y="6179322"/>
                  </a:cubicBezTo>
                  <a:close/>
                  <a:moveTo>
                    <a:pt x="2030700" y="6172608"/>
                  </a:moveTo>
                  <a:cubicBezTo>
                    <a:pt x="2074335" y="6172608"/>
                    <a:pt x="2107900" y="6206173"/>
                    <a:pt x="2107900" y="6249808"/>
                  </a:cubicBezTo>
                  <a:cubicBezTo>
                    <a:pt x="2107900" y="6293443"/>
                    <a:pt x="2074335" y="6327008"/>
                    <a:pt x="2030700" y="6327008"/>
                  </a:cubicBezTo>
                  <a:cubicBezTo>
                    <a:pt x="1990422" y="6327008"/>
                    <a:pt x="1953500" y="6293443"/>
                    <a:pt x="1953500" y="6249808"/>
                  </a:cubicBezTo>
                  <a:cubicBezTo>
                    <a:pt x="1953500" y="6206173"/>
                    <a:pt x="1987065" y="6172608"/>
                    <a:pt x="2030700" y="6172608"/>
                  </a:cubicBezTo>
                  <a:close/>
                  <a:moveTo>
                    <a:pt x="2436841" y="6155825"/>
                  </a:moveTo>
                  <a:cubicBezTo>
                    <a:pt x="2473763" y="6155825"/>
                    <a:pt x="2503972" y="6186034"/>
                    <a:pt x="2503972" y="6222956"/>
                  </a:cubicBezTo>
                  <a:cubicBezTo>
                    <a:pt x="2503972" y="6259878"/>
                    <a:pt x="2473763" y="6290087"/>
                    <a:pt x="2436841" y="6290087"/>
                  </a:cubicBezTo>
                  <a:cubicBezTo>
                    <a:pt x="2399919" y="6290087"/>
                    <a:pt x="2373067" y="6259878"/>
                    <a:pt x="2369710" y="6222956"/>
                  </a:cubicBezTo>
                  <a:cubicBezTo>
                    <a:pt x="2369710" y="6186034"/>
                    <a:pt x="2399919" y="6155825"/>
                    <a:pt x="2436841" y="6155825"/>
                  </a:cubicBezTo>
                  <a:close/>
                  <a:moveTo>
                    <a:pt x="3675402" y="6139042"/>
                  </a:moveTo>
                  <a:cubicBezTo>
                    <a:pt x="3715680" y="6139042"/>
                    <a:pt x="3745888" y="6169251"/>
                    <a:pt x="3745888" y="6209530"/>
                  </a:cubicBezTo>
                  <a:cubicBezTo>
                    <a:pt x="3745888" y="6249808"/>
                    <a:pt x="3715680" y="6280017"/>
                    <a:pt x="3675402" y="6280017"/>
                  </a:cubicBezTo>
                  <a:cubicBezTo>
                    <a:pt x="3638479" y="6280017"/>
                    <a:pt x="3604914" y="6249808"/>
                    <a:pt x="3604914" y="6209530"/>
                  </a:cubicBezTo>
                  <a:cubicBezTo>
                    <a:pt x="3604914" y="6169251"/>
                    <a:pt x="3635124" y="6139042"/>
                    <a:pt x="3675402" y="6139042"/>
                  </a:cubicBezTo>
                  <a:close/>
                  <a:moveTo>
                    <a:pt x="2856407" y="6102122"/>
                  </a:moveTo>
                  <a:cubicBezTo>
                    <a:pt x="2896686" y="6102122"/>
                    <a:pt x="2930251" y="6135687"/>
                    <a:pt x="2930251" y="6175965"/>
                  </a:cubicBezTo>
                  <a:cubicBezTo>
                    <a:pt x="2930251" y="6216244"/>
                    <a:pt x="2896686" y="6249809"/>
                    <a:pt x="2856407" y="6249809"/>
                  </a:cubicBezTo>
                  <a:cubicBezTo>
                    <a:pt x="2812773" y="6249809"/>
                    <a:pt x="2779208" y="6219600"/>
                    <a:pt x="2782564" y="6175965"/>
                  </a:cubicBezTo>
                  <a:cubicBezTo>
                    <a:pt x="2782564" y="6135687"/>
                    <a:pt x="2816129" y="6102122"/>
                    <a:pt x="2856407" y="6102122"/>
                  </a:cubicBezTo>
                  <a:close/>
                  <a:moveTo>
                    <a:pt x="1476873" y="6092052"/>
                  </a:moveTo>
                  <a:cubicBezTo>
                    <a:pt x="1500368" y="6092052"/>
                    <a:pt x="1517151" y="6108835"/>
                    <a:pt x="1517151" y="6132330"/>
                  </a:cubicBezTo>
                  <a:cubicBezTo>
                    <a:pt x="1517151" y="6155826"/>
                    <a:pt x="1500368" y="6172609"/>
                    <a:pt x="1476873" y="6172609"/>
                  </a:cubicBezTo>
                  <a:cubicBezTo>
                    <a:pt x="1456734" y="6172609"/>
                    <a:pt x="1436594" y="6152470"/>
                    <a:pt x="1436594" y="6132330"/>
                  </a:cubicBezTo>
                  <a:cubicBezTo>
                    <a:pt x="1436594" y="6108835"/>
                    <a:pt x="1453377" y="6092052"/>
                    <a:pt x="1476873" y="6092052"/>
                  </a:cubicBezTo>
                  <a:close/>
                  <a:moveTo>
                    <a:pt x="3480721" y="6088694"/>
                  </a:moveTo>
                  <a:cubicBezTo>
                    <a:pt x="3520999" y="6088694"/>
                    <a:pt x="3551209" y="6122260"/>
                    <a:pt x="3551209" y="6159182"/>
                  </a:cubicBezTo>
                  <a:cubicBezTo>
                    <a:pt x="3551209" y="6199460"/>
                    <a:pt x="3517644" y="6229669"/>
                    <a:pt x="3480721" y="6229669"/>
                  </a:cubicBezTo>
                  <a:cubicBezTo>
                    <a:pt x="3440442" y="6229669"/>
                    <a:pt x="3410234" y="6199460"/>
                    <a:pt x="3410234" y="6159182"/>
                  </a:cubicBezTo>
                  <a:cubicBezTo>
                    <a:pt x="3410234" y="6118903"/>
                    <a:pt x="3443800" y="6088694"/>
                    <a:pt x="3480721" y="6088694"/>
                  </a:cubicBezTo>
                  <a:close/>
                  <a:moveTo>
                    <a:pt x="1862874" y="6061843"/>
                  </a:moveTo>
                  <a:cubicBezTo>
                    <a:pt x="1906510" y="6061843"/>
                    <a:pt x="1940075" y="6095408"/>
                    <a:pt x="1940075" y="6139042"/>
                  </a:cubicBezTo>
                  <a:cubicBezTo>
                    <a:pt x="1940075" y="6182678"/>
                    <a:pt x="1906510" y="6216243"/>
                    <a:pt x="1862874" y="6216243"/>
                  </a:cubicBezTo>
                  <a:cubicBezTo>
                    <a:pt x="1819240" y="6216243"/>
                    <a:pt x="1785674" y="6179322"/>
                    <a:pt x="1785674" y="6139042"/>
                  </a:cubicBezTo>
                  <a:cubicBezTo>
                    <a:pt x="1785674" y="6095408"/>
                    <a:pt x="1819240" y="6061843"/>
                    <a:pt x="1862874" y="6061843"/>
                  </a:cubicBezTo>
                  <a:close/>
                  <a:moveTo>
                    <a:pt x="2262301" y="6055129"/>
                  </a:moveTo>
                  <a:cubicBezTo>
                    <a:pt x="2299223" y="6055129"/>
                    <a:pt x="2329432" y="6085338"/>
                    <a:pt x="2329432" y="6122260"/>
                  </a:cubicBezTo>
                  <a:cubicBezTo>
                    <a:pt x="2329432" y="6159182"/>
                    <a:pt x="2299223" y="6189390"/>
                    <a:pt x="2262301" y="6189390"/>
                  </a:cubicBezTo>
                  <a:cubicBezTo>
                    <a:pt x="2225379" y="6189390"/>
                    <a:pt x="2195170" y="6159182"/>
                    <a:pt x="2195170" y="6122260"/>
                  </a:cubicBezTo>
                  <a:cubicBezTo>
                    <a:pt x="2195170" y="6085338"/>
                    <a:pt x="2225379" y="6055129"/>
                    <a:pt x="2262301" y="6055129"/>
                  </a:cubicBezTo>
                  <a:close/>
                  <a:moveTo>
                    <a:pt x="3286044" y="6031634"/>
                  </a:moveTo>
                  <a:cubicBezTo>
                    <a:pt x="3322964" y="6031634"/>
                    <a:pt x="3356532" y="6061843"/>
                    <a:pt x="3356532" y="6102122"/>
                  </a:cubicBezTo>
                  <a:cubicBezTo>
                    <a:pt x="3356532" y="6139043"/>
                    <a:pt x="3326322" y="6172609"/>
                    <a:pt x="3286044" y="6172609"/>
                  </a:cubicBezTo>
                  <a:cubicBezTo>
                    <a:pt x="3245765" y="6172609"/>
                    <a:pt x="3212200" y="6139043"/>
                    <a:pt x="3215556" y="6102122"/>
                  </a:cubicBezTo>
                  <a:cubicBezTo>
                    <a:pt x="3215556" y="6065200"/>
                    <a:pt x="3245765" y="6031634"/>
                    <a:pt x="3286044" y="6031634"/>
                  </a:cubicBezTo>
                  <a:close/>
                  <a:moveTo>
                    <a:pt x="2671798" y="6014852"/>
                  </a:moveTo>
                  <a:cubicBezTo>
                    <a:pt x="2712076" y="6014852"/>
                    <a:pt x="2745642" y="6048417"/>
                    <a:pt x="2745642" y="6088695"/>
                  </a:cubicBezTo>
                  <a:cubicBezTo>
                    <a:pt x="2745642" y="6128974"/>
                    <a:pt x="2712076" y="6162539"/>
                    <a:pt x="2671798" y="6162539"/>
                  </a:cubicBezTo>
                  <a:cubicBezTo>
                    <a:pt x="2631519" y="6162539"/>
                    <a:pt x="2597954" y="6128974"/>
                    <a:pt x="2597954" y="6088695"/>
                  </a:cubicBezTo>
                  <a:cubicBezTo>
                    <a:pt x="2597954" y="6048417"/>
                    <a:pt x="2631519" y="6014852"/>
                    <a:pt x="2671798" y="6014852"/>
                  </a:cubicBezTo>
                  <a:close/>
                  <a:moveTo>
                    <a:pt x="3927141" y="5971217"/>
                  </a:moveTo>
                  <a:cubicBezTo>
                    <a:pt x="3957349" y="5971217"/>
                    <a:pt x="3984201" y="5998069"/>
                    <a:pt x="3984201" y="6028278"/>
                  </a:cubicBezTo>
                  <a:cubicBezTo>
                    <a:pt x="3984201" y="6058487"/>
                    <a:pt x="3957349" y="6085339"/>
                    <a:pt x="3927141" y="6085339"/>
                  </a:cubicBezTo>
                  <a:cubicBezTo>
                    <a:pt x="3893574" y="6085339"/>
                    <a:pt x="3870079" y="6061843"/>
                    <a:pt x="3870079" y="6028278"/>
                  </a:cubicBezTo>
                  <a:cubicBezTo>
                    <a:pt x="3870079" y="5998069"/>
                    <a:pt x="3896931" y="5971217"/>
                    <a:pt x="3927141" y="5971217"/>
                  </a:cubicBezTo>
                  <a:close/>
                  <a:moveTo>
                    <a:pt x="3094721" y="5961147"/>
                  </a:moveTo>
                  <a:cubicBezTo>
                    <a:pt x="3131643" y="5961147"/>
                    <a:pt x="3165208" y="5991356"/>
                    <a:pt x="3165208" y="6031634"/>
                  </a:cubicBezTo>
                  <a:cubicBezTo>
                    <a:pt x="3165208" y="6068556"/>
                    <a:pt x="3134998" y="6102122"/>
                    <a:pt x="3094721" y="6102122"/>
                  </a:cubicBezTo>
                  <a:cubicBezTo>
                    <a:pt x="3054443" y="6102122"/>
                    <a:pt x="3024234" y="6071912"/>
                    <a:pt x="3024234" y="6031634"/>
                  </a:cubicBezTo>
                  <a:cubicBezTo>
                    <a:pt x="3024234" y="5994712"/>
                    <a:pt x="3057799" y="5961147"/>
                    <a:pt x="3094721" y="5961147"/>
                  </a:cubicBezTo>
                  <a:close/>
                  <a:moveTo>
                    <a:pt x="1322473" y="5954434"/>
                  </a:moveTo>
                  <a:cubicBezTo>
                    <a:pt x="1349326" y="5954434"/>
                    <a:pt x="1369465" y="5974573"/>
                    <a:pt x="1369465" y="6001425"/>
                  </a:cubicBezTo>
                  <a:cubicBezTo>
                    <a:pt x="1369465" y="6028278"/>
                    <a:pt x="1349326" y="6048417"/>
                    <a:pt x="1322473" y="6048417"/>
                  </a:cubicBezTo>
                  <a:cubicBezTo>
                    <a:pt x="1295621" y="6048417"/>
                    <a:pt x="1275482" y="6028278"/>
                    <a:pt x="1275482" y="6001425"/>
                  </a:cubicBezTo>
                  <a:cubicBezTo>
                    <a:pt x="1275482" y="5974573"/>
                    <a:pt x="1295621" y="5954434"/>
                    <a:pt x="1322473" y="5954434"/>
                  </a:cubicBezTo>
                  <a:close/>
                  <a:moveTo>
                    <a:pt x="2087761" y="5947721"/>
                  </a:moveTo>
                  <a:cubicBezTo>
                    <a:pt x="2128040" y="5947721"/>
                    <a:pt x="2158248" y="5977930"/>
                    <a:pt x="2158248" y="6018208"/>
                  </a:cubicBezTo>
                  <a:cubicBezTo>
                    <a:pt x="2158248" y="6058487"/>
                    <a:pt x="2128040" y="6088695"/>
                    <a:pt x="2087761" y="6088695"/>
                  </a:cubicBezTo>
                  <a:cubicBezTo>
                    <a:pt x="2050840" y="6088695"/>
                    <a:pt x="2017274" y="6055130"/>
                    <a:pt x="2017274" y="6018208"/>
                  </a:cubicBezTo>
                  <a:cubicBezTo>
                    <a:pt x="2017274" y="5977930"/>
                    <a:pt x="2047483" y="5947721"/>
                    <a:pt x="2087761" y="5947721"/>
                  </a:cubicBezTo>
                  <a:close/>
                  <a:moveTo>
                    <a:pt x="1698404" y="5934295"/>
                  </a:moveTo>
                  <a:cubicBezTo>
                    <a:pt x="1742039" y="5934295"/>
                    <a:pt x="1778961" y="5971217"/>
                    <a:pt x="1778961" y="6014852"/>
                  </a:cubicBezTo>
                  <a:cubicBezTo>
                    <a:pt x="1778961" y="6058487"/>
                    <a:pt x="1742039" y="6095408"/>
                    <a:pt x="1698404" y="6095408"/>
                  </a:cubicBezTo>
                  <a:cubicBezTo>
                    <a:pt x="1654769" y="6095408"/>
                    <a:pt x="1621204" y="6061843"/>
                    <a:pt x="1617847" y="6014852"/>
                  </a:cubicBezTo>
                  <a:cubicBezTo>
                    <a:pt x="1617847" y="5971217"/>
                    <a:pt x="1654769" y="5934295"/>
                    <a:pt x="1698404" y="5934295"/>
                  </a:cubicBezTo>
                  <a:close/>
                  <a:moveTo>
                    <a:pt x="3725749" y="5924225"/>
                  </a:moveTo>
                  <a:cubicBezTo>
                    <a:pt x="3762670" y="5924225"/>
                    <a:pt x="3789522" y="5954434"/>
                    <a:pt x="3789522" y="5987999"/>
                  </a:cubicBezTo>
                  <a:cubicBezTo>
                    <a:pt x="3789522" y="6024921"/>
                    <a:pt x="3759314" y="6051774"/>
                    <a:pt x="3725749" y="6051774"/>
                  </a:cubicBezTo>
                  <a:cubicBezTo>
                    <a:pt x="3692184" y="6051774"/>
                    <a:pt x="3665331" y="6024921"/>
                    <a:pt x="3661976" y="5987999"/>
                  </a:cubicBezTo>
                  <a:cubicBezTo>
                    <a:pt x="3661976" y="5951077"/>
                    <a:pt x="3692184" y="5924225"/>
                    <a:pt x="3725749" y="5924225"/>
                  </a:cubicBezTo>
                  <a:close/>
                  <a:moveTo>
                    <a:pt x="2490546" y="5920869"/>
                  </a:moveTo>
                  <a:cubicBezTo>
                    <a:pt x="2530824" y="5920869"/>
                    <a:pt x="2564390" y="5954434"/>
                    <a:pt x="2564390" y="5994712"/>
                  </a:cubicBezTo>
                  <a:cubicBezTo>
                    <a:pt x="2564390" y="6034991"/>
                    <a:pt x="2530824" y="6068556"/>
                    <a:pt x="2490546" y="6068556"/>
                  </a:cubicBezTo>
                  <a:cubicBezTo>
                    <a:pt x="2450267" y="6068556"/>
                    <a:pt x="2416702" y="6034991"/>
                    <a:pt x="2416702" y="5994712"/>
                  </a:cubicBezTo>
                  <a:cubicBezTo>
                    <a:pt x="2416702" y="5954434"/>
                    <a:pt x="2450267" y="5920869"/>
                    <a:pt x="2490546" y="5920869"/>
                  </a:cubicBezTo>
                  <a:close/>
                  <a:moveTo>
                    <a:pt x="2906755" y="5877234"/>
                  </a:moveTo>
                  <a:cubicBezTo>
                    <a:pt x="2947034" y="5877234"/>
                    <a:pt x="2980599" y="5910799"/>
                    <a:pt x="2980599" y="5951077"/>
                  </a:cubicBezTo>
                  <a:cubicBezTo>
                    <a:pt x="2980599" y="5991356"/>
                    <a:pt x="2947034" y="6024921"/>
                    <a:pt x="2906755" y="6024921"/>
                  </a:cubicBezTo>
                  <a:cubicBezTo>
                    <a:pt x="2866477" y="6024921"/>
                    <a:pt x="2832911" y="5991356"/>
                    <a:pt x="2832911" y="5951077"/>
                  </a:cubicBezTo>
                  <a:cubicBezTo>
                    <a:pt x="2832911" y="5910799"/>
                    <a:pt x="2866477" y="5877234"/>
                    <a:pt x="2906755" y="5877234"/>
                  </a:cubicBezTo>
                  <a:close/>
                  <a:moveTo>
                    <a:pt x="3531070" y="5867164"/>
                  </a:moveTo>
                  <a:cubicBezTo>
                    <a:pt x="3571348" y="5867164"/>
                    <a:pt x="3601556" y="5897373"/>
                    <a:pt x="3601556" y="5937651"/>
                  </a:cubicBezTo>
                  <a:cubicBezTo>
                    <a:pt x="3601556" y="5977930"/>
                    <a:pt x="3571348" y="6008139"/>
                    <a:pt x="3531070" y="6008139"/>
                  </a:cubicBezTo>
                  <a:cubicBezTo>
                    <a:pt x="3490792" y="6008139"/>
                    <a:pt x="3460584" y="5977930"/>
                    <a:pt x="3460584" y="5937651"/>
                  </a:cubicBezTo>
                  <a:cubicBezTo>
                    <a:pt x="3460584" y="5897373"/>
                    <a:pt x="3490792" y="5867164"/>
                    <a:pt x="3531070" y="5867164"/>
                  </a:cubicBezTo>
                  <a:close/>
                  <a:moveTo>
                    <a:pt x="1923292" y="5826886"/>
                  </a:moveTo>
                  <a:cubicBezTo>
                    <a:pt x="1963571" y="5826886"/>
                    <a:pt x="1997136" y="5860451"/>
                    <a:pt x="1997136" y="5900729"/>
                  </a:cubicBezTo>
                  <a:cubicBezTo>
                    <a:pt x="1997136" y="5941008"/>
                    <a:pt x="1963571" y="5974573"/>
                    <a:pt x="1923292" y="5974573"/>
                  </a:cubicBezTo>
                  <a:cubicBezTo>
                    <a:pt x="1883014" y="5974573"/>
                    <a:pt x="1849448" y="5941008"/>
                    <a:pt x="1849448" y="5900729"/>
                  </a:cubicBezTo>
                  <a:cubicBezTo>
                    <a:pt x="1849448" y="5860451"/>
                    <a:pt x="1883014" y="5826886"/>
                    <a:pt x="1923292" y="5826886"/>
                  </a:cubicBezTo>
                  <a:close/>
                  <a:moveTo>
                    <a:pt x="2316006" y="5823529"/>
                  </a:moveTo>
                  <a:cubicBezTo>
                    <a:pt x="2356284" y="5823529"/>
                    <a:pt x="2386493" y="5853738"/>
                    <a:pt x="2386493" y="5894016"/>
                  </a:cubicBezTo>
                  <a:cubicBezTo>
                    <a:pt x="2386493" y="5934295"/>
                    <a:pt x="2356284" y="5964504"/>
                    <a:pt x="2316006" y="5964504"/>
                  </a:cubicBezTo>
                  <a:cubicBezTo>
                    <a:pt x="2275728" y="5964504"/>
                    <a:pt x="2245518" y="5930938"/>
                    <a:pt x="2245518" y="5894016"/>
                  </a:cubicBezTo>
                  <a:cubicBezTo>
                    <a:pt x="2245518" y="5853738"/>
                    <a:pt x="2275728" y="5823529"/>
                    <a:pt x="2316006" y="5823529"/>
                  </a:cubicBezTo>
                  <a:close/>
                  <a:moveTo>
                    <a:pt x="1540647" y="5823529"/>
                  </a:moveTo>
                  <a:cubicBezTo>
                    <a:pt x="1577569" y="5823529"/>
                    <a:pt x="1607778" y="5853738"/>
                    <a:pt x="1607778" y="5890660"/>
                  </a:cubicBezTo>
                  <a:cubicBezTo>
                    <a:pt x="1607778" y="5927582"/>
                    <a:pt x="1577569" y="5957791"/>
                    <a:pt x="1540647" y="5957791"/>
                  </a:cubicBezTo>
                  <a:cubicBezTo>
                    <a:pt x="1503725" y="5957791"/>
                    <a:pt x="1473516" y="5927582"/>
                    <a:pt x="1473516" y="5890660"/>
                  </a:cubicBezTo>
                  <a:cubicBezTo>
                    <a:pt x="1473516" y="5853738"/>
                    <a:pt x="1503725" y="5823529"/>
                    <a:pt x="1540647" y="5823529"/>
                  </a:cubicBezTo>
                  <a:close/>
                  <a:moveTo>
                    <a:pt x="3336391" y="5810103"/>
                  </a:moveTo>
                  <a:cubicBezTo>
                    <a:pt x="3373312" y="5810103"/>
                    <a:pt x="3403522" y="5840312"/>
                    <a:pt x="3403522" y="5877234"/>
                  </a:cubicBezTo>
                  <a:cubicBezTo>
                    <a:pt x="3403522" y="5914156"/>
                    <a:pt x="3373312" y="5944364"/>
                    <a:pt x="3336391" y="5944364"/>
                  </a:cubicBezTo>
                  <a:cubicBezTo>
                    <a:pt x="3299470" y="5944364"/>
                    <a:pt x="3269260" y="5914156"/>
                    <a:pt x="3269260" y="5877234"/>
                  </a:cubicBezTo>
                  <a:cubicBezTo>
                    <a:pt x="3269260" y="5840312"/>
                    <a:pt x="3299470" y="5810103"/>
                    <a:pt x="3336391" y="5810103"/>
                  </a:cubicBezTo>
                  <a:close/>
                  <a:moveTo>
                    <a:pt x="1171429" y="5796677"/>
                  </a:moveTo>
                  <a:cubicBezTo>
                    <a:pt x="1208351" y="5796677"/>
                    <a:pt x="1238560" y="5826886"/>
                    <a:pt x="1238560" y="5863807"/>
                  </a:cubicBezTo>
                  <a:cubicBezTo>
                    <a:pt x="1238560" y="5900729"/>
                    <a:pt x="1208351" y="5930938"/>
                    <a:pt x="1171429" y="5930938"/>
                  </a:cubicBezTo>
                  <a:cubicBezTo>
                    <a:pt x="1134507" y="5930938"/>
                    <a:pt x="1104298" y="5900729"/>
                    <a:pt x="1104298" y="5863807"/>
                  </a:cubicBezTo>
                  <a:cubicBezTo>
                    <a:pt x="1104298" y="5826886"/>
                    <a:pt x="1134507" y="5796677"/>
                    <a:pt x="1171429" y="5796677"/>
                  </a:cubicBezTo>
                  <a:close/>
                  <a:moveTo>
                    <a:pt x="2725502" y="5793320"/>
                  </a:moveTo>
                  <a:cubicBezTo>
                    <a:pt x="2765781" y="5793320"/>
                    <a:pt x="2795990" y="5826886"/>
                    <a:pt x="2795990" y="5863807"/>
                  </a:cubicBezTo>
                  <a:cubicBezTo>
                    <a:pt x="2795990" y="5904085"/>
                    <a:pt x="2762424" y="5934295"/>
                    <a:pt x="2725502" y="5934295"/>
                  </a:cubicBezTo>
                  <a:cubicBezTo>
                    <a:pt x="2685224" y="5934295"/>
                    <a:pt x="2655015" y="5900729"/>
                    <a:pt x="2655015" y="5863807"/>
                  </a:cubicBezTo>
                  <a:cubicBezTo>
                    <a:pt x="2655015" y="5823529"/>
                    <a:pt x="2688580" y="5793320"/>
                    <a:pt x="2725502" y="5793320"/>
                  </a:cubicBezTo>
                  <a:close/>
                  <a:moveTo>
                    <a:pt x="3977488" y="5746329"/>
                  </a:moveTo>
                  <a:cubicBezTo>
                    <a:pt x="3985880" y="5746329"/>
                    <a:pt x="3993852" y="5748007"/>
                    <a:pt x="4001089" y="5751049"/>
                  </a:cubicBezTo>
                  <a:lnTo>
                    <a:pt x="4016827" y="5761627"/>
                  </a:lnTo>
                  <a:lnTo>
                    <a:pt x="4016827" y="5851866"/>
                  </a:lnTo>
                  <a:lnTo>
                    <a:pt x="4001089" y="5862444"/>
                  </a:lnTo>
                  <a:cubicBezTo>
                    <a:pt x="3993852" y="5865486"/>
                    <a:pt x="3985880" y="5867164"/>
                    <a:pt x="3977488" y="5867164"/>
                  </a:cubicBezTo>
                  <a:cubicBezTo>
                    <a:pt x="3943923" y="5867164"/>
                    <a:pt x="3917070" y="5840312"/>
                    <a:pt x="3917070" y="5806746"/>
                  </a:cubicBezTo>
                  <a:cubicBezTo>
                    <a:pt x="3917070" y="5773181"/>
                    <a:pt x="3943923" y="5746329"/>
                    <a:pt x="3977488" y="5746329"/>
                  </a:cubicBezTo>
                  <a:close/>
                  <a:moveTo>
                    <a:pt x="3145069" y="5742972"/>
                  </a:moveTo>
                  <a:cubicBezTo>
                    <a:pt x="3178634" y="5742972"/>
                    <a:pt x="3208844" y="5773181"/>
                    <a:pt x="3208844" y="5806746"/>
                  </a:cubicBezTo>
                  <a:cubicBezTo>
                    <a:pt x="3208844" y="5840312"/>
                    <a:pt x="3181992" y="5870519"/>
                    <a:pt x="3145069" y="5870519"/>
                  </a:cubicBezTo>
                  <a:cubicBezTo>
                    <a:pt x="3111504" y="5870519"/>
                    <a:pt x="3081295" y="5840312"/>
                    <a:pt x="3081295" y="5806746"/>
                  </a:cubicBezTo>
                  <a:cubicBezTo>
                    <a:pt x="3081295" y="5773181"/>
                    <a:pt x="3108147" y="5742972"/>
                    <a:pt x="3145069" y="5742972"/>
                  </a:cubicBezTo>
                  <a:close/>
                  <a:moveTo>
                    <a:pt x="3776096" y="5716120"/>
                  </a:moveTo>
                  <a:cubicBezTo>
                    <a:pt x="3806306" y="5716120"/>
                    <a:pt x="3829800" y="5739616"/>
                    <a:pt x="3829800" y="5769824"/>
                  </a:cubicBezTo>
                  <a:cubicBezTo>
                    <a:pt x="3829800" y="5800033"/>
                    <a:pt x="3806306" y="5823529"/>
                    <a:pt x="3776096" y="5823529"/>
                  </a:cubicBezTo>
                  <a:cubicBezTo>
                    <a:pt x="3745888" y="5823529"/>
                    <a:pt x="3722391" y="5800033"/>
                    <a:pt x="3722391" y="5769824"/>
                  </a:cubicBezTo>
                  <a:cubicBezTo>
                    <a:pt x="3722391" y="5739616"/>
                    <a:pt x="3745888" y="5716120"/>
                    <a:pt x="3776096" y="5716120"/>
                  </a:cubicBezTo>
                  <a:close/>
                  <a:moveTo>
                    <a:pt x="2144822" y="5706050"/>
                  </a:moveTo>
                  <a:cubicBezTo>
                    <a:pt x="2185101" y="5706050"/>
                    <a:pt x="2218666" y="5739616"/>
                    <a:pt x="2218666" y="5779894"/>
                  </a:cubicBezTo>
                  <a:cubicBezTo>
                    <a:pt x="2218666" y="5820173"/>
                    <a:pt x="2185101" y="5853738"/>
                    <a:pt x="2144822" y="5853738"/>
                  </a:cubicBezTo>
                  <a:cubicBezTo>
                    <a:pt x="2104544" y="5853738"/>
                    <a:pt x="2074335" y="5823529"/>
                    <a:pt x="2070979" y="5779894"/>
                  </a:cubicBezTo>
                  <a:cubicBezTo>
                    <a:pt x="2070979" y="5739616"/>
                    <a:pt x="2104544" y="5706050"/>
                    <a:pt x="2144822" y="5706050"/>
                  </a:cubicBezTo>
                  <a:close/>
                  <a:moveTo>
                    <a:pt x="1758822" y="5706050"/>
                  </a:moveTo>
                  <a:cubicBezTo>
                    <a:pt x="1799100" y="5706050"/>
                    <a:pt x="1832666" y="5739616"/>
                    <a:pt x="1832666" y="5779894"/>
                  </a:cubicBezTo>
                  <a:cubicBezTo>
                    <a:pt x="1832666" y="5820173"/>
                    <a:pt x="1799100" y="5853738"/>
                    <a:pt x="1758822" y="5853738"/>
                  </a:cubicBezTo>
                  <a:cubicBezTo>
                    <a:pt x="1718543" y="5853738"/>
                    <a:pt x="1684978" y="5820173"/>
                    <a:pt x="1684978" y="5779894"/>
                  </a:cubicBezTo>
                  <a:cubicBezTo>
                    <a:pt x="1684978" y="5739616"/>
                    <a:pt x="1718543" y="5706050"/>
                    <a:pt x="1758822" y="5706050"/>
                  </a:cubicBezTo>
                  <a:close/>
                  <a:moveTo>
                    <a:pt x="1027098" y="5706050"/>
                  </a:moveTo>
                  <a:cubicBezTo>
                    <a:pt x="1037168" y="5706050"/>
                    <a:pt x="1043881" y="5712763"/>
                    <a:pt x="1043881" y="5722833"/>
                  </a:cubicBezTo>
                  <a:cubicBezTo>
                    <a:pt x="1043881" y="5732903"/>
                    <a:pt x="1037168" y="5739616"/>
                    <a:pt x="1027098" y="5739616"/>
                  </a:cubicBezTo>
                  <a:cubicBezTo>
                    <a:pt x="1017028" y="5739616"/>
                    <a:pt x="1006959" y="5732903"/>
                    <a:pt x="1010315" y="5722833"/>
                  </a:cubicBezTo>
                  <a:cubicBezTo>
                    <a:pt x="1010315" y="5712763"/>
                    <a:pt x="1017028" y="5706050"/>
                    <a:pt x="1027098" y="5706050"/>
                  </a:cubicBezTo>
                  <a:close/>
                  <a:moveTo>
                    <a:pt x="2544250" y="5692624"/>
                  </a:moveTo>
                  <a:cubicBezTo>
                    <a:pt x="2584529" y="5692624"/>
                    <a:pt x="2618094" y="5726189"/>
                    <a:pt x="2618094" y="5766468"/>
                  </a:cubicBezTo>
                  <a:cubicBezTo>
                    <a:pt x="2618094" y="5806746"/>
                    <a:pt x="2584529" y="5840312"/>
                    <a:pt x="2544250" y="5840312"/>
                  </a:cubicBezTo>
                  <a:cubicBezTo>
                    <a:pt x="2503972" y="5840312"/>
                    <a:pt x="2473763" y="5806746"/>
                    <a:pt x="2470406" y="5766468"/>
                  </a:cubicBezTo>
                  <a:cubicBezTo>
                    <a:pt x="2470406" y="5726189"/>
                    <a:pt x="2503972" y="5692624"/>
                    <a:pt x="2544250" y="5692624"/>
                  </a:cubicBezTo>
                  <a:close/>
                  <a:moveTo>
                    <a:pt x="1386247" y="5682555"/>
                  </a:moveTo>
                  <a:cubicBezTo>
                    <a:pt x="1426526" y="5682555"/>
                    <a:pt x="1460091" y="5716120"/>
                    <a:pt x="1460091" y="5756398"/>
                  </a:cubicBezTo>
                  <a:cubicBezTo>
                    <a:pt x="1460091" y="5796677"/>
                    <a:pt x="1426526" y="5830242"/>
                    <a:pt x="1386247" y="5830242"/>
                  </a:cubicBezTo>
                  <a:cubicBezTo>
                    <a:pt x="1345969" y="5830242"/>
                    <a:pt x="1312404" y="5796677"/>
                    <a:pt x="1312404" y="5756398"/>
                  </a:cubicBezTo>
                  <a:cubicBezTo>
                    <a:pt x="1312404" y="5716120"/>
                    <a:pt x="1345969" y="5682555"/>
                    <a:pt x="1386247" y="5682555"/>
                  </a:cubicBezTo>
                  <a:close/>
                  <a:moveTo>
                    <a:pt x="2960460" y="5662415"/>
                  </a:moveTo>
                  <a:cubicBezTo>
                    <a:pt x="2994025" y="5662415"/>
                    <a:pt x="3024234" y="5689268"/>
                    <a:pt x="3024234" y="5726189"/>
                  </a:cubicBezTo>
                  <a:cubicBezTo>
                    <a:pt x="3024234" y="5759755"/>
                    <a:pt x="2997382" y="5789964"/>
                    <a:pt x="2960460" y="5789964"/>
                  </a:cubicBezTo>
                  <a:cubicBezTo>
                    <a:pt x="2923538" y="5789964"/>
                    <a:pt x="2896686" y="5763111"/>
                    <a:pt x="2896686" y="5726189"/>
                  </a:cubicBezTo>
                  <a:cubicBezTo>
                    <a:pt x="2896686" y="5692624"/>
                    <a:pt x="2923538" y="5662415"/>
                    <a:pt x="2960460" y="5662415"/>
                  </a:cubicBezTo>
                  <a:close/>
                  <a:moveTo>
                    <a:pt x="3581419" y="5659059"/>
                  </a:moveTo>
                  <a:cubicBezTo>
                    <a:pt x="3611627" y="5659059"/>
                    <a:pt x="3638479" y="5685911"/>
                    <a:pt x="3638479" y="5716120"/>
                  </a:cubicBezTo>
                  <a:cubicBezTo>
                    <a:pt x="3638479" y="5746329"/>
                    <a:pt x="3611627" y="5773181"/>
                    <a:pt x="3581419" y="5773181"/>
                  </a:cubicBezTo>
                  <a:cubicBezTo>
                    <a:pt x="3547852" y="5773181"/>
                    <a:pt x="3524357" y="5749685"/>
                    <a:pt x="3524357" y="5716120"/>
                  </a:cubicBezTo>
                  <a:cubicBezTo>
                    <a:pt x="3524357" y="5685911"/>
                    <a:pt x="3551209" y="5659059"/>
                    <a:pt x="3581419" y="5659059"/>
                  </a:cubicBezTo>
                  <a:close/>
                  <a:moveTo>
                    <a:pt x="3386738" y="5605354"/>
                  </a:moveTo>
                  <a:cubicBezTo>
                    <a:pt x="3416948" y="5605354"/>
                    <a:pt x="3440442" y="5628850"/>
                    <a:pt x="3440442" y="5659059"/>
                  </a:cubicBezTo>
                  <a:cubicBezTo>
                    <a:pt x="3440442" y="5689268"/>
                    <a:pt x="3416948" y="5712763"/>
                    <a:pt x="3386738" y="5712763"/>
                  </a:cubicBezTo>
                  <a:cubicBezTo>
                    <a:pt x="3356530" y="5712763"/>
                    <a:pt x="3333033" y="5685911"/>
                    <a:pt x="3333033" y="5659059"/>
                  </a:cubicBezTo>
                  <a:cubicBezTo>
                    <a:pt x="3333033" y="5628850"/>
                    <a:pt x="3356530" y="5605354"/>
                    <a:pt x="3386738" y="5605354"/>
                  </a:cubicBezTo>
                  <a:close/>
                  <a:moveTo>
                    <a:pt x="2373067" y="5588572"/>
                  </a:moveTo>
                  <a:cubicBezTo>
                    <a:pt x="2413346" y="5588572"/>
                    <a:pt x="2446911" y="5622137"/>
                    <a:pt x="2446911" y="5662415"/>
                  </a:cubicBezTo>
                  <a:cubicBezTo>
                    <a:pt x="2446911" y="5702694"/>
                    <a:pt x="2413346" y="5736259"/>
                    <a:pt x="2373067" y="5736259"/>
                  </a:cubicBezTo>
                  <a:cubicBezTo>
                    <a:pt x="2332788" y="5736259"/>
                    <a:pt x="2299223" y="5702694"/>
                    <a:pt x="2299223" y="5662415"/>
                  </a:cubicBezTo>
                  <a:cubicBezTo>
                    <a:pt x="2299223" y="5622137"/>
                    <a:pt x="2332788" y="5588572"/>
                    <a:pt x="2373067" y="5588572"/>
                  </a:cubicBezTo>
                  <a:close/>
                  <a:moveTo>
                    <a:pt x="1980353" y="5588572"/>
                  </a:moveTo>
                  <a:cubicBezTo>
                    <a:pt x="2020632" y="5588572"/>
                    <a:pt x="2054197" y="5622137"/>
                    <a:pt x="2054197" y="5662415"/>
                  </a:cubicBezTo>
                  <a:cubicBezTo>
                    <a:pt x="2054197" y="5702694"/>
                    <a:pt x="2020632" y="5736259"/>
                    <a:pt x="1980353" y="5736259"/>
                  </a:cubicBezTo>
                  <a:cubicBezTo>
                    <a:pt x="1940075" y="5736259"/>
                    <a:pt x="1909866" y="5702694"/>
                    <a:pt x="1906510" y="5662415"/>
                  </a:cubicBezTo>
                  <a:cubicBezTo>
                    <a:pt x="1906510" y="5622137"/>
                    <a:pt x="1940075" y="5588572"/>
                    <a:pt x="1980353" y="5588572"/>
                  </a:cubicBezTo>
                  <a:close/>
                  <a:moveTo>
                    <a:pt x="1604421" y="5575146"/>
                  </a:moveTo>
                  <a:cubicBezTo>
                    <a:pt x="1644700" y="5575146"/>
                    <a:pt x="1678265" y="5608712"/>
                    <a:pt x="1678265" y="5648990"/>
                  </a:cubicBezTo>
                  <a:cubicBezTo>
                    <a:pt x="1678265" y="5689269"/>
                    <a:pt x="1644700" y="5722834"/>
                    <a:pt x="1604421" y="5722834"/>
                  </a:cubicBezTo>
                  <a:cubicBezTo>
                    <a:pt x="1564143" y="5722834"/>
                    <a:pt x="1530577" y="5689269"/>
                    <a:pt x="1530577" y="5648990"/>
                  </a:cubicBezTo>
                  <a:cubicBezTo>
                    <a:pt x="1530577" y="5608712"/>
                    <a:pt x="1564143" y="5575146"/>
                    <a:pt x="1604421" y="5575146"/>
                  </a:cubicBezTo>
                  <a:close/>
                  <a:moveTo>
                    <a:pt x="2775850" y="5571789"/>
                  </a:moveTo>
                  <a:cubicBezTo>
                    <a:pt x="2812772" y="5571789"/>
                    <a:pt x="2839624" y="5601998"/>
                    <a:pt x="2839624" y="5635563"/>
                  </a:cubicBezTo>
                  <a:cubicBezTo>
                    <a:pt x="2839624" y="5672485"/>
                    <a:pt x="2809416" y="5699337"/>
                    <a:pt x="2775850" y="5699337"/>
                  </a:cubicBezTo>
                  <a:cubicBezTo>
                    <a:pt x="2742285" y="5699337"/>
                    <a:pt x="2715432" y="5672485"/>
                    <a:pt x="2712076" y="5635563"/>
                  </a:cubicBezTo>
                  <a:cubicBezTo>
                    <a:pt x="2712076" y="5598641"/>
                    <a:pt x="2742285" y="5571789"/>
                    <a:pt x="2775850" y="5571789"/>
                  </a:cubicBezTo>
                  <a:close/>
                  <a:moveTo>
                    <a:pt x="886123" y="5568432"/>
                  </a:moveTo>
                  <a:cubicBezTo>
                    <a:pt x="889480" y="5568432"/>
                    <a:pt x="892837" y="5571789"/>
                    <a:pt x="892837" y="5575145"/>
                  </a:cubicBezTo>
                  <a:cubicBezTo>
                    <a:pt x="892837" y="5578502"/>
                    <a:pt x="889480" y="5581858"/>
                    <a:pt x="886123" y="5581858"/>
                  </a:cubicBezTo>
                  <a:cubicBezTo>
                    <a:pt x="882767" y="5581858"/>
                    <a:pt x="879410" y="5578502"/>
                    <a:pt x="879410" y="5575145"/>
                  </a:cubicBezTo>
                  <a:cubicBezTo>
                    <a:pt x="879410" y="5571789"/>
                    <a:pt x="882767" y="5568432"/>
                    <a:pt x="886123" y="5568432"/>
                  </a:cubicBezTo>
                  <a:close/>
                  <a:moveTo>
                    <a:pt x="4016827" y="5546256"/>
                  </a:moveTo>
                  <a:lnTo>
                    <a:pt x="4016827" y="5624629"/>
                  </a:lnTo>
                  <a:lnTo>
                    <a:pt x="3997208" y="5617103"/>
                  </a:lnTo>
                  <a:cubicBezTo>
                    <a:pt x="3989236" y="5609551"/>
                    <a:pt x="3984201" y="5598642"/>
                    <a:pt x="3984201" y="5585216"/>
                  </a:cubicBezTo>
                  <a:cubicBezTo>
                    <a:pt x="3984201" y="5573468"/>
                    <a:pt x="3989236" y="5562560"/>
                    <a:pt x="3997208" y="5554588"/>
                  </a:cubicBezTo>
                  <a:close/>
                  <a:moveTo>
                    <a:pt x="1238560" y="5538223"/>
                  </a:moveTo>
                  <a:cubicBezTo>
                    <a:pt x="1282195" y="5538223"/>
                    <a:pt x="1315760" y="5571789"/>
                    <a:pt x="1315760" y="5615424"/>
                  </a:cubicBezTo>
                  <a:cubicBezTo>
                    <a:pt x="1315760" y="5659059"/>
                    <a:pt x="1282195" y="5692624"/>
                    <a:pt x="1238560" y="5692624"/>
                  </a:cubicBezTo>
                  <a:cubicBezTo>
                    <a:pt x="1198281" y="5692624"/>
                    <a:pt x="1161360" y="5659059"/>
                    <a:pt x="1161360" y="5615424"/>
                  </a:cubicBezTo>
                  <a:cubicBezTo>
                    <a:pt x="1161360" y="5571789"/>
                    <a:pt x="1194925" y="5538223"/>
                    <a:pt x="1238560" y="5538223"/>
                  </a:cubicBezTo>
                  <a:close/>
                  <a:moveTo>
                    <a:pt x="3195416" y="5531511"/>
                  </a:moveTo>
                  <a:cubicBezTo>
                    <a:pt x="3225624" y="5531511"/>
                    <a:pt x="3249121" y="5555007"/>
                    <a:pt x="3249121" y="5585216"/>
                  </a:cubicBezTo>
                  <a:cubicBezTo>
                    <a:pt x="3249121" y="5615425"/>
                    <a:pt x="3225624" y="5638921"/>
                    <a:pt x="3195416" y="5638921"/>
                  </a:cubicBezTo>
                  <a:cubicBezTo>
                    <a:pt x="3165208" y="5638921"/>
                    <a:pt x="3141712" y="5615425"/>
                    <a:pt x="3141712" y="5585216"/>
                  </a:cubicBezTo>
                  <a:cubicBezTo>
                    <a:pt x="3141712" y="5555007"/>
                    <a:pt x="3165208" y="5531511"/>
                    <a:pt x="3195416" y="5531511"/>
                  </a:cubicBezTo>
                  <a:close/>
                  <a:moveTo>
                    <a:pt x="3826443" y="5501302"/>
                  </a:moveTo>
                  <a:cubicBezTo>
                    <a:pt x="3853295" y="5501302"/>
                    <a:pt x="3873436" y="5521441"/>
                    <a:pt x="3873436" y="5548293"/>
                  </a:cubicBezTo>
                  <a:cubicBezTo>
                    <a:pt x="3873436" y="5575145"/>
                    <a:pt x="3853295" y="5595285"/>
                    <a:pt x="3826443" y="5595285"/>
                  </a:cubicBezTo>
                  <a:cubicBezTo>
                    <a:pt x="3802948" y="5595285"/>
                    <a:pt x="3779454" y="5575145"/>
                    <a:pt x="3779454" y="5548293"/>
                  </a:cubicBezTo>
                  <a:cubicBezTo>
                    <a:pt x="3779454" y="5521441"/>
                    <a:pt x="3799591" y="5501302"/>
                    <a:pt x="3826443" y="5501302"/>
                  </a:cubicBezTo>
                  <a:close/>
                  <a:moveTo>
                    <a:pt x="2205240" y="5474450"/>
                  </a:moveTo>
                  <a:cubicBezTo>
                    <a:pt x="2245518" y="5474450"/>
                    <a:pt x="2275728" y="5508016"/>
                    <a:pt x="2275728" y="5544938"/>
                  </a:cubicBezTo>
                  <a:cubicBezTo>
                    <a:pt x="2275728" y="5585215"/>
                    <a:pt x="2242162" y="5615425"/>
                    <a:pt x="2205240" y="5615425"/>
                  </a:cubicBezTo>
                  <a:cubicBezTo>
                    <a:pt x="2164962" y="5615425"/>
                    <a:pt x="2134753" y="5585215"/>
                    <a:pt x="2134753" y="5544938"/>
                  </a:cubicBezTo>
                  <a:cubicBezTo>
                    <a:pt x="2134753" y="5504659"/>
                    <a:pt x="2168318" y="5474450"/>
                    <a:pt x="2205240" y="5474450"/>
                  </a:cubicBezTo>
                  <a:close/>
                  <a:moveTo>
                    <a:pt x="1822596" y="5467736"/>
                  </a:moveTo>
                  <a:cubicBezTo>
                    <a:pt x="1859518" y="5467736"/>
                    <a:pt x="1893083" y="5497945"/>
                    <a:pt x="1893083" y="5538223"/>
                  </a:cubicBezTo>
                  <a:cubicBezTo>
                    <a:pt x="1893083" y="5575145"/>
                    <a:pt x="1862874" y="5608711"/>
                    <a:pt x="1822596" y="5608711"/>
                  </a:cubicBezTo>
                  <a:cubicBezTo>
                    <a:pt x="1782318" y="5608711"/>
                    <a:pt x="1752109" y="5575145"/>
                    <a:pt x="1752109" y="5538223"/>
                  </a:cubicBezTo>
                  <a:cubicBezTo>
                    <a:pt x="1752109" y="5501302"/>
                    <a:pt x="1782318" y="5467736"/>
                    <a:pt x="1822596" y="5467736"/>
                  </a:cubicBezTo>
                  <a:close/>
                  <a:moveTo>
                    <a:pt x="2601312" y="5461023"/>
                  </a:moveTo>
                  <a:cubicBezTo>
                    <a:pt x="2641590" y="5461023"/>
                    <a:pt x="2675155" y="5494588"/>
                    <a:pt x="2675155" y="5534867"/>
                  </a:cubicBezTo>
                  <a:cubicBezTo>
                    <a:pt x="2675155" y="5575145"/>
                    <a:pt x="2641590" y="5608711"/>
                    <a:pt x="2601312" y="5608711"/>
                  </a:cubicBezTo>
                  <a:cubicBezTo>
                    <a:pt x="2561033" y="5608711"/>
                    <a:pt x="2527468" y="5575145"/>
                    <a:pt x="2527468" y="5534867"/>
                  </a:cubicBezTo>
                  <a:cubicBezTo>
                    <a:pt x="2527468" y="5494588"/>
                    <a:pt x="2561033" y="5461023"/>
                    <a:pt x="2601312" y="5461023"/>
                  </a:cubicBezTo>
                  <a:close/>
                  <a:moveTo>
                    <a:pt x="3631766" y="5450954"/>
                  </a:moveTo>
                  <a:cubicBezTo>
                    <a:pt x="3658618" y="5450954"/>
                    <a:pt x="3678758" y="5471093"/>
                    <a:pt x="3678758" y="5497945"/>
                  </a:cubicBezTo>
                  <a:cubicBezTo>
                    <a:pt x="3678758" y="5524797"/>
                    <a:pt x="3658618" y="5544937"/>
                    <a:pt x="3631766" y="5544937"/>
                  </a:cubicBezTo>
                  <a:cubicBezTo>
                    <a:pt x="3604914" y="5544937"/>
                    <a:pt x="3584774" y="5521441"/>
                    <a:pt x="3584774" y="5497945"/>
                  </a:cubicBezTo>
                  <a:cubicBezTo>
                    <a:pt x="3584774" y="5471093"/>
                    <a:pt x="3604914" y="5450954"/>
                    <a:pt x="3631766" y="5450954"/>
                  </a:cubicBezTo>
                  <a:close/>
                  <a:moveTo>
                    <a:pt x="3010808" y="5437528"/>
                  </a:moveTo>
                  <a:cubicBezTo>
                    <a:pt x="3044373" y="5437528"/>
                    <a:pt x="3071226" y="5464381"/>
                    <a:pt x="3071226" y="5497946"/>
                  </a:cubicBezTo>
                  <a:cubicBezTo>
                    <a:pt x="3071226" y="5531511"/>
                    <a:pt x="3044373" y="5558364"/>
                    <a:pt x="3010808" y="5558364"/>
                  </a:cubicBezTo>
                  <a:cubicBezTo>
                    <a:pt x="2980599" y="5558364"/>
                    <a:pt x="2953747" y="5534868"/>
                    <a:pt x="2950390" y="5497946"/>
                  </a:cubicBezTo>
                  <a:cubicBezTo>
                    <a:pt x="2950390" y="5464381"/>
                    <a:pt x="2977242" y="5437528"/>
                    <a:pt x="3010808" y="5437528"/>
                  </a:cubicBezTo>
                  <a:close/>
                  <a:moveTo>
                    <a:pt x="1453378" y="5434171"/>
                  </a:moveTo>
                  <a:cubicBezTo>
                    <a:pt x="1497013" y="5434171"/>
                    <a:pt x="1530578" y="5467736"/>
                    <a:pt x="1530578" y="5511371"/>
                  </a:cubicBezTo>
                  <a:cubicBezTo>
                    <a:pt x="1530578" y="5555006"/>
                    <a:pt x="1497013" y="5588572"/>
                    <a:pt x="1453378" y="5588572"/>
                  </a:cubicBezTo>
                  <a:cubicBezTo>
                    <a:pt x="1413100" y="5588572"/>
                    <a:pt x="1376178" y="5551650"/>
                    <a:pt x="1376178" y="5511371"/>
                  </a:cubicBezTo>
                  <a:cubicBezTo>
                    <a:pt x="1376178" y="5467736"/>
                    <a:pt x="1409743" y="5434171"/>
                    <a:pt x="1453378" y="5434171"/>
                  </a:cubicBezTo>
                  <a:close/>
                  <a:moveTo>
                    <a:pt x="1097585" y="5410676"/>
                  </a:moveTo>
                  <a:cubicBezTo>
                    <a:pt x="1131151" y="5410676"/>
                    <a:pt x="1158003" y="5437528"/>
                    <a:pt x="1158003" y="5471094"/>
                  </a:cubicBezTo>
                  <a:cubicBezTo>
                    <a:pt x="1158003" y="5504659"/>
                    <a:pt x="1131151" y="5531511"/>
                    <a:pt x="1097585" y="5531511"/>
                  </a:cubicBezTo>
                  <a:cubicBezTo>
                    <a:pt x="1064020" y="5531511"/>
                    <a:pt x="1040524" y="5504659"/>
                    <a:pt x="1037168" y="5471094"/>
                  </a:cubicBezTo>
                  <a:cubicBezTo>
                    <a:pt x="1037168" y="5437528"/>
                    <a:pt x="1064020" y="5410676"/>
                    <a:pt x="1097585" y="5410676"/>
                  </a:cubicBezTo>
                  <a:close/>
                  <a:moveTo>
                    <a:pt x="751863" y="5393893"/>
                  </a:moveTo>
                  <a:cubicBezTo>
                    <a:pt x="765289" y="5393893"/>
                    <a:pt x="778715" y="5407320"/>
                    <a:pt x="778715" y="5420746"/>
                  </a:cubicBezTo>
                  <a:cubicBezTo>
                    <a:pt x="778715" y="5434172"/>
                    <a:pt x="765289" y="5447598"/>
                    <a:pt x="751863" y="5447598"/>
                  </a:cubicBezTo>
                  <a:cubicBezTo>
                    <a:pt x="738437" y="5447598"/>
                    <a:pt x="728367" y="5437528"/>
                    <a:pt x="725011" y="5420746"/>
                  </a:cubicBezTo>
                  <a:cubicBezTo>
                    <a:pt x="725011" y="5407320"/>
                    <a:pt x="738437" y="5393893"/>
                    <a:pt x="751863" y="5393893"/>
                  </a:cubicBezTo>
                  <a:close/>
                  <a:moveTo>
                    <a:pt x="3437087" y="5380467"/>
                  </a:moveTo>
                  <a:cubicBezTo>
                    <a:pt x="3467294" y="5380467"/>
                    <a:pt x="3490792" y="5403963"/>
                    <a:pt x="3490792" y="5434172"/>
                  </a:cubicBezTo>
                  <a:cubicBezTo>
                    <a:pt x="3490792" y="5464381"/>
                    <a:pt x="3467294" y="5487876"/>
                    <a:pt x="3437087" y="5487876"/>
                  </a:cubicBezTo>
                  <a:cubicBezTo>
                    <a:pt x="3406879" y="5487876"/>
                    <a:pt x="3383382" y="5464381"/>
                    <a:pt x="3383382" y="5434172"/>
                  </a:cubicBezTo>
                  <a:cubicBezTo>
                    <a:pt x="3383382" y="5403963"/>
                    <a:pt x="3406879" y="5380467"/>
                    <a:pt x="3437087" y="5380467"/>
                  </a:cubicBezTo>
                  <a:close/>
                  <a:moveTo>
                    <a:pt x="2430128" y="5360328"/>
                  </a:moveTo>
                  <a:cubicBezTo>
                    <a:pt x="2467050" y="5360328"/>
                    <a:pt x="2497259" y="5390537"/>
                    <a:pt x="2497259" y="5427459"/>
                  </a:cubicBezTo>
                  <a:cubicBezTo>
                    <a:pt x="2497259" y="5464381"/>
                    <a:pt x="2467050" y="5494590"/>
                    <a:pt x="2430128" y="5494590"/>
                  </a:cubicBezTo>
                  <a:cubicBezTo>
                    <a:pt x="2393206" y="5494590"/>
                    <a:pt x="2362997" y="5464381"/>
                    <a:pt x="2362997" y="5427459"/>
                  </a:cubicBezTo>
                  <a:cubicBezTo>
                    <a:pt x="2362997" y="5390537"/>
                    <a:pt x="2393206" y="5360328"/>
                    <a:pt x="2430128" y="5360328"/>
                  </a:cubicBezTo>
                  <a:close/>
                  <a:moveTo>
                    <a:pt x="2040771" y="5356972"/>
                  </a:moveTo>
                  <a:cubicBezTo>
                    <a:pt x="2077693" y="5356972"/>
                    <a:pt x="2107902" y="5387180"/>
                    <a:pt x="2107902" y="5424102"/>
                  </a:cubicBezTo>
                  <a:cubicBezTo>
                    <a:pt x="2107902" y="5461024"/>
                    <a:pt x="2077693" y="5491233"/>
                    <a:pt x="2040771" y="5491233"/>
                  </a:cubicBezTo>
                  <a:cubicBezTo>
                    <a:pt x="2003849" y="5491233"/>
                    <a:pt x="1973640" y="5461024"/>
                    <a:pt x="1973640" y="5424102"/>
                  </a:cubicBezTo>
                  <a:cubicBezTo>
                    <a:pt x="1973640" y="5387180"/>
                    <a:pt x="2003849" y="5356972"/>
                    <a:pt x="2040771" y="5356972"/>
                  </a:cubicBezTo>
                  <a:close/>
                  <a:moveTo>
                    <a:pt x="2829555" y="5346902"/>
                  </a:moveTo>
                  <a:cubicBezTo>
                    <a:pt x="2859764" y="5346902"/>
                    <a:pt x="2886616" y="5373754"/>
                    <a:pt x="2886616" y="5407320"/>
                  </a:cubicBezTo>
                  <a:cubicBezTo>
                    <a:pt x="2886616" y="5440885"/>
                    <a:pt x="2863120" y="5467737"/>
                    <a:pt x="2829555" y="5467737"/>
                  </a:cubicBezTo>
                  <a:cubicBezTo>
                    <a:pt x="2799346" y="5467737"/>
                    <a:pt x="2772494" y="5440885"/>
                    <a:pt x="2769137" y="5407320"/>
                  </a:cubicBezTo>
                  <a:cubicBezTo>
                    <a:pt x="2769137" y="5373754"/>
                    <a:pt x="2795990" y="5346902"/>
                    <a:pt x="2829555" y="5346902"/>
                  </a:cubicBezTo>
                  <a:close/>
                  <a:moveTo>
                    <a:pt x="1668195" y="5333476"/>
                  </a:moveTo>
                  <a:cubicBezTo>
                    <a:pt x="1708474" y="5333476"/>
                    <a:pt x="1738683" y="5363685"/>
                    <a:pt x="1738683" y="5403963"/>
                  </a:cubicBezTo>
                  <a:cubicBezTo>
                    <a:pt x="1738683" y="5444242"/>
                    <a:pt x="1708474" y="5474450"/>
                    <a:pt x="1668195" y="5474450"/>
                  </a:cubicBezTo>
                  <a:cubicBezTo>
                    <a:pt x="1631274" y="5474450"/>
                    <a:pt x="1597708" y="5440885"/>
                    <a:pt x="1597708" y="5403963"/>
                  </a:cubicBezTo>
                  <a:cubicBezTo>
                    <a:pt x="1597708" y="5363685"/>
                    <a:pt x="1627917" y="5333476"/>
                    <a:pt x="1668195" y="5333476"/>
                  </a:cubicBezTo>
                  <a:close/>
                  <a:moveTo>
                    <a:pt x="3249123" y="5309980"/>
                  </a:moveTo>
                  <a:cubicBezTo>
                    <a:pt x="3275975" y="5309980"/>
                    <a:pt x="3299470" y="5333476"/>
                    <a:pt x="3299470" y="5360328"/>
                  </a:cubicBezTo>
                  <a:cubicBezTo>
                    <a:pt x="3299470" y="5387180"/>
                    <a:pt x="3275975" y="5410676"/>
                    <a:pt x="3249123" y="5410676"/>
                  </a:cubicBezTo>
                  <a:cubicBezTo>
                    <a:pt x="3218913" y="5410676"/>
                    <a:pt x="3198774" y="5387180"/>
                    <a:pt x="3198774" y="5360328"/>
                  </a:cubicBezTo>
                  <a:cubicBezTo>
                    <a:pt x="3198774" y="5333476"/>
                    <a:pt x="3222271" y="5309980"/>
                    <a:pt x="3249123" y="5309980"/>
                  </a:cubicBezTo>
                  <a:close/>
                  <a:moveTo>
                    <a:pt x="3876792" y="5296554"/>
                  </a:moveTo>
                  <a:cubicBezTo>
                    <a:pt x="3893574" y="5296554"/>
                    <a:pt x="3907000" y="5309980"/>
                    <a:pt x="3907000" y="5326763"/>
                  </a:cubicBezTo>
                  <a:cubicBezTo>
                    <a:pt x="3907000" y="5343545"/>
                    <a:pt x="3893574" y="5356972"/>
                    <a:pt x="3876792" y="5356972"/>
                  </a:cubicBezTo>
                  <a:cubicBezTo>
                    <a:pt x="3863366" y="5356972"/>
                    <a:pt x="3849940" y="5343545"/>
                    <a:pt x="3846584" y="5326763"/>
                  </a:cubicBezTo>
                  <a:cubicBezTo>
                    <a:pt x="3846584" y="5309980"/>
                    <a:pt x="3860010" y="5296554"/>
                    <a:pt x="3876792" y="5296554"/>
                  </a:cubicBezTo>
                  <a:close/>
                  <a:moveTo>
                    <a:pt x="1309047" y="5293197"/>
                  </a:moveTo>
                  <a:cubicBezTo>
                    <a:pt x="1349830" y="5293197"/>
                    <a:pt x="1382891" y="5326258"/>
                    <a:pt x="1382891" y="5367041"/>
                  </a:cubicBezTo>
                  <a:cubicBezTo>
                    <a:pt x="1382891" y="5407824"/>
                    <a:pt x="1349830" y="5440884"/>
                    <a:pt x="1309047" y="5440884"/>
                  </a:cubicBezTo>
                  <a:cubicBezTo>
                    <a:pt x="1268264" y="5440884"/>
                    <a:pt x="1235203" y="5407824"/>
                    <a:pt x="1235203" y="5367041"/>
                  </a:cubicBezTo>
                  <a:cubicBezTo>
                    <a:pt x="1235203" y="5326258"/>
                    <a:pt x="1268264" y="5293197"/>
                    <a:pt x="1309047" y="5293197"/>
                  </a:cubicBezTo>
                  <a:close/>
                  <a:moveTo>
                    <a:pt x="963324" y="5246206"/>
                  </a:moveTo>
                  <a:cubicBezTo>
                    <a:pt x="1003602" y="5246206"/>
                    <a:pt x="1037168" y="5279771"/>
                    <a:pt x="1037168" y="5320050"/>
                  </a:cubicBezTo>
                  <a:cubicBezTo>
                    <a:pt x="1037168" y="5360328"/>
                    <a:pt x="1003602" y="5393893"/>
                    <a:pt x="963324" y="5393893"/>
                  </a:cubicBezTo>
                  <a:cubicBezTo>
                    <a:pt x="923045" y="5393893"/>
                    <a:pt x="889480" y="5360328"/>
                    <a:pt x="889480" y="5320050"/>
                  </a:cubicBezTo>
                  <a:cubicBezTo>
                    <a:pt x="889480" y="5279771"/>
                    <a:pt x="923045" y="5246206"/>
                    <a:pt x="963324" y="5246206"/>
                  </a:cubicBezTo>
                  <a:close/>
                  <a:moveTo>
                    <a:pt x="2262301" y="5242849"/>
                  </a:moveTo>
                  <a:cubicBezTo>
                    <a:pt x="2299223" y="5242849"/>
                    <a:pt x="2329432" y="5273058"/>
                    <a:pt x="2329432" y="5309980"/>
                  </a:cubicBezTo>
                  <a:cubicBezTo>
                    <a:pt x="2329432" y="5346902"/>
                    <a:pt x="2299223" y="5377111"/>
                    <a:pt x="2262301" y="5377111"/>
                  </a:cubicBezTo>
                  <a:cubicBezTo>
                    <a:pt x="2225379" y="5377111"/>
                    <a:pt x="2195170" y="5346902"/>
                    <a:pt x="2195170" y="5309980"/>
                  </a:cubicBezTo>
                  <a:cubicBezTo>
                    <a:pt x="2195170" y="5273058"/>
                    <a:pt x="2225379" y="5242849"/>
                    <a:pt x="2262301" y="5242849"/>
                  </a:cubicBezTo>
                  <a:close/>
                  <a:moveTo>
                    <a:pt x="3682113" y="5239493"/>
                  </a:moveTo>
                  <a:cubicBezTo>
                    <a:pt x="3702254" y="5239493"/>
                    <a:pt x="3719036" y="5256275"/>
                    <a:pt x="3719036" y="5276415"/>
                  </a:cubicBezTo>
                  <a:cubicBezTo>
                    <a:pt x="3719036" y="5296554"/>
                    <a:pt x="3702254" y="5313337"/>
                    <a:pt x="3682113" y="5313337"/>
                  </a:cubicBezTo>
                  <a:cubicBezTo>
                    <a:pt x="3661976" y="5313337"/>
                    <a:pt x="3645192" y="5296554"/>
                    <a:pt x="3645192" y="5276415"/>
                  </a:cubicBezTo>
                  <a:cubicBezTo>
                    <a:pt x="3645192" y="5256275"/>
                    <a:pt x="3661976" y="5239493"/>
                    <a:pt x="3682113" y="5239493"/>
                  </a:cubicBezTo>
                  <a:close/>
                  <a:moveTo>
                    <a:pt x="2655015" y="5239493"/>
                  </a:moveTo>
                  <a:cubicBezTo>
                    <a:pt x="2691937" y="5239493"/>
                    <a:pt x="2718789" y="5269702"/>
                    <a:pt x="2718789" y="5303267"/>
                  </a:cubicBezTo>
                  <a:cubicBezTo>
                    <a:pt x="2718789" y="5340189"/>
                    <a:pt x="2688580" y="5367040"/>
                    <a:pt x="2655015" y="5367040"/>
                  </a:cubicBezTo>
                  <a:cubicBezTo>
                    <a:pt x="2621450" y="5367040"/>
                    <a:pt x="2591241" y="5340189"/>
                    <a:pt x="2591241" y="5303267"/>
                  </a:cubicBezTo>
                  <a:cubicBezTo>
                    <a:pt x="2591241" y="5266345"/>
                    <a:pt x="2621450" y="5239493"/>
                    <a:pt x="2655015" y="5239493"/>
                  </a:cubicBezTo>
                  <a:close/>
                  <a:moveTo>
                    <a:pt x="1886370" y="5222710"/>
                  </a:moveTo>
                  <a:cubicBezTo>
                    <a:pt x="1926649" y="5222710"/>
                    <a:pt x="1956858" y="5256275"/>
                    <a:pt x="1956858" y="5293197"/>
                  </a:cubicBezTo>
                  <a:cubicBezTo>
                    <a:pt x="1956858" y="5333475"/>
                    <a:pt x="1923292" y="5363685"/>
                    <a:pt x="1886370" y="5363685"/>
                  </a:cubicBezTo>
                  <a:cubicBezTo>
                    <a:pt x="1849448" y="5363685"/>
                    <a:pt x="1815883" y="5330119"/>
                    <a:pt x="1815883" y="5293197"/>
                  </a:cubicBezTo>
                  <a:cubicBezTo>
                    <a:pt x="1815883" y="5252919"/>
                    <a:pt x="1846092" y="5222710"/>
                    <a:pt x="1886370" y="5222710"/>
                  </a:cubicBezTo>
                  <a:close/>
                  <a:moveTo>
                    <a:pt x="3064512" y="5212641"/>
                  </a:moveTo>
                  <a:cubicBezTo>
                    <a:pt x="3098078" y="5212641"/>
                    <a:pt x="3124930" y="5239493"/>
                    <a:pt x="3124930" y="5273058"/>
                  </a:cubicBezTo>
                  <a:cubicBezTo>
                    <a:pt x="3124930" y="5306624"/>
                    <a:pt x="3098078" y="5333476"/>
                    <a:pt x="3064512" y="5333476"/>
                  </a:cubicBezTo>
                  <a:cubicBezTo>
                    <a:pt x="3030947" y="5333476"/>
                    <a:pt x="3004095" y="5306624"/>
                    <a:pt x="3004095" y="5273058"/>
                  </a:cubicBezTo>
                  <a:cubicBezTo>
                    <a:pt x="3004095" y="5239493"/>
                    <a:pt x="3030947" y="5212641"/>
                    <a:pt x="3064512" y="5212641"/>
                  </a:cubicBezTo>
                  <a:close/>
                  <a:moveTo>
                    <a:pt x="1523864" y="5185788"/>
                  </a:moveTo>
                  <a:cubicBezTo>
                    <a:pt x="1564647" y="5185788"/>
                    <a:pt x="1597708" y="5218849"/>
                    <a:pt x="1597708" y="5259632"/>
                  </a:cubicBezTo>
                  <a:cubicBezTo>
                    <a:pt x="1597708" y="5300415"/>
                    <a:pt x="1564647" y="5333476"/>
                    <a:pt x="1523864" y="5333476"/>
                  </a:cubicBezTo>
                  <a:cubicBezTo>
                    <a:pt x="1483082" y="5333476"/>
                    <a:pt x="1450020" y="5300415"/>
                    <a:pt x="1450020" y="5259632"/>
                  </a:cubicBezTo>
                  <a:cubicBezTo>
                    <a:pt x="1450020" y="5218849"/>
                    <a:pt x="1483082" y="5185788"/>
                    <a:pt x="1523864" y="5185788"/>
                  </a:cubicBezTo>
                  <a:close/>
                  <a:moveTo>
                    <a:pt x="3487436" y="5169006"/>
                  </a:moveTo>
                  <a:cubicBezTo>
                    <a:pt x="3510931" y="5169006"/>
                    <a:pt x="3531070" y="5189145"/>
                    <a:pt x="3531070" y="5212641"/>
                  </a:cubicBezTo>
                  <a:cubicBezTo>
                    <a:pt x="3531070" y="5236136"/>
                    <a:pt x="3510931" y="5256275"/>
                    <a:pt x="3487436" y="5256275"/>
                  </a:cubicBezTo>
                  <a:cubicBezTo>
                    <a:pt x="3463939" y="5256275"/>
                    <a:pt x="3447158" y="5236136"/>
                    <a:pt x="3443800" y="5212641"/>
                  </a:cubicBezTo>
                  <a:cubicBezTo>
                    <a:pt x="3443800" y="5189145"/>
                    <a:pt x="3463939" y="5169006"/>
                    <a:pt x="3487436" y="5169006"/>
                  </a:cubicBezTo>
                  <a:close/>
                  <a:moveTo>
                    <a:pt x="1174786" y="5142153"/>
                  </a:moveTo>
                  <a:cubicBezTo>
                    <a:pt x="1215064" y="5142153"/>
                    <a:pt x="1248629" y="5175719"/>
                    <a:pt x="1248629" y="5215997"/>
                  </a:cubicBezTo>
                  <a:cubicBezTo>
                    <a:pt x="1248629" y="5256275"/>
                    <a:pt x="1215064" y="5289841"/>
                    <a:pt x="1174786" y="5289841"/>
                  </a:cubicBezTo>
                  <a:cubicBezTo>
                    <a:pt x="1131151" y="5289841"/>
                    <a:pt x="1100942" y="5256275"/>
                    <a:pt x="1100942" y="5215997"/>
                  </a:cubicBezTo>
                  <a:cubicBezTo>
                    <a:pt x="1100942" y="5175719"/>
                    <a:pt x="1134507" y="5142153"/>
                    <a:pt x="1174786" y="5142153"/>
                  </a:cubicBezTo>
                  <a:close/>
                  <a:moveTo>
                    <a:pt x="2487189" y="5132084"/>
                  </a:moveTo>
                  <a:cubicBezTo>
                    <a:pt x="2520754" y="5132084"/>
                    <a:pt x="2544250" y="5158936"/>
                    <a:pt x="2544250" y="5189145"/>
                  </a:cubicBezTo>
                  <a:cubicBezTo>
                    <a:pt x="2544250" y="5222710"/>
                    <a:pt x="2517398" y="5246206"/>
                    <a:pt x="2487189" y="5246206"/>
                  </a:cubicBezTo>
                  <a:cubicBezTo>
                    <a:pt x="2456980" y="5246206"/>
                    <a:pt x="2430128" y="5222710"/>
                    <a:pt x="2430128" y="5189145"/>
                  </a:cubicBezTo>
                  <a:cubicBezTo>
                    <a:pt x="2430128" y="5155579"/>
                    <a:pt x="2456980" y="5132084"/>
                    <a:pt x="2487189" y="5132084"/>
                  </a:cubicBezTo>
                  <a:close/>
                  <a:moveTo>
                    <a:pt x="2886616" y="5125371"/>
                  </a:moveTo>
                  <a:cubicBezTo>
                    <a:pt x="2916825" y="5125371"/>
                    <a:pt x="2940320" y="5148866"/>
                    <a:pt x="2940320" y="5179075"/>
                  </a:cubicBezTo>
                  <a:cubicBezTo>
                    <a:pt x="2940320" y="5209284"/>
                    <a:pt x="2916825" y="5232780"/>
                    <a:pt x="2886616" y="5232780"/>
                  </a:cubicBezTo>
                  <a:cubicBezTo>
                    <a:pt x="2856407" y="5232780"/>
                    <a:pt x="2832911" y="5209284"/>
                    <a:pt x="2832911" y="5179075"/>
                  </a:cubicBezTo>
                  <a:cubicBezTo>
                    <a:pt x="2832911" y="5148866"/>
                    <a:pt x="2856407" y="5125371"/>
                    <a:pt x="2886616" y="5125371"/>
                  </a:cubicBezTo>
                  <a:close/>
                  <a:moveTo>
                    <a:pt x="2104544" y="5122014"/>
                  </a:moveTo>
                  <a:cubicBezTo>
                    <a:pt x="2138110" y="5122014"/>
                    <a:pt x="2164962" y="5148866"/>
                    <a:pt x="2164962" y="5182432"/>
                  </a:cubicBezTo>
                  <a:cubicBezTo>
                    <a:pt x="2164962" y="5215996"/>
                    <a:pt x="2138110" y="5242849"/>
                    <a:pt x="2104544" y="5242849"/>
                  </a:cubicBezTo>
                  <a:cubicBezTo>
                    <a:pt x="2070979" y="5242849"/>
                    <a:pt x="2044126" y="5215996"/>
                    <a:pt x="2044126" y="5182432"/>
                  </a:cubicBezTo>
                  <a:cubicBezTo>
                    <a:pt x="2044126" y="5148866"/>
                    <a:pt x="2070979" y="5122014"/>
                    <a:pt x="2104544" y="5122014"/>
                  </a:cubicBezTo>
                  <a:close/>
                  <a:moveTo>
                    <a:pt x="835776" y="5101875"/>
                  </a:moveTo>
                  <a:cubicBezTo>
                    <a:pt x="869342" y="5101875"/>
                    <a:pt x="896194" y="5128727"/>
                    <a:pt x="896194" y="5162292"/>
                  </a:cubicBezTo>
                  <a:cubicBezTo>
                    <a:pt x="896194" y="5195858"/>
                    <a:pt x="869342" y="5222710"/>
                    <a:pt x="835776" y="5222710"/>
                  </a:cubicBezTo>
                  <a:cubicBezTo>
                    <a:pt x="802211" y="5222710"/>
                    <a:pt x="775359" y="5195858"/>
                    <a:pt x="775359" y="5162292"/>
                  </a:cubicBezTo>
                  <a:cubicBezTo>
                    <a:pt x="775359" y="5128727"/>
                    <a:pt x="802211" y="5101875"/>
                    <a:pt x="835776" y="5101875"/>
                  </a:cubicBezTo>
                  <a:close/>
                  <a:moveTo>
                    <a:pt x="3299470" y="5098518"/>
                  </a:moveTo>
                  <a:cubicBezTo>
                    <a:pt x="3319607" y="5098518"/>
                    <a:pt x="3336391" y="5115301"/>
                    <a:pt x="3336391" y="5135440"/>
                  </a:cubicBezTo>
                  <a:cubicBezTo>
                    <a:pt x="3336391" y="5155579"/>
                    <a:pt x="3319607" y="5172362"/>
                    <a:pt x="3299470" y="5172362"/>
                  </a:cubicBezTo>
                  <a:cubicBezTo>
                    <a:pt x="3279328" y="5172362"/>
                    <a:pt x="3265902" y="5155579"/>
                    <a:pt x="3262547" y="5135440"/>
                  </a:cubicBezTo>
                  <a:cubicBezTo>
                    <a:pt x="3262547" y="5115301"/>
                    <a:pt x="3279328" y="5098518"/>
                    <a:pt x="3299470" y="5098518"/>
                  </a:cubicBezTo>
                  <a:close/>
                  <a:moveTo>
                    <a:pt x="1738683" y="5091805"/>
                  </a:moveTo>
                  <a:cubicBezTo>
                    <a:pt x="1772248" y="5091805"/>
                    <a:pt x="1802457" y="5118657"/>
                    <a:pt x="1802457" y="5155579"/>
                  </a:cubicBezTo>
                  <a:cubicBezTo>
                    <a:pt x="1802457" y="5189145"/>
                    <a:pt x="1775604" y="5219354"/>
                    <a:pt x="1738683" y="5219354"/>
                  </a:cubicBezTo>
                  <a:cubicBezTo>
                    <a:pt x="1701761" y="5219354"/>
                    <a:pt x="1674908" y="5189145"/>
                    <a:pt x="1674908" y="5155579"/>
                  </a:cubicBezTo>
                  <a:cubicBezTo>
                    <a:pt x="1674908" y="5122014"/>
                    <a:pt x="1701761" y="5091805"/>
                    <a:pt x="1738683" y="5091805"/>
                  </a:cubicBezTo>
                  <a:close/>
                  <a:moveTo>
                    <a:pt x="506836" y="5091805"/>
                  </a:moveTo>
                  <a:cubicBezTo>
                    <a:pt x="510192" y="5091805"/>
                    <a:pt x="513549" y="5095162"/>
                    <a:pt x="513549" y="5098518"/>
                  </a:cubicBezTo>
                  <a:cubicBezTo>
                    <a:pt x="513549" y="5101875"/>
                    <a:pt x="510192" y="5105231"/>
                    <a:pt x="506836" y="5105231"/>
                  </a:cubicBezTo>
                  <a:cubicBezTo>
                    <a:pt x="503479" y="5105231"/>
                    <a:pt x="500123" y="5101875"/>
                    <a:pt x="500123" y="5098518"/>
                  </a:cubicBezTo>
                  <a:cubicBezTo>
                    <a:pt x="500123" y="5095162"/>
                    <a:pt x="503479" y="5091805"/>
                    <a:pt x="506836" y="5091805"/>
                  </a:cubicBezTo>
                  <a:close/>
                  <a:moveTo>
                    <a:pt x="3927141" y="5088449"/>
                  </a:moveTo>
                  <a:cubicBezTo>
                    <a:pt x="3937210" y="5088449"/>
                    <a:pt x="3943923" y="5095162"/>
                    <a:pt x="3943923" y="5105231"/>
                  </a:cubicBezTo>
                  <a:cubicBezTo>
                    <a:pt x="3943923" y="5115301"/>
                    <a:pt x="3937210" y="5122014"/>
                    <a:pt x="3927141" y="5122014"/>
                  </a:cubicBezTo>
                  <a:cubicBezTo>
                    <a:pt x="3920426" y="5122014"/>
                    <a:pt x="3910358" y="5115301"/>
                    <a:pt x="3910358" y="5105231"/>
                  </a:cubicBezTo>
                  <a:cubicBezTo>
                    <a:pt x="3910358" y="5095162"/>
                    <a:pt x="3917070" y="5088449"/>
                    <a:pt x="3927141" y="5088449"/>
                  </a:cubicBezTo>
                  <a:close/>
                  <a:moveTo>
                    <a:pt x="1382891" y="5041457"/>
                  </a:moveTo>
                  <a:cubicBezTo>
                    <a:pt x="1421819" y="5041457"/>
                    <a:pt x="1453378" y="5073015"/>
                    <a:pt x="1453378" y="5111944"/>
                  </a:cubicBezTo>
                  <a:cubicBezTo>
                    <a:pt x="1453378" y="5150874"/>
                    <a:pt x="1421819" y="5182432"/>
                    <a:pt x="1382891" y="5182432"/>
                  </a:cubicBezTo>
                  <a:cubicBezTo>
                    <a:pt x="1343961" y="5182432"/>
                    <a:pt x="1312404" y="5150874"/>
                    <a:pt x="1312404" y="5111944"/>
                  </a:cubicBezTo>
                  <a:cubicBezTo>
                    <a:pt x="1312404" y="5073015"/>
                    <a:pt x="1343961" y="5041457"/>
                    <a:pt x="1382891" y="5041457"/>
                  </a:cubicBezTo>
                  <a:close/>
                  <a:moveTo>
                    <a:pt x="3732462" y="5028031"/>
                  </a:moveTo>
                  <a:cubicBezTo>
                    <a:pt x="3745888" y="5028031"/>
                    <a:pt x="3759314" y="5041457"/>
                    <a:pt x="3759314" y="5054883"/>
                  </a:cubicBezTo>
                  <a:cubicBezTo>
                    <a:pt x="3759314" y="5068309"/>
                    <a:pt x="3745888" y="5081736"/>
                    <a:pt x="3732462" y="5081736"/>
                  </a:cubicBezTo>
                  <a:cubicBezTo>
                    <a:pt x="3715680" y="5081736"/>
                    <a:pt x="3705610" y="5068309"/>
                    <a:pt x="3705610" y="5054883"/>
                  </a:cubicBezTo>
                  <a:cubicBezTo>
                    <a:pt x="3705610" y="5041457"/>
                    <a:pt x="3719036" y="5028031"/>
                    <a:pt x="3732462" y="5028031"/>
                  </a:cubicBezTo>
                  <a:close/>
                  <a:moveTo>
                    <a:pt x="2712076" y="5014605"/>
                  </a:moveTo>
                  <a:cubicBezTo>
                    <a:pt x="2745642" y="5014605"/>
                    <a:pt x="2769137" y="5041457"/>
                    <a:pt x="2769137" y="5071666"/>
                  </a:cubicBezTo>
                  <a:cubicBezTo>
                    <a:pt x="2769137" y="5105231"/>
                    <a:pt x="2742285" y="5128727"/>
                    <a:pt x="2712076" y="5128727"/>
                  </a:cubicBezTo>
                  <a:cubicBezTo>
                    <a:pt x="2681867" y="5128727"/>
                    <a:pt x="2655015" y="5101875"/>
                    <a:pt x="2655015" y="5071666"/>
                  </a:cubicBezTo>
                  <a:cubicBezTo>
                    <a:pt x="2655015" y="5038101"/>
                    <a:pt x="2681867" y="5014605"/>
                    <a:pt x="2712076" y="5014605"/>
                  </a:cubicBezTo>
                  <a:close/>
                  <a:moveTo>
                    <a:pt x="2326076" y="5007892"/>
                  </a:moveTo>
                  <a:cubicBezTo>
                    <a:pt x="2359641" y="5007892"/>
                    <a:pt x="2386493" y="5034744"/>
                    <a:pt x="2386493" y="5068309"/>
                  </a:cubicBezTo>
                  <a:cubicBezTo>
                    <a:pt x="2386493" y="5101875"/>
                    <a:pt x="2359641" y="5128727"/>
                    <a:pt x="2326076" y="5128727"/>
                  </a:cubicBezTo>
                  <a:cubicBezTo>
                    <a:pt x="2292510" y="5128727"/>
                    <a:pt x="2265658" y="5101875"/>
                    <a:pt x="2265658" y="5068309"/>
                  </a:cubicBezTo>
                  <a:cubicBezTo>
                    <a:pt x="2265658" y="5034744"/>
                    <a:pt x="2292510" y="5007892"/>
                    <a:pt x="2326076" y="5007892"/>
                  </a:cubicBezTo>
                  <a:close/>
                  <a:moveTo>
                    <a:pt x="3118216" y="4997822"/>
                  </a:moveTo>
                  <a:cubicBezTo>
                    <a:pt x="3145067" y="4997822"/>
                    <a:pt x="3168564" y="5017961"/>
                    <a:pt x="3168564" y="5048170"/>
                  </a:cubicBezTo>
                  <a:cubicBezTo>
                    <a:pt x="3168564" y="5075023"/>
                    <a:pt x="3148425" y="5098518"/>
                    <a:pt x="3118216" y="5098518"/>
                  </a:cubicBezTo>
                  <a:cubicBezTo>
                    <a:pt x="3088007" y="5098518"/>
                    <a:pt x="3064512" y="5075023"/>
                    <a:pt x="3067869" y="5048170"/>
                  </a:cubicBezTo>
                  <a:cubicBezTo>
                    <a:pt x="3067869" y="5021318"/>
                    <a:pt x="3088007" y="4997822"/>
                    <a:pt x="3118216" y="4997822"/>
                  </a:cubicBezTo>
                  <a:close/>
                  <a:moveTo>
                    <a:pt x="1043881" y="4987754"/>
                  </a:moveTo>
                  <a:cubicBezTo>
                    <a:pt x="1084159" y="4987754"/>
                    <a:pt x="1117724" y="5021319"/>
                    <a:pt x="1117724" y="5061597"/>
                  </a:cubicBezTo>
                  <a:cubicBezTo>
                    <a:pt x="1117724" y="5101876"/>
                    <a:pt x="1084159" y="5135441"/>
                    <a:pt x="1043881" y="5135441"/>
                  </a:cubicBezTo>
                  <a:cubicBezTo>
                    <a:pt x="1003602" y="5135441"/>
                    <a:pt x="970037" y="5101876"/>
                    <a:pt x="970037" y="5061597"/>
                  </a:cubicBezTo>
                  <a:cubicBezTo>
                    <a:pt x="970037" y="5021319"/>
                    <a:pt x="1003602" y="4987754"/>
                    <a:pt x="1043881" y="4987754"/>
                  </a:cubicBezTo>
                  <a:close/>
                  <a:moveTo>
                    <a:pt x="1953501" y="4984396"/>
                  </a:moveTo>
                  <a:cubicBezTo>
                    <a:pt x="1987066" y="4984396"/>
                    <a:pt x="2017275" y="5011248"/>
                    <a:pt x="2017275" y="5048170"/>
                  </a:cubicBezTo>
                  <a:cubicBezTo>
                    <a:pt x="2017275" y="5081736"/>
                    <a:pt x="1990423" y="5111944"/>
                    <a:pt x="1953501" y="5111944"/>
                  </a:cubicBezTo>
                  <a:cubicBezTo>
                    <a:pt x="1916579" y="5111944"/>
                    <a:pt x="1889727" y="5081736"/>
                    <a:pt x="1889727" y="5048170"/>
                  </a:cubicBezTo>
                  <a:cubicBezTo>
                    <a:pt x="1889727" y="5014605"/>
                    <a:pt x="1919936" y="4984396"/>
                    <a:pt x="1953501" y="4984396"/>
                  </a:cubicBezTo>
                  <a:close/>
                  <a:moveTo>
                    <a:pt x="3537783" y="4954188"/>
                  </a:moveTo>
                  <a:cubicBezTo>
                    <a:pt x="3557922" y="4954188"/>
                    <a:pt x="3571348" y="4967614"/>
                    <a:pt x="3571348" y="4987754"/>
                  </a:cubicBezTo>
                  <a:cubicBezTo>
                    <a:pt x="3571348" y="5007893"/>
                    <a:pt x="3554567" y="5021319"/>
                    <a:pt x="3537783" y="5021319"/>
                  </a:cubicBezTo>
                  <a:cubicBezTo>
                    <a:pt x="3520999" y="5021319"/>
                    <a:pt x="3504218" y="5007893"/>
                    <a:pt x="3504218" y="4987754"/>
                  </a:cubicBezTo>
                  <a:cubicBezTo>
                    <a:pt x="3504218" y="4967614"/>
                    <a:pt x="3520999" y="4954188"/>
                    <a:pt x="3537783" y="4954188"/>
                  </a:cubicBezTo>
                  <a:close/>
                  <a:moveTo>
                    <a:pt x="1594352" y="4947474"/>
                  </a:moveTo>
                  <a:cubicBezTo>
                    <a:pt x="1627917" y="4947474"/>
                    <a:pt x="1658126" y="4974326"/>
                    <a:pt x="1658126" y="5011248"/>
                  </a:cubicBezTo>
                  <a:cubicBezTo>
                    <a:pt x="1658126" y="5044814"/>
                    <a:pt x="1631274" y="5075023"/>
                    <a:pt x="1594352" y="5075023"/>
                  </a:cubicBezTo>
                  <a:cubicBezTo>
                    <a:pt x="1560786" y="5075023"/>
                    <a:pt x="1530577" y="5044814"/>
                    <a:pt x="1530577" y="5011248"/>
                  </a:cubicBezTo>
                  <a:cubicBezTo>
                    <a:pt x="1530577" y="4977683"/>
                    <a:pt x="1557430" y="4947474"/>
                    <a:pt x="1594352" y="4947474"/>
                  </a:cubicBezTo>
                  <a:close/>
                  <a:moveTo>
                    <a:pt x="711585" y="4937406"/>
                  </a:moveTo>
                  <a:cubicBezTo>
                    <a:pt x="745150" y="4937406"/>
                    <a:pt x="772002" y="4964258"/>
                    <a:pt x="772002" y="4997823"/>
                  </a:cubicBezTo>
                  <a:cubicBezTo>
                    <a:pt x="772002" y="5031388"/>
                    <a:pt x="745150" y="5058241"/>
                    <a:pt x="711585" y="5058241"/>
                  </a:cubicBezTo>
                  <a:cubicBezTo>
                    <a:pt x="681376" y="5058241"/>
                    <a:pt x="654524" y="5031388"/>
                    <a:pt x="651167" y="4997823"/>
                  </a:cubicBezTo>
                  <a:cubicBezTo>
                    <a:pt x="651167" y="4964258"/>
                    <a:pt x="678019" y="4937406"/>
                    <a:pt x="711585" y="4937406"/>
                  </a:cubicBezTo>
                  <a:close/>
                  <a:moveTo>
                    <a:pt x="392714" y="4930691"/>
                  </a:moveTo>
                  <a:cubicBezTo>
                    <a:pt x="392714" y="4930691"/>
                    <a:pt x="396070" y="4930691"/>
                    <a:pt x="392714" y="4934048"/>
                  </a:cubicBezTo>
                  <a:cubicBezTo>
                    <a:pt x="389357" y="4930691"/>
                    <a:pt x="392714" y="4930691"/>
                    <a:pt x="392714" y="4930691"/>
                  </a:cubicBezTo>
                  <a:close/>
                  <a:moveTo>
                    <a:pt x="2940320" y="4907196"/>
                  </a:moveTo>
                  <a:cubicBezTo>
                    <a:pt x="2963816" y="4907196"/>
                    <a:pt x="2983956" y="4927335"/>
                    <a:pt x="2983956" y="4950831"/>
                  </a:cubicBezTo>
                  <a:cubicBezTo>
                    <a:pt x="2983956" y="4974326"/>
                    <a:pt x="2963816" y="4994466"/>
                    <a:pt x="2940320" y="4994466"/>
                  </a:cubicBezTo>
                  <a:cubicBezTo>
                    <a:pt x="2913468" y="4994466"/>
                    <a:pt x="2893329" y="4974326"/>
                    <a:pt x="2896686" y="4950831"/>
                  </a:cubicBezTo>
                  <a:cubicBezTo>
                    <a:pt x="2896686" y="4927335"/>
                    <a:pt x="2916825" y="4907196"/>
                    <a:pt x="2940320" y="4907196"/>
                  </a:cubicBezTo>
                  <a:close/>
                  <a:moveTo>
                    <a:pt x="2547607" y="4903840"/>
                  </a:moveTo>
                  <a:cubicBezTo>
                    <a:pt x="2575414" y="4903840"/>
                    <a:pt x="2597955" y="4926382"/>
                    <a:pt x="2597955" y="4954188"/>
                  </a:cubicBezTo>
                  <a:cubicBezTo>
                    <a:pt x="2597955" y="4981995"/>
                    <a:pt x="2575414" y="5004536"/>
                    <a:pt x="2547607" y="5004536"/>
                  </a:cubicBezTo>
                  <a:cubicBezTo>
                    <a:pt x="2519800" y="5004536"/>
                    <a:pt x="2497259" y="4981995"/>
                    <a:pt x="2497259" y="4954188"/>
                  </a:cubicBezTo>
                  <a:cubicBezTo>
                    <a:pt x="2497259" y="4926382"/>
                    <a:pt x="2519800" y="4903840"/>
                    <a:pt x="2547607" y="4903840"/>
                  </a:cubicBezTo>
                  <a:close/>
                  <a:moveTo>
                    <a:pt x="3353174" y="4883701"/>
                  </a:moveTo>
                  <a:cubicBezTo>
                    <a:pt x="3366601" y="4883701"/>
                    <a:pt x="3380027" y="4897127"/>
                    <a:pt x="3380027" y="4910553"/>
                  </a:cubicBezTo>
                  <a:cubicBezTo>
                    <a:pt x="3380027" y="4923979"/>
                    <a:pt x="3366601" y="4937406"/>
                    <a:pt x="3353174" y="4937406"/>
                  </a:cubicBezTo>
                  <a:cubicBezTo>
                    <a:pt x="3336391" y="4937406"/>
                    <a:pt x="3326322" y="4923979"/>
                    <a:pt x="3326322" y="4910553"/>
                  </a:cubicBezTo>
                  <a:cubicBezTo>
                    <a:pt x="3326322" y="4897127"/>
                    <a:pt x="3339748" y="4883701"/>
                    <a:pt x="3353174" y="4883701"/>
                  </a:cubicBezTo>
                  <a:close/>
                  <a:moveTo>
                    <a:pt x="1251986" y="4883701"/>
                  </a:moveTo>
                  <a:cubicBezTo>
                    <a:pt x="1292769" y="4883701"/>
                    <a:pt x="1325830" y="4916762"/>
                    <a:pt x="1325830" y="4957545"/>
                  </a:cubicBezTo>
                  <a:cubicBezTo>
                    <a:pt x="1325830" y="4998328"/>
                    <a:pt x="1292769" y="5031389"/>
                    <a:pt x="1251986" y="5031389"/>
                  </a:cubicBezTo>
                  <a:cubicBezTo>
                    <a:pt x="1211203" y="5031389"/>
                    <a:pt x="1178142" y="4998328"/>
                    <a:pt x="1178142" y="4957545"/>
                  </a:cubicBezTo>
                  <a:cubicBezTo>
                    <a:pt x="1178142" y="4916762"/>
                    <a:pt x="1211203" y="4883701"/>
                    <a:pt x="1251986" y="4883701"/>
                  </a:cubicBezTo>
                  <a:close/>
                  <a:moveTo>
                    <a:pt x="2168318" y="4873631"/>
                  </a:moveTo>
                  <a:cubicBezTo>
                    <a:pt x="2203539" y="4873631"/>
                    <a:pt x="2232092" y="4902185"/>
                    <a:pt x="2232092" y="4937406"/>
                  </a:cubicBezTo>
                  <a:cubicBezTo>
                    <a:pt x="2232092" y="4972627"/>
                    <a:pt x="2203539" y="5001180"/>
                    <a:pt x="2168318" y="5001180"/>
                  </a:cubicBezTo>
                  <a:cubicBezTo>
                    <a:pt x="2133096" y="5001180"/>
                    <a:pt x="2104544" y="4972626"/>
                    <a:pt x="2104544" y="4937406"/>
                  </a:cubicBezTo>
                  <a:cubicBezTo>
                    <a:pt x="2104544" y="4902184"/>
                    <a:pt x="2133096" y="4873631"/>
                    <a:pt x="2168318" y="4873631"/>
                  </a:cubicBezTo>
                  <a:close/>
                  <a:moveTo>
                    <a:pt x="3977488" y="4873630"/>
                  </a:moveTo>
                  <a:cubicBezTo>
                    <a:pt x="3984201" y="4873630"/>
                    <a:pt x="3990914" y="4880343"/>
                    <a:pt x="3990914" y="4887056"/>
                  </a:cubicBezTo>
                  <a:cubicBezTo>
                    <a:pt x="3990914" y="4893770"/>
                    <a:pt x="3984201" y="4900483"/>
                    <a:pt x="3977488" y="4900483"/>
                  </a:cubicBezTo>
                  <a:cubicBezTo>
                    <a:pt x="3970775" y="4900483"/>
                    <a:pt x="3964062" y="4893770"/>
                    <a:pt x="3964062" y="4887056"/>
                  </a:cubicBezTo>
                  <a:cubicBezTo>
                    <a:pt x="3964062" y="4880343"/>
                    <a:pt x="3970775" y="4873630"/>
                    <a:pt x="3977488" y="4873630"/>
                  </a:cubicBezTo>
                  <a:close/>
                  <a:moveTo>
                    <a:pt x="1809170" y="4843423"/>
                  </a:moveTo>
                  <a:cubicBezTo>
                    <a:pt x="1842735" y="4843423"/>
                    <a:pt x="1872944" y="4870275"/>
                    <a:pt x="1872944" y="4907197"/>
                  </a:cubicBezTo>
                  <a:cubicBezTo>
                    <a:pt x="1872944" y="4940762"/>
                    <a:pt x="1846092" y="4970971"/>
                    <a:pt x="1809170" y="4970971"/>
                  </a:cubicBezTo>
                  <a:cubicBezTo>
                    <a:pt x="1772248" y="4970971"/>
                    <a:pt x="1742039" y="4940762"/>
                    <a:pt x="1745396" y="4907197"/>
                  </a:cubicBezTo>
                  <a:cubicBezTo>
                    <a:pt x="1745396" y="4873631"/>
                    <a:pt x="1772248" y="4843423"/>
                    <a:pt x="1809170" y="4843423"/>
                  </a:cubicBezTo>
                  <a:close/>
                  <a:moveTo>
                    <a:pt x="919690" y="4826640"/>
                  </a:moveTo>
                  <a:cubicBezTo>
                    <a:pt x="959968" y="4826640"/>
                    <a:pt x="993534" y="4860205"/>
                    <a:pt x="993534" y="4900484"/>
                  </a:cubicBezTo>
                  <a:cubicBezTo>
                    <a:pt x="993534" y="4940762"/>
                    <a:pt x="959968" y="4974327"/>
                    <a:pt x="919690" y="4974327"/>
                  </a:cubicBezTo>
                  <a:cubicBezTo>
                    <a:pt x="879411" y="4974327"/>
                    <a:pt x="845846" y="4940762"/>
                    <a:pt x="845846" y="4900484"/>
                  </a:cubicBezTo>
                  <a:cubicBezTo>
                    <a:pt x="845846" y="4860205"/>
                    <a:pt x="879411" y="4826640"/>
                    <a:pt x="919690" y="4826640"/>
                  </a:cubicBezTo>
                  <a:close/>
                  <a:moveTo>
                    <a:pt x="3782809" y="4813213"/>
                  </a:moveTo>
                  <a:cubicBezTo>
                    <a:pt x="3792880" y="4813213"/>
                    <a:pt x="3802948" y="4823282"/>
                    <a:pt x="3802948" y="4833352"/>
                  </a:cubicBezTo>
                  <a:cubicBezTo>
                    <a:pt x="3802948" y="4843422"/>
                    <a:pt x="3792880" y="4853491"/>
                    <a:pt x="3782809" y="4853491"/>
                  </a:cubicBezTo>
                  <a:cubicBezTo>
                    <a:pt x="3772738" y="4853491"/>
                    <a:pt x="3762670" y="4843422"/>
                    <a:pt x="3762670" y="4833352"/>
                  </a:cubicBezTo>
                  <a:cubicBezTo>
                    <a:pt x="3762670" y="4823282"/>
                    <a:pt x="3772738" y="4813213"/>
                    <a:pt x="3782809" y="4813213"/>
                  </a:cubicBezTo>
                  <a:close/>
                  <a:moveTo>
                    <a:pt x="597462" y="4799788"/>
                  </a:moveTo>
                  <a:cubicBezTo>
                    <a:pt x="614245" y="4799788"/>
                    <a:pt x="627671" y="4813214"/>
                    <a:pt x="627671" y="4829996"/>
                  </a:cubicBezTo>
                  <a:cubicBezTo>
                    <a:pt x="627671" y="4846779"/>
                    <a:pt x="614245" y="4860205"/>
                    <a:pt x="597462" y="4860205"/>
                  </a:cubicBezTo>
                  <a:cubicBezTo>
                    <a:pt x="584036" y="4860205"/>
                    <a:pt x="570610" y="4846779"/>
                    <a:pt x="567254" y="4829996"/>
                  </a:cubicBezTo>
                  <a:cubicBezTo>
                    <a:pt x="567254" y="4813214"/>
                    <a:pt x="580680" y="4799788"/>
                    <a:pt x="597462" y="4799788"/>
                  </a:cubicBezTo>
                  <a:close/>
                  <a:moveTo>
                    <a:pt x="3171920" y="4793075"/>
                  </a:moveTo>
                  <a:cubicBezTo>
                    <a:pt x="3185346" y="4793075"/>
                    <a:pt x="3198772" y="4806501"/>
                    <a:pt x="3198772" y="4819927"/>
                  </a:cubicBezTo>
                  <a:cubicBezTo>
                    <a:pt x="3198772" y="4833353"/>
                    <a:pt x="3185346" y="4846779"/>
                    <a:pt x="3171920" y="4846779"/>
                  </a:cubicBezTo>
                  <a:cubicBezTo>
                    <a:pt x="3155138" y="4846779"/>
                    <a:pt x="3145067" y="4833353"/>
                    <a:pt x="3145067" y="4819927"/>
                  </a:cubicBezTo>
                  <a:cubicBezTo>
                    <a:pt x="3145067" y="4806501"/>
                    <a:pt x="3158493" y="4793075"/>
                    <a:pt x="3171920" y="4793075"/>
                  </a:cubicBezTo>
                  <a:close/>
                  <a:moveTo>
                    <a:pt x="2769137" y="4789718"/>
                  </a:moveTo>
                  <a:cubicBezTo>
                    <a:pt x="2795990" y="4789718"/>
                    <a:pt x="2816129" y="4809857"/>
                    <a:pt x="2816129" y="4836710"/>
                  </a:cubicBezTo>
                  <a:cubicBezTo>
                    <a:pt x="2816129" y="4863562"/>
                    <a:pt x="2795990" y="4883701"/>
                    <a:pt x="2769137" y="4883701"/>
                  </a:cubicBezTo>
                  <a:cubicBezTo>
                    <a:pt x="2742285" y="4883701"/>
                    <a:pt x="2722146" y="4863562"/>
                    <a:pt x="2722146" y="4836710"/>
                  </a:cubicBezTo>
                  <a:cubicBezTo>
                    <a:pt x="2722146" y="4809857"/>
                    <a:pt x="2742285" y="4789718"/>
                    <a:pt x="2769137" y="4789718"/>
                  </a:cubicBezTo>
                  <a:close/>
                  <a:moveTo>
                    <a:pt x="1460091" y="4789718"/>
                  </a:moveTo>
                  <a:cubicBezTo>
                    <a:pt x="1497013" y="4789718"/>
                    <a:pt x="1527222" y="4819927"/>
                    <a:pt x="1527222" y="4856849"/>
                  </a:cubicBezTo>
                  <a:cubicBezTo>
                    <a:pt x="1527222" y="4893771"/>
                    <a:pt x="1497013" y="4923979"/>
                    <a:pt x="1460091" y="4923979"/>
                  </a:cubicBezTo>
                  <a:cubicBezTo>
                    <a:pt x="1423169" y="4923979"/>
                    <a:pt x="1392960" y="4893771"/>
                    <a:pt x="1392960" y="4856849"/>
                  </a:cubicBezTo>
                  <a:cubicBezTo>
                    <a:pt x="1392960" y="4819927"/>
                    <a:pt x="1423169" y="4789718"/>
                    <a:pt x="1460091" y="4789718"/>
                  </a:cubicBezTo>
                  <a:close/>
                  <a:moveTo>
                    <a:pt x="2386493" y="4769579"/>
                  </a:moveTo>
                  <a:cubicBezTo>
                    <a:pt x="2420058" y="4769579"/>
                    <a:pt x="2446911" y="4796431"/>
                    <a:pt x="2446911" y="4829996"/>
                  </a:cubicBezTo>
                  <a:cubicBezTo>
                    <a:pt x="2446911" y="4863561"/>
                    <a:pt x="2420058" y="4890414"/>
                    <a:pt x="2386493" y="4890414"/>
                  </a:cubicBezTo>
                  <a:cubicBezTo>
                    <a:pt x="2352928" y="4890414"/>
                    <a:pt x="2326076" y="4860205"/>
                    <a:pt x="2326076" y="4829996"/>
                  </a:cubicBezTo>
                  <a:cubicBezTo>
                    <a:pt x="2326076" y="4796431"/>
                    <a:pt x="2352928" y="4769579"/>
                    <a:pt x="2386493" y="4769579"/>
                  </a:cubicBezTo>
                  <a:close/>
                  <a:moveTo>
                    <a:pt x="285305" y="4756153"/>
                  </a:moveTo>
                  <a:cubicBezTo>
                    <a:pt x="285305" y="4756153"/>
                    <a:pt x="288661" y="4756153"/>
                    <a:pt x="285305" y="4759509"/>
                  </a:cubicBezTo>
                  <a:cubicBezTo>
                    <a:pt x="285305" y="4756153"/>
                    <a:pt x="285305" y="4756153"/>
                    <a:pt x="285305" y="4756153"/>
                  </a:cubicBezTo>
                  <a:close/>
                  <a:moveTo>
                    <a:pt x="3591488" y="4746083"/>
                  </a:moveTo>
                  <a:cubicBezTo>
                    <a:pt x="3601556" y="4746083"/>
                    <a:pt x="3611627" y="4756153"/>
                    <a:pt x="3611627" y="4766222"/>
                  </a:cubicBezTo>
                  <a:cubicBezTo>
                    <a:pt x="3611627" y="4776292"/>
                    <a:pt x="3601556" y="4786361"/>
                    <a:pt x="3591488" y="4786361"/>
                  </a:cubicBezTo>
                  <a:cubicBezTo>
                    <a:pt x="3581419" y="4786361"/>
                    <a:pt x="3571348" y="4776292"/>
                    <a:pt x="3571348" y="4766222"/>
                  </a:cubicBezTo>
                  <a:cubicBezTo>
                    <a:pt x="3571348" y="4756153"/>
                    <a:pt x="3581419" y="4746083"/>
                    <a:pt x="3591488" y="4746083"/>
                  </a:cubicBezTo>
                  <a:close/>
                  <a:moveTo>
                    <a:pt x="2020632" y="4736013"/>
                  </a:moveTo>
                  <a:cubicBezTo>
                    <a:pt x="2054197" y="4736013"/>
                    <a:pt x="2084406" y="4766222"/>
                    <a:pt x="2084406" y="4799788"/>
                  </a:cubicBezTo>
                  <a:cubicBezTo>
                    <a:pt x="2084406" y="4833353"/>
                    <a:pt x="2057554" y="4863561"/>
                    <a:pt x="2020632" y="4863561"/>
                  </a:cubicBezTo>
                  <a:cubicBezTo>
                    <a:pt x="1987066" y="4863561"/>
                    <a:pt x="1956858" y="4833353"/>
                    <a:pt x="1956858" y="4799788"/>
                  </a:cubicBezTo>
                  <a:cubicBezTo>
                    <a:pt x="1956858" y="4766222"/>
                    <a:pt x="1983710" y="4736013"/>
                    <a:pt x="2020632" y="4736013"/>
                  </a:cubicBezTo>
                  <a:close/>
                  <a:moveTo>
                    <a:pt x="1127794" y="4725944"/>
                  </a:moveTo>
                  <a:cubicBezTo>
                    <a:pt x="1168072" y="4725944"/>
                    <a:pt x="1201638" y="4759509"/>
                    <a:pt x="1201638" y="4799788"/>
                  </a:cubicBezTo>
                  <a:cubicBezTo>
                    <a:pt x="1201638" y="4840066"/>
                    <a:pt x="1168072" y="4873631"/>
                    <a:pt x="1127794" y="4873631"/>
                  </a:cubicBezTo>
                  <a:cubicBezTo>
                    <a:pt x="1084159" y="4873631"/>
                    <a:pt x="1050594" y="4840066"/>
                    <a:pt x="1053951" y="4799788"/>
                  </a:cubicBezTo>
                  <a:cubicBezTo>
                    <a:pt x="1053951" y="4759509"/>
                    <a:pt x="1087516" y="4725944"/>
                    <a:pt x="1127794" y="4725944"/>
                  </a:cubicBezTo>
                  <a:close/>
                  <a:moveTo>
                    <a:pt x="1671552" y="4699092"/>
                  </a:moveTo>
                  <a:cubicBezTo>
                    <a:pt x="1701761" y="4699092"/>
                    <a:pt x="1728613" y="4722587"/>
                    <a:pt x="1728613" y="4756153"/>
                  </a:cubicBezTo>
                  <a:cubicBezTo>
                    <a:pt x="1728613" y="4786361"/>
                    <a:pt x="1705117" y="4813214"/>
                    <a:pt x="1671552" y="4813214"/>
                  </a:cubicBezTo>
                  <a:cubicBezTo>
                    <a:pt x="1637986" y="4813214"/>
                    <a:pt x="1614491" y="4786361"/>
                    <a:pt x="1614491" y="4756153"/>
                  </a:cubicBezTo>
                  <a:cubicBezTo>
                    <a:pt x="1614491" y="4725944"/>
                    <a:pt x="1637986" y="4699092"/>
                    <a:pt x="1671552" y="4699092"/>
                  </a:cubicBezTo>
                  <a:close/>
                  <a:moveTo>
                    <a:pt x="2997382" y="4685665"/>
                  </a:moveTo>
                  <a:cubicBezTo>
                    <a:pt x="3014164" y="4685665"/>
                    <a:pt x="3027590" y="4699092"/>
                    <a:pt x="3027590" y="4715874"/>
                  </a:cubicBezTo>
                  <a:cubicBezTo>
                    <a:pt x="3027590" y="4732657"/>
                    <a:pt x="3014164" y="4746083"/>
                    <a:pt x="2997382" y="4746083"/>
                  </a:cubicBezTo>
                  <a:cubicBezTo>
                    <a:pt x="2980599" y="4746083"/>
                    <a:pt x="2967173" y="4732657"/>
                    <a:pt x="2967173" y="4715874"/>
                  </a:cubicBezTo>
                  <a:cubicBezTo>
                    <a:pt x="2967173" y="4699092"/>
                    <a:pt x="2980599" y="4685665"/>
                    <a:pt x="2997382" y="4685665"/>
                  </a:cubicBezTo>
                  <a:close/>
                  <a:moveTo>
                    <a:pt x="805568" y="4678952"/>
                  </a:moveTo>
                  <a:cubicBezTo>
                    <a:pt x="835776" y="4678952"/>
                    <a:pt x="859272" y="4702448"/>
                    <a:pt x="859272" y="4732657"/>
                  </a:cubicBezTo>
                  <a:cubicBezTo>
                    <a:pt x="859272" y="4762866"/>
                    <a:pt x="835776" y="4786361"/>
                    <a:pt x="805568" y="4786361"/>
                  </a:cubicBezTo>
                  <a:cubicBezTo>
                    <a:pt x="775359" y="4786361"/>
                    <a:pt x="751863" y="4762866"/>
                    <a:pt x="751863" y="4732657"/>
                  </a:cubicBezTo>
                  <a:cubicBezTo>
                    <a:pt x="751863" y="4702448"/>
                    <a:pt x="775359" y="4678952"/>
                    <a:pt x="805568" y="4678952"/>
                  </a:cubicBezTo>
                  <a:close/>
                  <a:moveTo>
                    <a:pt x="2608024" y="4675596"/>
                  </a:moveTo>
                  <a:cubicBezTo>
                    <a:pt x="2628163" y="4675596"/>
                    <a:pt x="2648302" y="4692378"/>
                    <a:pt x="2648302" y="4715874"/>
                  </a:cubicBezTo>
                  <a:cubicBezTo>
                    <a:pt x="2648302" y="4736013"/>
                    <a:pt x="2631519" y="4756153"/>
                    <a:pt x="2608024" y="4756153"/>
                  </a:cubicBezTo>
                  <a:cubicBezTo>
                    <a:pt x="2584528" y="4756153"/>
                    <a:pt x="2564388" y="4739370"/>
                    <a:pt x="2567745" y="4715874"/>
                  </a:cubicBezTo>
                  <a:cubicBezTo>
                    <a:pt x="2567745" y="4695735"/>
                    <a:pt x="2584528" y="4675596"/>
                    <a:pt x="2608024" y="4675596"/>
                  </a:cubicBezTo>
                  <a:close/>
                  <a:moveTo>
                    <a:pt x="3403522" y="4672239"/>
                  </a:moveTo>
                  <a:cubicBezTo>
                    <a:pt x="3410234" y="4672239"/>
                    <a:pt x="3416948" y="4678952"/>
                    <a:pt x="3416948" y="4685665"/>
                  </a:cubicBezTo>
                  <a:cubicBezTo>
                    <a:pt x="3416948" y="4692378"/>
                    <a:pt x="3410234" y="4699092"/>
                    <a:pt x="3403522" y="4699092"/>
                  </a:cubicBezTo>
                  <a:cubicBezTo>
                    <a:pt x="3396808" y="4699092"/>
                    <a:pt x="3390095" y="4692378"/>
                    <a:pt x="3390095" y="4685665"/>
                  </a:cubicBezTo>
                  <a:cubicBezTo>
                    <a:pt x="3390095" y="4678952"/>
                    <a:pt x="3396808" y="4672239"/>
                    <a:pt x="3403522" y="4672239"/>
                  </a:cubicBezTo>
                  <a:close/>
                  <a:moveTo>
                    <a:pt x="2235449" y="4635317"/>
                  </a:moveTo>
                  <a:cubicBezTo>
                    <a:pt x="2269014" y="4635317"/>
                    <a:pt x="2292510" y="4662170"/>
                    <a:pt x="2292510" y="4692378"/>
                  </a:cubicBezTo>
                  <a:cubicBezTo>
                    <a:pt x="2292510" y="4725944"/>
                    <a:pt x="2265658" y="4749440"/>
                    <a:pt x="2235449" y="4749440"/>
                  </a:cubicBezTo>
                  <a:cubicBezTo>
                    <a:pt x="2205240" y="4749440"/>
                    <a:pt x="2181744" y="4722587"/>
                    <a:pt x="2178388" y="4692378"/>
                  </a:cubicBezTo>
                  <a:cubicBezTo>
                    <a:pt x="2178388" y="4658813"/>
                    <a:pt x="2205240" y="4635317"/>
                    <a:pt x="2235449" y="4635317"/>
                  </a:cubicBezTo>
                  <a:close/>
                  <a:moveTo>
                    <a:pt x="1335899" y="4628604"/>
                  </a:moveTo>
                  <a:cubicBezTo>
                    <a:pt x="1376178" y="4628604"/>
                    <a:pt x="1406387" y="4658813"/>
                    <a:pt x="1406387" y="4699092"/>
                  </a:cubicBezTo>
                  <a:cubicBezTo>
                    <a:pt x="1406387" y="4739370"/>
                    <a:pt x="1376178" y="4769579"/>
                    <a:pt x="1335899" y="4769579"/>
                  </a:cubicBezTo>
                  <a:cubicBezTo>
                    <a:pt x="1295621" y="4769579"/>
                    <a:pt x="1265412" y="4736013"/>
                    <a:pt x="1265412" y="4699092"/>
                  </a:cubicBezTo>
                  <a:cubicBezTo>
                    <a:pt x="1265412" y="4658813"/>
                    <a:pt x="1295621" y="4628604"/>
                    <a:pt x="1335899" y="4628604"/>
                  </a:cubicBezTo>
                  <a:close/>
                  <a:moveTo>
                    <a:pt x="490053" y="4615178"/>
                  </a:moveTo>
                  <a:cubicBezTo>
                    <a:pt x="513549" y="4615178"/>
                    <a:pt x="533688" y="4635317"/>
                    <a:pt x="533688" y="4658813"/>
                  </a:cubicBezTo>
                  <a:cubicBezTo>
                    <a:pt x="533688" y="4682309"/>
                    <a:pt x="513549" y="4702448"/>
                    <a:pt x="490053" y="4702448"/>
                  </a:cubicBezTo>
                  <a:cubicBezTo>
                    <a:pt x="466558" y="4702448"/>
                    <a:pt x="446418" y="4682309"/>
                    <a:pt x="446418" y="4658813"/>
                  </a:cubicBezTo>
                  <a:cubicBezTo>
                    <a:pt x="446418" y="4635317"/>
                    <a:pt x="466558" y="4615178"/>
                    <a:pt x="490053" y="4615178"/>
                  </a:cubicBezTo>
                  <a:close/>
                  <a:moveTo>
                    <a:pt x="3833158" y="4598395"/>
                  </a:moveTo>
                  <a:cubicBezTo>
                    <a:pt x="3839869" y="4598395"/>
                    <a:pt x="3846584" y="4605108"/>
                    <a:pt x="3846584" y="4611822"/>
                  </a:cubicBezTo>
                  <a:cubicBezTo>
                    <a:pt x="3846584" y="4618535"/>
                    <a:pt x="3839869" y="4625248"/>
                    <a:pt x="3833158" y="4625248"/>
                  </a:cubicBezTo>
                  <a:cubicBezTo>
                    <a:pt x="3826443" y="4625248"/>
                    <a:pt x="3819732" y="4618535"/>
                    <a:pt x="3819732" y="4611822"/>
                  </a:cubicBezTo>
                  <a:cubicBezTo>
                    <a:pt x="3819732" y="4605108"/>
                    <a:pt x="3826443" y="4598395"/>
                    <a:pt x="3833158" y="4598395"/>
                  </a:cubicBezTo>
                  <a:close/>
                  <a:moveTo>
                    <a:pt x="1883014" y="4584969"/>
                  </a:moveTo>
                  <a:cubicBezTo>
                    <a:pt x="1919936" y="4584969"/>
                    <a:pt x="1946788" y="4615178"/>
                    <a:pt x="1946788" y="4648743"/>
                  </a:cubicBezTo>
                  <a:cubicBezTo>
                    <a:pt x="1946788" y="4685665"/>
                    <a:pt x="1916579" y="4712517"/>
                    <a:pt x="1883014" y="4712517"/>
                  </a:cubicBezTo>
                  <a:cubicBezTo>
                    <a:pt x="1846092" y="4712517"/>
                    <a:pt x="1819240" y="4685665"/>
                    <a:pt x="1819240" y="4648743"/>
                  </a:cubicBezTo>
                  <a:cubicBezTo>
                    <a:pt x="1819240" y="4611822"/>
                    <a:pt x="1849448" y="4584969"/>
                    <a:pt x="1883014" y="4584969"/>
                  </a:cubicBezTo>
                  <a:close/>
                  <a:moveTo>
                    <a:pt x="3225624" y="4568187"/>
                  </a:moveTo>
                  <a:cubicBezTo>
                    <a:pt x="3235695" y="4568187"/>
                    <a:pt x="3245765" y="4578256"/>
                    <a:pt x="3245765" y="4588326"/>
                  </a:cubicBezTo>
                  <a:cubicBezTo>
                    <a:pt x="3245765" y="4598395"/>
                    <a:pt x="3235695" y="4608465"/>
                    <a:pt x="3225624" y="4608465"/>
                  </a:cubicBezTo>
                  <a:cubicBezTo>
                    <a:pt x="3215556" y="4608465"/>
                    <a:pt x="3205487" y="4601752"/>
                    <a:pt x="3205487" y="4588326"/>
                  </a:cubicBezTo>
                  <a:cubicBezTo>
                    <a:pt x="3205487" y="4578256"/>
                    <a:pt x="3215556" y="4568187"/>
                    <a:pt x="3225624" y="4568187"/>
                  </a:cubicBezTo>
                  <a:close/>
                  <a:moveTo>
                    <a:pt x="2829555" y="4561474"/>
                  </a:moveTo>
                  <a:cubicBezTo>
                    <a:pt x="2849694" y="4561474"/>
                    <a:pt x="2866477" y="4578256"/>
                    <a:pt x="2866477" y="4598395"/>
                  </a:cubicBezTo>
                  <a:cubicBezTo>
                    <a:pt x="2866477" y="4618535"/>
                    <a:pt x="2849694" y="4635317"/>
                    <a:pt x="2829555" y="4635317"/>
                  </a:cubicBezTo>
                  <a:cubicBezTo>
                    <a:pt x="2809416" y="4635317"/>
                    <a:pt x="2792633" y="4621891"/>
                    <a:pt x="2792633" y="4598395"/>
                  </a:cubicBezTo>
                  <a:cubicBezTo>
                    <a:pt x="2792633" y="4578256"/>
                    <a:pt x="2809416" y="4561474"/>
                    <a:pt x="2829555" y="4561474"/>
                  </a:cubicBezTo>
                  <a:close/>
                  <a:moveTo>
                    <a:pt x="1010315" y="4561474"/>
                  </a:moveTo>
                  <a:cubicBezTo>
                    <a:pt x="1050594" y="4561474"/>
                    <a:pt x="1080803" y="4591682"/>
                    <a:pt x="1080803" y="4631961"/>
                  </a:cubicBezTo>
                  <a:cubicBezTo>
                    <a:pt x="1080803" y="4672239"/>
                    <a:pt x="1050594" y="4702448"/>
                    <a:pt x="1010315" y="4702448"/>
                  </a:cubicBezTo>
                  <a:cubicBezTo>
                    <a:pt x="970037" y="4702448"/>
                    <a:pt x="939828" y="4672239"/>
                    <a:pt x="939828" y="4631961"/>
                  </a:cubicBezTo>
                  <a:cubicBezTo>
                    <a:pt x="939828" y="4591682"/>
                    <a:pt x="970037" y="4561474"/>
                    <a:pt x="1010315" y="4561474"/>
                  </a:cubicBezTo>
                  <a:close/>
                  <a:moveTo>
                    <a:pt x="2453624" y="4541334"/>
                  </a:moveTo>
                  <a:cubicBezTo>
                    <a:pt x="2477120" y="4541334"/>
                    <a:pt x="2497259" y="4561474"/>
                    <a:pt x="2497259" y="4584969"/>
                  </a:cubicBezTo>
                  <a:cubicBezTo>
                    <a:pt x="2497259" y="4608465"/>
                    <a:pt x="2477120" y="4628604"/>
                    <a:pt x="2453624" y="4628604"/>
                  </a:cubicBezTo>
                  <a:cubicBezTo>
                    <a:pt x="2426772" y="4628604"/>
                    <a:pt x="2409989" y="4608465"/>
                    <a:pt x="2409989" y="4584969"/>
                  </a:cubicBezTo>
                  <a:cubicBezTo>
                    <a:pt x="2409989" y="4561474"/>
                    <a:pt x="2430128" y="4541334"/>
                    <a:pt x="2453624" y="4541334"/>
                  </a:cubicBezTo>
                  <a:close/>
                  <a:moveTo>
                    <a:pt x="1544004" y="4534621"/>
                  </a:moveTo>
                  <a:cubicBezTo>
                    <a:pt x="1577569" y="4534621"/>
                    <a:pt x="1607778" y="4561474"/>
                    <a:pt x="1607778" y="4598395"/>
                  </a:cubicBezTo>
                  <a:cubicBezTo>
                    <a:pt x="1607778" y="4631961"/>
                    <a:pt x="1580925" y="4662169"/>
                    <a:pt x="1544004" y="4662169"/>
                  </a:cubicBezTo>
                  <a:cubicBezTo>
                    <a:pt x="1507082" y="4662169"/>
                    <a:pt x="1480229" y="4631961"/>
                    <a:pt x="1480229" y="4598395"/>
                  </a:cubicBezTo>
                  <a:cubicBezTo>
                    <a:pt x="1480229" y="4564830"/>
                    <a:pt x="1507082" y="4534621"/>
                    <a:pt x="1544004" y="4534621"/>
                  </a:cubicBezTo>
                  <a:close/>
                  <a:moveTo>
                    <a:pt x="3641834" y="4531265"/>
                  </a:moveTo>
                  <a:cubicBezTo>
                    <a:pt x="3648550" y="4531265"/>
                    <a:pt x="3655261" y="4537978"/>
                    <a:pt x="3655261" y="4544691"/>
                  </a:cubicBezTo>
                  <a:cubicBezTo>
                    <a:pt x="3655261" y="4551404"/>
                    <a:pt x="3648550" y="4558117"/>
                    <a:pt x="3641834" y="4558117"/>
                  </a:cubicBezTo>
                  <a:cubicBezTo>
                    <a:pt x="3635124" y="4558117"/>
                    <a:pt x="3628408" y="4551404"/>
                    <a:pt x="3628408" y="4544691"/>
                  </a:cubicBezTo>
                  <a:cubicBezTo>
                    <a:pt x="3628408" y="4537978"/>
                    <a:pt x="3635124" y="4531265"/>
                    <a:pt x="3641834" y="4531265"/>
                  </a:cubicBezTo>
                  <a:close/>
                  <a:moveTo>
                    <a:pt x="694802" y="4504412"/>
                  </a:moveTo>
                  <a:cubicBezTo>
                    <a:pt x="725011" y="4504412"/>
                    <a:pt x="748507" y="4527908"/>
                    <a:pt x="748507" y="4558117"/>
                  </a:cubicBezTo>
                  <a:cubicBezTo>
                    <a:pt x="748507" y="4588326"/>
                    <a:pt x="725011" y="4611822"/>
                    <a:pt x="694802" y="4611822"/>
                  </a:cubicBezTo>
                  <a:cubicBezTo>
                    <a:pt x="667950" y="4611822"/>
                    <a:pt x="641097" y="4588326"/>
                    <a:pt x="641097" y="4558117"/>
                  </a:cubicBezTo>
                  <a:cubicBezTo>
                    <a:pt x="641097" y="4527908"/>
                    <a:pt x="664593" y="4504412"/>
                    <a:pt x="694802" y="4504412"/>
                  </a:cubicBezTo>
                  <a:close/>
                  <a:moveTo>
                    <a:pt x="2094474" y="4487630"/>
                  </a:moveTo>
                  <a:cubicBezTo>
                    <a:pt x="2128040" y="4487630"/>
                    <a:pt x="2151536" y="4514482"/>
                    <a:pt x="2151536" y="4544691"/>
                  </a:cubicBezTo>
                  <a:cubicBezTo>
                    <a:pt x="2151536" y="4578256"/>
                    <a:pt x="2124683" y="4601752"/>
                    <a:pt x="2094474" y="4601752"/>
                  </a:cubicBezTo>
                  <a:cubicBezTo>
                    <a:pt x="2064266" y="4601752"/>
                    <a:pt x="2037413" y="4578256"/>
                    <a:pt x="2037413" y="4544691"/>
                  </a:cubicBezTo>
                  <a:cubicBezTo>
                    <a:pt x="2037413" y="4511125"/>
                    <a:pt x="2064266" y="4487630"/>
                    <a:pt x="2094474" y="4487630"/>
                  </a:cubicBezTo>
                  <a:close/>
                  <a:moveTo>
                    <a:pt x="3051086" y="4467491"/>
                  </a:moveTo>
                  <a:cubicBezTo>
                    <a:pt x="3058502" y="4467491"/>
                    <a:pt x="3064512" y="4473502"/>
                    <a:pt x="3064512" y="4480917"/>
                  </a:cubicBezTo>
                  <a:cubicBezTo>
                    <a:pt x="3064512" y="4488332"/>
                    <a:pt x="3058502" y="4494343"/>
                    <a:pt x="3051086" y="4494343"/>
                  </a:cubicBezTo>
                  <a:cubicBezTo>
                    <a:pt x="3043671" y="4494343"/>
                    <a:pt x="3037660" y="4488331"/>
                    <a:pt x="3037660" y="4480917"/>
                  </a:cubicBezTo>
                  <a:cubicBezTo>
                    <a:pt x="3037660" y="4473501"/>
                    <a:pt x="3043671" y="4467491"/>
                    <a:pt x="3051086" y="4467491"/>
                  </a:cubicBezTo>
                  <a:close/>
                  <a:moveTo>
                    <a:pt x="392714" y="4467491"/>
                  </a:moveTo>
                  <a:cubicBezTo>
                    <a:pt x="399427" y="4467491"/>
                    <a:pt x="406140" y="4474204"/>
                    <a:pt x="406140" y="4480917"/>
                  </a:cubicBezTo>
                  <a:cubicBezTo>
                    <a:pt x="406140" y="4487630"/>
                    <a:pt x="399427" y="4494343"/>
                    <a:pt x="392714" y="4494343"/>
                  </a:cubicBezTo>
                  <a:cubicBezTo>
                    <a:pt x="382644" y="4494343"/>
                    <a:pt x="379288" y="4487630"/>
                    <a:pt x="379288" y="4480917"/>
                  </a:cubicBezTo>
                  <a:cubicBezTo>
                    <a:pt x="379288" y="4474204"/>
                    <a:pt x="386001" y="4467491"/>
                    <a:pt x="392714" y="4467491"/>
                  </a:cubicBezTo>
                  <a:close/>
                  <a:moveTo>
                    <a:pt x="1215064" y="4460777"/>
                  </a:moveTo>
                  <a:cubicBezTo>
                    <a:pt x="1255342" y="4460777"/>
                    <a:pt x="1285551" y="4490986"/>
                    <a:pt x="1285551" y="4531265"/>
                  </a:cubicBezTo>
                  <a:cubicBezTo>
                    <a:pt x="1285551" y="4571543"/>
                    <a:pt x="1255342" y="4601752"/>
                    <a:pt x="1215064" y="4601752"/>
                  </a:cubicBezTo>
                  <a:cubicBezTo>
                    <a:pt x="1178142" y="4601752"/>
                    <a:pt x="1144577" y="4571543"/>
                    <a:pt x="1144577" y="4531265"/>
                  </a:cubicBezTo>
                  <a:cubicBezTo>
                    <a:pt x="1144577" y="4490986"/>
                    <a:pt x="1174786" y="4460777"/>
                    <a:pt x="1215064" y="4460777"/>
                  </a:cubicBezTo>
                  <a:close/>
                  <a:moveTo>
                    <a:pt x="3457226" y="4454064"/>
                  </a:moveTo>
                  <a:cubicBezTo>
                    <a:pt x="3460584" y="4454064"/>
                    <a:pt x="3463939" y="4457421"/>
                    <a:pt x="3463939" y="4460777"/>
                  </a:cubicBezTo>
                  <a:cubicBezTo>
                    <a:pt x="3463939" y="4464134"/>
                    <a:pt x="3460584" y="4467491"/>
                    <a:pt x="3457226" y="4467491"/>
                  </a:cubicBezTo>
                  <a:cubicBezTo>
                    <a:pt x="3453868" y="4467491"/>
                    <a:pt x="3450513" y="4464134"/>
                    <a:pt x="3450513" y="4460777"/>
                  </a:cubicBezTo>
                  <a:cubicBezTo>
                    <a:pt x="3450513" y="4457421"/>
                    <a:pt x="3453868" y="4454064"/>
                    <a:pt x="3457226" y="4454064"/>
                  </a:cubicBezTo>
                  <a:close/>
                  <a:moveTo>
                    <a:pt x="2668441" y="4454064"/>
                  </a:moveTo>
                  <a:cubicBezTo>
                    <a:pt x="2678511" y="4454064"/>
                    <a:pt x="2688580" y="4464134"/>
                    <a:pt x="2688580" y="4474204"/>
                  </a:cubicBezTo>
                  <a:cubicBezTo>
                    <a:pt x="2688580" y="4484273"/>
                    <a:pt x="2678511" y="4494343"/>
                    <a:pt x="2668441" y="4494343"/>
                  </a:cubicBezTo>
                  <a:cubicBezTo>
                    <a:pt x="2658372" y="4494343"/>
                    <a:pt x="2651658" y="4484273"/>
                    <a:pt x="2648302" y="4474204"/>
                  </a:cubicBezTo>
                  <a:cubicBezTo>
                    <a:pt x="2648302" y="4464134"/>
                    <a:pt x="2658372" y="4454064"/>
                    <a:pt x="2668441" y="4454064"/>
                  </a:cubicBezTo>
                  <a:close/>
                  <a:moveTo>
                    <a:pt x="1752109" y="4440638"/>
                  </a:moveTo>
                  <a:cubicBezTo>
                    <a:pt x="1782318" y="4440638"/>
                    <a:pt x="1805813" y="4464134"/>
                    <a:pt x="1805813" y="4494343"/>
                  </a:cubicBezTo>
                  <a:cubicBezTo>
                    <a:pt x="1805813" y="4524552"/>
                    <a:pt x="1782318" y="4548047"/>
                    <a:pt x="1752109" y="4548047"/>
                  </a:cubicBezTo>
                  <a:cubicBezTo>
                    <a:pt x="1721900" y="4548047"/>
                    <a:pt x="1698404" y="4524552"/>
                    <a:pt x="1698404" y="4494343"/>
                  </a:cubicBezTo>
                  <a:cubicBezTo>
                    <a:pt x="1698404" y="4464134"/>
                    <a:pt x="1721900" y="4440638"/>
                    <a:pt x="1752109" y="4440638"/>
                  </a:cubicBezTo>
                  <a:close/>
                  <a:moveTo>
                    <a:pt x="899550" y="4413786"/>
                  </a:moveTo>
                  <a:cubicBezTo>
                    <a:pt x="926402" y="4413786"/>
                    <a:pt x="949898" y="4433925"/>
                    <a:pt x="949898" y="4464134"/>
                  </a:cubicBezTo>
                  <a:cubicBezTo>
                    <a:pt x="949898" y="4490986"/>
                    <a:pt x="929758" y="4514482"/>
                    <a:pt x="899550" y="4514482"/>
                  </a:cubicBezTo>
                  <a:cubicBezTo>
                    <a:pt x="872697" y="4514482"/>
                    <a:pt x="849202" y="4490986"/>
                    <a:pt x="849202" y="4464134"/>
                  </a:cubicBezTo>
                  <a:cubicBezTo>
                    <a:pt x="849202" y="4437282"/>
                    <a:pt x="869341" y="4413786"/>
                    <a:pt x="899550" y="4413786"/>
                  </a:cubicBezTo>
                  <a:close/>
                  <a:moveTo>
                    <a:pt x="2305936" y="4410429"/>
                  </a:moveTo>
                  <a:cubicBezTo>
                    <a:pt x="2322719" y="4410429"/>
                    <a:pt x="2336145" y="4423856"/>
                    <a:pt x="2336145" y="4440638"/>
                  </a:cubicBezTo>
                  <a:cubicBezTo>
                    <a:pt x="2336145" y="4457421"/>
                    <a:pt x="2322719" y="4470847"/>
                    <a:pt x="2305936" y="4470847"/>
                  </a:cubicBezTo>
                  <a:cubicBezTo>
                    <a:pt x="2289154" y="4470847"/>
                    <a:pt x="2279084" y="4457421"/>
                    <a:pt x="2275728" y="4440638"/>
                  </a:cubicBezTo>
                  <a:cubicBezTo>
                    <a:pt x="2275728" y="4423856"/>
                    <a:pt x="2289154" y="4410429"/>
                    <a:pt x="2305936" y="4410429"/>
                  </a:cubicBezTo>
                  <a:close/>
                  <a:moveTo>
                    <a:pt x="3882246" y="4389453"/>
                  </a:moveTo>
                  <a:cubicBezTo>
                    <a:pt x="3882667" y="4388614"/>
                    <a:pt x="3883505" y="4388614"/>
                    <a:pt x="3883505" y="4390291"/>
                  </a:cubicBezTo>
                  <a:cubicBezTo>
                    <a:pt x="3883505" y="4390291"/>
                    <a:pt x="3886863" y="4390291"/>
                    <a:pt x="3883505" y="4393648"/>
                  </a:cubicBezTo>
                  <a:cubicBezTo>
                    <a:pt x="3881826" y="4391970"/>
                    <a:pt x="3881826" y="4390291"/>
                    <a:pt x="3882246" y="4389453"/>
                  </a:cubicBezTo>
                  <a:close/>
                  <a:moveTo>
                    <a:pt x="1423169" y="4373507"/>
                  </a:moveTo>
                  <a:cubicBezTo>
                    <a:pt x="1456735" y="4373507"/>
                    <a:pt x="1480230" y="4400360"/>
                    <a:pt x="1480230" y="4430569"/>
                  </a:cubicBezTo>
                  <a:cubicBezTo>
                    <a:pt x="1480230" y="4464134"/>
                    <a:pt x="1453378" y="4487630"/>
                    <a:pt x="1423169" y="4487630"/>
                  </a:cubicBezTo>
                  <a:cubicBezTo>
                    <a:pt x="1392960" y="4487630"/>
                    <a:pt x="1366108" y="4464134"/>
                    <a:pt x="1366108" y="4430569"/>
                  </a:cubicBezTo>
                  <a:cubicBezTo>
                    <a:pt x="1366108" y="4397003"/>
                    <a:pt x="1392960" y="4373507"/>
                    <a:pt x="1423169" y="4373507"/>
                  </a:cubicBezTo>
                  <a:close/>
                  <a:moveTo>
                    <a:pt x="1960214" y="4353368"/>
                  </a:moveTo>
                  <a:cubicBezTo>
                    <a:pt x="1983710" y="4353368"/>
                    <a:pt x="2000492" y="4370151"/>
                    <a:pt x="2000492" y="4393647"/>
                  </a:cubicBezTo>
                  <a:cubicBezTo>
                    <a:pt x="2000492" y="4417142"/>
                    <a:pt x="1983710" y="4433925"/>
                    <a:pt x="1960214" y="4433925"/>
                  </a:cubicBezTo>
                  <a:cubicBezTo>
                    <a:pt x="1936718" y="4433925"/>
                    <a:pt x="1919936" y="4417142"/>
                    <a:pt x="1919936" y="4393647"/>
                  </a:cubicBezTo>
                  <a:cubicBezTo>
                    <a:pt x="1919936" y="4370151"/>
                    <a:pt x="1936718" y="4353368"/>
                    <a:pt x="1960214" y="4353368"/>
                  </a:cubicBezTo>
                  <a:close/>
                  <a:moveTo>
                    <a:pt x="3279328" y="4350013"/>
                  </a:moveTo>
                  <a:cubicBezTo>
                    <a:pt x="3286044" y="4350013"/>
                    <a:pt x="3289399" y="4353369"/>
                    <a:pt x="3289399" y="4360082"/>
                  </a:cubicBezTo>
                  <a:cubicBezTo>
                    <a:pt x="3289399" y="4366795"/>
                    <a:pt x="3286044" y="4370152"/>
                    <a:pt x="3279328" y="4370152"/>
                  </a:cubicBezTo>
                  <a:cubicBezTo>
                    <a:pt x="3275973" y="4370152"/>
                    <a:pt x="3269260" y="4366795"/>
                    <a:pt x="3269260" y="4360082"/>
                  </a:cubicBezTo>
                  <a:cubicBezTo>
                    <a:pt x="3269260" y="4353369"/>
                    <a:pt x="3272618" y="4350013"/>
                    <a:pt x="3279328" y="4350013"/>
                  </a:cubicBezTo>
                  <a:close/>
                  <a:moveTo>
                    <a:pt x="2889972" y="4343299"/>
                  </a:moveTo>
                  <a:cubicBezTo>
                    <a:pt x="2900042" y="4343299"/>
                    <a:pt x="2906755" y="4350012"/>
                    <a:pt x="2906755" y="4360081"/>
                  </a:cubicBezTo>
                  <a:cubicBezTo>
                    <a:pt x="2906755" y="4370151"/>
                    <a:pt x="2900042" y="4376864"/>
                    <a:pt x="2889972" y="4376864"/>
                  </a:cubicBezTo>
                  <a:cubicBezTo>
                    <a:pt x="2879903" y="4376864"/>
                    <a:pt x="2873190" y="4370151"/>
                    <a:pt x="2873190" y="4360081"/>
                  </a:cubicBezTo>
                  <a:cubicBezTo>
                    <a:pt x="2873190" y="4350012"/>
                    <a:pt x="2879903" y="4343299"/>
                    <a:pt x="2889972" y="4343299"/>
                  </a:cubicBezTo>
                  <a:close/>
                  <a:moveTo>
                    <a:pt x="597462" y="4336586"/>
                  </a:moveTo>
                  <a:cubicBezTo>
                    <a:pt x="624315" y="4336586"/>
                    <a:pt x="644454" y="4356725"/>
                    <a:pt x="644454" y="4383577"/>
                  </a:cubicBezTo>
                  <a:cubicBezTo>
                    <a:pt x="644454" y="4410429"/>
                    <a:pt x="624315" y="4430569"/>
                    <a:pt x="597462" y="4430569"/>
                  </a:cubicBezTo>
                  <a:cubicBezTo>
                    <a:pt x="570610" y="4430569"/>
                    <a:pt x="547114" y="4410429"/>
                    <a:pt x="550471" y="4383577"/>
                  </a:cubicBezTo>
                  <a:cubicBezTo>
                    <a:pt x="550471" y="4356725"/>
                    <a:pt x="570610" y="4336586"/>
                    <a:pt x="597462" y="4336586"/>
                  </a:cubicBezTo>
                  <a:close/>
                  <a:moveTo>
                    <a:pt x="3692184" y="4316447"/>
                  </a:moveTo>
                  <a:cubicBezTo>
                    <a:pt x="3692184" y="4316447"/>
                    <a:pt x="3695539" y="4316447"/>
                    <a:pt x="3695539" y="4319804"/>
                  </a:cubicBezTo>
                  <a:cubicBezTo>
                    <a:pt x="3695539" y="4319804"/>
                    <a:pt x="3695539" y="4323161"/>
                    <a:pt x="3692184" y="4323161"/>
                  </a:cubicBezTo>
                  <a:cubicBezTo>
                    <a:pt x="3692184" y="4323161"/>
                    <a:pt x="3688828" y="4323161"/>
                    <a:pt x="3688828" y="4319804"/>
                  </a:cubicBezTo>
                  <a:cubicBezTo>
                    <a:pt x="3688828" y="4319804"/>
                    <a:pt x="3688828" y="4316447"/>
                    <a:pt x="3692184" y="4316447"/>
                  </a:cubicBezTo>
                  <a:close/>
                  <a:moveTo>
                    <a:pt x="2520754" y="4316447"/>
                  </a:moveTo>
                  <a:cubicBezTo>
                    <a:pt x="2530824" y="4316447"/>
                    <a:pt x="2540894" y="4326517"/>
                    <a:pt x="2540894" y="4336587"/>
                  </a:cubicBezTo>
                  <a:cubicBezTo>
                    <a:pt x="2540894" y="4346656"/>
                    <a:pt x="2530824" y="4356726"/>
                    <a:pt x="2520754" y="4356726"/>
                  </a:cubicBezTo>
                  <a:cubicBezTo>
                    <a:pt x="2510685" y="4356726"/>
                    <a:pt x="2500615" y="4346656"/>
                    <a:pt x="2500615" y="4336587"/>
                  </a:cubicBezTo>
                  <a:cubicBezTo>
                    <a:pt x="2500615" y="4326517"/>
                    <a:pt x="2510685" y="4316447"/>
                    <a:pt x="2520754" y="4316447"/>
                  </a:cubicBezTo>
                  <a:close/>
                  <a:moveTo>
                    <a:pt x="1104298" y="4299665"/>
                  </a:moveTo>
                  <a:cubicBezTo>
                    <a:pt x="1137864" y="4299665"/>
                    <a:pt x="1164716" y="4326517"/>
                    <a:pt x="1164716" y="4360082"/>
                  </a:cubicBezTo>
                  <a:cubicBezTo>
                    <a:pt x="1164716" y="4393647"/>
                    <a:pt x="1137864" y="4420500"/>
                    <a:pt x="1104298" y="4420500"/>
                  </a:cubicBezTo>
                  <a:cubicBezTo>
                    <a:pt x="1074090" y="4420500"/>
                    <a:pt x="1047237" y="4393647"/>
                    <a:pt x="1043881" y="4360082"/>
                  </a:cubicBezTo>
                  <a:cubicBezTo>
                    <a:pt x="1043881" y="4326517"/>
                    <a:pt x="1070733" y="4299665"/>
                    <a:pt x="1104298" y="4299665"/>
                  </a:cubicBezTo>
                  <a:close/>
                  <a:moveTo>
                    <a:pt x="1627917" y="4279526"/>
                  </a:moveTo>
                  <a:cubicBezTo>
                    <a:pt x="1658126" y="4279526"/>
                    <a:pt x="1681622" y="4303021"/>
                    <a:pt x="1681622" y="4333230"/>
                  </a:cubicBezTo>
                  <a:cubicBezTo>
                    <a:pt x="1681622" y="4363439"/>
                    <a:pt x="1658126" y="4386935"/>
                    <a:pt x="1627917" y="4386935"/>
                  </a:cubicBezTo>
                  <a:cubicBezTo>
                    <a:pt x="1601065" y="4386935"/>
                    <a:pt x="1574212" y="4363439"/>
                    <a:pt x="1574212" y="4333230"/>
                  </a:cubicBezTo>
                  <a:cubicBezTo>
                    <a:pt x="1574212" y="4303021"/>
                    <a:pt x="1597708" y="4279526"/>
                    <a:pt x="1627917" y="4279526"/>
                  </a:cubicBezTo>
                  <a:close/>
                  <a:moveTo>
                    <a:pt x="2168318" y="4269455"/>
                  </a:moveTo>
                  <a:cubicBezTo>
                    <a:pt x="2181744" y="4269455"/>
                    <a:pt x="2191814" y="4279524"/>
                    <a:pt x="2191814" y="4292951"/>
                  </a:cubicBezTo>
                  <a:cubicBezTo>
                    <a:pt x="2191814" y="4306377"/>
                    <a:pt x="2181744" y="4316446"/>
                    <a:pt x="2168318" y="4316446"/>
                  </a:cubicBezTo>
                  <a:cubicBezTo>
                    <a:pt x="2154892" y="4316446"/>
                    <a:pt x="2144822" y="4306377"/>
                    <a:pt x="2144822" y="4292951"/>
                  </a:cubicBezTo>
                  <a:cubicBezTo>
                    <a:pt x="2144822" y="4279524"/>
                    <a:pt x="2154892" y="4269455"/>
                    <a:pt x="2168318" y="4269455"/>
                  </a:cubicBezTo>
                  <a:close/>
                  <a:moveTo>
                    <a:pt x="298731" y="4269455"/>
                  </a:moveTo>
                  <a:cubicBezTo>
                    <a:pt x="315513" y="4269455"/>
                    <a:pt x="328940" y="4282881"/>
                    <a:pt x="328940" y="4299664"/>
                  </a:cubicBezTo>
                  <a:cubicBezTo>
                    <a:pt x="328940" y="4316446"/>
                    <a:pt x="315513" y="4329873"/>
                    <a:pt x="298731" y="4329873"/>
                  </a:cubicBezTo>
                  <a:cubicBezTo>
                    <a:pt x="285305" y="4329873"/>
                    <a:pt x="268522" y="4316446"/>
                    <a:pt x="268522" y="4299664"/>
                  </a:cubicBezTo>
                  <a:cubicBezTo>
                    <a:pt x="268522" y="4282881"/>
                    <a:pt x="281948" y="4269455"/>
                    <a:pt x="298731" y="4269455"/>
                  </a:cubicBezTo>
                  <a:close/>
                  <a:moveTo>
                    <a:pt x="798855" y="4245960"/>
                  </a:moveTo>
                  <a:cubicBezTo>
                    <a:pt x="818994" y="4245960"/>
                    <a:pt x="839133" y="4262743"/>
                    <a:pt x="839133" y="4286239"/>
                  </a:cubicBezTo>
                  <a:cubicBezTo>
                    <a:pt x="839133" y="4306378"/>
                    <a:pt x="822350" y="4326517"/>
                    <a:pt x="798855" y="4326517"/>
                  </a:cubicBezTo>
                  <a:cubicBezTo>
                    <a:pt x="778715" y="4326517"/>
                    <a:pt x="758576" y="4306378"/>
                    <a:pt x="758576" y="4286239"/>
                  </a:cubicBezTo>
                  <a:cubicBezTo>
                    <a:pt x="758576" y="4266099"/>
                    <a:pt x="775359" y="4245960"/>
                    <a:pt x="798855" y="4245960"/>
                  </a:cubicBezTo>
                  <a:close/>
                  <a:moveTo>
                    <a:pt x="3111504" y="4235891"/>
                  </a:moveTo>
                  <a:cubicBezTo>
                    <a:pt x="3118217" y="4235891"/>
                    <a:pt x="3121574" y="4242604"/>
                    <a:pt x="3121574" y="4245960"/>
                  </a:cubicBezTo>
                  <a:cubicBezTo>
                    <a:pt x="3121574" y="4252673"/>
                    <a:pt x="3118217" y="4256030"/>
                    <a:pt x="3111504" y="4256030"/>
                  </a:cubicBezTo>
                  <a:cubicBezTo>
                    <a:pt x="3104791" y="4256030"/>
                    <a:pt x="3101434" y="4252673"/>
                    <a:pt x="3101434" y="4245960"/>
                  </a:cubicBezTo>
                  <a:cubicBezTo>
                    <a:pt x="3101434" y="4239247"/>
                    <a:pt x="3108147" y="4235891"/>
                    <a:pt x="3111504" y="4235891"/>
                  </a:cubicBezTo>
                  <a:close/>
                  <a:moveTo>
                    <a:pt x="3510931" y="4229177"/>
                  </a:moveTo>
                  <a:cubicBezTo>
                    <a:pt x="3510931" y="4229177"/>
                    <a:pt x="3514288" y="4232534"/>
                    <a:pt x="3510931" y="4235891"/>
                  </a:cubicBezTo>
                  <a:cubicBezTo>
                    <a:pt x="3507573" y="4229177"/>
                    <a:pt x="3507573" y="4229177"/>
                    <a:pt x="3510931" y="4229177"/>
                  </a:cubicBezTo>
                  <a:close/>
                  <a:moveTo>
                    <a:pt x="2735572" y="4215751"/>
                  </a:moveTo>
                  <a:cubicBezTo>
                    <a:pt x="2742285" y="4215751"/>
                    <a:pt x="2748998" y="4222464"/>
                    <a:pt x="2748998" y="4229177"/>
                  </a:cubicBezTo>
                  <a:cubicBezTo>
                    <a:pt x="2748998" y="4235891"/>
                    <a:pt x="2742285" y="4242604"/>
                    <a:pt x="2735572" y="4242604"/>
                  </a:cubicBezTo>
                  <a:cubicBezTo>
                    <a:pt x="2728859" y="4242604"/>
                    <a:pt x="2722146" y="4235891"/>
                    <a:pt x="2722146" y="4229177"/>
                  </a:cubicBezTo>
                  <a:cubicBezTo>
                    <a:pt x="2722146" y="4222464"/>
                    <a:pt x="2728859" y="4215751"/>
                    <a:pt x="2735572" y="4215751"/>
                  </a:cubicBezTo>
                  <a:close/>
                  <a:moveTo>
                    <a:pt x="1312404" y="4212395"/>
                  </a:moveTo>
                  <a:cubicBezTo>
                    <a:pt x="1339256" y="4212395"/>
                    <a:pt x="1362752" y="4235891"/>
                    <a:pt x="1362752" y="4262743"/>
                  </a:cubicBezTo>
                  <a:cubicBezTo>
                    <a:pt x="1362752" y="4289595"/>
                    <a:pt x="1339256" y="4313091"/>
                    <a:pt x="1312404" y="4313091"/>
                  </a:cubicBezTo>
                  <a:cubicBezTo>
                    <a:pt x="1285551" y="4313091"/>
                    <a:pt x="1262056" y="4289595"/>
                    <a:pt x="1262056" y="4262743"/>
                  </a:cubicBezTo>
                  <a:cubicBezTo>
                    <a:pt x="1262056" y="4235891"/>
                    <a:pt x="1285551" y="4212395"/>
                    <a:pt x="1312404" y="4212395"/>
                  </a:cubicBezTo>
                  <a:close/>
                  <a:moveTo>
                    <a:pt x="1836022" y="4198969"/>
                  </a:moveTo>
                  <a:cubicBezTo>
                    <a:pt x="1856161" y="4198969"/>
                    <a:pt x="1869588" y="4212395"/>
                    <a:pt x="1869588" y="4232534"/>
                  </a:cubicBezTo>
                  <a:cubicBezTo>
                    <a:pt x="1869588" y="4252673"/>
                    <a:pt x="1852805" y="4266099"/>
                    <a:pt x="1836022" y="4266099"/>
                  </a:cubicBezTo>
                  <a:cubicBezTo>
                    <a:pt x="1819240" y="4266099"/>
                    <a:pt x="1802457" y="4252673"/>
                    <a:pt x="1802457" y="4232534"/>
                  </a:cubicBezTo>
                  <a:cubicBezTo>
                    <a:pt x="1802457" y="4212395"/>
                    <a:pt x="1819240" y="4198969"/>
                    <a:pt x="1836022" y="4198969"/>
                  </a:cubicBezTo>
                  <a:close/>
                  <a:moveTo>
                    <a:pt x="2379780" y="4172116"/>
                  </a:moveTo>
                  <a:cubicBezTo>
                    <a:pt x="2389850" y="4172116"/>
                    <a:pt x="2396563" y="4178829"/>
                    <a:pt x="2396563" y="4188899"/>
                  </a:cubicBezTo>
                  <a:cubicBezTo>
                    <a:pt x="2396563" y="4198969"/>
                    <a:pt x="2389850" y="4205682"/>
                    <a:pt x="2379780" y="4205682"/>
                  </a:cubicBezTo>
                  <a:cubicBezTo>
                    <a:pt x="2373067" y="4205682"/>
                    <a:pt x="2362997" y="4198969"/>
                    <a:pt x="2362997" y="4188899"/>
                  </a:cubicBezTo>
                  <a:cubicBezTo>
                    <a:pt x="2362997" y="4178829"/>
                    <a:pt x="2369710" y="4172116"/>
                    <a:pt x="2379780" y="4172116"/>
                  </a:cubicBezTo>
                  <a:close/>
                  <a:moveTo>
                    <a:pt x="503479" y="4158690"/>
                  </a:moveTo>
                  <a:cubicBezTo>
                    <a:pt x="526975" y="4158690"/>
                    <a:pt x="547114" y="4178829"/>
                    <a:pt x="547114" y="4202325"/>
                  </a:cubicBezTo>
                  <a:cubicBezTo>
                    <a:pt x="547114" y="4225821"/>
                    <a:pt x="526975" y="4245960"/>
                    <a:pt x="503479" y="4245960"/>
                  </a:cubicBezTo>
                  <a:cubicBezTo>
                    <a:pt x="479984" y="4245960"/>
                    <a:pt x="459844" y="4225821"/>
                    <a:pt x="459844" y="4202325"/>
                  </a:cubicBezTo>
                  <a:cubicBezTo>
                    <a:pt x="459844" y="4178829"/>
                    <a:pt x="479984" y="4158690"/>
                    <a:pt x="503479" y="4158690"/>
                  </a:cubicBezTo>
                  <a:close/>
                  <a:moveTo>
                    <a:pt x="1003602" y="4128481"/>
                  </a:moveTo>
                  <a:cubicBezTo>
                    <a:pt x="1033811" y="4128481"/>
                    <a:pt x="1060663" y="4155334"/>
                    <a:pt x="1060663" y="4185542"/>
                  </a:cubicBezTo>
                  <a:cubicBezTo>
                    <a:pt x="1060663" y="4215751"/>
                    <a:pt x="1033811" y="4242604"/>
                    <a:pt x="1003602" y="4242604"/>
                  </a:cubicBezTo>
                  <a:cubicBezTo>
                    <a:pt x="973393" y="4242604"/>
                    <a:pt x="946541" y="4219108"/>
                    <a:pt x="946541" y="4185542"/>
                  </a:cubicBezTo>
                  <a:cubicBezTo>
                    <a:pt x="946541" y="4155334"/>
                    <a:pt x="973393" y="4128481"/>
                    <a:pt x="1003602" y="4128481"/>
                  </a:cubicBezTo>
                  <a:close/>
                  <a:moveTo>
                    <a:pt x="3336391" y="4125125"/>
                  </a:moveTo>
                  <a:cubicBezTo>
                    <a:pt x="3336391" y="4125125"/>
                    <a:pt x="3339748" y="4125125"/>
                    <a:pt x="3339748" y="4128481"/>
                  </a:cubicBezTo>
                  <a:cubicBezTo>
                    <a:pt x="3339748" y="4128481"/>
                    <a:pt x="3339748" y="4131838"/>
                    <a:pt x="3336391" y="4131838"/>
                  </a:cubicBezTo>
                  <a:cubicBezTo>
                    <a:pt x="3333033" y="4131838"/>
                    <a:pt x="3333033" y="4128481"/>
                    <a:pt x="3333033" y="4128481"/>
                  </a:cubicBezTo>
                  <a:cubicBezTo>
                    <a:pt x="3333033" y="4128481"/>
                    <a:pt x="3333033" y="4125125"/>
                    <a:pt x="3336391" y="4125125"/>
                  </a:cubicBezTo>
                  <a:close/>
                  <a:moveTo>
                    <a:pt x="2044126" y="4111699"/>
                  </a:moveTo>
                  <a:cubicBezTo>
                    <a:pt x="2057552" y="4111699"/>
                    <a:pt x="2067622" y="4121768"/>
                    <a:pt x="2067622" y="4135194"/>
                  </a:cubicBezTo>
                  <a:cubicBezTo>
                    <a:pt x="2067622" y="4148620"/>
                    <a:pt x="2057552" y="4158690"/>
                    <a:pt x="2044126" y="4158690"/>
                  </a:cubicBezTo>
                  <a:cubicBezTo>
                    <a:pt x="2030700" y="4158690"/>
                    <a:pt x="2020631" y="4145264"/>
                    <a:pt x="2020631" y="4135194"/>
                  </a:cubicBezTo>
                  <a:cubicBezTo>
                    <a:pt x="2020631" y="4121768"/>
                    <a:pt x="2030700" y="4111699"/>
                    <a:pt x="2044126" y="4111699"/>
                  </a:cubicBezTo>
                  <a:close/>
                  <a:moveTo>
                    <a:pt x="1517151" y="4111699"/>
                  </a:moveTo>
                  <a:cubicBezTo>
                    <a:pt x="1547360" y="4111699"/>
                    <a:pt x="1570856" y="4135194"/>
                    <a:pt x="1570856" y="4165403"/>
                  </a:cubicBezTo>
                  <a:cubicBezTo>
                    <a:pt x="1570856" y="4195612"/>
                    <a:pt x="1547360" y="4219108"/>
                    <a:pt x="1517151" y="4219108"/>
                  </a:cubicBezTo>
                  <a:cubicBezTo>
                    <a:pt x="1486942" y="4219108"/>
                    <a:pt x="1463447" y="4195612"/>
                    <a:pt x="1463447" y="4165403"/>
                  </a:cubicBezTo>
                  <a:cubicBezTo>
                    <a:pt x="1463447" y="4135194"/>
                    <a:pt x="1486942" y="4111699"/>
                    <a:pt x="1517151" y="4111699"/>
                  </a:cubicBezTo>
                  <a:close/>
                  <a:moveTo>
                    <a:pt x="2953747" y="4108342"/>
                  </a:moveTo>
                  <a:cubicBezTo>
                    <a:pt x="2960460" y="4108342"/>
                    <a:pt x="2963816" y="4115055"/>
                    <a:pt x="2963816" y="4118412"/>
                  </a:cubicBezTo>
                  <a:cubicBezTo>
                    <a:pt x="2963816" y="4125125"/>
                    <a:pt x="2957103" y="4128481"/>
                    <a:pt x="2953747" y="4128481"/>
                  </a:cubicBezTo>
                  <a:cubicBezTo>
                    <a:pt x="2947034" y="4128481"/>
                    <a:pt x="2943677" y="4125125"/>
                    <a:pt x="2943677" y="4118412"/>
                  </a:cubicBezTo>
                  <a:cubicBezTo>
                    <a:pt x="2943677" y="4111699"/>
                    <a:pt x="2947034" y="4108342"/>
                    <a:pt x="2953747" y="4108342"/>
                  </a:cubicBezTo>
                  <a:close/>
                  <a:moveTo>
                    <a:pt x="2591242" y="4071420"/>
                  </a:moveTo>
                  <a:cubicBezTo>
                    <a:pt x="2597955" y="4071420"/>
                    <a:pt x="2604668" y="4078133"/>
                    <a:pt x="2604668" y="4084846"/>
                  </a:cubicBezTo>
                  <a:cubicBezTo>
                    <a:pt x="2604668" y="4091559"/>
                    <a:pt x="2597955" y="4098272"/>
                    <a:pt x="2591242" y="4098272"/>
                  </a:cubicBezTo>
                  <a:cubicBezTo>
                    <a:pt x="2584529" y="4098272"/>
                    <a:pt x="2581172" y="4091559"/>
                    <a:pt x="2577816" y="4084846"/>
                  </a:cubicBezTo>
                  <a:cubicBezTo>
                    <a:pt x="2577816" y="4078133"/>
                    <a:pt x="2584529" y="4071420"/>
                    <a:pt x="2591242" y="4071420"/>
                  </a:cubicBezTo>
                  <a:close/>
                  <a:moveTo>
                    <a:pt x="708228" y="4064707"/>
                  </a:moveTo>
                  <a:cubicBezTo>
                    <a:pt x="728367" y="4064707"/>
                    <a:pt x="748507" y="4081490"/>
                    <a:pt x="748507" y="4104986"/>
                  </a:cubicBezTo>
                  <a:cubicBezTo>
                    <a:pt x="748507" y="4125125"/>
                    <a:pt x="731724" y="4145264"/>
                    <a:pt x="708228" y="4145264"/>
                  </a:cubicBezTo>
                  <a:cubicBezTo>
                    <a:pt x="684732" y="4145264"/>
                    <a:pt x="664593" y="4128481"/>
                    <a:pt x="667950" y="4104986"/>
                  </a:cubicBezTo>
                  <a:cubicBezTo>
                    <a:pt x="667950" y="4084846"/>
                    <a:pt x="684732" y="4064707"/>
                    <a:pt x="708228" y="4064707"/>
                  </a:cubicBezTo>
                  <a:close/>
                  <a:moveTo>
                    <a:pt x="1208351" y="4037855"/>
                  </a:moveTo>
                  <a:cubicBezTo>
                    <a:pt x="1235203" y="4037855"/>
                    <a:pt x="1258699" y="4061351"/>
                    <a:pt x="1258699" y="4088203"/>
                  </a:cubicBezTo>
                  <a:cubicBezTo>
                    <a:pt x="1258699" y="4115055"/>
                    <a:pt x="1235203" y="4138551"/>
                    <a:pt x="1208351" y="4138551"/>
                  </a:cubicBezTo>
                  <a:cubicBezTo>
                    <a:pt x="1181499" y="4138551"/>
                    <a:pt x="1158003" y="4115055"/>
                    <a:pt x="1158003" y="4088203"/>
                  </a:cubicBezTo>
                  <a:cubicBezTo>
                    <a:pt x="1158003" y="4061351"/>
                    <a:pt x="1181499" y="4037855"/>
                    <a:pt x="1208351" y="4037855"/>
                  </a:cubicBezTo>
                  <a:close/>
                  <a:moveTo>
                    <a:pt x="1721900" y="4031142"/>
                  </a:moveTo>
                  <a:cubicBezTo>
                    <a:pt x="1740437" y="4031142"/>
                    <a:pt x="1755465" y="4046169"/>
                    <a:pt x="1755465" y="4064707"/>
                  </a:cubicBezTo>
                  <a:cubicBezTo>
                    <a:pt x="1755465" y="4083245"/>
                    <a:pt x="1740437" y="4098272"/>
                    <a:pt x="1721900" y="4098272"/>
                  </a:cubicBezTo>
                  <a:cubicBezTo>
                    <a:pt x="1703362" y="4098272"/>
                    <a:pt x="1688335" y="4083245"/>
                    <a:pt x="1688335" y="4064707"/>
                  </a:cubicBezTo>
                  <a:cubicBezTo>
                    <a:pt x="1688335" y="4046169"/>
                    <a:pt x="1703362" y="4031142"/>
                    <a:pt x="1721900" y="4031142"/>
                  </a:cubicBezTo>
                  <a:close/>
                  <a:moveTo>
                    <a:pt x="2252232" y="4021072"/>
                  </a:moveTo>
                  <a:cubicBezTo>
                    <a:pt x="2258945" y="4021072"/>
                    <a:pt x="2265658" y="4027785"/>
                    <a:pt x="2265658" y="4034498"/>
                  </a:cubicBezTo>
                  <a:cubicBezTo>
                    <a:pt x="2265658" y="4041211"/>
                    <a:pt x="2258945" y="4047924"/>
                    <a:pt x="2252232" y="4047924"/>
                  </a:cubicBezTo>
                  <a:cubicBezTo>
                    <a:pt x="2242162" y="4047924"/>
                    <a:pt x="2235449" y="4041211"/>
                    <a:pt x="2238806" y="4034498"/>
                  </a:cubicBezTo>
                  <a:cubicBezTo>
                    <a:pt x="2238806" y="4027785"/>
                    <a:pt x="2245518" y="4021072"/>
                    <a:pt x="2252232" y="4021072"/>
                  </a:cubicBezTo>
                  <a:close/>
                  <a:moveTo>
                    <a:pt x="3170662" y="4006807"/>
                  </a:moveTo>
                  <a:cubicBezTo>
                    <a:pt x="3171081" y="4005967"/>
                    <a:pt x="3171920" y="4005967"/>
                    <a:pt x="3171920" y="4007646"/>
                  </a:cubicBezTo>
                  <a:cubicBezTo>
                    <a:pt x="3171920" y="4007646"/>
                    <a:pt x="3175277" y="4007646"/>
                    <a:pt x="3171920" y="4011003"/>
                  </a:cubicBezTo>
                  <a:cubicBezTo>
                    <a:pt x="3170243" y="4009324"/>
                    <a:pt x="3170243" y="4007646"/>
                    <a:pt x="3170662" y="4006807"/>
                  </a:cubicBezTo>
                  <a:close/>
                  <a:moveTo>
                    <a:pt x="419566" y="3980794"/>
                  </a:moveTo>
                  <a:cubicBezTo>
                    <a:pt x="439705" y="3980794"/>
                    <a:pt x="456488" y="3997576"/>
                    <a:pt x="456488" y="4017716"/>
                  </a:cubicBezTo>
                  <a:cubicBezTo>
                    <a:pt x="456488" y="4037855"/>
                    <a:pt x="439705" y="4054637"/>
                    <a:pt x="419566" y="4054637"/>
                  </a:cubicBezTo>
                  <a:cubicBezTo>
                    <a:pt x="399427" y="4054637"/>
                    <a:pt x="382644" y="4037855"/>
                    <a:pt x="382644" y="4017716"/>
                  </a:cubicBezTo>
                  <a:cubicBezTo>
                    <a:pt x="382644" y="3997576"/>
                    <a:pt x="399427" y="3980794"/>
                    <a:pt x="419566" y="3980794"/>
                  </a:cubicBezTo>
                  <a:close/>
                  <a:moveTo>
                    <a:pt x="912976" y="3974081"/>
                  </a:moveTo>
                  <a:cubicBezTo>
                    <a:pt x="929758" y="3974081"/>
                    <a:pt x="946541" y="3987507"/>
                    <a:pt x="946541" y="4007646"/>
                  </a:cubicBezTo>
                  <a:cubicBezTo>
                    <a:pt x="946541" y="4024429"/>
                    <a:pt x="933115" y="4041211"/>
                    <a:pt x="912976" y="4041211"/>
                  </a:cubicBezTo>
                  <a:cubicBezTo>
                    <a:pt x="892837" y="4041211"/>
                    <a:pt x="876054" y="4024429"/>
                    <a:pt x="879410" y="4007646"/>
                  </a:cubicBezTo>
                  <a:cubicBezTo>
                    <a:pt x="879410" y="3990863"/>
                    <a:pt x="892837" y="3974081"/>
                    <a:pt x="912976" y="3974081"/>
                  </a:cubicBezTo>
                  <a:close/>
                  <a:moveTo>
                    <a:pt x="2802702" y="3970724"/>
                  </a:moveTo>
                  <a:cubicBezTo>
                    <a:pt x="2809416" y="3970724"/>
                    <a:pt x="2812772" y="3974081"/>
                    <a:pt x="2812772" y="3980794"/>
                  </a:cubicBezTo>
                  <a:cubicBezTo>
                    <a:pt x="2812772" y="3987507"/>
                    <a:pt x="2809416" y="3990863"/>
                    <a:pt x="2802702" y="3990863"/>
                  </a:cubicBezTo>
                  <a:cubicBezTo>
                    <a:pt x="2799346" y="3990863"/>
                    <a:pt x="2795990" y="3987507"/>
                    <a:pt x="2792633" y="3980794"/>
                  </a:cubicBezTo>
                  <a:cubicBezTo>
                    <a:pt x="2792633" y="3974081"/>
                    <a:pt x="2795990" y="3970724"/>
                    <a:pt x="2802702" y="3970724"/>
                  </a:cubicBezTo>
                  <a:close/>
                  <a:moveTo>
                    <a:pt x="1413099" y="3953941"/>
                  </a:moveTo>
                  <a:cubicBezTo>
                    <a:pt x="1433238" y="3953941"/>
                    <a:pt x="1450020" y="3970724"/>
                    <a:pt x="1450020" y="3990863"/>
                  </a:cubicBezTo>
                  <a:cubicBezTo>
                    <a:pt x="1450020" y="4011003"/>
                    <a:pt x="1433238" y="4027785"/>
                    <a:pt x="1413099" y="4027785"/>
                  </a:cubicBezTo>
                  <a:cubicBezTo>
                    <a:pt x="1392960" y="4027785"/>
                    <a:pt x="1372821" y="4011003"/>
                    <a:pt x="1376178" y="3990863"/>
                  </a:cubicBezTo>
                  <a:cubicBezTo>
                    <a:pt x="1376178" y="3970724"/>
                    <a:pt x="1392960" y="3953941"/>
                    <a:pt x="1413099" y="3953941"/>
                  </a:cubicBezTo>
                  <a:close/>
                  <a:moveTo>
                    <a:pt x="1926649" y="3947228"/>
                  </a:moveTo>
                  <a:cubicBezTo>
                    <a:pt x="1936718" y="3947228"/>
                    <a:pt x="1946788" y="3957298"/>
                    <a:pt x="1946788" y="3967368"/>
                  </a:cubicBezTo>
                  <a:cubicBezTo>
                    <a:pt x="1946788" y="3977437"/>
                    <a:pt x="1936718" y="3987507"/>
                    <a:pt x="1926649" y="3987507"/>
                  </a:cubicBezTo>
                  <a:cubicBezTo>
                    <a:pt x="1916579" y="3987507"/>
                    <a:pt x="1906510" y="3977437"/>
                    <a:pt x="1906510" y="3967368"/>
                  </a:cubicBezTo>
                  <a:cubicBezTo>
                    <a:pt x="1906510" y="3957298"/>
                    <a:pt x="1916579" y="3947228"/>
                    <a:pt x="1926649" y="3947228"/>
                  </a:cubicBezTo>
                  <a:close/>
                  <a:moveTo>
                    <a:pt x="2460337" y="3927089"/>
                  </a:moveTo>
                  <a:cubicBezTo>
                    <a:pt x="2463694" y="3927089"/>
                    <a:pt x="2467050" y="3930446"/>
                    <a:pt x="2467050" y="3933802"/>
                  </a:cubicBezTo>
                  <a:cubicBezTo>
                    <a:pt x="2467050" y="3937159"/>
                    <a:pt x="2463694" y="3940515"/>
                    <a:pt x="2460337" y="3940515"/>
                  </a:cubicBezTo>
                  <a:cubicBezTo>
                    <a:pt x="2453624" y="3940515"/>
                    <a:pt x="2450267" y="3937159"/>
                    <a:pt x="2453624" y="3933802"/>
                  </a:cubicBezTo>
                  <a:cubicBezTo>
                    <a:pt x="2453624" y="3930446"/>
                    <a:pt x="2456980" y="3927089"/>
                    <a:pt x="2460337" y="3927089"/>
                  </a:cubicBezTo>
                  <a:close/>
                  <a:moveTo>
                    <a:pt x="137618" y="3927089"/>
                  </a:moveTo>
                  <a:cubicBezTo>
                    <a:pt x="137618" y="3927089"/>
                    <a:pt x="140975" y="3927089"/>
                    <a:pt x="137618" y="3930446"/>
                  </a:cubicBezTo>
                  <a:cubicBezTo>
                    <a:pt x="137618" y="3928767"/>
                    <a:pt x="137618" y="3928767"/>
                    <a:pt x="137618" y="3929187"/>
                  </a:cubicBezTo>
                  <a:close/>
                  <a:moveTo>
                    <a:pt x="624315" y="3890167"/>
                  </a:moveTo>
                  <a:cubicBezTo>
                    <a:pt x="640998" y="3890167"/>
                    <a:pt x="654524" y="3903693"/>
                    <a:pt x="654524" y="3920376"/>
                  </a:cubicBezTo>
                  <a:cubicBezTo>
                    <a:pt x="654524" y="3937060"/>
                    <a:pt x="640998" y="3950585"/>
                    <a:pt x="624315" y="3950585"/>
                  </a:cubicBezTo>
                  <a:cubicBezTo>
                    <a:pt x="607631" y="3950585"/>
                    <a:pt x="594106" y="3937060"/>
                    <a:pt x="594106" y="3920376"/>
                  </a:cubicBezTo>
                  <a:cubicBezTo>
                    <a:pt x="594106" y="3903693"/>
                    <a:pt x="607631" y="3890167"/>
                    <a:pt x="624315" y="3890167"/>
                  </a:cubicBezTo>
                  <a:close/>
                  <a:moveTo>
                    <a:pt x="1114368" y="3873385"/>
                  </a:moveTo>
                  <a:cubicBezTo>
                    <a:pt x="1131151" y="3873385"/>
                    <a:pt x="1147933" y="3886811"/>
                    <a:pt x="1147933" y="3906950"/>
                  </a:cubicBezTo>
                  <a:cubicBezTo>
                    <a:pt x="1147933" y="3923733"/>
                    <a:pt x="1134507" y="3940515"/>
                    <a:pt x="1114368" y="3940515"/>
                  </a:cubicBezTo>
                  <a:cubicBezTo>
                    <a:pt x="1097585" y="3940515"/>
                    <a:pt x="1080803" y="3927089"/>
                    <a:pt x="1080803" y="3906950"/>
                  </a:cubicBezTo>
                  <a:cubicBezTo>
                    <a:pt x="1080803" y="3890167"/>
                    <a:pt x="1094229" y="3873385"/>
                    <a:pt x="1114368" y="3873385"/>
                  </a:cubicBezTo>
                  <a:close/>
                  <a:moveTo>
                    <a:pt x="3017521" y="3866671"/>
                  </a:moveTo>
                  <a:cubicBezTo>
                    <a:pt x="3020878" y="3866671"/>
                    <a:pt x="3024234" y="3870028"/>
                    <a:pt x="3024234" y="3873385"/>
                  </a:cubicBezTo>
                  <a:cubicBezTo>
                    <a:pt x="3024234" y="3876741"/>
                    <a:pt x="3020878" y="3880098"/>
                    <a:pt x="3017521" y="3880098"/>
                  </a:cubicBezTo>
                  <a:cubicBezTo>
                    <a:pt x="3014164" y="3880098"/>
                    <a:pt x="3010808" y="3876741"/>
                    <a:pt x="3010808" y="3873385"/>
                  </a:cubicBezTo>
                  <a:cubicBezTo>
                    <a:pt x="3010808" y="3870028"/>
                    <a:pt x="3014164" y="3866671"/>
                    <a:pt x="3017521" y="3866671"/>
                  </a:cubicBezTo>
                  <a:close/>
                  <a:moveTo>
                    <a:pt x="1617847" y="3859958"/>
                  </a:moveTo>
                  <a:cubicBezTo>
                    <a:pt x="1634630" y="3859958"/>
                    <a:pt x="1651413" y="3873385"/>
                    <a:pt x="1651413" y="3893524"/>
                  </a:cubicBezTo>
                  <a:cubicBezTo>
                    <a:pt x="1651413" y="3910306"/>
                    <a:pt x="1637986" y="3927089"/>
                    <a:pt x="1617847" y="3927089"/>
                  </a:cubicBezTo>
                  <a:cubicBezTo>
                    <a:pt x="1597708" y="3927089"/>
                    <a:pt x="1580925" y="3910306"/>
                    <a:pt x="1584282" y="3893524"/>
                  </a:cubicBezTo>
                  <a:cubicBezTo>
                    <a:pt x="1584282" y="3876741"/>
                    <a:pt x="1601065" y="3859958"/>
                    <a:pt x="1617847" y="3859958"/>
                  </a:cubicBezTo>
                  <a:close/>
                  <a:moveTo>
                    <a:pt x="2131396" y="3853245"/>
                  </a:moveTo>
                  <a:cubicBezTo>
                    <a:pt x="2138110" y="3853245"/>
                    <a:pt x="2144822" y="3859958"/>
                    <a:pt x="2144822" y="3866671"/>
                  </a:cubicBezTo>
                  <a:cubicBezTo>
                    <a:pt x="2144822" y="3873385"/>
                    <a:pt x="2138110" y="3880098"/>
                    <a:pt x="2131396" y="3880098"/>
                  </a:cubicBezTo>
                  <a:cubicBezTo>
                    <a:pt x="2124683" y="3880098"/>
                    <a:pt x="2117970" y="3876741"/>
                    <a:pt x="2117970" y="3866671"/>
                  </a:cubicBezTo>
                  <a:cubicBezTo>
                    <a:pt x="2117970" y="3859958"/>
                    <a:pt x="2124683" y="3853245"/>
                    <a:pt x="2131396" y="3853245"/>
                  </a:cubicBezTo>
                  <a:close/>
                  <a:moveTo>
                    <a:pt x="2668441" y="3823036"/>
                  </a:moveTo>
                  <a:cubicBezTo>
                    <a:pt x="2671798" y="3823036"/>
                    <a:pt x="2675154" y="3826393"/>
                    <a:pt x="2675154" y="3829750"/>
                  </a:cubicBezTo>
                  <a:cubicBezTo>
                    <a:pt x="2675154" y="3833106"/>
                    <a:pt x="2671798" y="3836463"/>
                    <a:pt x="2668441" y="3836463"/>
                  </a:cubicBezTo>
                  <a:cubicBezTo>
                    <a:pt x="2665084" y="3836463"/>
                    <a:pt x="2661728" y="3833106"/>
                    <a:pt x="2661728" y="3829750"/>
                  </a:cubicBezTo>
                  <a:cubicBezTo>
                    <a:pt x="2661728" y="3826393"/>
                    <a:pt x="2665084" y="3823036"/>
                    <a:pt x="2668441" y="3823036"/>
                  </a:cubicBezTo>
                  <a:close/>
                  <a:moveTo>
                    <a:pt x="342366" y="3792828"/>
                  </a:moveTo>
                  <a:cubicBezTo>
                    <a:pt x="362505" y="3792828"/>
                    <a:pt x="379288" y="3809610"/>
                    <a:pt x="379288" y="3829750"/>
                  </a:cubicBezTo>
                  <a:cubicBezTo>
                    <a:pt x="379288" y="3849889"/>
                    <a:pt x="362505" y="3866671"/>
                    <a:pt x="342366" y="3866671"/>
                  </a:cubicBezTo>
                  <a:cubicBezTo>
                    <a:pt x="322226" y="3866671"/>
                    <a:pt x="305444" y="3849889"/>
                    <a:pt x="305444" y="3829750"/>
                  </a:cubicBezTo>
                  <a:cubicBezTo>
                    <a:pt x="305444" y="3809610"/>
                    <a:pt x="322226" y="3792828"/>
                    <a:pt x="342366" y="3792828"/>
                  </a:cubicBezTo>
                  <a:close/>
                  <a:moveTo>
                    <a:pt x="829063" y="3789471"/>
                  </a:moveTo>
                  <a:cubicBezTo>
                    <a:pt x="845846" y="3789471"/>
                    <a:pt x="859272" y="3802897"/>
                    <a:pt x="859272" y="3819680"/>
                  </a:cubicBezTo>
                  <a:cubicBezTo>
                    <a:pt x="859272" y="3836463"/>
                    <a:pt x="845846" y="3849889"/>
                    <a:pt x="829063" y="3849889"/>
                  </a:cubicBezTo>
                  <a:cubicBezTo>
                    <a:pt x="812281" y="3849889"/>
                    <a:pt x="798855" y="3836463"/>
                    <a:pt x="798855" y="3819680"/>
                  </a:cubicBezTo>
                  <a:cubicBezTo>
                    <a:pt x="798855" y="3802897"/>
                    <a:pt x="812281" y="3789471"/>
                    <a:pt x="829063" y="3789471"/>
                  </a:cubicBezTo>
                  <a:close/>
                  <a:moveTo>
                    <a:pt x="1822596" y="3776045"/>
                  </a:moveTo>
                  <a:cubicBezTo>
                    <a:pt x="1832666" y="3776045"/>
                    <a:pt x="1839379" y="3782758"/>
                    <a:pt x="1839379" y="3792828"/>
                  </a:cubicBezTo>
                  <a:cubicBezTo>
                    <a:pt x="1839379" y="3802897"/>
                    <a:pt x="1832666" y="3809610"/>
                    <a:pt x="1822596" y="3809610"/>
                  </a:cubicBezTo>
                  <a:cubicBezTo>
                    <a:pt x="1812526" y="3809610"/>
                    <a:pt x="1805813" y="3802897"/>
                    <a:pt x="1805813" y="3792828"/>
                  </a:cubicBezTo>
                  <a:cubicBezTo>
                    <a:pt x="1805813" y="3782758"/>
                    <a:pt x="1812526" y="3776045"/>
                    <a:pt x="1822596" y="3776045"/>
                  </a:cubicBezTo>
                  <a:close/>
                  <a:moveTo>
                    <a:pt x="1319117" y="3769333"/>
                  </a:moveTo>
                  <a:cubicBezTo>
                    <a:pt x="1339256" y="3769333"/>
                    <a:pt x="1359395" y="3786116"/>
                    <a:pt x="1359395" y="3809611"/>
                  </a:cubicBezTo>
                  <a:cubicBezTo>
                    <a:pt x="1359395" y="3829751"/>
                    <a:pt x="1342612" y="3849890"/>
                    <a:pt x="1319117" y="3849890"/>
                  </a:cubicBezTo>
                  <a:cubicBezTo>
                    <a:pt x="1295621" y="3849890"/>
                    <a:pt x="1278838" y="3833107"/>
                    <a:pt x="1278838" y="3809611"/>
                  </a:cubicBezTo>
                  <a:cubicBezTo>
                    <a:pt x="1278838" y="3789472"/>
                    <a:pt x="1298977" y="3769333"/>
                    <a:pt x="1319117" y="3769333"/>
                  </a:cubicBezTo>
                  <a:close/>
                  <a:moveTo>
                    <a:pt x="2339502" y="3755906"/>
                  </a:moveTo>
                  <a:cubicBezTo>
                    <a:pt x="2346215" y="3755906"/>
                    <a:pt x="2349571" y="3762619"/>
                    <a:pt x="2349571" y="3765975"/>
                  </a:cubicBezTo>
                  <a:cubicBezTo>
                    <a:pt x="2349571" y="3772688"/>
                    <a:pt x="2346215" y="3776045"/>
                    <a:pt x="2339502" y="3776045"/>
                  </a:cubicBezTo>
                  <a:cubicBezTo>
                    <a:pt x="2332788" y="3776045"/>
                    <a:pt x="2329432" y="3772688"/>
                    <a:pt x="2329432" y="3765975"/>
                  </a:cubicBezTo>
                  <a:cubicBezTo>
                    <a:pt x="2329432" y="3759262"/>
                    <a:pt x="2336145" y="3755906"/>
                    <a:pt x="2339502" y="3755906"/>
                  </a:cubicBezTo>
                  <a:close/>
                  <a:moveTo>
                    <a:pt x="70487" y="3732410"/>
                  </a:moveTo>
                  <a:cubicBezTo>
                    <a:pt x="70487" y="3732410"/>
                    <a:pt x="73844" y="3732410"/>
                    <a:pt x="73844" y="3735767"/>
                  </a:cubicBezTo>
                  <a:cubicBezTo>
                    <a:pt x="73844" y="3735767"/>
                    <a:pt x="73844" y="3739123"/>
                    <a:pt x="70487" y="3739123"/>
                  </a:cubicBezTo>
                  <a:cubicBezTo>
                    <a:pt x="67131" y="3739123"/>
                    <a:pt x="67131" y="3739123"/>
                    <a:pt x="67131" y="3735767"/>
                  </a:cubicBezTo>
                  <a:cubicBezTo>
                    <a:pt x="67131" y="3735767"/>
                    <a:pt x="70487" y="3732410"/>
                    <a:pt x="70487" y="3732410"/>
                  </a:cubicBezTo>
                  <a:close/>
                  <a:moveTo>
                    <a:pt x="2876546" y="3718985"/>
                  </a:moveTo>
                  <a:cubicBezTo>
                    <a:pt x="2879903" y="3718985"/>
                    <a:pt x="2883260" y="3722341"/>
                    <a:pt x="2883260" y="3725698"/>
                  </a:cubicBezTo>
                  <a:cubicBezTo>
                    <a:pt x="2883260" y="3729055"/>
                    <a:pt x="2879903" y="3732411"/>
                    <a:pt x="2876546" y="3732411"/>
                  </a:cubicBezTo>
                  <a:cubicBezTo>
                    <a:pt x="2876546" y="3732411"/>
                    <a:pt x="2869833" y="3729055"/>
                    <a:pt x="2869833" y="3725698"/>
                  </a:cubicBezTo>
                  <a:cubicBezTo>
                    <a:pt x="2869833" y="3722341"/>
                    <a:pt x="2873190" y="3718985"/>
                    <a:pt x="2876546" y="3718985"/>
                  </a:cubicBezTo>
                  <a:close/>
                  <a:moveTo>
                    <a:pt x="550471" y="3698845"/>
                  </a:moveTo>
                  <a:cubicBezTo>
                    <a:pt x="567254" y="3698845"/>
                    <a:pt x="580680" y="3712271"/>
                    <a:pt x="580680" y="3729053"/>
                  </a:cubicBezTo>
                  <a:cubicBezTo>
                    <a:pt x="580680" y="3745836"/>
                    <a:pt x="567254" y="3759262"/>
                    <a:pt x="550471" y="3759262"/>
                  </a:cubicBezTo>
                  <a:cubicBezTo>
                    <a:pt x="533688" y="3759262"/>
                    <a:pt x="520262" y="3745836"/>
                    <a:pt x="520262" y="3729053"/>
                  </a:cubicBezTo>
                  <a:cubicBezTo>
                    <a:pt x="520262" y="3712271"/>
                    <a:pt x="533688" y="3698845"/>
                    <a:pt x="550471" y="3698845"/>
                  </a:cubicBezTo>
                  <a:close/>
                  <a:moveTo>
                    <a:pt x="1033811" y="3685420"/>
                  </a:moveTo>
                  <a:cubicBezTo>
                    <a:pt x="1053950" y="3685420"/>
                    <a:pt x="1070733" y="3702202"/>
                    <a:pt x="1070733" y="3722341"/>
                  </a:cubicBezTo>
                  <a:cubicBezTo>
                    <a:pt x="1070733" y="3742481"/>
                    <a:pt x="1053950" y="3759263"/>
                    <a:pt x="1033811" y="3759263"/>
                  </a:cubicBezTo>
                  <a:cubicBezTo>
                    <a:pt x="1010315" y="3759263"/>
                    <a:pt x="996889" y="3742481"/>
                    <a:pt x="996889" y="3722341"/>
                  </a:cubicBezTo>
                  <a:cubicBezTo>
                    <a:pt x="996889" y="3702202"/>
                    <a:pt x="1013672" y="3685420"/>
                    <a:pt x="1033811" y="3685420"/>
                  </a:cubicBezTo>
                  <a:close/>
                  <a:moveTo>
                    <a:pt x="2027345" y="3678707"/>
                  </a:moveTo>
                  <a:cubicBezTo>
                    <a:pt x="2037414" y="3678707"/>
                    <a:pt x="2044128" y="3685420"/>
                    <a:pt x="2044128" y="3695489"/>
                  </a:cubicBezTo>
                  <a:cubicBezTo>
                    <a:pt x="2044128" y="3705559"/>
                    <a:pt x="2037414" y="3712272"/>
                    <a:pt x="2027345" y="3712272"/>
                  </a:cubicBezTo>
                  <a:cubicBezTo>
                    <a:pt x="2017275" y="3712272"/>
                    <a:pt x="2010562" y="3702202"/>
                    <a:pt x="2010562" y="3695489"/>
                  </a:cubicBezTo>
                  <a:cubicBezTo>
                    <a:pt x="2010562" y="3685420"/>
                    <a:pt x="2017275" y="3678707"/>
                    <a:pt x="2027345" y="3678707"/>
                  </a:cubicBezTo>
                  <a:close/>
                  <a:moveTo>
                    <a:pt x="1523864" y="3678707"/>
                  </a:moveTo>
                  <a:cubicBezTo>
                    <a:pt x="1540647" y="3678707"/>
                    <a:pt x="1554073" y="3692133"/>
                    <a:pt x="1554073" y="3708915"/>
                  </a:cubicBezTo>
                  <a:cubicBezTo>
                    <a:pt x="1554073" y="3725698"/>
                    <a:pt x="1540647" y="3739124"/>
                    <a:pt x="1523864" y="3739124"/>
                  </a:cubicBezTo>
                  <a:cubicBezTo>
                    <a:pt x="1507082" y="3739124"/>
                    <a:pt x="1493656" y="3725698"/>
                    <a:pt x="1493656" y="3708915"/>
                  </a:cubicBezTo>
                  <a:cubicBezTo>
                    <a:pt x="1493656" y="3692133"/>
                    <a:pt x="1507082" y="3678707"/>
                    <a:pt x="1523864" y="3678707"/>
                  </a:cubicBezTo>
                  <a:close/>
                  <a:moveTo>
                    <a:pt x="2544250" y="3661924"/>
                  </a:moveTo>
                  <a:cubicBezTo>
                    <a:pt x="2547607" y="3661924"/>
                    <a:pt x="2550963" y="3665281"/>
                    <a:pt x="2550963" y="3668637"/>
                  </a:cubicBezTo>
                  <a:cubicBezTo>
                    <a:pt x="2550963" y="3671994"/>
                    <a:pt x="2547607" y="3675350"/>
                    <a:pt x="2544250" y="3675350"/>
                  </a:cubicBezTo>
                  <a:cubicBezTo>
                    <a:pt x="2540894" y="3675350"/>
                    <a:pt x="2537537" y="3671994"/>
                    <a:pt x="2537537" y="3668637"/>
                  </a:cubicBezTo>
                  <a:cubicBezTo>
                    <a:pt x="2537537" y="3665281"/>
                    <a:pt x="2540894" y="3661924"/>
                    <a:pt x="2544250" y="3661924"/>
                  </a:cubicBezTo>
                  <a:close/>
                  <a:moveTo>
                    <a:pt x="755220" y="3601509"/>
                  </a:moveTo>
                  <a:cubicBezTo>
                    <a:pt x="771903" y="3601509"/>
                    <a:pt x="785428" y="3615035"/>
                    <a:pt x="785428" y="3631715"/>
                  </a:cubicBezTo>
                  <a:cubicBezTo>
                    <a:pt x="785428" y="3648399"/>
                    <a:pt x="771903" y="3661924"/>
                    <a:pt x="755220" y="3661924"/>
                  </a:cubicBezTo>
                  <a:cubicBezTo>
                    <a:pt x="738536" y="3661924"/>
                    <a:pt x="725011" y="3648399"/>
                    <a:pt x="725011" y="3631715"/>
                  </a:cubicBezTo>
                  <a:cubicBezTo>
                    <a:pt x="725011" y="3615035"/>
                    <a:pt x="738536" y="3601509"/>
                    <a:pt x="755220" y="3601509"/>
                  </a:cubicBezTo>
                  <a:close/>
                  <a:moveTo>
                    <a:pt x="275236" y="3601509"/>
                  </a:moveTo>
                  <a:cubicBezTo>
                    <a:pt x="295375" y="3601509"/>
                    <a:pt x="312158" y="3618291"/>
                    <a:pt x="312158" y="3638428"/>
                  </a:cubicBezTo>
                  <a:cubicBezTo>
                    <a:pt x="312158" y="3658568"/>
                    <a:pt x="295375" y="3675350"/>
                    <a:pt x="275236" y="3675350"/>
                  </a:cubicBezTo>
                  <a:cubicBezTo>
                    <a:pt x="255097" y="3675350"/>
                    <a:pt x="238314" y="3658568"/>
                    <a:pt x="238314" y="3638428"/>
                  </a:cubicBezTo>
                  <a:cubicBezTo>
                    <a:pt x="238314" y="3618291"/>
                    <a:pt x="255097" y="3601509"/>
                    <a:pt x="275236" y="3601509"/>
                  </a:cubicBezTo>
                  <a:close/>
                  <a:moveTo>
                    <a:pt x="2228736" y="3591438"/>
                  </a:moveTo>
                  <a:cubicBezTo>
                    <a:pt x="2232092" y="3591438"/>
                    <a:pt x="2235449" y="3594798"/>
                    <a:pt x="2235449" y="3598153"/>
                  </a:cubicBezTo>
                  <a:cubicBezTo>
                    <a:pt x="2235449" y="3601509"/>
                    <a:pt x="2232092" y="3604864"/>
                    <a:pt x="2228736" y="3604864"/>
                  </a:cubicBezTo>
                  <a:cubicBezTo>
                    <a:pt x="2225379" y="3604864"/>
                    <a:pt x="2222023" y="3601509"/>
                    <a:pt x="2222023" y="3598153"/>
                  </a:cubicBezTo>
                  <a:cubicBezTo>
                    <a:pt x="2222023" y="3594798"/>
                    <a:pt x="2225379" y="3591438"/>
                    <a:pt x="2228736" y="3591438"/>
                  </a:cubicBezTo>
                  <a:close/>
                  <a:moveTo>
                    <a:pt x="1728613" y="3591438"/>
                  </a:moveTo>
                  <a:cubicBezTo>
                    <a:pt x="1742039" y="3591438"/>
                    <a:pt x="1748752" y="3601509"/>
                    <a:pt x="1748752" y="3611580"/>
                  </a:cubicBezTo>
                  <a:cubicBezTo>
                    <a:pt x="1748752" y="3621646"/>
                    <a:pt x="1738683" y="3631715"/>
                    <a:pt x="1728613" y="3631715"/>
                  </a:cubicBezTo>
                  <a:cubicBezTo>
                    <a:pt x="1718543" y="3631715"/>
                    <a:pt x="1708474" y="3621646"/>
                    <a:pt x="1708474" y="3611580"/>
                  </a:cubicBezTo>
                  <a:cubicBezTo>
                    <a:pt x="1708474" y="3601509"/>
                    <a:pt x="1718543" y="3591438"/>
                    <a:pt x="1728613" y="3591438"/>
                  </a:cubicBezTo>
                  <a:close/>
                  <a:moveTo>
                    <a:pt x="1235203" y="3584726"/>
                  </a:moveTo>
                  <a:cubicBezTo>
                    <a:pt x="1255342" y="3584726"/>
                    <a:pt x="1275482" y="3601509"/>
                    <a:pt x="1275482" y="3625002"/>
                  </a:cubicBezTo>
                  <a:cubicBezTo>
                    <a:pt x="1275482" y="3645141"/>
                    <a:pt x="1258699" y="3665281"/>
                    <a:pt x="1235203" y="3665281"/>
                  </a:cubicBezTo>
                  <a:cubicBezTo>
                    <a:pt x="1215064" y="3665281"/>
                    <a:pt x="1194925" y="3645141"/>
                    <a:pt x="1194925" y="3625002"/>
                  </a:cubicBezTo>
                  <a:cubicBezTo>
                    <a:pt x="1194925" y="3604864"/>
                    <a:pt x="1211708" y="3584726"/>
                    <a:pt x="1235203" y="3584726"/>
                  </a:cubicBezTo>
                  <a:close/>
                  <a:moveTo>
                    <a:pt x="2749837" y="3567103"/>
                  </a:moveTo>
                  <a:cubicBezTo>
                    <a:pt x="2749837" y="3566263"/>
                    <a:pt x="2750677" y="3566263"/>
                    <a:pt x="2752354" y="3567943"/>
                  </a:cubicBezTo>
                  <a:lnTo>
                    <a:pt x="2752354" y="3570041"/>
                  </a:lnTo>
                  <a:lnTo>
                    <a:pt x="2752354" y="3571299"/>
                  </a:lnTo>
                  <a:cubicBezTo>
                    <a:pt x="2750677" y="3569619"/>
                    <a:pt x="2749837" y="3567943"/>
                    <a:pt x="2749837" y="3567103"/>
                  </a:cubicBezTo>
                  <a:close/>
                  <a:moveTo>
                    <a:pt x="10070" y="3531021"/>
                  </a:moveTo>
                  <a:cubicBezTo>
                    <a:pt x="16783" y="3531021"/>
                    <a:pt x="20139" y="3534378"/>
                    <a:pt x="20139" y="3541090"/>
                  </a:cubicBezTo>
                  <a:cubicBezTo>
                    <a:pt x="20139" y="3547802"/>
                    <a:pt x="16783" y="3551160"/>
                    <a:pt x="10070" y="3551160"/>
                  </a:cubicBezTo>
                  <a:cubicBezTo>
                    <a:pt x="6713" y="3551160"/>
                    <a:pt x="0" y="3547802"/>
                    <a:pt x="0" y="3541090"/>
                  </a:cubicBezTo>
                  <a:cubicBezTo>
                    <a:pt x="0" y="3534378"/>
                    <a:pt x="3357" y="3531021"/>
                    <a:pt x="10070" y="3531021"/>
                  </a:cubicBezTo>
                  <a:close/>
                  <a:moveTo>
                    <a:pt x="483340" y="3510884"/>
                  </a:moveTo>
                  <a:cubicBezTo>
                    <a:pt x="496766" y="3510884"/>
                    <a:pt x="510192" y="3524310"/>
                    <a:pt x="510192" y="3537734"/>
                  </a:cubicBezTo>
                  <a:cubicBezTo>
                    <a:pt x="510192" y="3551160"/>
                    <a:pt x="496766" y="3564584"/>
                    <a:pt x="483340" y="3564584"/>
                  </a:cubicBezTo>
                  <a:cubicBezTo>
                    <a:pt x="469914" y="3564584"/>
                    <a:pt x="456488" y="3551160"/>
                    <a:pt x="456488" y="3537734"/>
                  </a:cubicBezTo>
                  <a:cubicBezTo>
                    <a:pt x="456488" y="3524310"/>
                    <a:pt x="469914" y="3510884"/>
                    <a:pt x="483340" y="3510884"/>
                  </a:cubicBezTo>
                  <a:close/>
                  <a:moveTo>
                    <a:pt x="1930005" y="3504169"/>
                  </a:moveTo>
                  <a:cubicBezTo>
                    <a:pt x="1933362" y="3504169"/>
                    <a:pt x="1940075" y="3507528"/>
                    <a:pt x="1940075" y="3514242"/>
                  </a:cubicBezTo>
                  <a:cubicBezTo>
                    <a:pt x="1940075" y="3517598"/>
                    <a:pt x="1936718" y="3524310"/>
                    <a:pt x="1930005" y="3524310"/>
                  </a:cubicBezTo>
                  <a:cubicBezTo>
                    <a:pt x="1926649" y="3524310"/>
                    <a:pt x="1919936" y="3520955"/>
                    <a:pt x="1919936" y="3514242"/>
                  </a:cubicBezTo>
                  <a:cubicBezTo>
                    <a:pt x="1919936" y="3510884"/>
                    <a:pt x="1923292" y="3504169"/>
                    <a:pt x="1930005" y="3504169"/>
                  </a:cubicBezTo>
                  <a:close/>
                  <a:moveTo>
                    <a:pt x="1439952" y="3504169"/>
                  </a:moveTo>
                  <a:cubicBezTo>
                    <a:pt x="1453378" y="3504169"/>
                    <a:pt x="1463448" y="3514242"/>
                    <a:pt x="1463448" y="3527666"/>
                  </a:cubicBezTo>
                  <a:cubicBezTo>
                    <a:pt x="1463448" y="3541090"/>
                    <a:pt x="1453378" y="3551160"/>
                    <a:pt x="1439952" y="3551160"/>
                  </a:cubicBezTo>
                  <a:cubicBezTo>
                    <a:pt x="1426526" y="3551160"/>
                    <a:pt x="1416456" y="3537734"/>
                    <a:pt x="1416456" y="3527666"/>
                  </a:cubicBezTo>
                  <a:cubicBezTo>
                    <a:pt x="1416456" y="3514242"/>
                    <a:pt x="1426526" y="3504169"/>
                    <a:pt x="1439952" y="3504169"/>
                  </a:cubicBezTo>
                  <a:close/>
                  <a:moveTo>
                    <a:pt x="959967" y="3500813"/>
                  </a:moveTo>
                  <a:cubicBezTo>
                    <a:pt x="976750" y="3500813"/>
                    <a:pt x="990176" y="3514242"/>
                    <a:pt x="990176" y="3531021"/>
                  </a:cubicBezTo>
                  <a:cubicBezTo>
                    <a:pt x="990176" y="3547802"/>
                    <a:pt x="976750" y="3561228"/>
                    <a:pt x="959967" y="3561228"/>
                  </a:cubicBezTo>
                  <a:cubicBezTo>
                    <a:pt x="943185" y="3561228"/>
                    <a:pt x="929758" y="3547802"/>
                    <a:pt x="929758" y="3531021"/>
                  </a:cubicBezTo>
                  <a:cubicBezTo>
                    <a:pt x="929758" y="3514242"/>
                    <a:pt x="943185" y="3500813"/>
                    <a:pt x="959967" y="3500813"/>
                  </a:cubicBezTo>
                  <a:close/>
                  <a:moveTo>
                    <a:pt x="2433484" y="3487389"/>
                  </a:moveTo>
                  <a:cubicBezTo>
                    <a:pt x="2440198" y="3487389"/>
                    <a:pt x="2443554" y="3490747"/>
                    <a:pt x="2443554" y="3497458"/>
                  </a:cubicBezTo>
                  <a:cubicBezTo>
                    <a:pt x="2443554" y="3504169"/>
                    <a:pt x="2436841" y="3507528"/>
                    <a:pt x="2433484" y="3507528"/>
                  </a:cubicBezTo>
                  <a:cubicBezTo>
                    <a:pt x="2430128" y="3507528"/>
                    <a:pt x="2426772" y="3500813"/>
                    <a:pt x="2423415" y="3497458"/>
                  </a:cubicBezTo>
                  <a:cubicBezTo>
                    <a:pt x="2423415" y="3490747"/>
                    <a:pt x="2430128" y="3487389"/>
                    <a:pt x="2433484" y="3487389"/>
                  </a:cubicBezTo>
                  <a:close/>
                  <a:moveTo>
                    <a:pt x="218175" y="3430330"/>
                  </a:moveTo>
                  <a:cubicBezTo>
                    <a:pt x="224888" y="3430330"/>
                    <a:pt x="228244" y="3433688"/>
                    <a:pt x="228244" y="3440398"/>
                  </a:cubicBezTo>
                  <a:cubicBezTo>
                    <a:pt x="228244" y="3447112"/>
                    <a:pt x="224888" y="3450468"/>
                    <a:pt x="218175" y="3450468"/>
                  </a:cubicBezTo>
                  <a:cubicBezTo>
                    <a:pt x="211462" y="3450468"/>
                    <a:pt x="208105" y="3447112"/>
                    <a:pt x="208105" y="3440398"/>
                  </a:cubicBezTo>
                  <a:cubicBezTo>
                    <a:pt x="208105" y="3433688"/>
                    <a:pt x="211462" y="3430330"/>
                    <a:pt x="218175" y="3430330"/>
                  </a:cubicBezTo>
                  <a:close/>
                  <a:moveTo>
                    <a:pt x="2134753" y="3410193"/>
                  </a:moveTo>
                  <a:cubicBezTo>
                    <a:pt x="2138110" y="3410193"/>
                    <a:pt x="2141466" y="3413547"/>
                    <a:pt x="2141466" y="3416903"/>
                  </a:cubicBezTo>
                  <a:cubicBezTo>
                    <a:pt x="2141466" y="3420259"/>
                    <a:pt x="2138110" y="3423617"/>
                    <a:pt x="2134753" y="3423617"/>
                  </a:cubicBezTo>
                  <a:cubicBezTo>
                    <a:pt x="2131396" y="3423617"/>
                    <a:pt x="2128040" y="3420259"/>
                    <a:pt x="2128040" y="3416903"/>
                  </a:cubicBezTo>
                  <a:cubicBezTo>
                    <a:pt x="2128040" y="3413547"/>
                    <a:pt x="2131396" y="3410193"/>
                    <a:pt x="2134753" y="3410193"/>
                  </a:cubicBezTo>
                  <a:close/>
                  <a:moveTo>
                    <a:pt x="1644700" y="3406837"/>
                  </a:moveTo>
                  <a:cubicBezTo>
                    <a:pt x="1654769" y="3406837"/>
                    <a:pt x="1664839" y="3416903"/>
                    <a:pt x="1664839" y="3426974"/>
                  </a:cubicBezTo>
                  <a:cubicBezTo>
                    <a:pt x="1664839" y="3437045"/>
                    <a:pt x="1654769" y="3447112"/>
                    <a:pt x="1644700" y="3447112"/>
                  </a:cubicBezTo>
                  <a:cubicBezTo>
                    <a:pt x="1634630" y="3447112"/>
                    <a:pt x="1627917" y="3437045"/>
                    <a:pt x="1624560" y="3426974"/>
                  </a:cubicBezTo>
                  <a:cubicBezTo>
                    <a:pt x="1624560" y="3416903"/>
                    <a:pt x="1634630" y="3406837"/>
                    <a:pt x="1644700" y="3406837"/>
                  </a:cubicBezTo>
                  <a:close/>
                  <a:moveTo>
                    <a:pt x="688089" y="3406837"/>
                  </a:moveTo>
                  <a:cubicBezTo>
                    <a:pt x="704872" y="3406837"/>
                    <a:pt x="718298" y="3420259"/>
                    <a:pt x="718298" y="3437045"/>
                  </a:cubicBezTo>
                  <a:cubicBezTo>
                    <a:pt x="718298" y="3453825"/>
                    <a:pt x="704872" y="3467249"/>
                    <a:pt x="688089" y="3467249"/>
                  </a:cubicBezTo>
                  <a:cubicBezTo>
                    <a:pt x="671306" y="3467249"/>
                    <a:pt x="661237" y="3453825"/>
                    <a:pt x="657880" y="3437045"/>
                  </a:cubicBezTo>
                  <a:cubicBezTo>
                    <a:pt x="657880" y="3420259"/>
                    <a:pt x="671306" y="3406837"/>
                    <a:pt x="688089" y="3406837"/>
                  </a:cubicBezTo>
                  <a:close/>
                  <a:moveTo>
                    <a:pt x="1164716" y="3400123"/>
                  </a:moveTo>
                  <a:cubicBezTo>
                    <a:pt x="1184855" y="3400123"/>
                    <a:pt x="1198281" y="3416903"/>
                    <a:pt x="1198281" y="3433688"/>
                  </a:cubicBezTo>
                  <a:cubicBezTo>
                    <a:pt x="1198281" y="3453825"/>
                    <a:pt x="1181499" y="3467249"/>
                    <a:pt x="1164716" y="3467249"/>
                  </a:cubicBezTo>
                  <a:cubicBezTo>
                    <a:pt x="1144577" y="3467249"/>
                    <a:pt x="1131151" y="3453825"/>
                    <a:pt x="1131151" y="3433688"/>
                  </a:cubicBezTo>
                  <a:cubicBezTo>
                    <a:pt x="1131151" y="3413547"/>
                    <a:pt x="1147933" y="3400123"/>
                    <a:pt x="1164716" y="3400123"/>
                  </a:cubicBezTo>
                  <a:close/>
                  <a:moveTo>
                    <a:pt x="2638232" y="3390052"/>
                  </a:moveTo>
                  <a:cubicBezTo>
                    <a:pt x="2641589" y="3390052"/>
                    <a:pt x="2644945" y="3393409"/>
                    <a:pt x="2644945" y="3396767"/>
                  </a:cubicBezTo>
                  <a:cubicBezTo>
                    <a:pt x="2644945" y="3400123"/>
                    <a:pt x="2641589" y="3403479"/>
                    <a:pt x="2638232" y="3403479"/>
                  </a:cubicBezTo>
                  <a:cubicBezTo>
                    <a:pt x="2638232" y="3403479"/>
                    <a:pt x="2634876" y="3400123"/>
                    <a:pt x="2631519" y="3396767"/>
                  </a:cubicBezTo>
                  <a:cubicBezTo>
                    <a:pt x="2631519" y="3393409"/>
                    <a:pt x="2634876" y="3390052"/>
                    <a:pt x="2638232" y="3390052"/>
                  </a:cubicBezTo>
                  <a:close/>
                  <a:moveTo>
                    <a:pt x="1849448" y="3322926"/>
                  </a:moveTo>
                  <a:cubicBezTo>
                    <a:pt x="1852805" y="3322926"/>
                    <a:pt x="1856161" y="3326282"/>
                    <a:pt x="1856161" y="3329641"/>
                  </a:cubicBezTo>
                  <a:cubicBezTo>
                    <a:pt x="1856161" y="3332997"/>
                    <a:pt x="1852805" y="3336355"/>
                    <a:pt x="1849448" y="3336355"/>
                  </a:cubicBezTo>
                  <a:cubicBezTo>
                    <a:pt x="1846092" y="3336355"/>
                    <a:pt x="1842735" y="3332997"/>
                    <a:pt x="1842735" y="3329641"/>
                  </a:cubicBezTo>
                  <a:cubicBezTo>
                    <a:pt x="1842735" y="3326282"/>
                    <a:pt x="1846092" y="3322926"/>
                    <a:pt x="1849448" y="3322926"/>
                  </a:cubicBezTo>
                  <a:close/>
                  <a:moveTo>
                    <a:pt x="1369465" y="3316213"/>
                  </a:moveTo>
                  <a:cubicBezTo>
                    <a:pt x="1379534" y="3316213"/>
                    <a:pt x="1389604" y="3326282"/>
                    <a:pt x="1389604" y="3336355"/>
                  </a:cubicBezTo>
                  <a:cubicBezTo>
                    <a:pt x="1389604" y="3346420"/>
                    <a:pt x="1379534" y="3356491"/>
                    <a:pt x="1369465" y="3356491"/>
                  </a:cubicBezTo>
                  <a:cubicBezTo>
                    <a:pt x="1359395" y="3356491"/>
                    <a:pt x="1349326" y="3346420"/>
                    <a:pt x="1349326" y="3336355"/>
                  </a:cubicBezTo>
                  <a:cubicBezTo>
                    <a:pt x="1349326" y="3326282"/>
                    <a:pt x="1359395" y="3316213"/>
                    <a:pt x="1369465" y="3316213"/>
                  </a:cubicBezTo>
                  <a:close/>
                  <a:moveTo>
                    <a:pt x="896193" y="3316213"/>
                  </a:moveTo>
                  <a:cubicBezTo>
                    <a:pt x="909619" y="3316213"/>
                    <a:pt x="919689" y="3326282"/>
                    <a:pt x="919689" y="3339707"/>
                  </a:cubicBezTo>
                  <a:cubicBezTo>
                    <a:pt x="919689" y="3353134"/>
                    <a:pt x="909619" y="3363206"/>
                    <a:pt x="896193" y="3363206"/>
                  </a:cubicBezTo>
                  <a:cubicBezTo>
                    <a:pt x="882767" y="3363206"/>
                    <a:pt x="872697" y="3353134"/>
                    <a:pt x="872697" y="3339707"/>
                  </a:cubicBezTo>
                  <a:cubicBezTo>
                    <a:pt x="872697" y="3326282"/>
                    <a:pt x="882767" y="3316213"/>
                    <a:pt x="896193" y="3316213"/>
                  </a:cubicBezTo>
                  <a:close/>
                  <a:moveTo>
                    <a:pt x="2339502" y="3312859"/>
                  </a:moveTo>
                  <a:cubicBezTo>
                    <a:pt x="2342858" y="3312859"/>
                    <a:pt x="2346215" y="3316213"/>
                    <a:pt x="2346215" y="3319570"/>
                  </a:cubicBezTo>
                  <a:cubicBezTo>
                    <a:pt x="2346215" y="3322926"/>
                    <a:pt x="2342858" y="3326282"/>
                    <a:pt x="2339502" y="3326282"/>
                  </a:cubicBezTo>
                  <a:cubicBezTo>
                    <a:pt x="2336145" y="3326282"/>
                    <a:pt x="2332788" y="3322926"/>
                    <a:pt x="2332788" y="3319570"/>
                  </a:cubicBezTo>
                  <a:cubicBezTo>
                    <a:pt x="2332788" y="3316213"/>
                    <a:pt x="2336145" y="3312859"/>
                    <a:pt x="2339502" y="3312859"/>
                  </a:cubicBezTo>
                  <a:close/>
                  <a:moveTo>
                    <a:pt x="426279" y="3309498"/>
                  </a:moveTo>
                  <a:cubicBezTo>
                    <a:pt x="443062" y="3309498"/>
                    <a:pt x="456488" y="3322926"/>
                    <a:pt x="456488" y="3339707"/>
                  </a:cubicBezTo>
                  <a:cubicBezTo>
                    <a:pt x="456488" y="3356491"/>
                    <a:pt x="443062" y="3369914"/>
                    <a:pt x="426279" y="3369914"/>
                  </a:cubicBezTo>
                  <a:cubicBezTo>
                    <a:pt x="409496" y="3369914"/>
                    <a:pt x="396070" y="3359849"/>
                    <a:pt x="396070" y="3339707"/>
                  </a:cubicBezTo>
                  <a:cubicBezTo>
                    <a:pt x="396070" y="3322926"/>
                    <a:pt x="409496" y="3309498"/>
                    <a:pt x="426279" y="3309498"/>
                  </a:cubicBezTo>
                  <a:close/>
                  <a:moveTo>
                    <a:pt x="167827" y="3232301"/>
                  </a:moveTo>
                  <a:cubicBezTo>
                    <a:pt x="175242" y="3232301"/>
                    <a:pt x="181253" y="3238311"/>
                    <a:pt x="181253" y="3245730"/>
                  </a:cubicBezTo>
                  <a:cubicBezTo>
                    <a:pt x="181253" y="3253143"/>
                    <a:pt x="175242" y="3259154"/>
                    <a:pt x="167827" y="3259154"/>
                  </a:cubicBezTo>
                  <a:cubicBezTo>
                    <a:pt x="160412" y="3259154"/>
                    <a:pt x="154401" y="3253143"/>
                    <a:pt x="154401" y="3245730"/>
                  </a:cubicBezTo>
                  <a:cubicBezTo>
                    <a:pt x="154401" y="3238311"/>
                    <a:pt x="160412" y="3232301"/>
                    <a:pt x="167827" y="3232301"/>
                  </a:cubicBezTo>
                  <a:close/>
                  <a:moveTo>
                    <a:pt x="2054196" y="3222236"/>
                  </a:moveTo>
                  <a:cubicBezTo>
                    <a:pt x="2057552" y="3222236"/>
                    <a:pt x="2060909" y="3225591"/>
                    <a:pt x="2060909" y="3228948"/>
                  </a:cubicBezTo>
                  <a:cubicBezTo>
                    <a:pt x="2060909" y="3232306"/>
                    <a:pt x="2057552" y="3235663"/>
                    <a:pt x="2054196" y="3235663"/>
                  </a:cubicBezTo>
                  <a:cubicBezTo>
                    <a:pt x="2050840" y="3235663"/>
                    <a:pt x="2047483" y="3232306"/>
                    <a:pt x="2047483" y="3228948"/>
                  </a:cubicBezTo>
                  <a:cubicBezTo>
                    <a:pt x="2047483" y="3225591"/>
                    <a:pt x="2050840" y="3222236"/>
                    <a:pt x="2054196" y="3222236"/>
                  </a:cubicBezTo>
                  <a:close/>
                  <a:moveTo>
                    <a:pt x="1574212" y="3215524"/>
                  </a:moveTo>
                  <a:cubicBezTo>
                    <a:pt x="1584282" y="3215524"/>
                    <a:pt x="1594352" y="3225591"/>
                    <a:pt x="1594352" y="3235663"/>
                  </a:cubicBezTo>
                  <a:cubicBezTo>
                    <a:pt x="1594352" y="3245731"/>
                    <a:pt x="1584282" y="3255801"/>
                    <a:pt x="1574212" y="3255801"/>
                  </a:cubicBezTo>
                  <a:cubicBezTo>
                    <a:pt x="1564143" y="3255801"/>
                    <a:pt x="1554073" y="3245731"/>
                    <a:pt x="1554073" y="3235663"/>
                  </a:cubicBezTo>
                  <a:cubicBezTo>
                    <a:pt x="1554073" y="3225591"/>
                    <a:pt x="1564143" y="3215524"/>
                    <a:pt x="1574212" y="3215524"/>
                  </a:cubicBezTo>
                  <a:close/>
                  <a:moveTo>
                    <a:pt x="634384" y="3215524"/>
                  </a:moveTo>
                  <a:cubicBezTo>
                    <a:pt x="647810" y="3215524"/>
                    <a:pt x="661237" y="3228948"/>
                    <a:pt x="661237" y="3242373"/>
                  </a:cubicBezTo>
                  <a:cubicBezTo>
                    <a:pt x="661237" y="3255801"/>
                    <a:pt x="647810" y="3269225"/>
                    <a:pt x="634384" y="3269225"/>
                  </a:cubicBezTo>
                  <a:cubicBezTo>
                    <a:pt x="620958" y="3269225"/>
                    <a:pt x="607532" y="3259158"/>
                    <a:pt x="607532" y="3242373"/>
                  </a:cubicBezTo>
                  <a:cubicBezTo>
                    <a:pt x="607532" y="3228948"/>
                    <a:pt x="620958" y="3215524"/>
                    <a:pt x="634384" y="3215524"/>
                  </a:cubicBezTo>
                  <a:close/>
                  <a:moveTo>
                    <a:pt x="1100942" y="3202095"/>
                  </a:moveTo>
                  <a:cubicBezTo>
                    <a:pt x="1121081" y="3202095"/>
                    <a:pt x="1137864" y="3218877"/>
                    <a:pt x="1137864" y="3239020"/>
                  </a:cubicBezTo>
                  <a:cubicBezTo>
                    <a:pt x="1137864" y="3259158"/>
                    <a:pt x="1121081" y="3275937"/>
                    <a:pt x="1100942" y="3275937"/>
                  </a:cubicBezTo>
                  <a:cubicBezTo>
                    <a:pt x="1080803" y="3275937"/>
                    <a:pt x="1067376" y="3259158"/>
                    <a:pt x="1064020" y="3239020"/>
                  </a:cubicBezTo>
                  <a:cubicBezTo>
                    <a:pt x="1064020" y="3218877"/>
                    <a:pt x="1080803" y="3202095"/>
                    <a:pt x="1100942" y="3202095"/>
                  </a:cubicBezTo>
                  <a:close/>
                  <a:moveTo>
                    <a:pt x="2258945" y="3124895"/>
                  </a:moveTo>
                  <a:cubicBezTo>
                    <a:pt x="2262301" y="3124895"/>
                    <a:pt x="2265658" y="3128252"/>
                    <a:pt x="2265658" y="3131608"/>
                  </a:cubicBezTo>
                  <a:cubicBezTo>
                    <a:pt x="2265658" y="3134964"/>
                    <a:pt x="2262301" y="3138322"/>
                    <a:pt x="2258945" y="3138322"/>
                  </a:cubicBezTo>
                  <a:cubicBezTo>
                    <a:pt x="2255588" y="3138322"/>
                    <a:pt x="2252232" y="3134964"/>
                    <a:pt x="2252232" y="3131608"/>
                  </a:cubicBezTo>
                  <a:cubicBezTo>
                    <a:pt x="2252232" y="3128252"/>
                    <a:pt x="2255588" y="3124895"/>
                    <a:pt x="2258945" y="3124895"/>
                  </a:cubicBezTo>
                  <a:close/>
                  <a:moveTo>
                    <a:pt x="1782318" y="3124895"/>
                  </a:moveTo>
                  <a:cubicBezTo>
                    <a:pt x="1789031" y="3124895"/>
                    <a:pt x="1792387" y="3131608"/>
                    <a:pt x="1792387" y="3134964"/>
                  </a:cubicBezTo>
                  <a:cubicBezTo>
                    <a:pt x="1792387" y="3141678"/>
                    <a:pt x="1785674" y="3145033"/>
                    <a:pt x="1782318" y="3145033"/>
                  </a:cubicBezTo>
                  <a:cubicBezTo>
                    <a:pt x="1775604" y="3145033"/>
                    <a:pt x="1772248" y="3141678"/>
                    <a:pt x="1772248" y="3134964"/>
                  </a:cubicBezTo>
                  <a:cubicBezTo>
                    <a:pt x="1772248" y="3128252"/>
                    <a:pt x="1778961" y="3124895"/>
                    <a:pt x="1782318" y="3124895"/>
                  </a:cubicBezTo>
                  <a:close/>
                  <a:moveTo>
                    <a:pt x="842490" y="3121541"/>
                  </a:moveTo>
                  <a:cubicBezTo>
                    <a:pt x="855916" y="3121541"/>
                    <a:pt x="862629" y="3131608"/>
                    <a:pt x="862629" y="3141679"/>
                  </a:cubicBezTo>
                  <a:cubicBezTo>
                    <a:pt x="862629" y="3151749"/>
                    <a:pt x="852559" y="3161818"/>
                    <a:pt x="842490" y="3161818"/>
                  </a:cubicBezTo>
                  <a:cubicBezTo>
                    <a:pt x="832420" y="3161818"/>
                    <a:pt x="822350" y="3155106"/>
                    <a:pt x="822350" y="3141679"/>
                  </a:cubicBezTo>
                  <a:cubicBezTo>
                    <a:pt x="822350" y="3131608"/>
                    <a:pt x="832420" y="3121541"/>
                    <a:pt x="842490" y="3121541"/>
                  </a:cubicBezTo>
                  <a:close/>
                  <a:moveTo>
                    <a:pt x="1309047" y="3118183"/>
                  </a:moveTo>
                  <a:cubicBezTo>
                    <a:pt x="1322473" y="3118183"/>
                    <a:pt x="1332543" y="3128252"/>
                    <a:pt x="1332543" y="3141679"/>
                  </a:cubicBezTo>
                  <a:cubicBezTo>
                    <a:pt x="1332543" y="3155106"/>
                    <a:pt x="1322473" y="3165175"/>
                    <a:pt x="1309047" y="3165175"/>
                  </a:cubicBezTo>
                  <a:cubicBezTo>
                    <a:pt x="1295621" y="3165175"/>
                    <a:pt x="1285551" y="3155106"/>
                    <a:pt x="1285551" y="3141679"/>
                  </a:cubicBezTo>
                  <a:cubicBezTo>
                    <a:pt x="1285551" y="3128252"/>
                    <a:pt x="1295621" y="3118183"/>
                    <a:pt x="1309047" y="3118183"/>
                  </a:cubicBezTo>
                  <a:close/>
                  <a:moveTo>
                    <a:pt x="379288" y="3118181"/>
                  </a:moveTo>
                  <a:cubicBezTo>
                    <a:pt x="392714" y="3118181"/>
                    <a:pt x="406140" y="3131608"/>
                    <a:pt x="406140" y="3145033"/>
                  </a:cubicBezTo>
                  <a:cubicBezTo>
                    <a:pt x="406140" y="3158461"/>
                    <a:pt x="392714" y="3171888"/>
                    <a:pt x="379288" y="3171888"/>
                  </a:cubicBezTo>
                  <a:cubicBezTo>
                    <a:pt x="362505" y="3171888"/>
                    <a:pt x="352435" y="3158461"/>
                    <a:pt x="352435" y="3145033"/>
                  </a:cubicBezTo>
                  <a:cubicBezTo>
                    <a:pt x="352435" y="3131608"/>
                    <a:pt x="365861" y="3118181"/>
                    <a:pt x="379288" y="3118181"/>
                  </a:cubicBezTo>
                  <a:close/>
                  <a:moveTo>
                    <a:pt x="127548" y="3034265"/>
                  </a:moveTo>
                  <a:cubicBezTo>
                    <a:pt x="134261" y="3034265"/>
                    <a:pt x="137618" y="3040978"/>
                    <a:pt x="137618" y="3044336"/>
                  </a:cubicBezTo>
                  <a:cubicBezTo>
                    <a:pt x="137618" y="3051051"/>
                    <a:pt x="130905" y="3054407"/>
                    <a:pt x="127548" y="3054407"/>
                  </a:cubicBezTo>
                  <a:cubicBezTo>
                    <a:pt x="124192" y="3054407"/>
                    <a:pt x="117479" y="3051051"/>
                    <a:pt x="117479" y="3044336"/>
                  </a:cubicBezTo>
                  <a:cubicBezTo>
                    <a:pt x="117479" y="3037623"/>
                    <a:pt x="124192" y="3034265"/>
                    <a:pt x="127548" y="3034265"/>
                  </a:cubicBezTo>
                  <a:close/>
                  <a:moveTo>
                    <a:pt x="2463694" y="3030915"/>
                  </a:moveTo>
                  <a:cubicBezTo>
                    <a:pt x="2463694" y="3030915"/>
                    <a:pt x="2467050" y="3030915"/>
                    <a:pt x="2467050" y="3034273"/>
                  </a:cubicBezTo>
                  <a:cubicBezTo>
                    <a:pt x="2467050" y="3034273"/>
                    <a:pt x="2467050" y="3037628"/>
                    <a:pt x="2463694" y="3037628"/>
                  </a:cubicBezTo>
                  <a:cubicBezTo>
                    <a:pt x="2460337" y="3037628"/>
                    <a:pt x="2460337" y="3034273"/>
                    <a:pt x="2460337" y="3034273"/>
                  </a:cubicBezTo>
                  <a:cubicBezTo>
                    <a:pt x="2460337" y="3034273"/>
                    <a:pt x="2460337" y="3030915"/>
                    <a:pt x="2463694" y="3030915"/>
                  </a:cubicBezTo>
                  <a:close/>
                  <a:moveTo>
                    <a:pt x="1987066" y="3030915"/>
                  </a:moveTo>
                  <a:cubicBezTo>
                    <a:pt x="1990423" y="3030915"/>
                    <a:pt x="1993779" y="3034273"/>
                    <a:pt x="1993779" y="3037628"/>
                  </a:cubicBezTo>
                  <a:cubicBezTo>
                    <a:pt x="1993779" y="3040986"/>
                    <a:pt x="1990423" y="3044345"/>
                    <a:pt x="1987066" y="3044345"/>
                  </a:cubicBezTo>
                  <a:cubicBezTo>
                    <a:pt x="1983710" y="3044345"/>
                    <a:pt x="1980353" y="3040986"/>
                    <a:pt x="1980353" y="3037628"/>
                  </a:cubicBezTo>
                  <a:cubicBezTo>
                    <a:pt x="1980353" y="3034273"/>
                    <a:pt x="1983710" y="3030915"/>
                    <a:pt x="1987066" y="3030915"/>
                  </a:cubicBezTo>
                  <a:close/>
                  <a:moveTo>
                    <a:pt x="1517151" y="3027560"/>
                  </a:moveTo>
                  <a:cubicBezTo>
                    <a:pt x="1523864" y="3027560"/>
                    <a:pt x="1530577" y="3034273"/>
                    <a:pt x="1530577" y="3040986"/>
                  </a:cubicBezTo>
                  <a:cubicBezTo>
                    <a:pt x="1530577" y="3047699"/>
                    <a:pt x="1523864" y="3054413"/>
                    <a:pt x="1517151" y="3054413"/>
                  </a:cubicBezTo>
                  <a:cubicBezTo>
                    <a:pt x="1510438" y="3054413"/>
                    <a:pt x="1503725" y="3051057"/>
                    <a:pt x="1503725" y="3040986"/>
                  </a:cubicBezTo>
                  <a:cubicBezTo>
                    <a:pt x="1503725" y="3034273"/>
                    <a:pt x="1510438" y="3027560"/>
                    <a:pt x="1517151" y="3027560"/>
                  </a:cubicBezTo>
                  <a:close/>
                  <a:moveTo>
                    <a:pt x="587393" y="3020845"/>
                  </a:moveTo>
                  <a:cubicBezTo>
                    <a:pt x="600819" y="3020845"/>
                    <a:pt x="610889" y="3030915"/>
                    <a:pt x="610889" y="3044341"/>
                  </a:cubicBezTo>
                  <a:cubicBezTo>
                    <a:pt x="610889" y="3057770"/>
                    <a:pt x="600819" y="3067838"/>
                    <a:pt x="587393" y="3067838"/>
                  </a:cubicBezTo>
                  <a:cubicBezTo>
                    <a:pt x="577323" y="3067838"/>
                    <a:pt x="563897" y="3057770"/>
                    <a:pt x="563897" y="3044341"/>
                  </a:cubicBezTo>
                  <a:cubicBezTo>
                    <a:pt x="563897" y="3030915"/>
                    <a:pt x="573967" y="3020845"/>
                    <a:pt x="587393" y="3020845"/>
                  </a:cubicBezTo>
                  <a:close/>
                  <a:moveTo>
                    <a:pt x="1050594" y="3017489"/>
                  </a:moveTo>
                  <a:cubicBezTo>
                    <a:pt x="1064020" y="3017489"/>
                    <a:pt x="1077446" y="3030915"/>
                    <a:pt x="1077446" y="3044345"/>
                  </a:cubicBezTo>
                  <a:cubicBezTo>
                    <a:pt x="1077446" y="3057770"/>
                    <a:pt x="1064020" y="3071196"/>
                    <a:pt x="1050594" y="3071196"/>
                  </a:cubicBezTo>
                  <a:cubicBezTo>
                    <a:pt x="1037168" y="3071196"/>
                    <a:pt x="1023741" y="3057770"/>
                    <a:pt x="1023741" y="3044345"/>
                  </a:cubicBezTo>
                  <a:cubicBezTo>
                    <a:pt x="1023741" y="3030915"/>
                    <a:pt x="1037168" y="3017489"/>
                    <a:pt x="1050594" y="3017489"/>
                  </a:cubicBezTo>
                  <a:close/>
                  <a:moveTo>
                    <a:pt x="2195170" y="2930223"/>
                  </a:moveTo>
                  <a:cubicBezTo>
                    <a:pt x="2198527" y="2930223"/>
                    <a:pt x="2201884" y="2933579"/>
                    <a:pt x="2201884" y="2936935"/>
                  </a:cubicBezTo>
                  <a:cubicBezTo>
                    <a:pt x="2201884" y="2940292"/>
                    <a:pt x="2198527" y="2943649"/>
                    <a:pt x="2195170" y="2943649"/>
                  </a:cubicBezTo>
                  <a:cubicBezTo>
                    <a:pt x="2191814" y="2943649"/>
                    <a:pt x="2188458" y="2940292"/>
                    <a:pt x="2188458" y="2936935"/>
                  </a:cubicBezTo>
                  <a:cubicBezTo>
                    <a:pt x="2188458" y="2933579"/>
                    <a:pt x="2191814" y="2930223"/>
                    <a:pt x="2195170" y="2930223"/>
                  </a:cubicBezTo>
                  <a:close/>
                  <a:moveTo>
                    <a:pt x="1725256" y="2930223"/>
                  </a:moveTo>
                  <a:cubicBezTo>
                    <a:pt x="1731970" y="2930223"/>
                    <a:pt x="1735326" y="2933579"/>
                    <a:pt x="1735326" y="2940292"/>
                  </a:cubicBezTo>
                  <a:cubicBezTo>
                    <a:pt x="1735326" y="2947003"/>
                    <a:pt x="1728613" y="2950360"/>
                    <a:pt x="1725256" y="2950360"/>
                  </a:cubicBezTo>
                  <a:cubicBezTo>
                    <a:pt x="1721900" y="2950360"/>
                    <a:pt x="1715187" y="2947003"/>
                    <a:pt x="1715187" y="2940292"/>
                  </a:cubicBezTo>
                  <a:cubicBezTo>
                    <a:pt x="1715187" y="2933579"/>
                    <a:pt x="1718543" y="2930223"/>
                    <a:pt x="1725256" y="2930223"/>
                  </a:cubicBezTo>
                  <a:close/>
                  <a:moveTo>
                    <a:pt x="1262056" y="2926865"/>
                  </a:moveTo>
                  <a:cubicBezTo>
                    <a:pt x="1272125" y="2926865"/>
                    <a:pt x="1278838" y="2933579"/>
                    <a:pt x="1278838" y="2943649"/>
                  </a:cubicBezTo>
                  <a:cubicBezTo>
                    <a:pt x="1278838" y="2953717"/>
                    <a:pt x="1272125" y="2960431"/>
                    <a:pt x="1262056" y="2960431"/>
                  </a:cubicBezTo>
                  <a:cubicBezTo>
                    <a:pt x="1251986" y="2960431"/>
                    <a:pt x="1245273" y="2953717"/>
                    <a:pt x="1245273" y="2943649"/>
                  </a:cubicBezTo>
                  <a:cubicBezTo>
                    <a:pt x="1245273" y="2933579"/>
                    <a:pt x="1251986" y="2926865"/>
                    <a:pt x="1262056" y="2926865"/>
                  </a:cubicBezTo>
                  <a:close/>
                  <a:moveTo>
                    <a:pt x="798855" y="2923508"/>
                  </a:moveTo>
                  <a:cubicBezTo>
                    <a:pt x="808924" y="2923508"/>
                    <a:pt x="818994" y="2933579"/>
                    <a:pt x="818994" y="2943649"/>
                  </a:cubicBezTo>
                  <a:cubicBezTo>
                    <a:pt x="818994" y="2953717"/>
                    <a:pt x="808924" y="2963787"/>
                    <a:pt x="798855" y="2963787"/>
                  </a:cubicBezTo>
                  <a:cubicBezTo>
                    <a:pt x="788785" y="2963787"/>
                    <a:pt x="782072" y="2953717"/>
                    <a:pt x="778715" y="2943649"/>
                  </a:cubicBezTo>
                  <a:cubicBezTo>
                    <a:pt x="778715" y="2933579"/>
                    <a:pt x="788785" y="2923508"/>
                    <a:pt x="798855" y="2923508"/>
                  </a:cubicBezTo>
                  <a:close/>
                  <a:moveTo>
                    <a:pt x="339009" y="2916791"/>
                  </a:moveTo>
                  <a:cubicBezTo>
                    <a:pt x="355792" y="2916791"/>
                    <a:pt x="365861" y="2930217"/>
                    <a:pt x="365861" y="2943643"/>
                  </a:cubicBezTo>
                  <a:cubicBezTo>
                    <a:pt x="365861" y="2957069"/>
                    <a:pt x="352435" y="2970495"/>
                    <a:pt x="339009" y="2970495"/>
                  </a:cubicBezTo>
                  <a:cubicBezTo>
                    <a:pt x="325583" y="2970495"/>
                    <a:pt x="315513" y="2960427"/>
                    <a:pt x="312157" y="2943643"/>
                  </a:cubicBezTo>
                  <a:cubicBezTo>
                    <a:pt x="312157" y="2930217"/>
                    <a:pt x="325583" y="2916791"/>
                    <a:pt x="339009" y="2916791"/>
                  </a:cubicBezTo>
                  <a:close/>
                  <a:moveTo>
                    <a:pt x="97340" y="2839587"/>
                  </a:moveTo>
                  <a:cubicBezTo>
                    <a:pt x="100696" y="2839587"/>
                    <a:pt x="104053" y="2842943"/>
                    <a:pt x="104053" y="2846299"/>
                  </a:cubicBezTo>
                  <a:cubicBezTo>
                    <a:pt x="104053" y="2849658"/>
                    <a:pt x="100696" y="2853013"/>
                    <a:pt x="97340" y="2853013"/>
                  </a:cubicBezTo>
                  <a:cubicBezTo>
                    <a:pt x="93983" y="2853013"/>
                    <a:pt x="90626" y="2849658"/>
                    <a:pt x="90626" y="2846299"/>
                  </a:cubicBezTo>
                  <a:cubicBezTo>
                    <a:pt x="90626" y="2842943"/>
                    <a:pt x="93983" y="2839587"/>
                    <a:pt x="97340" y="2839587"/>
                  </a:cubicBezTo>
                  <a:close/>
                  <a:moveTo>
                    <a:pt x="1933362" y="2836241"/>
                  </a:moveTo>
                  <a:cubicBezTo>
                    <a:pt x="1936718" y="2836241"/>
                    <a:pt x="1940075" y="2839599"/>
                    <a:pt x="1940075" y="2842956"/>
                  </a:cubicBezTo>
                  <a:cubicBezTo>
                    <a:pt x="1940075" y="2846311"/>
                    <a:pt x="1936718" y="2849666"/>
                    <a:pt x="1933362" y="2849666"/>
                  </a:cubicBezTo>
                  <a:cubicBezTo>
                    <a:pt x="1930005" y="2849666"/>
                    <a:pt x="1926649" y="2846311"/>
                    <a:pt x="1926649" y="2842956"/>
                  </a:cubicBezTo>
                  <a:cubicBezTo>
                    <a:pt x="1926649" y="2839599"/>
                    <a:pt x="1930005" y="2836241"/>
                    <a:pt x="1933362" y="2836241"/>
                  </a:cubicBezTo>
                  <a:close/>
                  <a:moveTo>
                    <a:pt x="1473516" y="2829530"/>
                  </a:moveTo>
                  <a:cubicBezTo>
                    <a:pt x="1480932" y="2829530"/>
                    <a:pt x="1486942" y="2835540"/>
                    <a:pt x="1486942" y="2842956"/>
                  </a:cubicBezTo>
                  <a:cubicBezTo>
                    <a:pt x="1486942" y="2850371"/>
                    <a:pt x="1480932" y="2856382"/>
                    <a:pt x="1473516" y="2856382"/>
                  </a:cubicBezTo>
                  <a:cubicBezTo>
                    <a:pt x="1466101" y="2856382"/>
                    <a:pt x="1460090" y="2850371"/>
                    <a:pt x="1460090" y="2842956"/>
                  </a:cubicBezTo>
                  <a:cubicBezTo>
                    <a:pt x="1460090" y="2835540"/>
                    <a:pt x="1466101" y="2829530"/>
                    <a:pt x="1473516" y="2829530"/>
                  </a:cubicBezTo>
                  <a:close/>
                  <a:moveTo>
                    <a:pt x="553827" y="2829526"/>
                  </a:moveTo>
                  <a:cubicBezTo>
                    <a:pt x="563096" y="2829526"/>
                    <a:pt x="570610" y="2837041"/>
                    <a:pt x="570610" y="2846311"/>
                  </a:cubicBezTo>
                  <a:cubicBezTo>
                    <a:pt x="570610" y="2855577"/>
                    <a:pt x="563096" y="2863090"/>
                    <a:pt x="553827" y="2863090"/>
                  </a:cubicBezTo>
                  <a:cubicBezTo>
                    <a:pt x="544559" y="2863090"/>
                    <a:pt x="537045" y="2855577"/>
                    <a:pt x="537045" y="2846311"/>
                  </a:cubicBezTo>
                  <a:cubicBezTo>
                    <a:pt x="537045" y="2837041"/>
                    <a:pt x="544559" y="2829526"/>
                    <a:pt x="553827" y="2829526"/>
                  </a:cubicBezTo>
                  <a:close/>
                  <a:moveTo>
                    <a:pt x="1013672" y="2822817"/>
                  </a:moveTo>
                  <a:cubicBezTo>
                    <a:pt x="1027098" y="2822817"/>
                    <a:pt x="1037168" y="2832887"/>
                    <a:pt x="1037168" y="2846311"/>
                  </a:cubicBezTo>
                  <a:cubicBezTo>
                    <a:pt x="1037168" y="2859738"/>
                    <a:pt x="1027098" y="2869806"/>
                    <a:pt x="1013672" y="2869806"/>
                  </a:cubicBezTo>
                  <a:cubicBezTo>
                    <a:pt x="1000246" y="2869806"/>
                    <a:pt x="986820" y="2856382"/>
                    <a:pt x="990176" y="2846311"/>
                  </a:cubicBezTo>
                  <a:cubicBezTo>
                    <a:pt x="990176" y="2832887"/>
                    <a:pt x="1000246" y="2822817"/>
                    <a:pt x="1013672" y="2822817"/>
                  </a:cubicBezTo>
                  <a:close/>
                  <a:moveTo>
                    <a:pt x="2144822" y="2735548"/>
                  </a:moveTo>
                  <a:cubicBezTo>
                    <a:pt x="2148179" y="2735548"/>
                    <a:pt x="2151536" y="2738904"/>
                    <a:pt x="2151536" y="2742260"/>
                  </a:cubicBezTo>
                  <a:cubicBezTo>
                    <a:pt x="2151536" y="2745618"/>
                    <a:pt x="2148179" y="2748973"/>
                    <a:pt x="2144822" y="2748973"/>
                  </a:cubicBezTo>
                  <a:cubicBezTo>
                    <a:pt x="2141466" y="2748973"/>
                    <a:pt x="2138110" y="2745618"/>
                    <a:pt x="2138110" y="2742260"/>
                  </a:cubicBezTo>
                  <a:cubicBezTo>
                    <a:pt x="2138110" y="2738904"/>
                    <a:pt x="2141466" y="2735548"/>
                    <a:pt x="2144822" y="2735548"/>
                  </a:cubicBezTo>
                  <a:close/>
                  <a:moveTo>
                    <a:pt x="1684978" y="2732191"/>
                  </a:moveTo>
                  <a:cubicBezTo>
                    <a:pt x="1691691" y="2732191"/>
                    <a:pt x="1695048" y="2738904"/>
                    <a:pt x="1695048" y="2742260"/>
                  </a:cubicBezTo>
                  <a:cubicBezTo>
                    <a:pt x="1695048" y="2748973"/>
                    <a:pt x="1688335" y="2752334"/>
                    <a:pt x="1684978" y="2752334"/>
                  </a:cubicBezTo>
                  <a:cubicBezTo>
                    <a:pt x="1678265" y="2752334"/>
                    <a:pt x="1674908" y="2748973"/>
                    <a:pt x="1674908" y="2742260"/>
                  </a:cubicBezTo>
                  <a:cubicBezTo>
                    <a:pt x="1674908" y="2735548"/>
                    <a:pt x="1678265" y="2732191"/>
                    <a:pt x="1684978" y="2732191"/>
                  </a:cubicBezTo>
                  <a:close/>
                  <a:moveTo>
                    <a:pt x="1225134" y="2725478"/>
                  </a:moveTo>
                  <a:cubicBezTo>
                    <a:pt x="1235203" y="2725478"/>
                    <a:pt x="1241916" y="2732191"/>
                    <a:pt x="1241916" y="2742260"/>
                  </a:cubicBezTo>
                  <a:cubicBezTo>
                    <a:pt x="1241916" y="2752334"/>
                    <a:pt x="1235203" y="2759042"/>
                    <a:pt x="1225134" y="2759042"/>
                  </a:cubicBezTo>
                  <a:cubicBezTo>
                    <a:pt x="1215064" y="2759042"/>
                    <a:pt x="1208351" y="2752334"/>
                    <a:pt x="1208351" y="2742260"/>
                  </a:cubicBezTo>
                  <a:cubicBezTo>
                    <a:pt x="1208351" y="2732191"/>
                    <a:pt x="1215064" y="2725478"/>
                    <a:pt x="1225134" y="2725478"/>
                  </a:cubicBezTo>
                  <a:close/>
                  <a:moveTo>
                    <a:pt x="312157" y="2722116"/>
                  </a:moveTo>
                  <a:cubicBezTo>
                    <a:pt x="325583" y="2722116"/>
                    <a:pt x="335653" y="2732185"/>
                    <a:pt x="335653" y="2745613"/>
                  </a:cubicBezTo>
                  <a:cubicBezTo>
                    <a:pt x="335653" y="2759038"/>
                    <a:pt x="325583" y="2769105"/>
                    <a:pt x="312157" y="2769105"/>
                  </a:cubicBezTo>
                  <a:cubicBezTo>
                    <a:pt x="298731" y="2769105"/>
                    <a:pt x="288661" y="2759038"/>
                    <a:pt x="288661" y="2745613"/>
                  </a:cubicBezTo>
                  <a:cubicBezTo>
                    <a:pt x="288661" y="2732185"/>
                    <a:pt x="298731" y="2722116"/>
                    <a:pt x="312157" y="2722116"/>
                  </a:cubicBezTo>
                  <a:close/>
                  <a:moveTo>
                    <a:pt x="768646" y="2718764"/>
                  </a:moveTo>
                  <a:cubicBezTo>
                    <a:pt x="782072" y="2718764"/>
                    <a:pt x="795498" y="2728835"/>
                    <a:pt x="795498" y="2742260"/>
                  </a:cubicBezTo>
                  <a:cubicBezTo>
                    <a:pt x="795498" y="2755687"/>
                    <a:pt x="782072" y="2769113"/>
                    <a:pt x="768646" y="2769113"/>
                  </a:cubicBezTo>
                  <a:cubicBezTo>
                    <a:pt x="751863" y="2769113"/>
                    <a:pt x="741793" y="2759042"/>
                    <a:pt x="741793" y="2745618"/>
                  </a:cubicBezTo>
                  <a:cubicBezTo>
                    <a:pt x="741793" y="2732191"/>
                    <a:pt x="755220" y="2718764"/>
                    <a:pt x="768646" y="2718764"/>
                  </a:cubicBezTo>
                  <a:close/>
                  <a:moveTo>
                    <a:pt x="73844" y="2641550"/>
                  </a:moveTo>
                  <a:cubicBezTo>
                    <a:pt x="73844" y="2641550"/>
                    <a:pt x="77200" y="2641550"/>
                    <a:pt x="77200" y="2644906"/>
                  </a:cubicBezTo>
                  <a:cubicBezTo>
                    <a:pt x="77200" y="2644906"/>
                    <a:pt x="77200" y="2648264"/>
                    <a:pt x="73844" y="2648264"/>
                  </a:cubicBezTo>
                  <a:cubicBezTo>
                    <a:pt x="70487" y="2648264"/>
                    <a:pt x="70487" y="2644906"/>
                    <a:pt x="70487" y="2644906"/>
                  </a:cubicBezTo>
                  <a:cubicBezTo>
                    <a:pt x="70487" y="2644906"/>
                    <a:pt x="70487" y="2641550"/>
                    <a:pt x="73844" y="2641550"/>
                  </a:cubicBezTo>
                  <a:close/>
                  <a:moveTo>
                    <a:pt x="1896440" y="2634851"/>
                  </a:moveTo>
                  <a:cubicBezTo>
                    <a:pt x="1899796" y="2634851"/>
                    <a:pt x="1903153" y="2638204"/>
                    <a:pt x="1903153" y="2641566"/>
                  </a:cubicBezTo>
                  <a:cubicBezTo>
                    <a:pt x="1903153" y="2644917"/>
                    <a:pt x="1899796" y="2648275"/>
                    <a:pt x="1896440" y="2648275"/>
                  </a:cubicBezTo>
                  <a:cubicBezTo>
                    <a:pt x="1893083" y="2648275"/>
                    <a:pt x="1889727" y="2644917"/>
                    <a:pt x="1889727" y="2641566"/>
                  </a:cubicBezTo>
                  <a:cubicBezTo>
                    <a:pt x="1889727" y="2638204"/>
                    <a:pt x="1893083" y="2634851"/>
                    <a:pt x="1896440" y="2634851"/>
                  </a:cubicBezTo>
                  <a:close/>
                  <a:moveTo>
                    <a:pt x="1439952" y="2624778"/>
                  </a:moveTo>
                  <a:cubicBezTo>
                    <a:pt x="1450022" y="2624778"/>
                    <a:pt x="1456735" y="2631495"/>
                    <a:pt x="1456735" y="2641566"/>
                  </a:cubicBezTo>
                  <a:cubicBezTo>
                    <a:pt x="1456735" y="2651632"/>
                    <a:pt x="1450022" y="2658342"/>
                    <a:pt x="1439952" y="2658342"/>
                  </a:cubicBezTo>
                  <a:cubicBezTo>
                    <a:pt x="1429882" y="2658342"/>
                    <a:pt x="1423169" y="2651632"/>
                    <a:pt x="1423169" y="2641566"/>
                  </a:cubicBezTo>
                  <a:cubicBezTo>
                    <a:pt x="1423169" y="2631495"/>
                    <a:pt x="1429882" y="2624778"/>
                    <a:pt x="1439952" y="2624778"/>
                  </a:cubicBezTo>
                  <a:close/>
                  <a:moveTo>
                    <a:pt x="983463" y="2621425"/>
                  </a:moveTo>
                  <a:cubicBezTo>
                    <a:pt x="996889" y="2621425"/>
                    <a:pt x="1006959" y="2631495"/>
                    <a:pt x="1006959" y="2644917"/>
                  </a:cubicBezTo>
                  <a:cubicBezTo>
                    <a:pt x="1006959" y="2658342"/>
                    <a:pt x="996889" y="2668417"/>
                    <a:pt x="983463" y="2668417"/>
                  </a:cubicBezTo>
                  <a:cubicBezTo>
                    <a:pt x="970037" y="2668417"/>
                    <a:pt x="959967" y="2658342"/>
                    <a:pt x="959967" y="2644917"/>
                  </a:cubicBezTo>
                  <a:cubicBezTo>
                    <a:pt x="959967" y="2631495"/>
                    <a:pt x="970037" y="2621425"/>
                    <a:pt x="983463" y="2621425"/>
                  </a:cubicBezTo>
                  <a:close/>
                  <a:moveTo>
                    <a:pt x="526975" y="2621421"/>
                  </a:moveTo>
                  <a:cubicBezTo>
                    <a:pt x="537045" y="2621421"/>
                    <a:pt x="547114" y="2631488"/>
                    <a:pt x="547114" y="2641560"/>
                  </a:cubicBezTo>
                  <a:cubicBezTo>
                    <a:pt x="547114" y="2654983"/>
                    <a:pt x="537045" y="2661700"/>
                    <a:pt x="526975" y="2661700"/>
                  </a:cubicBezTo>
                  <a:cubicBezTo>
                    <a:pt x="516906" y="2661700"/>
                    <a:pt x="510192" y="2654983"/>
                    <a:pt x="506836" y="2641560"/>
                  </a:cubicBezTo>
                  <a:cubicBezTo>
                    <a:pt x="506836" y="2631488"/>
                    <a:pt x="516906" y="2621421"/>
                    <a:pt x="526975" y="2621421"/>
                  </a:cubicBezTo>
                  <a:close/>
                  <a:moveTo>
                    <a:pt x="2111257" y="2540868"/>
                  </a:moveTo>
                  <a:cubicBezTo>
                    <a:pt x="2111257" y="2540868"/>
                    <a:pt x="2114614" y="2540868"/>
                    <a:pt x="2114614" y="2544225"/>
                  </a:cubicBezTo>
                  <a:cubicBezTo>
                    <a:pt x="2114614" y="2544225"/>
                    <a:pt x="2114614" y="2547584"/>
                    <a:pt x="2111257" y="2547584"/>
                  </a:cubicBezTo>
                  <a:cubicBezTo>
                    <a:pt x="2107900" y="2547584"/>
                    <a:pt x="2107900" y="2544225"/>
                    <a:pt x="2107900" y="2544225"/>
                  </a:cubicBezTo>
                  <a:cubicBezTo>
                    <a:pt x="2107900" y="2544225"/>
                    <a:pt x="2107900" y="2540868"/>
                    <a:pt x="2111257" y="2540868"/>
                  </a:cubicBezTo>
                  <a:close/>
                  <a:moveTo>
                    <a:pt x="1654769" y="2537512"/>
                  </a:moveTo>
                  <a:cubicBezTo>
                    <a:pt x="1658126" y="2537512"/>
                    <a:pt x="1661482" y="2540868"/>
                    <a:pt x="1661482" y="2544225"/>
                  </a:cubicBezTo>
                  <a:cubicBezTo>
                    <a:pt x="1661482" y="2547584"/>
                    <a:pt x="1658126" y="2550939"/>
                    <a:pt x="1654769" y="2550939"/>
                  </a:cubicBezTo>
                  <a:cubicBezTo>
                    <a:pt x="1651413" y="2550939"/>
                    <a:pt x="1648056" y="2547584"/>
                    <a:pt x="1648056" y="2544225"/>
                  </a:cubicBezTo>
                  <a:cubicBezTo>
                    <a:pt x="1648056" y="2540868"/>
                    <a:pt x="1651413" y="2537512"/>
                    <a:pt x="1654769" y="2537512"/>
                  </a:cubicBezTo>
                  <a:close/>
                  <a:moveTo>
                    <a:pt x="1201638" y="2524085"/>
                  </a:moveTo>
                  <a:cubicBezTo>
                    <a:pt x="1211708" y="2524085"/>
                    <a:pt x="1218421" y="2530799"/>
                    <a:pt x="1218421" y="2540868"/>
                  </a:cubicBezTo>
                  <a:cubicBezTo>
                    <a:pt x="1218421" y="2550939"/>
                    <a:pt x="1211708" y="2557650"/>
                    <a:pt x="1201638" y="2557650"/>
                  </a:cubicBezTo>
                  <a:cubicBezTo>
                    <a:pt x="1191568" y="2557650"/>
                    <a:pt x="1184855" y="2550939"/>
                    <a:pt x="1184855" y="2540868"/>
                  </a:cubicBezTo>
                  <a:cubicBezTo>
                    <a:pt x="1184855" y="2530799"/>
                    <a:pt x="1191568" y="2524085"/>
                    <a:pt x="1201638" y="2524085"/>
                  </a:cubicBezTo>
                  <a:close/>
                  <a:moveTo>
                    <a:pt x="745150" y="2524085"/>
                  </a:moveTo>
                  <a:cubicBezTo>
                    <a:pt x="755220" y="2524085"/>
                    <a:pt x="765289" y="2534154"/>
                    <a:pt x="765289" y="2544223"/>
                  </a:cubicBezTo>
                  <a:cubicBezTo>
                    <a:pt x="765289" y="2554295"/>
                    <a:pt x="755220" y="2564366"/>
                    <a:pt x="745150" y="2564366"/>
                  </a:cubicBezTo>
                  <a:cubicBezTo>
                    <a:pt x="735080" y="2564366"/>
                    <a:pt x="725011" y="2554295"/>
                    <a:pt x="725011" y="2544223"/>
                  </a:cubicBezTo>
                  <a:cubicBezTo>
                    <a:pt x="725011" y="2534154"/>
                    <a:pt x="735080" y="2524085"/>
                    <a:pt x="745150" y="2524085"/>
                  </a:cubicBezTo>
                  <a:close/>
                  <a:moveTo>
                    <a:pt x="292018" y="2520725"/>
                  </a:moveTo>
                  <a:cubicBezTo>
                    <a:pt x="305444" y="2520725"/>
                    <a:pt x="315513" y="2530794"/>
                    <a:pt x="315513" y="2544222"/>
                  </a:cubicBezTo>
                  <a:cubicBezTo>
                    <a:pt x="315513" y="2557647"/>
                    <a:pt x="305444" y="2567717"/>
                    <a:pt x="292018" y="2567717"/>
                  </a:cubicBezTo>
                  <a:cubicBezTo>
                    <a:pt x="278591" y="2567717"/>
                    <a:pt x="268522" y="2554293"/>
                    <a:pt x="268522" y="2544222"/>
                  </a:cubicBezTo>
                  <a:cubicBezTo>
                    <a:pt x="268522" y="2530794"/>
                    <a:pt x="278591" y="2520725"/>
                    <a:pt x="292018" y="2520725"/>
                  </a:cubicBezTo>
                  <a:close/>
                  <a:moveTo>
                    <a:pt x="60418" y="2440158"/>
                  </a:moveTo>
                  <a:cubicBezTo>
                    <a:pt x="60418" y="2440158"/>
                    <a:pt x="63774" y="2440158"/>
                    <a:pt x="60418" y="2443514"/>
                  </a:cubicBezTo>
                  <a:cubicBezTo>
                    <a:pt x="57061" y="2440158"/>
                    <a:pt x="57061" y="2440158"/>
                    <a:pt x="60418" y="2440158"/>
                  </a:cubicBezTo>
                  <a:close/>
                  <a:moveTo>
                    <a:pt x="1872944" y="2433454"/>
                  </a:moveTo>
                  <a:cubicBezTo>
                    <a:pt x="1876301" y="2433454"/>
                    <a:pt x="1879657" y="2436812"/>
                    <a:pt x="1879657" y="2440170"/>
                  </a:cubicBezTo>
                  <a:cubicBezTo>
                    <a:pt x="1879657" y="2443526"/>
                    <a:pt x="1876301" y="2446884"/>
                    <a:pt x="1872944" y="2446884"/>
                  </a:cubicBezTo>
                  <a:cubicBezTo>
                    <a:pt x="1869588" y="2446884"/>
                    <a:pt x="1866231" y="2443526"/>
                    <a:pt x="1866231" y="2440170"/>
                  </a:cubicBezTo>
                  <a:cubicBezTo>
                    <a:pt x="1866231" y="2436812"/>
                    <a:pt x="1869588" y="2433454"/>
                    <a:pt x="1872944" y="2433454"/>
                  </a:cubicBezTo>
                  <a:close/>
                  <a:moveTo>
                    <a:pt x="1419813" y="2426743"/>
                  </a:moveTo>
                  <a:cubicBezTo>
                    <a:pt x="1426526" y="2426743"/>
                    <a:pt x="1433239" y="2433454"/>
                    <a:pt x="1433239" y="2440170"/>
                  </a:cubicBezTo>
                  <a:cubicBezTo>
                    <a:pt x="1433239" y="2446884"/>
                    <a:pt x="1426526" y="2453597"/>
                    <a:pt x="1419813" y="2453597"/>
                  </a:cubicBezTo>
                  <a:cubicBezTo>
                    <a:pt x="1413100" y="2453597"/>
                    <a:pt x="1409743" y="2446884"/>
                    <a:pt x="1406387" y="2440170"/>
                  </a:cubicBezTo>
                  <a:cubicBezTo>
                    <a:pt x="1406387" y="2433454"/>
                    <a:pt x="1413100" y="2426743"/>
                    <a:pt x="1419813" y="2426743"/>
                  </a:cubicBezTo>
                  <a:close/>
                  <a:moveTo>
                    <a:pt x="513549" y="2423383"/>
                  </a:moveTo>
                  <a:cubicBezTo>
                    <a:pt x="522818" y="2423383"/>
                    <a:pt x="530332" y="2430897"/>
                    <a:pt x="530332" y="2440166"/>
                  </a:cubicBezTo>
                  <a:cubicBezTo>
                    <a:pt x="530332" y="2449436"/>
                    <a:pt x="522818" y="2456950"/>
                    <a:pt x="513549" y="2456950"/>
                  </a:cubicBezTo>
                  <a:cubicBezTo>
                    <a:pt x="504280" y="2456950"/>
                    <a:pt x="496766" y="2449436"/>
                    <a:pt x="496766" y="2440166"/>
                  </a:cubicBezTo>
                  <a:cubicBezTo>
                    <a:pt x="496766" y="2430897"/>
                    <a:pt x="504280" y="2423383"/>
                    <a:pt x="513549" y="2423383"/>
                  </a:cubicBezTo>
                  <a:close/>
                  <a:moveTo>
                    <a:pt x="966680" y="2416672"/>
                  </a:moveTo>
                  <a:cubicBezTo>
                    <a:pt x="980106" y="2416672"/>
                    <a:pt x="990176" y="2426743"/>
                    <a:pt x="990176" y="2440170"/>
                  </a:cubicBezTo>
                  <a:cubicBezTo>
                    <a:pt x="990176" y="2453597"/>
                    <a:pt x="980106" y="2463667"/>
                    <a:pt x="966680" y="2463667"/>
                  </a:cubicBezTo>
                  <a:cubicBezTo>
                    <a:pt x="953254" y="2463667"/>
                    <a:pt x="943185" y="2453597"/>
                    <a:pt x="943185" y="2440170"/>
                  </a:cubicBezTo>
                  <a:cubicBezTo>
                    <a:pt x="943185" y="2426743"/>
                    <a:pt x="953254" y="2416672"/>
                    <a:pt x="966680" y="2416672"/>
                  </a:cubicBezTo>
                  <a:close/>
                  <a:moveTo>
                    <a:pt x="2094474" y="2336109"/>
                  </a:moveTo>
                  <a:cubicBezTo>
                    <a:pt x="2094474" y="2336109"/>
                    <a:pt x="2097831" y="2339466"/>
                    <a:pt x="2094474" y="2342822"/>
                  </a:cubicBezTo>
                  <a:cubicBezTo>
                    <a:pt x="2091118" y="2336109"/>
                    <a:pt x="2094474" y="2336109"/>
                    <a:pt x="2094474" y="2336109"/>
                  </a:cubicBezTo>
                  <a:close/>
                  <a:moveTo>
                    <a:pt x="1641343" y="2336109"/>
                  </a:moveTo>
                  <a:cubicBezTo>
                    <a:pt x="1641343" y="2336109"/>
                    <a:pt x="1644700" y="2336109"/>
                    <a:pt x="1644700" y="2339466"/>
                  </a:cubicBezTo>
                  <a:cubicBezTo>
                    <a:pt x="1644700" y="2339466"/>
                    <a:pt x="1644700" y="2342822"/>
                    <a:pt x="1641343" y="2342822"/>
                  </a:cubicBezTo>
                  <a:cubicBezTo>
                    <a:pt x="1637986" y="2342822"/>
                    <a:pt x="1637986" y="2342822"/>
                    <a:pt x="1637986" y="2339466"/>
                  </a:cubicBezTo>
                  <a:cubicBezTo>
                    <a:pt x="1637986" y="2339466"/>
                    <a:pt x="1637986" y="2336109"/>
                    <a:pt x="1641343" y="2336109"/>
                  </a:cubicBezTo>
                  <a:close/>
                  <a:moveTo>
                    <a:pt x="1188212" y="2322682"/>
                  </a:moveTo>
                  <a:cubicBezTo>
                    <a:pt x="1198281" y="2322682"/>
                    <a:pt x="1204994" y="2329396"/>
                    <a:pt x="1204994" y="2339466"/>
                  </a:cubicBezTo>
                  <a:cubicBezTo>
                    <a:pt x="1204994" y="2349537"/>
                    <a:pt x="1198281" y="2356250"/>
                    <a:pt x="1188212" y="2356250"/>
                  </a:cubicBezTo>
                  <a:cubicBezTo>
                    <a:pt x="1181499" y="2356250"/>
                    <a:pt x="1171429" y="2349537"/>
                    <a:pt x="1171429" y="2339466"/>
                  </a:cubicBezTo>
                  <a:cubicBezTo>
                    <a:pt x="1171429" y="2329396"/>
                    <a:pt x="1178142" y="2322682"/>
                    <a:pt x="1188212" y="2322682"/>
                  </a:cubicBezTo>
                  <a:close/>
                  <a:moveTo>
                    <a:pt x="281948" y="2322679"/>
                  </a:moveTo>
                  <a:cubicBezTo>
                    <a:pt x="292018" y="2322679"/>
                    <a:pt x="298731" y="2329390"/>
                    <a:pt x="298731" y="2339461"/>
                  </a:cubicBezTo>
                  <a:cubicBezTo>
                    <a:pt x="298731" y="2349533"/>
                    <a:pt x="292018" y="2356245"/>
                    <a:pt x="281948" y="2356245"/>
                  </a:cubicBezTo>
                  <a:cubicBezTo>
                    <a:pt x="275235" y="2356245"/>
                    <a:pt x="268522" y="2349533"/>
                    <a:pt x="265165" y="2339461"/>
                  </a:cubicBezTo>
                  <a:cubicBezTo>
                    <a:pt x="265165" y="2329390"/>
                    <a:pt x="271878" y="2322679"/>
                    <a:pt x="281948" y="2322679"/>
                  </a:cubicBezTo>
                  <a:close/>
                  <a:moveTo>
                    <a:pt x="735080" y="2319326"/>
                  </a:moveTo>
                  <a:cubicBezTo>
                    <a:pt x="745150" y="2319326"/>
                    <a:pt x="755220" y="2329396"/>
                    <a:pt x="755220" y="2339466"/>
                  </a:cubicBezTo>
                  <a:cubicBezTo>
                    <a:pt x="755220" y="2349536"/>
                    <a:pt x="745150" y="2359607"/>
                    <a:pt x="735080" y="2359607"/>
                  </a:cubicBezTo>
                  <a:cubicBezTo>
                    <a:pt x="725011" y="2359607"/>
                    <a:pt x="718298" y="2349536"/>
                    <a:pt x="714941" y="2339466"/>
                  </a:cubicBezTo>
                  <a:cubicBezTo>
                    <a:pt x="714941" y="2329396"/>
                    <a:pt x="725011" y="2319326"/>
                    <a:pt x="735080" y="2319326"/>
                  </a:cubicBezTo>
                  <a:close/>
                  <a:moveTo>
                    <a:pt x="1866231" y="2235417"/>
                  </a:moveTo>
                  <a:cubicBezTo>
                    <a:pt x="1866231" y="2235417"/>
                    <a:pt x="1869588" y="2238772"/>
                    <a:pt x="1869588" y="2238772"/>
                  </a:cubicBezTo>
                  <a:cubicBezTo>
                    <a:pt x="1869588" y="2238772"/>
                    <a:pt x="1869588" y="2242129"/>
                    <a:pt x="1866231" y="2242129"/>
                  </a:cubicBezTo>
                  <a:cubicBezTo>
                    <a:pt x="1862874" y="2242129"/>
                    <a:pt x="1862874" y="2238772"/>
                    <a:pt x="1862874" y="2238772"/>
                  </a:cubicBezTo>
                  <a:cubicBezTo>
                    <a:pt x="1862874" y="2238772"/>
                    <a:pt x="1862874" y="2235417"/>
                    <a:pt x="1866231" y="2235417"/>
                  </a:cubicBezTo>
                  <a:close/>
                  <a:moveTo>
                    <a:pt x="1413099" y="2228699"/>
                  </a:moveTo>
                  <a:cubicBezTo>
                    <a:pt x="1416455" y="2228699"/>
                    <a:pt x="1423168" y="2232058"/>
                    <a:pt x="1423168" y="2238772"/>
                  </a:cubicBezTo>
                  <a:cubicBezTo>
                    <a:pt x="1423168" y="2242129"/>
                    <a:pt x="1419812" y="2248841"/>
                    <a:pt x="1413099" y="2248841"/>
                  </a:cubicBezTo>
                  <a:cubicBezTo>
                    <a:pt x="1406386" y="2248841"/>
                    <a:pt x="1403029" y="2245487"/>
                    <a:pt x="1403029" y="2238772"/>
                  </a:cubicBezTo>
                  <a:cubicBezTo>
                    <a:pt x="1403029" y="2235417"/>
                    <a:pt x="1406386" y="2228699"/>
                    <a:pt x="1413099" y="2228699"/>
                  </a:cubicBezTo>
                  <a:close/>
                  <a:moveTo>
                    <a:pt x="506836" y="2221987"/>
                  </a:moveTo>
                  <a:cubicBezTo>
                    <a:pt x="516906" y="2221987"/>
                    <a:pt x="523619" y="2228699"/>
                    <a:pt x="523619" y="2238769"/>
                  </a:cubicBezTo>
                  <a:cubicBezTo>
                    <a:pt x="523619" y="2248841"/>
                    <a:pt x="516906" y="2255551"/>
                    <a:pt x="506836" y="2255551"/>
                  </a:cubicBezTo>
                  <a:cubicBezTo>
                    <a:pt x="500123" y="2255551"/>
                    <a:pt x="490053" y="2245484"/>
                    <a:pt x="490053" y="2238769"/>
                  </a:cubicBezTo>
                  <a:cubicBezTo>
                    <a:pt x="490053" y="2228699"/>
                    <a:pt x="496766" y="2221987"/>
                    <a:pt x="506836" y="2221987"/>
                  </a:cubicBezTo>
                  <a:close/>
                  <a:moveTo>
                    <a:pt x="959967" y="2215275"/>
                  </a:moveTo>
                  <a:cubicBezTo>
                    <a:pt x="973393" y="2215275"/>
                    <a:pt x="983463" y="2225348"/>
                    <a:pt x="983463" y="2238772"/>
                  </a:cubicBezTo>
                  <a:cubicBezTo>
                    <a:pt x="983463" y="2252199"/>
                    <a:pt x="973393" y="2262269"/>
                    <a:pt x="959967" y="2262269"/>
                  </a:cubicBezTo>
                  <a:cubicBezTo>
                    <a:pt x="946541" y="2262269"/>
                    <a:pt x="936472" y="2252199"/>
                    <a:pt x="936472" y="2238772"/>
                  </a:cubicBezTo>
                  <a:cubicBezTo>
                    <a:pt x="936472" y="2225348"/>
                    <a:pt x="946541" y="2215275"/>
                    <a:pt x="959967" y="2215275"/>
                  </a:cubicBezTo>
                  <a:close/>
                  <a:moveTo>
                    <a:pt x="1641343" y="2128008"/>
                  </a:moveTo>
                  <a:cubicBezTo>
                    <a:pt x="1644700" y="2128008"/>
                    <a:pt x="1648056" y="2131363"/>
                    <a:pt x="1648056" y="2134720"/>
                  </a:cubicBezTo>
                  <a:cubicBezTo>
                    <a:pt x="1648056" y="2138075"/>
                    <a:pt x="1644700" y="2141432"/>
                    <a:pt x="1641343" y="2141432"/>
                  </a:cubicBezTo>
                  <a:cubicBezTo>
                    <a:pt x="1637986" y="2141432"/>
                    <a:pt x="1634630" y="2141432"/>
                    <a:pt x="1634630" y="2134720"/>
                  </a:cubicBezTo>
                  <a:cubicBezTo>
                    <a:pt x="1634630" y="2131363"/>
                    <a:pt x="1637986" y="2128008"/>
                    <a:pt x="1641343" y="2128008"/>
                  </a:cubicBezTo>
                  <a:close/>
                  <a:moveTo>
                    <a:pt x="1188212" y="2124651"/>
                  </a:moveTo>
                  <a:cubicBezTo>
                    <a:pt x="1194925" y="2124651"/>
                    <a:pt x="1201638" y="2131363"/>
                    <a:pt x="1201638" y="2138075"/>
                  </a:cubicBezTo>
                  <a:cubicBezTo>
                    <a:pt x="1201638" y="2144791"/>
                    <a:pt x="1194925" y="2151499"/>
                    <a:pt x="1188212" y="2151499"/>
                  </a:cubicBezTo>
                  <a:cubicBezTo>
                    <a:pt x="1181499" y="2151499"/>
                    <a:pt x="1174786" y="2144791"/>
                    <a:pt x="1174786" y="2138075"/>
                  </a:cubicBezTo>
                  <a:cubicBezTo>
                    <a:pt x="1174786" y="2131363"/>
                    <a:pt x="1181499" y="2124651"/>
                    <a:pt x="1188212" y="2124651"/>
                  </a:cubicBezTo>
                  <a:close/>
                  <a:moveTo>
                    <a:pt x="281948" y="2121290"/>
                  </a:moveTo>
                  <a:cubicBezTo>
                    <a:pt x="288661" y="2121290"/>
                    <a:pt x="295374" y="2128003"/>
                    <a:pt x="295374" y="2134715"/>
                  </a:cubicBezTo>
                  <a:cubicBezTo>
                    <a:pt x="295374" y="2141427"/>
                    <a:pt x="288661" y="2148141"/>
                    <a:pt x="281948" y="2148141"/>
                  </a:cubicBezTo>
                  <a:cubicBezTo>
                    <a:pt x="275235" y="2148141"/>
                    <a:pt x="268522" y="2144785"/>
                    <a:pt x="268522" y="2134715"/>
                  </a:cubicBezTo>
                  <a:cubicBezTo>
                    <a:pt x="268522" y="2128003"/>
                    <a:pt x="275235" y="2121290"/>
                    <a:pt x="281948" y="2121290"/>
                  </a:cubicBezTo>
                  <a:close/>
                  <a:moveTo>
                    <a:pt x="735080" y="2114579"/>
                  </a:moveTo>
                  <a:cubicBezTo>
                    <a:pt x="745150" y="2114579"/>
                    <a:pt x="755220" y="2124651"/>
                    <a:pt x="755220" y="2134720"/>
                  </a:cubicBezTo>
                  <a:cubicBezTo>
                    <a:pt x="755220" y="2144791"/>
                    <a:pt x="745150" y="2154857"/>
                    <a:pt x="735080" y="2154857"/>
                  </a:cubicBezTo>
                  <a:cubicBezTo>
                    <a:pt x="725011" y="2154857"/>
                    <a:pt x="714941" y="2148146"/>
                    <a:pt x="714941" y="2134720"/>
                  </a:cubicBezTo>
                  <a:cubicBezTo>
                    <a:pt x="714941" y="2124651"/>
                    <a:pt x="725011" y="2114579"/>
                    <a:pt x="735080" y="2114579"/>
                  </a:cubicBezTo>
                  <a:close/>
                  <a:moveTo>
                    <a:pt x="1419813" y="2023989"/>
                  </a:moveTo>
                  <a:cubicBezTo>
                    <a:pt x="1426526" y="2023989"/>
                    <a:pt x="1429882" y="2027346"/>
                    <a:pt x="1429882" y="2034058"/>
                  </a:cubicBezTo>
                  <a:cubicBezTo>
                    <a:pt x="1429882" y="2040770"/>
                    <a:pt x="1426526" y="2044129"/>
                    <a:pt x="1419813" y="2044129"/>
                  </a:cubicBezTo>
                  <a:cubicBezTo>
                    <a:pt x="1413100" y="2044129"/>
                    <a:pt x="1409743" y="2040770"/>
                    <a:pt x="1409743" y="2034058"/>
                  </a:cubicBezTo>
                  <a:cubicBezTo>
                    <a:pt x="1409743" y="2027346"/>
                    <a:pt x="1413100" y="2023989"/>
                    <a:pt x="1419813" y="2023989"/>
                  </a:cubicBezTo>
                  <a:close/>
                  <a:moveTo>
                    <a:pt x="513549" y="2017249"/>
                  </a:moveTo>
                  <a:cubicBezTo>
                    <a:pt x="523619" y="2017249"/>
                    <a:pt x="530332" y="2023961"/>
                    <a:pt x="530332" y="2034033"/>
                  </a:cubicBezTo>
                  <a:cubicBezTo>
                    <a:pt x="530332" y="2044100"/>
                    <a:pt x="523619" y="2050813"/>
                    <a:pt x="513549" y="2050813"/>
                  </a:cubicBezTo>
                  <a:cubicBezTo>
                    <a:pt x="503479" y="2050813"/>
                    <a:pt x="496766" y="2044100"/>
                    <a:pt x="496766" y="2034033"/>
                  </a:cubicBezTo>
                  <a:cubicBezTo>
                    <a:pt x="496766" y="2023961"/>
                    <a:pt x="503479" y="2017249"/>
                    <a:pt x="513549" y="2017249"/>
                  </a:cubicBezTo>
                  <a:close/>
                  <a:moveTo>
                    <a:pt x="966680" y="2013905"/>
                  </a:moveTo>
                  <a:cubicBezTo>
                    <a:pt x="976750" y="2013905"/>
                    <a:pt x="986820" y="2023975"/>
                    <a:pt x="986820" y="2034043"/>
                  </a:cubicBezTo>
                  <a:cubicBezTo>
                    <a:pt x="986820" y="2047468"/>
                    <a:pt x="976750" y="2054181"/>
                    <a:pt x="966680" y="2054181"/>
                  </a:cubicBezTo>
                  <a:cubicBezTo>
                    <a:pt x="956611" y="2054181"/>
                    <a:pt x="946541" y="2044113"/>
                    <a:pt x="946541" y="2034043"/>
                  </a:cubicBezTo>
                  <a:cubicBezTo>
                    <a:pt x="946541" y="2023975"/>
                    <a:pt x="956611" y="2013905"/>
                    <a:pt x="966680" y="2013905"/>
                  </a:cubicBezTo>
                  <a:close/>
                  <a:moveTo>
                    <a:pt x="1654769" y="1926656"/>
                  </a:moveTo>
                  <a:cubicBezTo>
                    <a:pt x="1658126" y="1926656"/>
                    <a:pt x="1661482" y="1930013"/>
                    <a:pt x="1661482" y="1933370"/>
                  </a:cubicBezTo>
                  <a:cubicBezTo>
                    <a:pt x="1661482" y="1936726"/>
                    <a:pt x="1658126" y="1940086"/>
                    <a:pt x="1654769" y="1940086"/>
                  </a:cubicBezTo>
                  <a:cubicBezTo>
                    <a:pt x="1651413" y="1940086"/>
                    <a:pt x="1648056" y="1936726"/>
                    <a:pt x="1648056" y="1933370"/>
                  </a:cubicBezTo>
                  <a:cubicBezTo>
                    <a:pt x="1648056" y="1930013"/>
                    <a:pt x="1651413" y="1926656"/>
                    <a:pt x="1654769" y="1926656"/>
                  </a:cubicBezTo>
                  <a:close/>
                  <a:moveTo>
                    <a:pt x="292018" y="1926618"/>
                  </a:moveTo>
                  <a:cubicBezTo>
                    <a:pt x="295374" y="1926618"/>
                    <a:pt x="298731" y="1929975"/>
                    <a:pt x="298731" y="1933330"/>
                  </a:cubicBezTo>
                  <a:cubicBezTo>
                    <a:pt x="298731" y="1936687"/>
                    <a:pt x="295374" y="1940042"/>
                    <a:pt x="292018" y="1940042"/>
                  </a:cubicBezTo>
                  <a:cubicBezTo>
                    <a:pt x="288661" y="1940042"/>
                    <a:pt x="285305" y="1936687"/>
                    <a:pt x="285305" y="1933330"/>
                  </a:cubicBezTo>
                  <a:cubicBezTo>
                    <a:pt x="285305" y="1929975"/>
                    <a:pt x="288661" y="1926618"/>
                    <a:pt x="292018" y="1926618"/>
                  </a:cubicBezTo>
                  <a:close/>
                  <a:moveTo>
                    <a:pt x="1201638" y="1923286"/>
                  </a:moveTo>
                  <a:cubicBezTo>
                    <a:pt x="1208351" y="1923286"/>
                    <a:pt x="1211708" y="1926640"/>
                    <a:pt x="1211708" y="1933354"/>
                  </a:cubicBezTo>
                  <a:cubicBezTo>
                    <a:pt x="1211708" y="1936710"/>
                    <a:pt x="1208351" y="1943424"/>
                    <a:pt x="1201638" y="1943424"/>
                  </a:cubicBezTo>
                  <a:cubicBezTo>
                    <a:pt x="1194925" y="1943424"/>
                    <a:pt x="1188212" y="1940066"/>
                    <a:pt x="1191568" y="1933354"/>
                  </a:cubicBezTo>
                  <a:cubicBezTo>
                    <a:pt x="1191568" y="1929998"/>
                    <a:pt x="1194925" y="1923286"/>
                    <a:pt x="1201638" y="1923286"/>
                  </a:cubicBezTo>
                  <a:close/>
                  <a:moveTo>
                    <a:pt x="745150" y="1916558"/>
                  </a:moveTo>
                  <a:cubicBezTo>
                    <a:pt x="755220" y="1916558"/>
                    <a:pt x="761933" y="1923272"/>
                    <a:pt x="761933" y="1933342"/>
                  </a:cubicBezTo>
                  <a:cubicBezTo>
                    <a:pt x="761933" y="1943409"/>
                    <a:pt x="755220" y="1950123"/>
                    <a:pt x="745150" y="1950123"/>
                  </a:cubicBezTo>
                  <a:cubicBezTo>
                    <a:pt x="738437" y="1950123"/>
                    <a:pt x="728367" y="1943409"/>
                    <a:pt x="728367" y="1933342"/>
                  </a:cubicBezTo>
                  <a:cubicBezTo>
                    <a:pt x="728367" y="1923272"/>
                    <a:pt x="735080" y="1916558"/>
                    <a:pt x="745150" y="1916558"/>
                  </a:cubicBezTo>
                  <a:close/>
                  <a:moveTo>
                    <a:pt x="1439951" y="1822595"/>
                  </a:moveTo>
                  <a:cubicBezTo>
                    <a:pt x="1446664" y="1822595"/>
                    <a:pt x="1450020" y="1825952"/>
                    <a:pt x="1450020" y="1832665"/>
                  </a:cubicBezTo>
                  <a:cubicBezTo>
                    <a:pt x="1450020" y="1839378"/>
                    <a:pt x="1446664" y="1842734"/>
                    <a:pt x="1439951" y="1842734"/>
                  </a:cubicBezTo>
                  <a:cubicBezTo>
                    <a:pt x="1433238" y="1842734"/>
                    <a:pt x="1429881" y="1839378"/>
                    <a:pt x="1429881" y="1832665"/>
                  </a:cubicBezTo>
                  <a:cubicBezTo>
                    <a:pt x="1429881" y="1825952"/>
                    <a:pt x="1433238" y="1822595"/>
                    <a:pt x="1439951" y="1822595"/>
                  </a:cubicBezTo>
                  <a:close/>
                  <a:moveTo>
                    <a:pt x="526975" y="1815858"/>
                  </a:moveTo>
                  <a:cubicBezTo>
                    <a:pt x="537045" y="1815858"/>
                    <a:pt x="543758" y="1822570"/>
                    <a:pt x="543758" y="1832640"/>
                  </a:cubicBezTo>
                  <a:cubicBezTo>
                    <a:pt x="543758" y="1842710"/>
                    <a:pt x="537045" y="1849423"/>
                    <a:pt x="526975" y="1849423"/>
                  </a:cubicBezTo>
                  <a:cubicBezTo>
                    <a:pt x="520262" y="1849423"/>
                    <a:pt x="513549" y="1839352"/>
                    <a:pt x="510192" y="1832640"/>
                  </a:cubicBezTo>
                  <a:cubicBezTo>
                    <a:pt x="510192" y="1822570"/>
                    <a:pt x="516906" y="1815858"/>
                    <a:pt x="526975" y="1815858"/>
                  </a:cubicBezTo>
                  <a:close/>
                  <a:moveTo>
                    <a:pt x="983463" y="1812512"/>
                  </a:moveTo>
                  <a:cubicBezTo>
                    <a:pt x="993533" y="1812512"/>
                    <a:pt x="1003602" y="1819226"/>
                    <a:pt x="1003602" y="1829294"/>
                  </a:cubicBezTo>
                  <a:cubicBezTo>
                    <a:pt x="1003602" y="1839365"/>
                    <a:pt x="993533" y="1849434"/>
                    <a:pt x="983463" y="1849434"/>
                  </a:cubicBezTo>
                  <a:cubicBezTo>
                    <a:pt x="973393" y="1849434"/>
                    <a:pt x="963324" y="1842721"/>
                    <a:pt x="963324" y="1832650"/>
                  </a:cubicBezTo>
                  <a:cubicBezTo>
                    <a:pt x="963324" y="1822581"/>
                    <a:pt x="973393" y="1812512"/>
                    <a:pt x="983463" y="1812512"/>
                  </a:cubicBezTo>
                  <a:close/>
                  <a:moveTo>
                    <a:pt x="312157" y="1728581"/>
                  </a:moveTo>
                  <a:cubicBezTo>
                    <a:pt x="312157" y="1728581"/>
                    <a:pt x="315513" y="1728581"/>
                    <a:pt x="312157" y="1731938"/>
                  </a:cubicBezTo>
                  <a:cubicBezTo>
                    <a:pt x="308800" y="1728581"/>
                    <a:pt x="308800" y="1728581"/>
                    <a:pt x="312157" y="1728581"/>
                  </a:cubicBezTo>
                  <a:close/>
                  <a:moveTo>
                    <a:pt x="1225134" y="1715181"/>
                  </a:moveTo>
                  <a:cubicBezTo>
                    <a:pt x="1231847" y="1715181"/>
                    <a:pt x="1238560" y="1721894"/>
                    <a:pt x="1238560" y="1728607"/>
                  </a:cubicBezTo>
                  <a:cubicBezTo>
                    <a:pt x="1238560" y="1735320"/>
                    <a:pt x="1231847" y="1742033"/>
                    <a:pt x="1225134" y="1742033"/>
                  </a:cubicBezTo>
                  <a:cubicBezTo>
                    <a:pt x="1218421" y="1742033"/>
                    <a:pt x="1211708" y="1738675"/>
                    <a:pt x="1211708" y="1728607"/>
                  </a:cubicBezTo>
                  <a:cubicBezTo>
                    <a:pt x="1211708" y="1721894"/>
                    <a:pt x="1218421" y="1715181"/>
                    <a:pt x="1225134" y="1715181"/>
                  </a:cubicBezTo>
                  <a:close/>
                  <a:moveTo>
                    <a:pt x="768646" y="1708456"/>
                  </a:moveTo>
                  <a:cubicBezTo>
                    <a:pt x="781622" y="1708456"/>
                    <a:pt x="792142" y="1718974"/>
                    <a:pt x="792142" y="1731951"/>
                  </a:cubicBezTo>
                  <a:cubicBezTo>
                    <a:pt x="792142" y="1744926"/>
                    <a:pt x="781622" y="1755446"/>
                    <a:pt x="768646" y="1755446"/>
                  </a:cubicBezTo>
                  <a:cubicBezTo>
                    <a:pt x="755670" y="1755446"/>
                    <a:pt x="745150" y="1744926"/>
                    <a:pt x="745150" y="1731951"/>
                  </a:cubicBezTo>
                  <a:cubicBezTo>
                    <a:pt x="745150" y="1718974"/>
                    <a:pt x="755670" y="1708456"/>
                    <a:pt x="768646" y="1708456"/>
                  </a:cubicBezTo>
                  <a:close/>
                  <a:moveTo>
                    <a:pt x="1473517" y="1624561"/>
                  </a:moveTo>
                  <a:cubicBezTo>
                    <a:pt x="1476874" y="1624561"/>
                    <a:pt x="1480230" y="1627917"/>
                    <a:pt x="1480230" y="1631275"/>
                  </a:cubicBezTo>
                  <a:cubicBezTo>
                    <a:pt x="1480230" y="1634631"/>
                    <a:pt x="1476874" y="1637987"/>
                    <a:pt x="1473517" y="1637987"/>
                  </a:cubicBezTo>
                  <a:cubicBezTo>
                    <a:pt x="1466804" y="1637987"/>
                    <a:pt x="1463448" y="1634631"/>
                    <a:pt x="1466804" y="1631275"/>
                  </a:cubicBezTo>
                  <a:cubicBezTo>
                    <a:pt x="1466804" y="1627917"/>
                    <a:pt x="1470161" y="1624561"/>
                    <a:pt x="1473517" y="1624561"/>
                  </a:cubicBezTo>
                  <a:close/>
                  <a:moveTo>
                    <a:pt x="553827" y="1617822"/>
                  </a:moveTo>
                  <a:cubicBezTo>
                    <a:pt x="561243" y="1617822"/>
                    <a:pt x="567254" y="1623833"/>
                    <a:pt x="567254" y="1631249"/>
                  </a:cubicBezTo>
                  <a:cubicBezTo>
                    <a:pt x="567254" y="1638664"/>
                    <a:pt x="561243" y="1644675"/>
                    <a:pt x="553827" y="1644675"/>
                  </a:cubicBezTo>
                  <a:cubicBezTo>
                    <a:pt x="546412" y="1644675"/>
                    <a:pt x="540401" y="1638664"/>
                    <a:pt x="540401" y="1631249"/>
                  </a:cubicBezTo>
                  <a:cubicBezTo>
                    <a:pt x="540401" y="1623833"/>
                    <a:pt x="546412" y="1617822"/>
                    <a:pt x="553827" y="1617822"/>
                  </a:cubicBezTo>
                  <a:close/>
                  <a:moveTo>
                    <a:pt x="1013672" y="1611121"/>
                  </a:moveTo>
                  <a:cubicBezTo>
                    <a:pt x="1027098" y="1611121"/>
                    <a:pt x="1033811" y="1621192"/>
                    <a:pt x="1033811" y="1631261"/>
                  </a:cubicBezTo>
                  <a:cubicBezTo>
                    <a:pt x="1033811" y="1641330"/>
                    <a:pt x="1023741" y="1651401"/>
                    <a:pt x="1013672" y="1651401"/>
                  </a:cubicBezTo>
                  <a:cubicBezTo>
                    <a:pt x="1000246" y="1651401"/>
                    <a:pt x="993533" y="1641330"/>
                    <a:pt x="993533" y="1631261"/>
                  </a:cubicBezTo>
                  <a:cubicBezTo>
                    <a:pt x="993533" y="1617835"/>
                    <a:pt x="1003602" y="1611121"/>
                    <a:pt x="1013672" y="1611121"/>
                  </a:cubicBezTo>
                  <a:close/>
                  <a:moveTo>
                    <a:pt x="1725256" y="1530583"/>
                  </a:moveTo>
                  <a:cubicBezTo>
                    <a:pt x="1725256" y="1530583"/>
                    <a:pt x="1728613" y="1530583"/>
                    <a:pt x="1728613" y="1533939"/>
                  </a:cubicBezTo>
                  <a:cubicBezTo>
                    <a:pt x="1728613" y="1533939"/>
                    <a:pt x="1728613" y="1537296"/>
                    <a:pt x="1725256" y="1537296"/>
                  </a:cubicBezTo>
                  <a:cubicBezTo>
                    <a:pt x="1721900" y="1537296"/>
                    <a:pt x="1721900" y="1537296"/>
                    <a:pt x="1721900" y="1533939"/>
                  </a:cubicBezTo>
                  <a:cubicBezTo>
                    <a:pt x="1721900" y="1533939"/>
                    <a:pt x="1725256" y="1530583"/>
                    <a:pt x="1725256" y="1530583"/>
                  </a:cubicBezTo>
                  <a:close/>
                  <a:moveTo>
                    <a:pt x="1262056" y="1523856"/>
                  </a:moveTo>
                  <a:cubicBezTo>
                    <a:pt x="1265412" y="1523856"/>
                    <a:pt x="1272125" y="1527211"/>
                    <a:pt x="1272125" y="1533926"/>
                  </a:cubicBezTo>
                  <a:cubicBezTo>
                    <a:pt x="1272125" y="1537281"/>
                    <a:pt x="1268769" y="1543996"/>
                    <a:pt x="1262056" y="1543996"/>
                  </a:cubicBezTo>
                  <a:cubicBezTo>
                    <a:pt x="1255342" y="1543996"/>
                    <a:pt x="1248629" y="1537281"/>
                    <a:pt x="1251986" y="1533926"/>
                  </a:cubicBezTo>
                  <a:cubicBezTo>
                    <a:pt x="1251986" y="1530569"/>
                    <a:pt x="1255342" y="1523856"/>
                    <a:pt x="1262056" y="1523856"/>
                  </a:cubicBezTo>
                  <a:close/>
                  <a:moveTo>
                    <a:pt x="798855" y="1513777"/>
                  </a:moveTo>
                  <a:cubicBezTo>
                    <a:pt x="808924" y="1513777"/>
                    <a:pt x="815637" y="1520489"/>
                    <a:pt x="815637" y="1530558"/>
                  </a:cubicBezTo>
                  <a:cubicBezTo>
                    <a:pt x="815637" y="1540628"/>
                    <a:pt x="808924" y="1547340"/>
                    <a:pt x="798855" y="1547340"/>
                  </a:cubicBezTo>
                  <a:cubicBezTo>
                    <a:pt x="788785" y="1547340"/>
                    <a:pt x="782072" y="1540628"/>
                    <a:pt x="782072" y="1530558"/>
                  </a:cubicBezTo>
                  <a:cubicBezTo>
                    <a:pt x="782072" y="1520489"/>
                    <a:pt x="788785" y="1513777"/>
                    <a:pt x="798855" y="1513777"/>
                  </a:cubicBezTo>
                  <a:close/>
                  <a:moveTo>
                    <a:pt x="1517151" y="1433236"/>
                  </a:moveTo>
                  <a:cubicBezTo>
                    <a:pt x="1517151" y="1433236"/>
                    <a:pt x="1520508" y="1436592"/>
                    <a:pt x="1520508" y="1436592"/>
                  </a:cubicBezTo>
                  <a:cubicBezTo>
                    <a:pt x="1520508" y="1436592"/>
                    <a:pt x="1520508" y="1439949"/>
                    <a:pt x="1517151" y="1439949"/>
                  </a:cubicBezTo>
                  <a:cubicBezTo>
                    <a:pt x="1513795" y="1439949"/>
                    <a:pt x="1513795" y="1436592"/>
                    <a:pt x="1513795" y="1436592"/>
                  </a:cubicBezTo>
                  <a:cubicBezTo>
                    <a:pt x="1513795" y="1436592"/>
                    <a:pt x="1513795" y="1433236"/>
                    <a:pt x="1517151" y="1433236"/>
                  </a:cubicBezTo>
                  <a:close/>
                  <a:moveTo>
                    <a:pt x="587393" y="1423142"/>
                  </a:moveTo>
                  <a:cubicBezTo>
                    <a:pt x="590749" y="1423142"/>
                    <a:pt x="594106" y="1426499"/>
                    <a:pt x="594106" y="1429855"/>
                  </a:cubicBezTo>
                  <a:cubicBezTo>
                    <a:pt x="594106" y="1433211"/>
                    <a:pt x="590749" y="1436568"/>
                    <a:pt x="587393" y="1436568"/>
                  </a:cubicBezTo>
                  <a:cubicBezTo>
                    <a:pt x="584036" y="1436568"/>
                    <a:pt x="580680" y="1433211"/>
                    <a:pt x="580680" y="1429855"/>
                  </a:cubicBezTo>
                  <a:cubicBezTo>
                    <a:pt x="580680" y="1426499"/>
                    <a:pt x="584036" y="1423142"/>
                    <a:pt x="587393" y="1423142"/>
                  </a:cubicBezTo>
                  <a:close/>
                  <a:moveTo>
                    <a:pt x="1050594" y="1419798"/>
                  </a:moveTo>
                  <a:cubicBezTo>
                    <a:pt x="1058009" y="1419798"/>
                    <a:pt x="1064020" y="1425809"/>
                    <a:pt x="1064020" y="1433224"/>
                  </a:cubicBezTo>
                  <a:cubicBezTo>
                    <a:pt x="1064020" y="1440639"/>
                    <a:pt x="1058009" y="1446650"/>
                    <a:pt x="1050594" y="1446650"/>
                  </a:cubicBezTo>
                  <a:cubicBezTo>
                    <a:pt x="1043178" y="1446650"/>
                    <a:pt x="1037168" y="1440639"/>
                    <a:pt x="1037168" y="1433224"/>
                  </a:cubicBezTo>
                  <a:cubicBezTo>
                    <a:pt x="1037168" y="1425809"/>
                    <a:pt x="1043178" y="1419798"/>
                    <a:pt x="1050594" y="1419798"/>
                  </a:cubicBezTo>
                  <a:close/>
                  <a:moveTo>
                    <a:pt x="1782318" y="1335905"/>
                  </a:moveTo>
                  <a:lnTo>
                    <a:pt x="1782318" y="1341359"/>
                  </a:lnTo>
                  <a:cubicBezTo>
                    <a:pt x="1782318" y="1341779"/>
                    <a:pt x="1782318" y="1342618"/>
                    <a:pt x="1782318" y="1342618"/>
                  </a:cubicBezTo>
                  <a:cubicBezTo>
                    <a:pt x="1778961" y="1335905"/>
                    <a:pt x="1778961" y="1335905"/>
                    <a:pt x="1782318" y="1335905"/>
                  </a:cubicBezTo>
                  <a:close/>
                  <a:moveTo>
                    <a:pt x="1309047" y="1325824"/>
                  </a:moveTo>
                  <a:cubicBezTo>
                    <a:pt x="1312404" y="1325824"/>
                    <a:pt x="1319117" y="1329179"/>
                    <a:pt x="1319117" y="1335892"/>
                  </a:cubicBezTo>
                  <a:cubicBezTo>
                    <a:pt x="1319117" y="1339249"/>
                    <a:pt x="1315760" y="1345962"/>
                    <a:pt x="1309047" y="1345962"/>
                  </a:cubicBezTo>
                  <a:cubicBezTo>
                    <a:pt x="1302334" y="1345962"/>
                    <a:pt x="1298977" y="1339249"/>
                    <a:pt x="1298977" y="1335892"/>
                  </a:cubicBezTo>
                  <a:cubicBezTo>
                    <a:pt x="1298977" y="1332534"/>
                    <a:pt x="1302334" y="1325824"/>
                    <a:pt x="1309047" y="1325824"/>
                  </a:cubicBezTo>
                  <a:close/>
                  <a:moveTo>
                    <a:pt x="842488" y="1322455"/>
                  </a:moveTo>
                  <a:cubicBezTo>
                    <a:pt x="845845" y="1322455"/>
                    <a:pt x="852558" y="1325811"/>
                    <a:pt x="852558" y="1332525"/>
                  </a:cubicBezTo>
                  <a:cubicBezTo>
                    <a:pt x="852558" y="1335881"/>
                    <a:pt x="849202" y="1342593"/>
                    <a:pt x="842488" y="1342593"/>
                  </a:cubicBezTo>
                  <a:cubicBezTo>
                    <a:pt x="835775" y="1342593"/>
                    <a:pt x="832419" y="1339237"/>
                    <a:pt x="832419" y="1332525"/>
                  </a:cubicBezTo>
                  <a:cubicBezTo>
                    <a:pt x="832419" y="1329167"/>
                    <a:pt x="835775" y="1322455"/>
                    <a:pt x="842488" y="1322455"/>
                  </a:cubicBezTo>
                  <a:close/>
                  <a:moveTo>
                    <a:pt x="1574212" y="1231846"/>
                  </a:moveTo>
                  <a:cubicBezTo>
                    <a:pt x="1577920" y="1231846"/>
                    <a:pt x="1580925" y="1234850"/>
                    <a:pt x="1580925" y="1238559"/>
                  </a:cubicBezTo>
                  <a:cubicBezTo>
                    <a:pt x="1580925" y="1242266"/>
                    <a:pt x="1577920" y="1245269"/>
                    <a:pt x="1574212" y="1245269"/>
                  </a:cubicBezTo>
                  <a:cubicBezTo>
                    <a:pt x="1570505" y="1245269"/>
                    <a:pt x="1567499" y="1242266"/>
                    <a:pt x="1567499" y="1238559"/>
                  </a:cubicBezTo>
                  <a:cubicBezTo>
                    <a:pt x="1567499" y="1234850"/>
                    <a:pt x="1570505" y="1231846"/>
                    <a:pt x="1574212" y="1231846"/>
                  </a:cubicBezTo>
                  <a:close/>
                  <a:moveTo>
                    <a:pt x="1100942" y="1218408"/>
                  </a:moveTo>
                  <a:cubicBezTo>
                    <a:pt x="1111011" y="1218408"/>
                    <a:pt x="1117724" y="1225122"/>
                    <a:pt x="1117724" y="1235192"/>
                  </a:cubicBezTo>
                  <a:cubicBezTo>
                    <a:pt x="1117724" y="1245260"/>
                    <a:pt x="1111011" y="1251973"/>
                    <a:pt x="1100942" y="1251973"/>
                  </a:cubicBezTo>
                  <a:cubicBezTo>
                    <a:pt x="1094229" y="1251973"/>
                    <a:pt x="1084159" y="1245260"/>
                    <a:pt x="1084159" y="1235192"/>
                  </a:cubicBezTo>
                  <a:cubicBezTo>
                    <a:pt x="1084159" y="1225122"/>
                    <a:pt x="1090872" y="1218408"/>
                    <a:pt x="1100942" y="1218408"/>
                  </a:cubicBezTo>
                  <a:close/>
                  <a:moveTo>
                    <a:pt x="1369465" y="1134500"/>
                  </a:moveTo>
                  <a:cubicBezTo>
                    <a:pt x="1372821" y="1134500"/>
                    <a:pt x="1376178" y="1137856"/>
                    <a:pt x="1376178" y="1141213"/>
                  </a:cubicBezTo>
                  <a:cubicBezTo>
                    <a:pt x="1376178" y="1144567"/>
                    <a:pt x="1372821" y="1147925"/>
                    <a:pt x="1369465" y="1147925"/>
                  </a:cubicBezTo>
                  <a:cubicBezTo>
                    <a:pt x="1366108" y="1147925"/>
                    <a:pt x="1362752" y="1144567"/>
                    <a:pt x="1362752" y="1141213"/>
                  </a:cubicBezTo>
                  <a:cubicBezTo>
                    <a:pt x="1362752" y="1137856"/>
                    <a:pt x="1366108" y="1134500"/>
                    <a:pt x="1369465" y="1134500"/>
                  </a:cubicBezTo>
                  <a:close/>
                  <a:moveTo>
                    <a:pt x="896193" y="1127776"/>
                  </a:moveTo>
                  <a:cubicBezTo>
                    <a:pt x="899550" y="1127776"/>
                    <a:pt x="906263" y="1131133"/>
                    <a:pt x="906263" y="1137846"/>
                  </a:cubicBezTo>
                  <a:cubicBezTo>
                    <a:pt x="906263" y="1141201"/>
                    <a:pt x="902906" y="1147915"/>
                    <a:pt x="896193" y="1147915"/>
                  </a:cubicBezTo>
                  <a:cubicBezTo>
                    <a:pt x="889480" y="1147915"/>
                    <a:pt x="882767" y="1141201"/>
                    <a:pt x="886123" y="1137846"/>
                  </a:cubicBezTo>
                  <a:cubicBezTo>
                    <a:pt x="886123" y="1134488"/>
                    <a:pt x="889480" y="1127776"/>
                    <a:pt x="896193" y="1127776"/>
                  </a:cubicBezTo>
                  <a:close/>
                  <a:moveTo>
                    <a:pt x="1644700" y="1043878"/>
                  </a:moveTo>
                  <a:cubicBezTo>
                    <a:pt x="1648056" y="1043878"/>
                    <a:pt x="1648056" y="1047233"/>
                    <a:pt x="1644700" y="1050591"/>
                  </a:cubicBezTo>
                  <a:cubicBezTo>
                    <a:pt x="1641343" y="1047233"/>
                    <a:pt x="1644700" y="1043878"/>
                    <a:pt x="1644700" y="1043878"/>
                  </a:cubicBezTo>
                  <a:close/>
                  <a:moveTo>
                    <a:pt x="1164716" y="1030441"/>
                  </a:moveTo>
                  <a:cubicBezTo>
                    <a:pt x="1171429" y="1030441"/>
                    <a:pt x="1174786" y="1033800"/>
                    <a:pt x="1174786" y="1040512"/>
                  </a:cubicBezTo>
                  <a:cubicBezTo>
                    <a:pt x="1174786" y="1047224"/>
                    <a:pt x="1171429" y="1050581"/>
                    <a:pt x="1164716" y="1050581"/>
                  </a:cubicBezTo>
                  <a:cubicBezTo>
                    <a:pt x="1158003" y="1050581"/>
                    <a:pt x="1154646" y="1047224"/>
                    <a:pt x="1154646" y="1040512"/>
                  </a:cubicBezTo>
                  <a:cubicBezTo>
                    <a:pt x="1154646" y="1033800"/>
                    <a:pt x="1158003" y="1030441"/>
                    <a:pt x="1164716" y="1030441"/>
                  </a:cubicBezTo>
                  <a:close/>
                  <a:moveTo>
                    <a:pt x="1439951" y="939813"/>
                  </a:moveTo>
                  <a:cubicBezTo>
                    <a:pt x="1446664" y="939813"/>
                    <a:pt x="1450020" y="943170"/>
                    <a:pt x="1450020" y="949882"/>
                  </a:cubicBezTo>
                  <a:cubicBezTo>
                    <a:pt x="1450020" y="956596"/>
                    <a:pt x="1443307" y="959953"/>
                    <a:pt x="1439951" y="959953"/>
                  </a:cubicBezTo>
                  <a:cubicBezTo>
                    <a:pt x="1436594" y="959953"/>
                    <a:pt x="1429881" y="956596"/>
                    <a:pt x="1429881" y="949882"/>
                  </a:cubicBezTo>
                  <a:cubicBezTo>
                    <a:pt x="1429881" y="943170"/>
                    <a:pt x="1436594" y="939813"/>
                    <a:pt x="1439951" y="939813"/>
                  </a:cubicBezTo>
                  <a:close/>
                  <a:moveTo>
                    <a:pt x="959967" y="933090"/>
                  </a:moveTo>
                  <a:cubicBezTo>
                    <a:pt x="963324" y="933090"/>
                    <a:pt x="970037" y="936445"/>
                    <a:pt x="970037" y="943159"/>
                  </a:cubicBezTo>
                  <a:cubicBezTo>
                    <a:pt x="970037" y="946516"/>
                    <a:pt x="966680" y="953228"/>
                    <a:pt x="959967" y="953228"/>
                  </a:cubicBezTo>
                  <a:cubicBezTo>
                    <a:pt x="953254" y="953228"/>
                    <a:pt x="946541" y="949871"/>
                    <a:pt x="949898" y="943159"/>
                  </a:cubicBezTo>
                  <a:cubicBezTo>
                    <a:pt x="949898" y="939803"/>
                    <a:pt x="953254" y="933090"/>
                    <a:pt x="959967" y="933090"/>
                  </a:cubicBezTo>
                  <a:close/>
                  <a:moveTo>
                    <a:pt x="1728613" y="859262"/>
                  </a:moveTo>
                  <a:cubicBezTo>
                    <a:pt x="1728613" y="859262"/>
                    <a:pt x="1731970" y="859262"/>
                    <a:pt x="1731970" y="862618"/>
                  </a:cubicBezTo>
                  <a:cubicBezTo>
                    <a:pt x="1731970" y="862618"/>
                    <a:pt x="1731970" y="865975"/>
                    <a:pt x="1728613" y="865975"/>
                  </a:cubicBezTo>
                  <a:cubicBezTo>
                    <a:pt x="1725256" y="865975"/>
                    <a:pt x="1721900" y="865975"/>
                    <a:pt x="1725256" y="862618"/>
                  </a:cubicBezTo>
                  <a:cubicBezTo>
                    <a:pt x="1725256" y="862618"/>
                    <a:pt x="1728613" y="859262"/>
                    <a:pt x="1728613" y="859262"/>
                  </a:cubicBezTo>
                  <a:close/>
                  <a:moveTo>
                    <a:pt x="1235203" y="845825"/>
                  </a:moveTo>
                  <a:cubicBezTo>
                    <a:pt x="1238560" y="845825"/>
                    <a:pt x="1241916" y="849182"/>
                    <a:pt x="1241916" y="852538"/>
                  </a:cubicBezTo>
                  <a:cubicBezTo>
                    <a:pt x="1241916" y="855895"/>
                    <a:pt x="1238560" y="859251"/>
                    <a:pt x="1235203" y="859251"/>
                  </a:cubicBezTo>
                  <a:cubicBezTo>
                    <a:pt x="1231847" y="859251"/>
                    <a:pt x="1228490" y="855895"/>
                    <a:pt x="1228490" y="852538"/>
                  </a:cubicBezTo>
                  <a:cubicBezTo>
                    <a:pt x="1228490" y="849182"/>
                    <a:pt x="1231847" y="845825"/>
                    <a:pt x="1235203" y="845825"/>
                  </a:cubicBezTo>
                  <a:close/>
                  <a:moveTo>
                    <a:pt x="2027344" y="778710"/>
                  </a:moveTo>
                  <a:cubicBezTo>
                    <a:pt x="2027344" y="778710"/>
                    <a:pt x="2030700" y="778710"/>
                    <a:pt x="2027344" y="782066"/>
                  </a:cubicBezTo>
                  <a:cubicBezTo>
                    <a:pt x="2023987" y="778710"/>
                    <a:pt x="2027344" y="778710"/>
                    <a:pt x="2027344" y="778710"/>
                  </a:cubicBezTo>
                  <a:close/>
                  <a:moveTo>
                    <a:pt x="1523864" y="751848"/>
                  </a:moveTo>
                  <a:cubicBezTo>
                    <a:pt x="1530577" y="751848"/>
                    <a:pt x="1537290" y="758561"/>
                    <a:pt x="1537290" y="765275"/>
                  </a:cubicBezTo>
                  <a:cubicBezTo>
                    <a:pt x="1537290" y="771987"/>
                    <a:pt x="1530577" y="778701"/>
                    <a:pt x="1523864" y="778701"/>
                  </a:cubicBezTo>
                  <a:cubicBezTo>
                    <a:pt x="1517151" y="778701"/>
                    <a:pt x="1510438" y="771987"/>
                    <a:pt x="1510438" y="765275"/>
                  </a:cubicBezTo>
                  <a:cubicBezTo>
                    <a:pt x="1510438" y="758561"/>
                    <a:pt x="1517151" y="751848"/>
                    <a:pt x="1523864" y="751848"/>
                  </a:cubicBezTo>
                  <a:close/>
                  <a:moveTo>
                    <a:pt x="1033811" y="745126"/>
                  </a:moveTo>
                  <a:cubicBezTo>
                    <a:pt x="1037168" y="745126"/>
                    <a:pt x="1040524" y="748481"/>
                    <a:pt x="1040524" y="751838"/>
                  </a:cubicBezTo>
                  <a:cubicBezTo>
                    <a:pt x="1040524" y="755194"/>
                    <a:pt x="1037168" y="758551"/>
                    <a:pt x="1033811" y="758551"/>
                  </a:cubicBezTo>
                  <a:cubicBezTo>
                    <a:pt x="1030454" y="758551"/>
                    <a:pt x="1027098" y="755194"/>
                    <a:pt x="1027098" y="751838"/>
                  </a:cubicBezTo>
                  <a:cubicBezTo>
                    <a:pt x="1027098" y="748481"/>
                    <a:pt x="1030454" y="745126"/>
                    <a:pt x="1033811" y="745126"/>
                  </a:cubicBezTo>
                  <a:close/>
                  <a:moveTo>
                    <a:pt x="1822596" y="681366"/>
                  </a:moveTo>
                  <a:cubicBezTo>
                    <a:pt x="1822596" y="681366"/>
                    <a:pt x="1825953" y="681366"/>
                    <a:pt x="1822596" y="684723"/>
                  </a:cubicBezTo>
                  <a:cubicBezTo>
                    <a:pt x="1819240" y="681366"/>
                    <a:pt x="1819240" y="681366"/>
                    <a:pt x="1822596" y="681366"/>
                  </a:cubicBezTo>
                  <a:close/>
                  <a:moveTo>
                    <a:pt x="1319117" y="654504"/>
                  </a:moveTo>
                  <a:cubicBezTo>
                    <a:pt x="1325830" y="654504"/>
                    <a:pt x="1329186" y="657861"/>
                    <a:pt x="1329186" y="664574"/>
                  </a:cubicBezTo>
                  <a:cubicBezTo>
                    <a:pt x="1329186" y="671286"/>
                    <a:pt x="1325830" y="674643"/>
                    <a:pt x="1319117" y="674643"/>
                  </a:cubicBezTo>
                  <a:cubicBezTo>
                    <a:pt x="1315760" y="674643"/>
                    <a:pt x="1309047" y="671286"/>
                    <a:pt x="1309047" y="664574"/>
                  </a:cubicBezTo>
                  <a:cubicBezTo>
                    <a:pt x="1309047" y="657861"/>
                    <a:pt x="1312404" y="654504"/>
                    <a:pt x="1319117" y="654504"/>
                  </a:cubicBezTo>
                  <a:close/>
                  <a:moveTo>
                    <a:pt x="2131396" y="607528"/>
                  </a:moveTo>
                  <a:cubicBezTo>
                    <a:pt x="2131396" y="607528"/>
                    <a:pt x="2134753" y="607528"/>
                    <a:pt x="2131396" y="610885"/>
                  </a:cubicBezTo>
                  <a:lnTo>
                    <a:pt x="2131396" y="609627"/>
                  </a:lnTo>
                  <a:close/>
                  <a:moveTo>
                    <a:pt x="1617847" y="577309"/>
                  </a:moveTo>
                  <a:cubicBezTo>
                    <a:pt x="1621204" y="577309"/>
                    <a:pt x="1624560" y="580666"/>
                    <a:pt x="1624560" y="584023"/>
                  </a:cubicBezTo>
                  <a:cubicBezTo>
                    <a:pt x="1624560" y="587379"/>
                    <a:pt x="1621204" y="590735"/>
                    <a:pt x="1617847" y="590735"/>
                  </a:cubicBezTo>
                  <a:cubicBezTo>
                    <a:pt x="1614491" y="590735"/>
                    <a:pt x="1611134" y="587379"/>
                    <a:pt x="1611134" y="584023"/>
                  </a:cubicBezTo>
                  <a:cubicBezTo>
                    <a:pt x="1611134" y="580666"/>
                    <a:pt x="1614491" y="577309"/>
                    <a:pt x="1617847" y="577309"/>
                  </a:cubicBezTo>
                  <a:close/>
                  <a:moveTo>
                    <a:pt x="1926649" y="506828"/>
                  </a:moveTo>
                  <a:cubicBezTo>
                    <a:pt x="1926649" y="506828"/>
                    <a:pt x="1930005" y="506828"/>
                    <a:pt x="1930005" y="510184"/>
                  </a:cubicBezTo>
                  <a:cubicBezTo>
                    <a:pt x="1930005" y="510184"/>
                    <a:pt x="1930005" y="513541"/>
                    <a:pt x="1926649" y="513541"/>
                  </a:cubicBezTo>
                  <a:cubicBezTo>
                    <a:pt x="1923292" y="513541"/>
                    <a:pt x="1923292" y="510184"/>
                    <a:pt x="1923292" y="510184"/>
                  </a:cubicBezTo>
                  <a:cubicBezTo>
                    <a:pt x="1923292" y="510184"/>
                    <a:pt x="1923292" y="506828"/>
                    <a:pt x="1926649" y="506828"/>
                  </a:cubicBezTo>
                  <a:close/>
                  <a:moveTo>
                    <a:pt x="1413099" y="476608"/>
                  </a:moveTo>
                  <a:cubicBezTo>
                    <a:pt x="1419812" y="476608"/>
                    <a:pt x="1423168" y="479965"/>
                    <a:pt x="1423168" y="486678"/>
                  </a:cubicBezTo>
                  <a:cubicBezTo>
                    <a:pt x="1423168" y="493391"/>
                    <a:pt x="1419812" y="496747"/>
                    <a:pt x="1413099" y="496747"/>
                  </a:cubicBezTo>
                  <a:cubicBezTo>
                    <a:pt x="1406386" y="496747"/>
                    <a:pt x="1403029" y="490034"/>
                    <a:pt x="1403029" y="486678"/>
                  </a:cubicBezTo>
                  <a:cubicBezTo>
                    <a:pt x="1403029" y="479965"/>
                    <a:pt x="1406386" y="476608"/>
                    <a:pt x="1413099" y="476608"/>
                  </a:cubicBezTo>
                  <a:close/>
                  <a:moveTo>
                    <a:pt x="2252232" y="439702"/>
                  </a:moveTo>
                  <a:cubicBezTo>
                    <a:pt x="2252232" y="439702"/>
                    <a:pt x="2255588" y="443059"/>
                    <a:pt x="2252232" y="446415"/>
                  </a:cubicBezTo>
                  <a:cubicBezTo>
                    <a:pt x="2248875" y="439702"/>
                    <a:pt x="2248875" y="439702"/>
                    <a:pt x="2252232" y="439702"/>
                  </a:cubicBezTo>
                  <a:close/>
                  <a:moveTo>
                    <a:pt x="1721900" y="402770"/>
                  </a:moveTo>
                  <a:cubicBezTo>
                    <a:pt x="1725256" y="402770"/>
                    <a:pt x="1728613" y="406126"/>
                    <a:pt x="1728613" y="409483"/>
                  </a:cubicBezTo>
                  <a:cubicBezTo>
                    <a:pt x="1728613" y="412839"/>
                    <a:pt x="1725256" y="416196"/>
                    <a:pt x="1721900" y="416196"/>
                  </a:cubicBezTo>
                  <a:cubicBezTo>
                    <a:pt x="1718543" y="416196"/>
                    <a:pt x="1715187" y="412839"/>
                    <a:pt x="1715187" y="409483"/>
                  </a:cubicBezTo>
                  <a:cubicBezTo>
                    <a:pt x="1715187" y="406126"/>
                    <a:pt x="1718543" y="402770"/>
                    <a:pt x="1721900" y="402770"/>
                  </a:cubicBezTo>
                  <a:close/>
                  <a:moveTo>
                    <a:pt x="2044126" y="339001"/>
                  </a:moveTo>
                  <a:cubicBezTo>
                    <a:pt x="2044126" y="339001"/>
                    <a:pt x="2047483" y="342358"/>
                    <a:pt x="2044126" y="345715"/>
                  </a:cubicBezTo>
                  <a:cubicBezTo>
                    <a:pt x="2040770" y="339001"/>
                    <a:pt x="2040770" y="339001"/>
                    <a:pt x="2044126" y="339001"/>
                  </a:cubicBezTo>
                  <a:close/>
                  <a:moveTo>
                    <a:pt x="1517151" y="305426"/>
                  </a:moveTo>
                  <a:cubicBezTo>
                    <a:pt x="1517151" y="305426"/>
                    <a:pt x="1520508" y="308782"/>
                    <a:pt x="1517151" y="312139"/>
                  </a:cubicBezTo>
                  <a:cubicBezTo>
                    <a:pt x="1513795" y="308782"/>
                    <a:pt x="1513795" y="308782"/>
                    <a:pt x="1517151" y="305426"/>
                  </a:cubicBezTo>
                  <a:close/>
                  <a:moveTo>
                    <a:pt x="2379780" y="285303"/>
                  </a:moveTo>
                  <a:cubicBezTo>
                    <a:pt x="2379780" y="285303"/>
                    <a:pt x="2383136" y="285303"/>
                    <a:pt x="2379780" y="288659"/>
                  </a:cubicBezTo>
                  <a:cubicBezTo>
                    <a:pt x="2376424" y="285303"/>
                    <a:pt x="2379780" y="285303"/>
                    <a:pt x="2379780" y="285303"/>
                  </a:cubicBezTo>
                  <a:close/>
                  <a:moveTo>
                    <a:pt x="1834762" y="240820"/>
                  </a:moveTo>
                  <a:cubicBezTo>
                    <a:pt x="1835182" y="239980"/>
                    <a:pt x="1836021" y="239980"/>
                    <a:pt x="1836021" y="241658"/>
                  </a:cubicBezTo>
                  <a:cubicBezTo>
                    <a:pt x="1836021" y="241658"/>
                    <a:pt x="1839378" y="241658"/>
                    <a:pt x="1836021" y="245015"/>
                  </a:cubicBezTo>
                  <a:cubicBezTo>
                    <a:pt x="1834343" y="243337"/>
                    <a:pt x="1834343" y="241658"/>
                    <a:pt x="1834762" y="240820"/>
                  </a:cubicBezTo>
                  <a:close/>
                  <a:moveTo>
                    <a:pt x="2168318" y="181245"/>
                  </a:moveTo>
                  <a:cubicBezTo>
                    <a:pt x="2168318" y="181245"/>
                    <a:pt x="2171675" y="181245"/>
                    <a:pt x="2168318" y="184602"/>
                  </a:cubicBezTo>
                  <a:cubicBezTo>
                    <a:pt x="2168318" y="181245"/>
                    <a:pt x="2168318" y="181245"/>
                    <a:pt x="2168318" y="181245"/>
                  </a:cubicBezTo>
                  <a:close/>
                  <a:moveTo>
                    <a:pt x="2520754" y="137617"/>
                  </a:moveTo>
                  <a:cubicBezTo>
                    <a:pt x="2520754" y="137617"/>
                    <a:pt x="2524110" y="137617"/>
                    <a:pt x="2520754" y="140974"/>
                  </a:cubicBezTo>
                  <a:cubicBezTo>
                    <a:pt x="2517397" y="137617"/>
                    <a:pt x="2520754" y="137617"/>
                    <a:pt x="2520754" y="137617"/>
                  </a:cubicBezTo>
                  <a:close/>
                  <a:moveTo>
                    <a:pt x="1960213" y="77189"/>
                  </a:moveTo>
                  <a:cubicBezTo>
                    <a:pt x="1960213" y="77189"/>
                    <a:pt x="1963570" y="80545"/>
                    <a:pt x="1960213" y="83901"/>
                  </a:cubicBezTo>
                  <a:cubicBezTo>
                    <a:pt x="1956856" y="80545"/>
                    <a:pt x="1956856" y="77189"/>
                    <a:pt x="1960213" y="77189"/>
                  </a:cubicBezTo>
                  <a:close/>
                  <a:moveTo>
                    <a:pt x="2305936" y="30203"/>
                  </a:moveTo>
                  <a:cubicBezTo>
                    <a:pt x="2305936" y="30203"/>
                    <a:pt x="2309293" y="30203"/>
                    <a:pt x="2305936" y="33559"/>
                  </a:cubicBezTo>
                  <a:cubicBezTo>
                    <a:pt x="2302580" y="30203"/>
                    <a:pt x="2305936" y="30203"/>
                    <a:pt x="2305936" y="30203"/>
                  </a:cubicBezTo>
                  <a:close/>
                  <a:moveTo>
                    <a:pt x="2668441" y="0"/>
                  </a:moveTo>
                  <a:cubicBezTo>
                    <a:pt x="2668441" y="0"/>
                    <a:pt x="2671798" y="0"/>
                    <a:pt x="2668441" y="3357"/>
                  </a:cubicBezTo>
                  <a:cubicBezTo>
                    <a:pt x="2668441" y="0"/>
                    <a:pt x="2668441" y="0"/>
                    <a:pt x="2668441" y="0"/>
                  </a:cubicBezTo>
                  <a:close/>
                </a:path>
              </a:pathLst>
            </a:custGeom>
            <a:gradFill>
              <a:gsLst>
                <a:gs pos="0">
                  <a:schemeClr val="accent3">
                    <a:alpha val="0"/>
                  </a:schemeClr>
                </a:gs>
                <a:gs pos="100000">
                  <a:schemeClr val="accent1">
                    <a:lumMod val="75000"/>
                    <a:alpha val="17000"/>
                  </a:schemeClr>
                </a:gs>
              </a:gsLst>
              <a:lin ang="10800000" scaled="1"/>
            </a:gradFill>
            <a:ln w="315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2" name="Freeform: Shape 431">
              <a:extLst>
                <a:ext uri="{FF2B5EF4-FFF2-40B4-BE49-F238E27FC236}">
                  <a16:creationId xmlns:a16="http://schemas.microsoft.com/office/drawing/2014/main" id="{26934EBC-A3C8-4EB9-98EA-48FCE28389E7}"/>
                </a:ext>
                <a:ext uri="{C183D7F6-B498-43B3-948B-1728B52AA6E4}">
                  <adec:decorative xmlns:adec="http://schemas.microsoft.com/office/drawing/2017/decorative" val="1"/>
                </a:ext>
              </a:extLst>
            </p:cNvPr>
            <p:cNvSpPr/>
            <p:nvPr/>
          </p:nvSpPr>
          <p:spPr bwMode="auto">
            <a:xfrm>
              <a:off x="9964417" y="1"/>
              <a:ext cx="2472059" cy="3276183"/>
            </a:xfrm>
            <a:custGeom>
              <a:avLst/>
              <a:gdLst>
                <a:gd name="connsiteX0" fmla="*/ 434012 w 2472059"/>
                <a:gd name="connsiteY0" fmla="*/ 0 h 3276183"/>
                <a:gd name="connsiteX1" fmla="*/ 2472059 w 2472059"/>
                <a:gd name="connsiteY1" fmla="*/ 0 h 3276183"/>
                <a:gd name="connsiteX2" fmla="*/ 2472059 w 2472059"/>
                <a:gd name="connsiteY2" fmla="*/ 3225260 h 3276183"/>
                <a:gd name="connsiteX3" fmla="*/ 2434078 w 2472059"/>
                <a:gd name="connsiteY3" fmla="*/ 3235026 h 3276183"/>
                <a:gd name="connsiteX4" fmla="*/ 2025807 w 2472059"/>
                <a:gd name="connsiteY4" fmla="*/ 3276183 h 3276183"/>
                <a:gd name="connsiteX5" fmla="*/ 0 w 2472059"/>
                <a:gd name="connsiteY5" fmla="*/ 1250376 h 3276183"/>
                <a:gd name="connsiteX6" fmla="*/ 345976 w 2472059"/>
                <a:gd name="connsiteY6" fmla="*/ 117728 h 3276183"/>
                <a:gd name="connsiteX0" fmla="*/ 2472059 w 2563499"/>
                <a:gd name="connsiteY0" fmla="*/ 0 h 3276183"/>
                <a:gd name="connsiteX1" fmla="*/ 2472059 w 2563499"/>
                <a:gd name="connsiteY1" fmla="*/ 3225260 h 3276183"/>
                <a:gd name="connsiteX2" fmla="*/ 2434078 w 2563499"/>
                <a:gd name="connsiteY2" fmla="*/ 3235026 h 3276183"/>
                <a:gd name="connsiteX3" fmla="*/ 2025807 w 2563499"/>
                <a:gd name="connsiteY3" fmla="*/ 3276183 h 3276183"/>
                <a:gd name="connsiteX4" fmla="*/ 0 w 2563499"/>
                <a:gd name="connsiteY4" fmla="*/ 1250376 h 3276183"/>
                <a:gd name="connsiteX5" fmla="*/ 345976 w 2563499"/>
                <a:gd name="connsiteY5" fmla="*/ 117728 h 3276183"/>
                <a:gd name="connsiteX6" fmla="*/ 434012 w 2563499"/>
                <a:gd name="connsiteY6" fmla="*/ 0 h 3276183"/>
                <a:gd name="connsiteX7" fmla="*/ 2563499 w 2563499"/>
                <a:gd name="connsiteY7" fmla="*/ 91440 h 3276183"/>
                <a:gd name="connsiteX0" fmla="*/ 2472059 w 2472059"/>
                <a:gd name="connsiteY0" fmla="*/ 0 h 3276183"/>
                <a:gd name="connsiteX1" fmla="*/ 2472059 w 2472059"/>
                <a:gd name="connsiteY1" fmla="*/ 3225260 h 3276183"/>
                <a:gd name="connsiteX2" fmla="*/ 2434078 w 2472059"/>
                <a:gd name="connsiteY2" fmla="*/ 3235026 h 3276183"/>
                <a:gd name="connsiteX3" fmla="*/ 2025807 w 2472059"/>
                <a:gd name="connsiteY3" fmla="*/ 3276183 h 3276183"/>
                <a:gd name="connsiteX4" fmla="*/ 0 w 2472059"/>
                <a:gd name="connsiteY4" fmla="*/ 1250376 h 3276183"/>
                <a:gd name="connsiteX5" fmla="*/ 345976 w 2472059"/>
                <a:gd name="connsiteY5" fmla="*/ 117728 h 3276183"/>
                <a:gd name="connsiteX6" fmla="*/ 434012 w 2472059"/>
                <a:gd name="connsiteY6" fmla="*/ 0 h 3276183"/>
                <a:gd name="connsiteX0" fmla="*/ 2472059 w 2472059"/>
                <a:gd name="connsiteY0" fmla="*/ 3225260 h 3276183"/>
                <a:gd name="connsiteX1" fmla="*/ 2434078 w 2472059"/>
                <a:gd name="connsiteY1" fmla="*/ 3235026 h 3276183"/>
                <a:gd name="connsiteX2" fmla="*/ 2025807 w 2472059"/>
                <a:gd name="connsiteY2" fmla="*/ 3276183 h 3276183"/>
                <a:gd name="connsiteX3" fmla="*/ 0 w 2472059"/>
                <a:gd name="connsiteY3" fmla="*/ 1250376 h 3276183"/>
                <a:gd name="connsiteX4" fmla="*/ 345976 w 2472059"/>
                <a:gd name="connsiteY4" fmla="*/ 117728 h 3276183"/>
                <a:gd name="connsiteX5" fmla="*/ 434012 w 2472059"/>
                <a:gd name="connsiteY5" fmla="*/ 0 h 327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059" h="3276183">
                  <a:moveTo>
                    <a:pt x="2472059" y="3225260"/>
                  </a:moveTo>
                  <a:lnTo>
                    <a:pt x="2434078" y="3235026"/>
                  </a:lnTo>
                  <a:cubicBezTo>
                    <a:pt x="2302203" y="3262012"/>
                    <a:pt x="2165660" y="3276183"/>
                    <a:pt x="2025807" y="3276183"/>
                  </a:cubicBezTo>
                  <a:cubicBezTo>
                    <a:pt x="906985" y="3276183"/>
                    <a:pt x="0" y="2369198"/>
                    <a:pt x="0" y="1250376"/>
                  </a:cubicBezTo>
                  <a:cubicBezTo>
                    <a:pt x="0" y="830818"/>
                    <a:pt x="127545" y="441049"/>
                    <a:pt x="345976" y="117728"/>
                  </a:cubicBezTo>
                  <a:lnTo>
                    <a:pt x="434012" y="0"/>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9" name="Freeform: Shape 428">
              <a:extLst>
                <a:ext uri="{FF2B5EF4-FFF2-40B4-BE49-F238E27FC236}">
                  <a16:creationId xmlns:a16="http://schemas.microsoft.com/office/drawing/2014/main" id="{3D5BB046-6676-4A99-B3C2-F5F55B8928C9}"/>
                </a:ext>
                <a:ext uri="{C183D7F6-B498-43B3-948B-1728B52AA6E4}">
                  <adec:decorative xmlns:adec="http://schemas.microsoft.com/office/drawing/2017/decorative" val="1"/>
                </a:ext>
              </a:extLst>
            </p:cNvPr>
            <p:cNvSpPr/>
            <p:nvPr/>
          </p:nvSpPr>
          <p:spPr bwMode="auto">
            <a:xfrm>
              <a:off x="8269732" y="273850"/>
              <a:ext cx="4166742" cy="5353012"/>
            </a:xfrm>
            <a:custGeom>
              <a:avLst/>
              <a:gdLst>
                <a:gd name="connsiteX0" fmla="*/ 2676506 w 4166742"/>
                <a:gd name="connsiteY0" fmla="*/ 0 h 5353012"/>
                <a:gd name="connsiteX1" fmla="*/ 3952288 w 4166742"/>
                <a:gd name="connsiteY1" fmla="*/ 323040 h 5353012"/>
                <a:gd name="connsiteX2" fmla="*/ 4166742 w 4166742"/>
                <a:gd name="connsiteY2" fmla="*/ 453324 h 5353012"/>
                <a:gd name="connsiteX3" fmla="*/ 4166742 w 4166742"/>
                <a:gd name="connsiteY3" fmla="*/ 4899688 h 5353012"/>
                <a:gd name="connsiteX4" fmla="*/ 3952288 w 4166742"/>
                <a:gd name="connsiteY4" fmla="*/ 5029972 h 5353012"/>
                <a:gd name="connsiteX5" fmla="*/ 2676506 w 4166742"/>
                <a:gd name="connsiteY5" fmla="*/ 5353012 h 5353012"/>
                <a:gd name="connsiteX6" fmla="*/ 0 w 4166742"/>
                <a:gd name="connsiteY6" fmla="*/ 2676506 h 5353012"/>
                <a:gd name="connsiteX7" fmla="*/ 2676506 w 4166742"/>
                <a:gd name="connsiteY7" fmla="*/ 0 h 5353012"/>
                <a:gd name="connsiteX0" fmla="*/ 2676506 w 4183525"/>
                <a:gd name="connsiteY0" fmla="*/ 0 h 5353012"/>
                <a:gd name="connsiteX1" fmla="*/ 3952288 w 4183525"/>
                <a:gd name="connsiteY1" fmla="*/ 323040 h 5353012"/>
                <a:gd name="connsiteX2" fmla="*/ 4166742 w 4183525"/>
                <a:gd name="connsiteY2" fmla="*/ 453324 h 5353012"/>
                <a:gd name="connsiteX3" fmla="*/ 4183525 w 4183525"/>
                <a:gd name="connsiteY3" fmla="*/ 2556436 h 5353012"/>
                <a:gd name="connsiteX4" fmla="*/ 4166742 w 4183525"/>
                <a:gd name="connsiteY4" fmla="*/ 4899688 h 5353012"/>
                <a:gd name="connsiteX5" fmla="*/ 3952288 w 4183525"/>
                <a:gd name="connsiteY5" fmla="*/ 5029972 h 5353012"/>
                <a:gd name="connsiteX6" fmla="*/ 2676506 w 4183525"/>
                <a:gd name="connsiteY6" fmla="*/ 5353012 h 5353012"/>
                <a:gd name="connsiteX7" fmla="*/ 0 w 4183525"/>
                <a:gd name="connsiteY7" fmla="*/ 2676506 h 5353012"/>
                <a:gd name="connsiteX8" fmla="*/ 2676506 w 4183525"/>
                <a:gd name="connsiteY8" fmla="*/ 0 h 5353012"/>
                <a:gd name="connsiteX0" fmla="*/ 4183525 w 4274965"/>
                <a:gd name="connsiteY0" fmla="*/ 2556436 h 5353012"/>
                <a:gd name="connsiteX1" fmla="*/ 4166742 w 4274965"/>
                <a:gd name="connsiteY1" fmla="*/ 4899688 h 5353012"/>
                <a:gd name="connsiteX2" fmla="*/ 3952288 w 4274965"/>
                <a:gd name="connsiteY2" fmla="*/ 5029972 h 5353012"/>
                <a:gd name="connsiteX3" fmla="*/ 2676506 w 4274965"/>
                <a:gd name="connsiteY3" fmla="*/ 5353012 h 5353012"/>
                <a:gd name="connsiteX4" fmla="*/ 0 w 4274965"/>
                <a:gd name="connsiteY4" fmla="*/ 2676506 h 5353012"/>
                <a:gd name="connsiteX5" fmla="*/ 2676506 w 4274965"/>
                <a:gd name="connsiteY5" fmla="*/ 0 h 5353012"/>
                <a:gd name="connsiteX6" fmla="*/ 3952288 w 4274965"/>
                <a:gd name="connsiteY6" fmla="*/ 323040 h 5353012"/>
                <a:gd name="connsiteX7" fmla="*/ 4166742 w 4274965"/>
                <a:gd name="connsiteY7" fmla="*/ 453324 h 5353012"/>
                <a:gd name="connsiteX8" fmla="*/ 4274965 w 4274965"/>
                <a:gd name="connsiteY8" fmla="*/ 2647876 h 5353012"/>
                <a:gd name="connsiteX0" fmla="*/ 4183525 w 4183525"/>
                <a:gd name="connsiteY0" fmla="*/ 2556436 h 5353012"/>
                <a:gd name="connsiteX1" fmla="*/ 4166742 w 4183525"/>
                <a:gd name="connsiteY1" fmla="*/ 4899688 h 5353012"/>
                <a:gd name="connsiteX2" fmla="*/ 3952288 w 4183525"/>
                <a:gd name="connsiteY2" fmla="*/ 5029972 h 5353012"/>
                <a:gd name="connsiteX3" fmla="*/ 2676506 w 4183525"/>
                <a:gd name="connsiteY3" fmla="*/ 5353012 h 5353012"/>
                <a:gd name="connsiteX4" fmla="*/ 0 w 4183525"/>
                <a:gd name="connsiteY4" fmla="*/ 2676506 h 5353012"/>
                <a:gd name="connsiteX5" fmla="*/ 2676506 w 4183525"/>
                <a:gd name="connsiteY5" fmla="*/ 0 h 5353012"/>
                <a:gd name="connsiteX6" fmla="*/ 3952288 w 4183525"/>
                <a:gd name="connsiteY6" fmla="*/ 323040 h 5353012"/>
                <a:gd name="connsiteX7" fmla="*/ 4166742 w 4183525"/>
                <a:gd name="connsiteY7" fmla="*/ 453324 h 5353012"/>
                <a:gd name="connsiteX0" fmla="*/ 4166742 w 4166742"/>
                <a:gd name="connsiteY0" fmla="*/ 4899688 h 5353012"/>
                <a:gd name="connsiteX1" fmla="*/ 3952288 w 4166742"/>
                <a:gd name="connsiteY1" fmla="*/ 5029972 h 5353012"/>
                <a:gd name="connsiteX2" fmla="*/ 2676506 w 4166742"/>
                <a:gd name="connsiteY2" fmla="*/ 5353012 h 5353012"/>
                <a:gd name="connsiteX3" fmla="*/ 0 w 4166742"/>
                <a:gd name="connsiteY3" fmla="*/ 2676506 h 5353012"/>
                <a:gd name="connsiteX4" fmla="*/ 2676506 w 4166742"/>
                <a:gd name="connsiteY4" fmla="*/ 0 h 5353012"/>
                <a:gd name="connsiteX5" fmla="*/ 3952288 w 4166742"/>
                <a:gd name="connsiteY5" fmla="*/ 323040 h 5353012"/>
                <a:gd name="connsiteX6" fmla="*/ 4166742 w 4166742"/>
                <a:gd name="connsiteY6" fmla="*/ 453324 h 535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6742" h="5353012">
                  <a:moveTo>
                    <a:pt x="4166742" y="4899688"/>
                  </a:moveTo>
                  <a:lnTo>
                    <a:pt x="3952288" y="5029972"/>
                  </a:lnTo>
                  <a:cubicBezTo>
                    <a:pt x="3573045" y="5235989"/>
                    <a:pt x="3138441" y="5353012"/>
                    <a:pt x="2676506" y="5353012"/>
                  </a:cubicBezTo>
                  <a:cubicBezTo>
                    <a:pt x="1198313" y="5353012"/>
                    <a:pt x="0" y="4154699"/>
                    <a:pt x="0" y="2676506"/>
                  </a:cubicBezTo>
                  <a:cubicBezTo>
                    <a:pt x="0" y="1198313"/>
                    <a:pt x="1198313" y="0"/>
                    <a:pt x="2676506" y="0"/>
                  </a:cubicBezTo>
                  <a:cubicBezTo>
                    <a:pt x="3138441" y="0"/>
                    <a:pt x="3573045" y="117023"/>
                    <a:pt x="3952288" y="323040"/>
                  </a:cubicBezTo>
                  <a:lnTo>
                    <a:pt x="4166742" y="453324"/>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5" name="Oval 424">
              <a:extLst>
                <a:ext uri="{FF2B5EF4-FFF2-40B4-BE49-F238E27FC236}">
                  <a16:creationId xmlns:a16="http://schemas.microsoft.com/office/drawing/2014/main" id="{78D2A8BB-A828-48B2-ADDC-1AD08542C897}"/>
                </a:ext>
                <a:ext uri="{C183D7F6-B498-43B3-948B-1728B52AA6E4}">
                  <adec:decorative xmlns:adec="http://schemas.microsoft.com/office/drawing/2017/decorative" val="1"/>
                </a:ext>
              </a:extLst>
            </p:cNvPr>
            <p:cNvSpPr/>
            <p:nvPr/>
          </p:nvSpPr>
          <p:spPr bwMode="auto">
            <a:xfrm>
              <a:off x="6640957" y="159550"/>
              <a:ext cx="2612302" cy="2612302"/>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3" name="Oval 422">
              <a:extLst>
                <a:ext uri="{FF2B5EF4-FFF2-40B4-BE49-F238E27FC236}">
                  <a16:creationId xmlns:a16="http://schemas.microsoft.com/office/drawing/2014/main" id="{6BA45FB5-FCF3-4F8D-9301-CB64B8D8A098}"/>
                </a:ext>
                <a:ext uri="{C183D7F6-B498-43B3-948B-1728B52AA6E4}">
                  <adec:decorative xmlns:adec="http://schemas.microsoft.com/office/drawing/2017/decorative" val="1"/>
                </a:ext>
              </a:extLst>
            </p:cNvPr>
            <p:cNvSpPr/>
            <p:nvPr/>
          </p:nvSpPr>
          <p:spPr bwMode="auto">
            <a:xfrm>
              <a:off x="5100013" y="1753890"/>
              <a:ext cx="2333303" cy="2333303"/>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8" name="Freeform: Shape 427">
              <a:extLst>
                <a:ext uri="{FF2B5EF4-FFF2-40B4-BE49-F238E27FC236}">
                  <a16:creationId xmlns:a16="http://schemas.microsoft.com/office/drawing/2014/main" id="{5DA80B88-56AC-4EB6-A0C7-2A6E2097CD24}"/>
                </a:ext>
                <a:ext uri="{C183D7F6-B498-43B3-948B-1728B52AA6E4}">
                  <adec:decorative xmlns:adec="http://schemas.microsoft.com/office/drawing/2017/decorative" val="1"/>
                </a:ext>
              </a:extLst>
            </p:cNvPr>
            <p:cNvSpPr/>
            <p:nvPr/>
          </p:nvSpPr>
          <p:spPr bwMode="auto">
            <a:xfrm>
              <a:off x="4969026" y="3219435"/>
              <a:ext cx="4387050" cy="3775091"/>
            </a:xfrm>
            <a:custGeom>
              <a:avLst/>
              <a:gdLst>
                <a:gd name="connsiteX0" fmla="*/ 2193525 w 4387050"/>
                <a:gd name="connsiteY0" fmla="*/ 0 h 3775091"/>
                <a:gd name="connsiteX1" fmla="*/ 4387050 w 4387050"/>
                <a:gd name="connsiteY1" fmla="*/ 2193525 h 3775091"/>
                <a:gd name="connsiteX2" fmla="*/ 3744581 w 4387050"/>
                <a:gd name="connsiteY2" fmla="*/ 3744582 h 3775091"/>
                <a:gd name="connsiteX3" fmla="*/ 3711012 w 4387050"/>
                <a:gd name="connsiteY3" fmla="*/ 3775091 h 3775091"/>
                <a:gd name="connsiteX4" fmla="*/ 676038 w 4387050"/>
                <a:gd name="connsiteY4" fmla="*/ 3775091 h 3775091"/>
                <a:gd name="connsiteX5" fmla="*/ 642469 w 4387050"/>
                <a:gd name="connsiteY5" fmla="*/ 3744582 h 3775091"/>
                <a:gd name="connsiteX6" fmla="*/ 0 w 4387050"/>
                <a:gd name="connsiteY6" fmla="*/ 2193525 h 3775091"/>
                <a:gd name="connsiteX7" fmla="*/ 2193525 w 4387050"/>
                <a:gd name="connsiteY7" fmla="*/ 0 h 3775091"/>
                <a:gd name="connsiteX0" fmla="*/ 2193525 w 4387050"/>
                <a:gd name="connsiteY0" fmla="*/ 0 h 3790965"/>
                <a:gd name="connsiteX1" fmla="*/ 4387050 w 4387050"/>
                <a:gd name="connsiteY1" fmla="*/ 2193525 h 3790965"/>
                <a:gd name="connsiteX2" fmla="*/ 3744581 w 4387050"/>
                <a:gd name="connsiteY2" fmla="*/ 3744582 h 3790965"/>
                <a:gd name="connsiteX3" fmla="*/ 3711012 w 4387050"/>
                <a:gd name="connsiteY3" fmla="*/ 3775091 h 3790965"/>
                <a:gd name="connsiteX4" fmla="*/ 2084917 w 4387050"/>
                <a:gd name="connsiteY4" fmla="*/ 3790965 h 3790965"/>
                <a:gd name="connsiteX5" fmla="*/ 676038 w 4387050"/>
                <a:gd name="connsiteY5" fmla="*/ 3775091 h 3790965"/>
                <a:gd name="connsiteX6" fmla="*/ 642469 w 4387050"/>
                <a:gd name="connsiteY6" fmla="*/ 3744582 h 3790965"/>
                <a:gd name="connsiteX7" fmla="*/ 0 w 4387050"/>
                <a:gd name="connsiteY7" fmla="*/ 2193525 h 3790965"/>
                <a:gd name="connsiteX8" fmla="*/ 2193525 w 4387050"/>
                <a:gd name="connsiteY8" fmla="*/ 0 h 3790965"/>
                <a:gd name="connsiteX0" fmla="*/ 2084917 w 4387050"/>
                <a:gd name="connsiteY0" fmla="*/ 3790965 h 3882405"/>
                <a:gd name="connsiteX1" fmla="*/ 676038 w 4387050"/>
                <a:gd name="connsiteY1" fmla="*/ 3775091 h 3882405"/>
                <a:gd name="connsiteX2" fmla="*/ 642469 w 4387050"/>
                <a:gd name="connsiteY2" fmla="*/ 3744582 h 3882405"/>
                <a:gd name="connsiteX3" fmla="*/ 0 w 4387050"/>
                <a:gd name="connsiteY3" fmla="*/ 2193525 h 3882405"/>
                <a:gd name="connsiteX4" fmla="*/ 2193525 w 4387050"/>
                <a:gd name="connsiteY4" fmla="*/ 0 h 3882405"/>
                <a:gd name="connsiteX5" fmla="*/ 4387050 w 4387050"/>
                <a:gd name="connsiteY5" fmla="*/ 2193525 h 3882405"/>
                <a:gd name="connsiteX6" fmla="*/ 3744581 w 4387050"/>
                <a:gd name="connsiteY6" fmla="*/ 3744582 h 3882405"/>
                <a:gd name="connsiteX7" fmla="*/ 3711012 w 4387050"/>
                <a:gd name="connsiteY7" fmla="*/ 3775091 h 3882405"/>
                <a:gd name="connsiteX8" fmla="*/ 2176357 w 4387050"/>
                <a:gd name="connsiteY8" fmla="*/ 3882405 h 3882405"/>
                <a:gd name="connsiteX0" fmla="*/ 2084917 w 4387050"/>
                <a:gd name="connsiteY0" fmla="*/ 3790965 h 3790965"/>
                <a:gd name="connsiteX1" fmla="*/ 676038 w 4387050"/>
                <a:gd name="connsiteY1" fmla="*/ 3775091 h 3790965"/>
                <a:gd name="connsiteX2" fmla="*/ 642469 w 4387050"/>
                <a:gd name="connsiteY2" fmla="*/ 3744582 h 3790965"/>
                <a:gd name="connsiteX3" fmla="*/ 0 w 4387050"/>
                <a:gd name="connsiteY3" fmla="*/ 2193525 h 3790965"/>
                <a:gd name="connsiteX4" fmla="*/ 2193525 w 4387050"/>
                <a:gd name="connsiteY4" fmla="*/ 0 h 3790965"/>
                <a:gd name="connsiteX5" fmla="*/ 4387050 w 4387050"/>
                <a:gd name="connsiteY5" fmla="*/ 2193525 h 3790965"/>
                <a:gd name="connsiteX6" fmla="*/ 3744581 w 4387050"/>
                <a:gd name="connsiteY6" fmla="*/ 3744582 h 3790965"/>
                <a:gd name="connsiteX7" fmla="*/ 3711012 w 4387050"/>
                <a:gd name="connsiteY7" fmla="*/ 3775091 h 3790965"/>
                <a:gd name="connsiteX0" fmla="*/ 676038 w 4387050"/>
                <a:gd name="connsiteY0" fmla="*/ 3775091 h 3775091"/>
                <a:gd name="connsiteX1" fmla="*/ 642469 w 4387050"/>
                <a:gd name="connsiteY1" fmla="*/ 3744582 h 3775091"/>
                <a:gd name="connsiteX2" fmla="*/ 0 w 4387050"/>
                <a:gd name="connsiteY2" fmla="*/ 2193525 h 3775091"/>
                <a:gd name="connsiteX3" fmla="*/ 2193525 w 4387050"/>
                <a:gd name="connsiteY3" fmla="*/ 0 h 3775091"/>
                <a:gd name="connsiteX4" fmla="*/ 4387050 w 4387050"/>
                <a:gd name="connsiteY4" fmla="*/ 2193525 h 3775091"/>
                <a:gd name="connsiteX5" fmla="*/ 3744581 w 4387050"/>
                <a:gd name="connsiteY5" fmla="*/ 3744582 h 3775091"/>
                <a:gd name="connsiteX6" fmla="*/ 3711012 w 4387050"/>
                <a:gd name="connsiteY6" fmla="*/ 3775091 h 377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050" h="3775091">
                  <a:moveTo>
                    <a:pt x="676038" y="3775091"/>
                  </a:moveTo>
                  <a:lnTo>
                    <a:pt x="642469" y="3744582"/>
                  </a:lnTo>
                  <a:cubicBezTo>
                    <a:pt x="245519" y="3347631"/>
                    <a:pt x="0" y="2799250"/>
                    <a:pt x="0" y="2193525"/>
                  </a:cubicBezTo>
                  <a:cubicBezTo>
                    <a:pt x="0" y="982075"/>
                    <a:pt x="982075" y="0"/>
                    <a:pt x="2193525" y="0"/>
                  </a:cubicBezTo>
                  <a:cubicBezTo>
                    <a:pt x="3404975" y="0"/>
                    <a:pt x="4387050" y="982075"/>
                    <a:pt x="4387050" y="2193525"/>
                  </a:cubicBezTo>
                  <a:cubicBezTo>
                    <a:pt x="4387050" y="2799250"/>
                    <a:pt x="4141531" y="3347631"/>
                    <a:pt x="3744581" y="3744582"/>
                  </a:cubicBezTo>
                  <a:lnTo>
                    <a:pt x="3711012" y="3775091"/>
                  </a:lnTo>
                </a:path>
              </a:pathLst>
            </a:custGeom>
            <a:no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4" name="Oval 423">
              <a:extLst>
                <a:ext uri="{FF2B5EF4-FFF2-40B4-BE49-F238E27FC236}">
                  <a16:creationId xmlns:a16="http://schemas.microsoft.com/office/drawing/2014/main" id="{ABD070D0-5D8A-4A88-B8BA-6B4F41A7AE62}"/>
                </a:ext>
                <a:ext uri="{C183D7F6-B498-43B3-948B-1728B52AA6E4}">
                  <adec:decorative xmlns:adec="http://schemas.microsoft.com/office/drawing/2017/decorative" val="1"/>
                </a:ext>
              </a:extLst>
            </p:cNvPr>
            <p:cNvSpPr/>
            <p:nvPr/>
          </p:nvSpPr>
          <p:spPr bwMode="auto">
            <a:xfrm>
              <a:off x="9572917" y="4971181"/>
              <a:ext cx="1045789" cy="1045789"/>
            </a:xfrm>
            <a:prstGeom prst="ellipse">
              <a:avLst/>
            </a:prstGeom>
            <a:solidFill>
              <a:schemeClr val="tx2"/>
            </a:solidFill>
            <a:ln w="12700">
              <a:solidFill>
                <a:schemeClr val="accent2">
                  <a:lumMod val="60000"/>
                  <a:lumOff val="40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grpSp>
          <p:nvGrpSpPr>
            <p:cNvPr id="258" name="Graphic 10">
              <a:extLst>
                <a:ext uri="{FF2B5EF4-FFF2-40B4-BE49-F238E27FC236}">
                  <a16:creationId xmlns:a16="http://schemas.microsoft.com/office/drawing/2014/main" id="{9E19F295-4D67-41FC-9DA3-097441505B25}"/>
                </a:ext>
                <a:ext uri="{C183D7F6-B498-43B3-948B-1728B52AA6E4}">
                  <adec:decorative xmlns:adec="http://schemas.microsoft.com/office/drawing/2017/decorative" val="1"/>
                </a:ext>
              </a:extLst>
            </p:cNvPr>
            <p:cNvGrpSpPr/>
            <p:nvPr/>
          </p:nvGrpSpPr>
          <p:grpSpPr>
            <a:xfrm>
              <a:off x="4781433" y="2637350"/>
              <a:ext cx="7312233" cy="2281215"/>
              <a:chOff x="5337839" y="2790554"/>
              <a:chExt cx="6173152" cy="1925853"/>
            </a:xfrm>
            <a:solidFill>
              <a:schemeClr val="tx1">
                <a:alpha val="6000"/>
              </a:schemeClr>
            </a:solidFill>
            <a:effectLst/>
          </p:grpSpPr>
          <p:sp>
            <p:nvSpPr>
              <p:cNvPr id="259" name="Freeform: Shape 258">
                <a:extLst>
                  <a:ext uri="{FF2B5EF4-FFF2-40B4-BE49-F238E27FC236}">
                    <a16:creationId xmlns:a16="http://schemas.microsoft.com/office/drawing/2014/main" id="{9B4DAB63-6BE1-4032-8BCB-FFE333DDC054}"/>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0" name="Freeform: Shape 259">
                <a:extLst>
                  <a:ext uri="{FF2B5EF4-FFF2-40B4-BE49-F238E27FC236}">
                    <a16:creationId xmlns:a16="http://schemas.microsoft.com/office/drawing/2014/main" id="{EAD6907B-DAF9-4BA9-AFF6-A93BDC95A234}"/>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1" name="Freeform: Shape 260">
                <a:extLst>
                  <a:ext uri="{FF2B5EF4-FFF2-40B4-BE49-F238E27FC236}">
                    <a16:creationId xmlns:a16="http://schemas.microsoft.com/office/drawing/2014/main" id="{3F24F922-67B1-4629-AE4A-2A95AD64BE59}"/>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2" name="Freeform: Shape 261">
                <a:extLst>
                  <a:ext uri="{FF2B5EF4-FFF2-40B4-BE49-F238E27FC236}">
                    <a16:creationId xmlns:a16="http://schemas.microsoft.com/office/drawing/2014/main" id="{4B9B4F01-7753-41D7-A51F-268F266FC2CC}"/>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3" name="Freeform: Shape 262">
                <a:extLst>
                  <a:ext uri="{FF2B5EF4-FFF2-40B4-BE49-F238E27FC236}">
                    <a16:creationId xmlns:a16="http://schemas.microsoft.com/office/drawing/2014/main" id="{C46B9CA8-38A9-4216-9981-F0F78DE26649}"/>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4" name="Freeform: Shape 263">
                <a:extLst>
                  <a:ext uri="{FF2B5EF4-FFF2-40B4-BE49-F238E27FC236}">
                    <a16:creationId xmlns:a16="http://schemas.microsoft.com/office/drawing/2014/main" id="{0568DF80-0E28-4700-A635-19796D7CF2E5}"/>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5" name="Freeform: Shape 264">
                <a:extLst>
                  <a:ext uri="{FF2B5EF4-FFF2-40B4-BE49-F238E27FC236}">
                    <a16:creationId xmlns:a16="http://schemas.microsoft.com/office/drawing/2014/main" id="{076C73CE-3F8C-4CA4-AEB5-1A1D04C89861}"/>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6" name="Freeform: Shape 265">
                <a:extLst>
                  <a:ext uri="{FF2B5EF4-FFF2-40B4-BE49-F238E27FC236}">
                    <a16:creationId xmlns:a16="http://schemas.microsoft.com/office/drawing/2014/main" id="{5386F70C-D3EA-4654-A509-1E0C2DD34B52}"/>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7" name="Freeform: Shape 266">
                <a:extLst>
                  <a:ext uri="{FF2B5EF4-FFF2-40B4-BE49-F238E27FC236}">
                    <a16:creationId xmlns:a16="http://schemas.microsoft.com/office/drawing/2014/main" id="{5ABD362F-68C7-4F82-8019-36FC75B75024}"/>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8" name="Freeform: Shape 267">
                <a:extLst>
                  <a:ext uri="{FF2B5EF4-FFF2-40B4-BE49-F238E27FC236}">
                    <a16:creationId xmlns:a16="http://schemas.microsoft.com/office/drawing/2014/main" id="{895B7FEB-8611-4A02-9BDA-9175541DDC7F}"/>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9" name="Freeform: Shape 268">
                <a:extLst>
                  <a:ext uri="{FF2B5EF4-FFF2-40B4-BE49-F238E27FC236}">
                    <a16:creationId xmlns:a16="http://schemas.microsoft.com/office/drawing/2014/main" id="{AFD9F58D-4AAC-4371-85C6-5BD1AC7897B6}"/>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5F095661-359A-4E14-AC2D-051AD06F7DA8}"/>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Freeform: Shape 270">
                <a:extLst>
                  <a:ext uri="{FF2B5EF4-FFF2-40B4-BE49-F238E27FC236}">
                    <a16:creationId xmlns:a16="http://schemas.microsoft.com/office/drawing/2014/main" id="{AC34C483-7126-4800-A736-F3F387ED9C5F}"/>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2" name="Freeform: Shape 271">
                <a:extLst>
                  <a:ext uri="{FF2B5EF4-FFF2-40B4-BE49-F238E27FC236}">
                    <a16:creationId xmlns:a16="http://schemas.microsoft.com/office/drawing/2014/main" id="{4D42695C-AB92-4803-9D36-9DF22DCF2F52}"/>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3" name="Freeform: Shape 272">
                <a:extLst>
                  <a:ext uri="{FF2B5EF4-FFF2-40B4-BE49-F238E27FC236}">
                    <a16:creationId xmlns:a16="http://schemas.microsoft.com/office/drawing/2014/main" id="{084C2C87-6D4F-4502-80FA-700CEACC8FB0}"/>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4" name="Freeform: Shape 273">
                <a:extLst>
                  <a:ext uri="{FF2B5EF4-FFF2-40B4-BE49-F238E27FC236}">
                    <a16:creationId xmlns:a16="http://schemas.microsoft.com/office/drawing/2014/main" id="{6BFA5EB2-AA26-4DC5-A210-7184267646A8}"/>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5" name="Freeform: Shape 274">
                <a:extLst>
                  <a:ext uri="{FF2B5EF4-FFF2-40B4-BE49-F238E27FC236}">
                    <a16:creationId xmlns:a16="http://schemas.microsoft.com/office/drawing/2014/main" id="{C5398654-844D-4242-AF76-5E9A2B3D0165}"/>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6" name="Freeform: Shape 275">
                <a:extLst>
                  <a:ext uri="{FF2B5EF4-FFF2-40B4-BE49-F238E27FC236}">
                    <a16:creationId xmlns:a16="http://schemas.microsoft.com/office/drawing/2014/main" id="{AB127ED5-5C00-417A-9D96-19F0275B487C}"/>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7" name="Freeform: Shape 276">
                <a:extLst>
                  <a:ext uri="{FF2B5EF4-FFF2-40B4-BE49-F238E27FC236}">
                    <a16:creationId xmlns:a16="http://schemas.microsoft.com/office/drawing/2014/main" id="{75C0C420-D608-4E64-88EA-073F60AE8EA0}"/>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8" name="Freeform: Shape 277">
                <a:extLst>
                  <a:ext uri="{FF2B5EF4-FFF2-40B4-BE49-F238E27FC236}">
                    <a16:creationId xmlns:a16="http://schemas.microsoft.com/office/drawing/2014/main" id="{A2B472F9-E2E8-4E09-8B0F-6879F573E124}"/>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9" name="Freeform: Shape 278">
                <a:extLst>
                  <a:ext uri="{FF2B5EF4-FFF2-40B4-BE49-F238E27FC236}">
                    <a16:creationId xmlns:a16="http://schemas.microsoft.com/office/drawing/2014/main" id="{5C36D80B-ACC8-41B8-9002-70759359E088}"/>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0" name="Freeform: Shape 279">
                <a:extLst>
                  <a:ext uri="{FF2B5EF4-FFF2-40B4-BE49-F238E27FC236}">
                    <a16:creationId xmlns:a16="http://schemas.microsoft.com/office/drawing/2014/main" id="{BD448358-8342-421A-9A3E-56854B879755}"/>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1" name="Freeform: Shape 280">
                <a:extLst>
                  <a:ext uri="{FF2B5EF4-FFF2-40B4-BE49-F238E27FC236}">
                    <a16:creationId xmlns:a16="http://schemas.microsoft.com/office/drawing/2014/main" id="{1C0FC2D1-E65B-4AF0-B663-7D4B03FB7D0B}"/>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2" name="Freeform: Shape 281">
                <a:extLst>
                  <a:ext uri="{FF2B5EF4-FFF2-40B4-BE49-F238E27FC236}">
                    <a16:creationId xmlns:a16="http://schemas.microsoft.com/office/drawing/2014/main" id="{92EB9041-DC4D-4B5D-A7DD-C57DC1101DA3}"/>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3" name="Freeform: Shape 282">
                <a:extLst>
                  <a:ext uri="{FF2B5EF4-FFF2-40B4-BE49-F238E27FC236}">
                    <a16:creationId xmlns:a16="http://schemas.microsoft.com/office/drawing/2014/main" id="{D5E2D0E4-D029-47F3-AA4F-F61E2ECF6585}"/>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4" name="Freeform: Shape 283">
                <a:extLst>
                  <a:ext uri="{FF2B5EF4-FFF2-40B4-BE49-F238E27FC236}">
                    <a16:creationId xmlns:a16="http://schemas.microsoft.com/office/drawing/2014/main" id="{7E594666-50AE-42EF-8C73-DD2FC523499F}"/>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5" name="Freeform: Shape 284">
                <a:extLst>
                  <a:ext uri="{FF2B5EF4-FFF2-40B4-BE49-F238E27FC236}">
                    <a16:creationId xmlns:a16="http://schemas.microsoft.com/office/drawing/2014/main" id="{2FF21767-EE48-4CA3-B66A-9765C2A4C81E}"/>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6" name="Freeform: Shape 285">
                <a:extLst>
                  <a:ext uri="{FF2B5EF4-FFF2-40B4-BE49-F238E27FC236}">
                    <a16:creationId xmlns:a16="http://schemas.microsoft.com/office/drawing/2014/main" id="{D5DAED3D-8E8D-46A2-87CE-F47B9FBA2917}"/>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7" name="Freeform: Shape 286">
                <a:extLst>
                  <a:ext uri="{FF2B5EF4-FFF2-40B4-BE49-F238E27FC236}">
                    <a16:creationId xmlns:a16="http://schemas.microsoft.com/office/drawing/2014/main" id="{A58F75C5-D501-4400-AB47-94A75FC3C926}"/>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8" name="Freeform: Shape 287">
                <a:extLst>
                  <a:ext uri="{FF2B5EF4-FFF2-40B4-BE49-F238E27FC236}">
                    <a16:creationId xmlns:a16="http://schemas.microsoft.com/office/drawing/2014/main" id="{C1623992-4BEA-4CC6-B458-9BC0E71B6BDB}"/>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9" name="Freeform: Shape 288">
                <a:extLst>
                  <a:ext uri="{FF2B5EF4-FFF2-40B4-BE49-F238E27FC236}">
                    <a16:creationId xmlns:a16="http://schemas.microsoft.com/office/drawing/2014/main" id="{2FDEDAE0-4717-447A-9E0E-F21264865E23}"/>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0" name="Freeform: Shape 289">
                <a:extLst>
                  <a:ext uri="{FF2B5EF4-FFF2-40B4-BE49-F238E27FC236}">
                    <a16:creationId xmlns:a16="http://schemas.microsoft.com/office/drawing/2014/main" id="{72FE4C70-C306-4789-8640-84BD0E1AB4C1}"/>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1" name="Freeform: Shape 290">
                <a:extLst>
                  <a:ext uri="{FF2B5EF4-FFF2-40B4-BE49-F238E27FC236}">
                    <a16:creationId xmlns:a16="http://schemas.microsoft.com/office/drawing/2014/main" id="{720A5609-A12A-43A5-BAE5-BA762821B16E}"/>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2" name="Freeform: Shape 291">
                <a:extLst>
                  <a:ext uri="{FF2B5EF4-FFF2-40B4-BE49-F238E27FC236}">
                    <a16:creationId xmlns:a16="http://schemas.microsoft.com/office/drawing/2014/main" id="{CA0C68FD-68F2-428E-850F-176370E3B585}"/>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3" name="Freeform: Shape 292">
                <a:extLst>
                  <a:ext uri="{FF2B5EF4-FFF2-40B4-BE49-F238E27FC236}">
                    <a16:creationId xmlns:a16="http://schemas.microsoft.com/office/drawing/2014/main" id="{1D992290-9F44-48B2-8D74-16580ED48FB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4" name="Freeform: Shape 293">
                <a:extLst>
                  <a:ext uri="{FF2B5EF4-FFF2-40B4-BE49-F238E27FC236}">
                    <a16:creationId xmlns:a16="http://schemas.microsoft.com/office/drawing/2014/main" id="{747B30C2-255F-4DA3-9387-C98AF164E378}"/>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5" name="Freeform: Shape 294">
                <a:extLst>
                  <a:ext uri="{FF2B5EF4-FFF2-40B4-BE49-F238E27FC236}">
                    <a16:creationId xmlns:a16="http://schemas.microsoft.com/office/drawing/2014/main" id="{3FB6EEC8-4E53-4AA4-A41A-5F679E531214}"/>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6" name="Freeform: Shape 295">
                <a:extLst>
                  <a:ext uri="{FF2B5EF4-FFF2-40B4-BE49-F238E27FC236}">
                    <a16:creationId xmlns:a16="http://schemas.microsoft.com/office/drawing/2014/main" id="{F3225C24-2F83-47FA-83EE-6249F9B5675C}"/>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7" name="Freeform: Shape 296">
                <a:extLst>
                  <a:ext uri="{FF2B5EF4-FFF2-40B4-BE49-F238E27FC236}">
                    <a16:creationId xmlns:a16="http://schemas.microsoft.com/office/drawing/2014/main" id="{C9055B71-00D6-445C-B297-85D4C3FFE331}"/>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8" name="Freeform: Shape 297">
                <a:extLst>
                  <a:ext uri="{FF2B5EF4-FFF2-40B4-BE49-F238E27FC236}">
                    <a16:creationId xmlns:a16="http://schemas.microsoft.com/office/drawing/2014/main" id="{B41A90DC-ED2D-47D0-A0F7-B9C0F67CEDC0}"/>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9" name="Freeform: Shape 298">
                <a:extLst>
                  <a:ext uri="{FF2B5EF4-FFF2-40B4-BE49-F238E27FC236}">
                    <a16:creationId xmlns:a16="http://schemas.microsoft.com/office/drawing/2014/main" id="{3A4CAF5A-E548-434D-A898-395A4F73F46E}"/>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0" name="Freeform: Shape 299">
                <a:extLst>
                  <a:ext uri="{FF2B5EF4-FFF2-40B4-BE49-F238E27FC236}">
                    <a16:creationId xmlns:a16="http://schemas.microsoft.com/office/drawing/2014/main" id="{274471AC-7B17-4572-A2DE-343AB7E9FD7F}"/>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1" name="Freeform: Shape 300">
                <a:extLst>
                  <a:ext uri="{FF2B5EF4-FFF2-40B4-BE49-F238E27FC236}">
                    <a16:creationId xmlns:a16="http://schemas.microsoft.com/office/drawing/2014/main" id="{21CFC959-034B-485B-B937-009F38DCA364}"/>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2" name="Freeform: Shape 301">
                <a:extLst>
                  <a:ext uri="{FF2B5EF4-FFF2-40B4-BE49-F238E27FC236}">
                    <a16:creationId xmlns:a16="http://schemas.microsoft.com/office/drawing/2014/main" id="{8BEA2459-8ECE-4B62-B8EB-2C2D385E9060}"/>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3" name="Freeform: Shape 302">
                <a:extLst>
                  <a:ext uri="{FF2B5EF4-FFF2-40B4-BE49-F238E27FC236}">
                    <a16:creationId xmlns:a16="http://schemas.microsoft.com/office/drawing/2014/main" id="{90DA3CDD-069A-4169-B672-F6BBDC9082CC}"/>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4" name="Freeform: Shape 303">
                <a:extLst>
                  <a:ext uri="{FF2B5EF4-FFF2-40B4-BE49-F238E27FC236}">
                    <a16:creationId xmlns:a16="http://schemas.microsoft.com/office/drawing/2014/main" id="{C04F8238-2AA5-4CE2-B799-40350D19550A}"/>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5" name="Freeform: Shape 304">
                <a:extLst>
                  <a:ext uri="{FF2B5EF4-FFF2-40B4-BE49-F238E27FC236}">
                    <a16:creationId xmlns:a16="http://schemas.microsoft.com/office/drawing/2014/main" id="{58A62611-E9B3-4311-8485-9A7BC22A80F3}"/>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6" name="Freeform: Shape 305">
                <a:extLst>
                  <a:ext uri="{FF2B5EF4-FFF2-40B4-BE49-F238E27FC236}">
                    <a16:creationId xmlns:a16="http://schemas.microsoft.com/office/drawing/2014/main" id="{EDAFFD90-C02B-4FEE-8A81-F2B558747201}"/>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7" name="Freeform: Shape 306">
                <a:extLst>
                  <a:ext uri="{FF2B5EF4-FFF2-40B4-BE49-F238E27FC236}">
                    <a16:creationId xmlns:a16="http://schemas.microsoft.com/office/drawing/2014/main" id="{5BB6C6DC-18FC-46B3-B253-F60D9DAD638B}"/>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8" name="Freeform: Shape 307">
                <a:extLst>
                  <a:ext uri="{FF2B5EF4-FFF2-40B4-BE49-F238E27FC236}">
                    <a16:creationId xmlns:a16="http://schemas.microsoft.com/office/drawing/2014/main" id="{30610D34-9A51-4314-8F63-056538CA0BF7}"/>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9" name="Freeform: Shape 308">
                <a:extLst>
                  <a:ext uri="{FF2B5EF4-FFF2-40B4-BE49-F238E27FC236}">
                    <a16:creationId xmlns:a16="http://schemas.microsoft.com/office/drawing/2014/main" id="{E31CE1C3-EBF9-4ECE-92CC-8C107CA002AB}"/>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0" name="Freeform: Shape 309">
                <a:extLst>
                  <a:ext uri="{FF2B5EF4-FFF2-40B4-BE49-F238E27FC236}">
                    <a16:creationId xmlns:a16="http://schemas.microsoft.com/office/drawing/2014/main" id="{680BC5FF-6821-4DE0-B189-FDF5745C9540}"/>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1" name="Freeform: Shape 310">
                <a:extLst>
                  <a:ext uri="{FF2B5EF4-FFF2-40B4-BE49-F238E27FC236}">
                    <a16:creationId xmlns:a16="http://schemas.microsoft.com/office/drawing/2014/main" id="{ABB82C9D-3F92-42E0-8CD1-1C58E292DE4B}"/>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2" name="Freeform: Shape 311">
                <a:extLst>
                  <a:ext uri="{FF2B5EF4-FFF2-40B4-BE49-F238E27FC236}">
                    <a16:creationId xmlns:a16="http://schemas.microsoft.com/office/drawing/2014/main" id="{49FFB065-3457-49E4-833A-C927479488C7}"/>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3" name="Freeform: Shape 312">
                <a:extLst>
                  <a:ext uri="{FF2B5EF4-FFF2-40B4-BE49-F238E27FC236}">
                    <a16:creationId xmlns:a16="http://schemas.microsoft.com/office/drawing/2014/main" id="{44F1CF36-7130-4F1D-A424-E1FB76058D07}"/>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4" name="Freeform: Shape 313">
                <a:extLst>
                  <a:ext uri="{FF2B5EF4-FFF2-40B4-BE49-F238E27FC236}">
                    <a16:creationId xmlns:a16="http://schemas.microsoft.com/office/drawing/2014/main" id="{465FF0FC-2738-4619-A200-AAD48DEF02AB}"/>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5" name="Freeform: Shape 314">
                <a:extLst>
                  <a:ext uri="{FF2B5EF4-FFF2-40B4-BE49-F238E27FC236}">
                    <a16:creationId xmlns:a16="http://schemas.microsoft.com/office/drawing/2014/main" id="{A9F40CEC-0722-405A-BC9E-5A16E4AE3FCA}"/>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6" name="Freeform: Shape 315">
                <a:extLst>
                  <a:ext uri="{FF2B5EF4-FFF2-40B4-BE49-F238E27FC236}">
                    <a16:creationId xmlns:a16="http://schemas.microsoft.com/office/drawing/2014/main" id="{02842820-E647-4077-9457-09510537487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7" name="Freeform: Shape 316">
                <a:extLst>
                  <a:ext uri="{FF2B5EF4-FFF2-40B4-BE49-F238E27FC236}">
                    <a16:creationId xmlns:a16="http://schemas.microsoft.com/office/drawing/2014/main" id="{54D16356-16E2-4C35-AD5B-344C20526B64}"/>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8" name="Freeform: Shape 317">
                <a:extLst>
                  <a:ext uri="{FF2B5EF4-FFF2-40B4-BE49-F238E27FC236}">
                    <a16:creationId xmlns:a16="http://schemas.microsoft.com/office/drawing/2014/main" id="{00D6B00D-D5BA-4443-8124-CF2C6FE219B9}"/>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9" name="Freeform: Shape 318">
                <a:extLst>
                  <a:ext uri="{FF2B5EF4-FFF2-40B4-BE49-F238E27FC236}">
                    <a16:creationId xmlns:a16="http://schemas.microsoft.com/office/drawing/2014/main" id="{4E78B75D-322F-4E2D-9AA2-F49EC436BABA}"/>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0" name="Freeform: Shape 319">
                <a:extLst>
                  <a:ext uri="{FF2B5EF4-FFF2-40B4-BE49-F238E27FC236}">
                    <a16:creationId xmlns:a16="http://schemas.microsoft.com/office/drawing/2014/main" id="{15A000FA-FB8B-4A6E-AE72-3629167D4733}"/>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1" name="Freeform: Shape 320">
                <a:extLst>
                  <a:ext uri="{FF2B5EF4-FFF2-40B4-BE49-F238E27FC236}">
                    <a16:creationId xmlns:a16="http://schemas.microsoft.com/office/drawing/2014/main" id="{E66DAB7E-29B1-4EF9-94F8-8C450CDB8D43}"/>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2" name="Freeform: Shape 321">
                <a:extLst>
                  <a:ext uri="{FF2B5EF4-FFF2-40B4-BE49-F238E27FC236}">
                    <a16:creationId xmlns:a16="http://schemas.microsoft.com/office/drawing/2014/main" id="{9206AFD0-B81D-4227-865B-8C11ABDDD5A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3" name="Freeform: Shape 322">
                <a:extLst>
                  <a:ext uri="{FF2B5EF4-FFF2-40B4-BE49-F238E27FC236}">
                    <a16:creationId xmlns:a16="http://schemas.microsoft.com/office/drawing/2014/main" id="{8C80799B-EF17-4D93-8B06-FC4F2B02F4E0}"/>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4" name="Freeform: Shape 323">
                <a:extLst>
                  <a:ext uri="{FF2B5EF4-FFF2-40B4-BE49-F238E27FC236}">
                    <a16:creationId xmlns:a16="http://schemas.microsoft.com/office/drawing/2014/main" id="{26361282-203F-476B-AD86-5469E831C10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5" name="Freeform: Shape 324">
                <a:extLst>
                  <a:ext uri="{FF2B5EF4-FFF2-40B4-BE49-F238E27FC236}">
                    <a16:creationId xmlns:a16="http://schemas.microsoft.com/office/drawing/2014/main" id="{A2E28A12-018E-41A9-907A-443B736B7D27}"/>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6" name="Freeform: Shape 325">
                <a:extLst>
                  <a:ext uri="{FF2B5EF4-FFF2-40B4-BE49-F238E27FC236}">
                    <a16:creationId xmlns:a16="http://schemas.microsoft.com/office/drawing/2014/main" id="{862CA02D-A981-473C-A2F1-9911C45923A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7" name="Freeform: Shape 326">
                <a:extLst>
                  <a:ext uri="{FF2B5EF4-FFF2-40B4-BE49-F238E27FC236}">
                    <a16:creationId xmlns:a16="http://schemas.microsoft.com/office/drawing/2014/main" id="{D9779D6D-F8FE-4858-8D24-116757F64A4A}"/>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8" name="Freeform: Shape 327">
                <a:extLst>
                  <a:ext uri="{FF2B5EF4-FFF2-40B4-BE49-F238E27FC236}">
                    <a16:creationId xmlns:a16="http://schemas.microsoft.com/office/drawing/2014/main" id="{5E54A568-7E99-4138-BDB2-9E02EFC5D0DE}"/>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9" name="Freeform: Shape 328">
                <a:extLst>
                  <a:ext uri="{FF2B5EF4-FFF2-40B4-BE49-F238E27FC236}">
                    <a16:creationId xmlns:a16="http://schemas.microsoft.com/office/drawing/2014/main" id="{B36F8B17-BCAA-422C-B291-8CA267F86B2A}"/>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0" name="Freeform: Shape 329">
                <a:extLst>
                  <a:ext uri="{FF2B5EF4-FFF2-40B4-BE49-F238E27FC236}">
                    <a16:creationId xmlns:a16="http://schemas.microsoft.com/office/drawing/2014/main" id="{852A959F-1E68-4BE6-AF33-4DE96CDEF857}"/>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1" name="Freeform: Shape 330">
                <a:extLst>
                  <a:ext uri="{FF2B5EF4-FFF2-40B4-BE49-F238E27FC236}">
                    <a16:creationId xmlns:a16="http://schemas.microsoft.com/office/drawing/2014/main" id="{4DD87E9C-E33B-46C9-8C0A-65D8A050BE53}"/>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2" name="Freeform: Shape 331">
                <a:extLst>
                  <a:ext uri="{FF2B5EF4-FFF2-40B4-BE49-F238E27FC236}">
                    <a16:creationId xmlns:a16="http://schemas.microsoft.com/office/drawing/2014/main" id="{54FA4A05-9E47-4D3A-93F1-AC9DB88F2F65}"/>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3" name="Freeform: Shape 332">
                <a:extLst>
                  <a:ext uri="{FF2B5EF4-FFF2-40B4-BE49-F238E27FC236}">
                    <a16:creationId xmlns:a16="http://schemas.microsoft.com/office/drawing/2014/main" id="{2C2A5014-C5D4-4A5F-AD32-DB27641BD7E5}"/>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4" name="Freeform: Shape 333">
                <a:extLst>
                  <a:ext uri="{FF2B5EF4-FFF2-40B4-BE49-F238E27FC236}">
                    <a16:creationId xmlns:a16="http://schemas.microsoft.com/office/drawing/2014/main" id="{E3453EC3-D479-46E6-95DC-B549B87B627A}"/>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5" name="Freeform: Shape 334">
                <a:extLst>
                  <a:ext uri="{FF2B5EF4-FFF2-40B4-BE49-F238E27FC236}">
                    <a16:creationId xmlns:a16="http://schemas.microsoft.com/office/drawing/2014/main" id="{A1C5E85A-FA6F-4576-AA82-8BE7ABC0310B}"/>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6" name="Freeform: Shape 335">
                <a:extLst>
                  <a:ext uri="{FF2B5EF4-FFF2-40B4-BE49-F238E27FC236}">
                    <a16:creationId xmlns:a16="http://schemas.microsoft.com/office/drawing/2014/main" id="{0485443B-AB2A-4BE9-9E52-0597AF6CB104}"/>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10">
              <a:extLst>
                <a:ext uri="{FF2B5EF4-FFF2-40B4-BE49-F238E27FC236}">
                  <a16:creationId xmlns:a16="http://schemas.microsoft.com/office/drawing/2014/main" id="{68DFF284-CB18-4460-98ED-004F77EB0A2D}"/>
                </a:ext>
                <a:ext uri="{C183D7F6-B498-43B3-948B-1728B52AA6E4}">
                  <adec:decorative xmlns:adec="http://schemas.microsoft.com/office/drawing/2017/decorative" val="1"/>
                </a:ext>
              </a:extLst>
            </p:cNvPr>
            <p:cNvGrpSpPr/>
            <p:nvPr/>
          </p:nvGrpSpPr>
          <p:grpSpPr>
            <a:xfrm>
              <a:off x="4781433" y="2414195"/>
              <a:ext cx="7312233" cy="2281215"/>
              <a:chOff x="5337839" y="2790554"/>
              <a:chExt cx="6173152" cy="1925853"/>
            </a:xfrm>
            <a:gradFill>
              <a:gsLst>
                <a:gs pos="0">
                  <a:schemeClr val="accent1">
                    <a:alpha val="86000"/>
                  </a:schemeClr>
                </a:gs>
                <a:gs pos="99000">
                  <a:schemeClr val="accent1">
                    <a:lumMod val="75000"/>
                    <a:alpha val="74000"/>
                  </a:schemeClr>
                </a:gs>
              </a:gsLst>
              <a:lin ang="10800000" scaled="1"/>
            </a:gradFill>
            <a:effectLst>
              <a:outerShdw blurRad="215900" algn="ctr" rotWithShape="0">
                <a:prstClr val="black">
                  <a:alpha val="40000"/>
                </a:prstClr>
              </a:outerShdw>
            </a:effectLst>
          </p:grpSpPr>
          <p:sp>
            <p:nvSpPr>
              <p:cNvPr id="13" name="Freeform: Shape 12">
                <a:extLst>
                  <a:ext uri="{FF2B5EF4-FFF2-40B4-BE49-F238E27FC236}">
                    <a16:creationId xmlns:a16="http://schemas.microsoft.com/office/drawing/2014/main" id="{F24F8201-E568-4686-8B1B-6696166487D7}"/>
                  </a:ext>
                </a:extLst>
              </p:cNvPr>
              <p:cNvSpPr/>
              <p:nvPr/>
            </p:nvSpPr>
            <p:spPr>
              <a:xfrm>
                <a:off x="6191278" y="3024602"/>
                <a:ext cx="312420" cy="100279"/>
              </a:xfrm>
              <a:custGeom>
                <a:avLst/>
                <a:gdLst>
                  <a:gd name="connsiteX0" fmla="*/ 256223 w 312420"/>
                  <a:gd name="connsiteY0" fmla="*/ 95517 h 100279"/>
                  <a:gd name="connsiteX1" fmla="*/ 273368 w 312420"/>
                  <a:gd name="connsiteY1" fmla="*/ 97422 h 100279"/>
                  <a:gd name="connsiteX2" fmla="*/ 280035 w 312420"/>
                  <a:gd name="connsiteY2" fmla="*/ 96469 h 100279"/>
                  <a:gd name="connsiteX3" fmla="*/ 284798 w 312420"/>
                  <a:gd name="connsiteY3" fmla="*/ 90754 h 100279"/>
                  <a:gd name="connsiteX4" fmla="*/ 284798 w 312420"/>
                  <a:gd name="connsiteY4" fmla="*/ 87897 h 100279"/>
                  <a:gd name="connsiteX5" fmla="*/ 284798 w 312420"/>
                  <a:gd name="connsiteY5" fmla="*/ 84087 h 100279"/>
                  <a:gd name="connsiteX6" fmla="*/ 290513 w 312420"/>
                  <a:gd name="connsiteY6" fmla="*/ 81229 h 100279"/>
                  <a:gd name="connsiteX7" fmla="*/ 300990 w 312420"/>
                  <a:gd name="connsiteY7" fmla="*/ 77419 h 100279"/>
                  <a:gd name="connsiteX8" fmla="*/ 307658 w 312420"/>
                  <a:gd name="connsiteY8" fmla="*/ 76467 h 100279"/>
                  <a:gd name="connsiteX9" fmla="*/ 312420 w 312420"/>
                  <a:gd name="connsiteY9" fmla="*/ 72657 h 100279"/>
                  <a:gd name="connsiteX10" fmla="*/ 312420 w 312420"/>
                  <a:gd name="connsiteY10" fmla="*/ 68847 h 100279"/>
                  <a:gd name="connsiteX11" fmla="*/ 311468 w 312420"/>
                  <a:gd name="connsiteY11" fmla="*/ 65989 h 100279"/>
                  <a:gd name="connsiteX12" fmla="*/ 297180 w 312420"/>
                  <a:gd name="connsiteY12" fmla="*/ 63132 h 100279"/>
                  <a:gd name="connsiteX13" fmla="*/ 284798 w 312420"/>
                  <a:gd name="connsiteY13" fmla="*/ 61227 h 100279"/>
                  <a:gd name="connsiteX14" fmla="*/ 279083 w 312420"/>
                  <a:gd name="connsiteY14" fmla="*/ 59322 h 100279"/>
                  <a:gd name="connsiteX15" fmla="*/ 271463 w 312420"/>
                  <a:gd name="connsiteY15" fmla="*/ 56464 h 100279"/>
                  <a:gd name="connsiteX16" fmla="*/ 269558 w 312420"/>
                  <a:gd name="connsiteY16" fmla="*/ 53607 h 100279"/>
                  <a:gd name="connsiteX17" fmla="*/ 262890 w 312420"/>
                  <a:gd name="connsiteY17" fmla="*/ 49797 h 100279"/>
                  <a:gd name="connsiteX18" fmla="*/ 256223 w 312420"/>
                  <a:gd name="connsiteY18" fmla="*/ 44082 h 100279"/>
                  <a:gd name="connsiteX19" fmla="*/ 253365 w 312420"/>
                  <a:gd name="connsiteY19" fmla="*/ 39319 h 100279"/>
                  <a:gd name="connsiteX20" fmla="*/ 247650 w 312420"/>
                  <a:gd name="connsiteY20" fmla="*/ 31699 h 100279"/>
                  <a:gd name="connsiteX21" fmla="*/ 240030 w 312420"/>
                  <a:gd name="connsiteY21" fmla="*/ 29794 h 100279"/>
                  <a:gd name="connsiteX22" fmla="*/ 232410 w 312420"/>
                  <a:gd name="connsiteY22" fmla="*/ 28842 h 100279"/>
                  <a:gd name="connsiteX23" fmla="*/ 227648 w 312420"/>
                  <a:gd name="connsiteY23" fmla="*/ 24079 h 100279"/>
                  <a:gd name="connsiteX24" fmla="*/ 222885 w 312420"/>
                  <a:gd name="connsiteY24" fmla="*/ 20269 h 100279"/>
                  <a:gd name="connsiteX25" fmla="*/ 220980 w 312420"/>
                  <a:gd name="connsiteY25" fmla="*/ 15507 h 100279"/>
                  <a:gd name="connsiteX26" fmla="*/ 220027 w 312420"/>
                  <a:gd name="connsiteY26" fmla="*/ 10744 h 100279"/>
                  <a:gd name="connsiteX27" fmla="*/ 218123 w 312420"/>
                  <a:gd name="connsiteY27" fmla="*/ 7887 h 100279"/>
                  <a:gd name="connsiteX28" fmla="*/ 213360 w 312420"/>
                  <a:gd name="connsiteY28" fmla="*/ 4077 h 100279"/>
                  <a:gd name="connsiteX29" fmla="*/ 206693 w 312420"/>
                  <a:gd name="connsiteY29" fmla="*/ 3124 h 100279"/>
                  <a:gd name="connsiteX30" fmla="*/ 204788 w 312420"/>
                  <a:gd name="connsiteY30" fmla="*/ 9792 h 100279"/>
                  <a:gd name="connsiteX31" fmla="*/ 200025 w 312420"/>
                  <a:gd name="connsiteY31" fmla="*/ 13602 h 100279"/>
                  <a:gd name="connsiteX32" fmla="*/ 181927 w 312420"/>
                  <a:gd name="connsiteY32" fmla="*/ 15507 h 100279"/>
                  <a:gd name="connsiteX33" fmla="*/ 175260 w 312420"/>
                  <a:gd name="connsiteY33" fmla="*/ 16459 h 100279"/>
                  <a:gd name="connsiteX34" fmla="*/ 164783 w 312420"/>
                  <a:gd name="connsiteY34" fmla="*/ 13602 h 100279"/>
                  <a:gd name="connsiteX35" fmla="*/ 150495 w 312420"/>
                  <a:gd name="connsiteY35" fmla="*/ 13602 h 100279"/>
                  <a:gd name="connsiteX36" fmla="*/ 143827 w 312420"/>
                  <a:gd name="connsiteY36" fmla="*/ 13602 h 100279"/>
                  <a:gd name="connsiteX37" fmla="*/ 138113 w 312420"/>
                  <a:gd name="connsiteY37" fmla="*/ 14554 h 100279"/>
                  <a:gd name="connsiteX38" fmla="*/ 129540 w 312420"/>
                  <a:gd name="connsiteY38" fmla="*/ 11697 h 100279"/>
                  <a:gd name="connsiteX39" fmla="*/ 116205 w 312420"/>
                  <a:gd name="connsiteY39" fmla="*/ 10744 h 100279"/>
                  <a:gd name="connsiteX40" fmla="*/ 106680 w 312420"/>
                  <a:gd name="connsiteY40" fmla="*/ 9792 h 100279"/>
                  <a:gd name="connsiteX41" fmla="*/ 100013 w 312420"/>
                  <a:gd name="connsiteY41" fmla="*/ 9792 h 100279"/>
                  <a:gd name="connsiteX42" fmla="*/ 93345 w 312420"/>
                  <a:gd name="connsiteY42" fmla="*/ 8839 h 100279"/>
                  <a:gd name="connsiteX43" fmla="*/ 85725 w 312420"/>
                  <a:gd name="connsiteY43" fmla="*/ 5982 h 100279"/>
                  <a:gd name="connsiteX44" fmla="*/ 77152 w 312420"/>
                  <a:gd name="connsiteY44" fmla="*/ 1219 h 100279"/>
                  <a:gd name="connsiteX45" fmla="*/ 67627 w 312420"/>
                  <a:gd name="connsiteY45" fmla="*/ 267 h 100279"/>
                  <a:gd name="connsiteX46" fmla="*/ 63818 w 312420"/>
                  <a:gd name="connsiteY46" fmla="*/ 1219 h 100279"/>
                  <a:gd name="connsiteX47" fmla="*/ 58102 w 312420"/>
                  <a:gd name="connsiteY47" fmla="*/ 4077 h 100279"/>
                  <a:gd name="connsiteX48" fmla="*/ 53340 w 312420"/>
                  <a:gd name="connsiteY48" fmla="*/ 6934 h 100279"/>
                  <a:gd name="connsiteX49" fmla="*/ 44768 w 312420"/>
                  <a:gd name="connsiteY49" fmla="*/ 9792 h 100279"/>
                  <a:gd name="connsiteX50" fmla="*/ 36195 w 312420"/>
                  <a:gd name="connsiteY50" fmla="*/ 10744 h 100279"/>
                  <a:gd name="connsiteX51" fmla="*/ 28575 w 312420"/>
                  <a:gd name="connsiteY51" fmla="*/ 12649 h 100279"/>
                  <a:gd name="connsiteX52" fmla="*/ 22860 w 312420"/>
                  <a:gd name="connsiteY52" fmla="*/ 17412 h 100279"/>
                  <a:gd name="connsiteX53" fmla="*/ 17145 w 312420"/>
                  <a:gd name="connsiteY53" fmla="*/ 19317 h 100279"/>
                  <a:gd name="connsiteX54" fmla="*/ 15240 w 312420"/>
                  <a:gd name="connsiteY54" fmla="*/ 21222 h 100279"/>
                  <a:gd name="connsiteX55" fmla="*/ 7620 w 312420"/>
                  <a:gd name="connsiteY55" fmla="*/ 23127 h 100279"/>
                  <a:gd name="connsiteX56" fmla="*/ 3810 w 312420"/>
                  <a:gd name="connsiteY56" fmla="*/ 26937 h 100279"/>
                  <a:gd name="connsiteX57" fmla="*/ 0 w 312420"/>
                  <a:gd name="connsiteY57" fmla="*/ 31699 h 100279"/>
                  <a:gd name="connsiteX58" fmla="*/ 3810 w 312420"/>
                  <a:gd name="connsiteY58" fmla="*/ 37414 h 100279"/>
                  <a:gd name="connsiteX59" fmla="*/ 6668 w 312420"/>
                  <a:gd name="connsiteY59" fmla="*/ 39319 h 100279"/>
                  <a:gd name="connsiteX60" fmla="*/ 14288 w 312420"/>
                  <a:gd name="connsiteY60" fmla="*/ 41224 h 100279"/>
                  <a:gd name="connsiteX61" fmla="*/ 24765 w 312420"/>
                  <a:gd name="connsiteY61" fmla="*/ 43129 h 100279"/>
                  <a:gd name="connsiteX62" fmla="*/ 26670 w 312420"/>
                  <a:gd name="connsiteY62" fmla="*/ 43129 h 100279"/>
                  <a:gd name="connsiteX63" fmla="*/ 29527 w 312420"/>
                  <a:gd name="connsiteY63" fmla="*/ 46939 h 100279"/>
                  <a:gd name="connsiteX64" fmla="*/ 30480 w 312420"/>
                  <a:gd name="connsiteY64" fmla="*/ 49797 h 100279"/>
                  <a:gd name="connsiteX65" fmla="*/ 33338 w 312420"/>
                  <a:gd name="connsiteY65" fmla="*/ 53607 h 100279"/>
                  <a:gd name="connsiteX66" fmla="*/ 35243 w 312420"/>
                  <a:gd name="connsiteY66" fmla="*/ 62179 h 100279"/>
                  <a:gd name="connsiteX67" fmla="*/ 35243 w 312420"/>
                  <a:gd name="connsiteY67" fmla="*/ 65037 h 100279"/>
                  <a:gd name="connsiteX68" fmla="*/ 38100 w 312420"/>
                  <a:gd name="connsiteY68" fmla="*/ 70752 h 100279"/>
                  <a:gd name="connsiteX69" fmla="*/ 41910 w 312420"/>
                  <a:gd name="connsiteY69" fmla="*/ 75514 h 100279"/>
                  <a:gd name="connsiteX70" fmla="*/ 50483 w 312420"/>
                  <a:gd name="connsiteY70" fmla="*/ 79324 h 100279"/>
                  <a:gd name="connsiteX71" fmla="*/ 59055 w 312420"/>
                  <a:gd name="connsiteY71" fmla="*/ 81229 h 100279"/>
                  <a:gd name="connsiteX72" fmla="*/ 66675 w 312420"/>
                  <a:gd name="connsiteY72" fmla="*/ 81229 h 100279"/>
                  <a:gd name="connsiteX73" fmla="*/ 74295 w 312420"/>
                  <a:gd name="connsiteY73" fmla="*/ 83134 h 100279"/>
                  <a:gd name="connsiteX74" fmla="*/ 77152 w 312420"/>
                  <a:gd name="connsiteY74" fmla="*/ 85992 h 100279"/>
                  <a:gd name="connsiteX75" fmla="*/ 82868 w 312420"/>
                  <a:gd name="connsiteY75" fmla="*/ 86944 h 100279"/>
                  <a:gd name="connsiteX76" fmla="*/ 88583 w 312420"/>
                  <a:gd name="connsiteY76" fmla="*/ 90754 h 100279"/>
                  <a:gd name="connsiteX77" fmla="*/ 93345 w 312420"/>
                  <a:gd name="connsiteY77" fmla="*/ 93612 h 100279"/>
                  <a:gd name="connsiteX78" fmla="*/ 104775 w 312420"/>
                  <a:gd name="connsiteY78" fmla="*/ 95517 h 100279"/>
                  <a:gd name="connsiteX79" fmla="*/ 116205 w 312420"/>
                  <a:gd name="connsiteY79" fmla="*/ 97422 h 100279"/>
                  <a:gd name="connsiteX80" fmla="*/ 127635 w 312420"/>
                  <a:gd name="connsiteY80" fmla="*/ 98374 h 100279"/>
                  <a:gd name="connsiteX81" fmla="*/ 135255 w 312420"/>
                  <a:gd name="connsiteY81" fmla="*/ 99327 h 100279"/>
                  <a:gd name="connsiteX82" fmla="*/ 138113 w 312420"/>
                  <a:gd name="connsiteY82" fmla="*/ 100279 h 100279"/>
                  <a:gd name="connsiteX83" fmla="*/ 147638 w 312420"/>
                  <a:gd name="connsiteY83" fmla="*/ 98374 h 100279"/>
                  <a:gd name="connsiteX84" fmla="*/ 156210 w 312420"/>
                  <a:gd name="connsiteY84" fmla="*/ 96469 h 100279"/>
                  <a:gd name="connsiteX85" fmla="*/ 163830 w 312420"/>
                  <a:gd name="connsiteY85" fmla="*/ 94564 h 100279"/>
                  <a:gd name="connsiteX86" fmla="*/ 173355 w 312420"/>
                  <a:gd name="connsiteY86" fmla="*/ 93612 h 100279"/>
                  <a:gd name="connsiteX87" fmla="*/ 180975 w 312420"/>
                  <a:gd name="connsiteY87" fmla="*/ 92659 h 100279"/>
                  <a:gd name="connsiteX88" fmla="*/ 194310 w 312420"/>
                  <a:gd name="connsiteY88" fmla="*/ 92659 h 100279"/>
                  <a:gd name="connsiteX89" fmla="*/ 200977 w 312420"/>
                  <a:gd name="connsiteY89" fmla="*/ 89802 h 100279"/>
                  <a:gd name="connsiteX90" fmla="*/ 206693 w 312420"/>
                  <a:gd name="connsiteY90" fmla="*/ 89802 h 100279"/>
                  <a:gd name="connsiteX91" fmla="*/ 220027 w 312420"/>
                  <a:gd name="connsiteY91" fmla="*/ 89802 h 100279"/>
                  <a:gd name="connsiteX92" fmla="*/ 222885 w 312420"/>
                  <a:gd name="connsiteY92" fmla="*/ 89802 h 100279"/>
                  <a:gd name="connsiteX93" fmla="*/ 229552 w 312420"/>
                  <a:gd name="connsiteY93" fmla="*/ 91707 h 100279"/>
                  <a:gd name="connsiteX94" fmla="*/ 234315 w 312420"/>
                  <a:gd name="connsiteY94" fmla="*/ 93612 h 100279"/>
                  <a:gd name="connsiteX95" fmla="*/ 240983 w 312420"/>
                  <a:gd name="connsiteY95" fmla="*/ 95517 h 100279"/>
                  <a:gd name="connsiteX96" fmla="*/ 256223 w 312420"/>
                  <a:gd name="connsiteY96" fmla="*/ 95517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12420" h="100279">
                    <a:moveTo>
                      <a:pt x="256223" y="95517"/>
                    </a:moveTo>
                    <a:lnTo>
                      <a:pt x="273368" y="97422"/>
                    </a:lnTo>
                    <a:cubicBezTo>
                      <a:pt x="280035" y="96469"/>
                      <a:pt x="280035" y="96469"/>
                      <a:pt x="280035" y="96469"/>
                    </a:cubicBezTo>
                    <a:lnTo>
                      <a:pt x="284798" y="90754"/>
                    </a:lnTo>
                    <a:lnTo>
                      <a:pt x="284798" y="87897"/>
                    </a:lnTo>
                    <a:lnTo>
                      <a:pt x="284798" y="84087"/>
                    </a:lnTo>
                    <a:lnTo>
                      <a:pt x="290513" y="81229"/>
                    </a:lnTo>
                    <a:cubicBezTo>
                      <a:pt x="297180" y="80277"/>
                      <a:pt x="300990" y="77419"/>
                      <a:pt x="300990" y="77419"/>
                    </a:cubicBezTo>
                    <a:cubicBezTo>
                      <a:pt x="307658" y="76467"/>
                      <a:pt x="307658" y="76467"/>
                      <a:pt x="307658" y="76467"/>
                    </a:cubicBezTo>
                    <a:lnTo>
                      <a:pt x="312420" y="72657"/>
                    </a:lnTo>
                    <a:lnTo>
                      <a:pt x="312420" y="68847"/>
                    </a:lnTo>
                    <a:lnTo>
                      <a:pt x="311468" y="65989"/>
                    </a:lnTo>
                    <a:cubicBezTo>
                      <a:pt x="311468" y="65989"/>
                      <a:pt x="300990" y="63132"/>
                      <a:pt x="297180" y="63132"/>
                    </a:cubicBezTo>
                    <a:cubicBezTo>
                      <a:pt x="294323" y="63132"/>
                      <a:pt x="284798" y="61227"/>
                      <a:pt x="284798" y="61227"/>
                    </a:cubicBezTo>
                    <a:lnTo>
                      <a:pt x="279083" y="59322"/>
                    </a:lnTo>
                    <a:lnTo>
                      <a:pt x="271463" y="56464"/>
                    </a:lnTo>
                    <a:lnTo>
                      <a:pt x="269558" y="53607"/>
                    </a:lnTo>
                    <a:lnTo>
                      <a:pt x="262890" y="49797"/>
                    </a:lnTo>
                    <a:lnTo>
                      <a:pt x="256223" y="44082"/>
                    </a:lnTo>
                    <a:lnTo>
                      <a:pt x="253365" y="39319"/>
                    </a:lnTo>
                    <a:lnTo>
                      <a:pt x="247650" y="31699"/>
                    </a:lnTo>
                    <a:lnTo>
                      <a:pt x="240030" y="29794"/>
                    </a:lnTo>
                    <a:lnTo>
                      <a:pt x="232410" y="28842"/>
                    </a:lnTo>
                    <a:lnTo>
                      <a:pt x="227648" y="24079"/>
                    </a:lnTo>
                    <a:cubicBezTo>
                      <a:pt x="227648" y="24079"/>
                      <a:pt x="221933" y="22174"/>
                      <a:pt x="222885" y="20269"/>
                    </a:cubicBezTo>
                    <a:cubicBezTo>
                      <a:pt x="223838" y="18364"/>
                      <a:pt x="220980" y="17412"/>
                      <a:pt x="220980" y="15507"/>
                    </a:cubicBezTo>
                    <a:cubicBezTo>
                      <a:pt x="220980" y="13602"/>
                      <a:pt x="220027" y="10744"/>
                      <a:pt x="220027" y="10744"/>
                    </a:cubicBezTo>
                    <a:lnTo>
                      <a:pt x="218123" y="7887"/>
                    </a:lnTo>
                    <a:lnTo>
                      <a:pt x="213360" y="4077"/>
                    </a:lnTo>
                    <a:lnTo>
                      <a:pt x="206693" y="3124"/>
                    </a:lnTo>
                    <a:lnTo>
                      <a:pt x="204788" y="9792"/>
                    </a:lnTo>
                    <a:lnTo>
                      <a:pt x="200025" y="13602"/>
                    </a:lnTo>
                    <a:lnTo>
                      <a:pt x="181927" y="15507"/>
                    </a:lnTo>
                    <a:lnTo>
                      <a:pt x="175260" y="16459"/>
                    </a:lnTo>
                    <a:cubicBezTo>
                      <a:pt x="175260" y="16459"/>
                      <a:pt x="168593" y="12649"/>
                      <a:pt x="164783" y="13602"/>
                    </a:cubicBezTo>
                    <a:cubicBezTo>
                      <a:pt x="160020" y="14554"/>
                      <a:pt x="150495" y="13602"/>
                      <a:pt x="150495" y="13602"/>
                    </a:cubicBezTo>
                    <a:lnTo>
                      <a:pt x="143827" y="13602"/>
                    </a:lnTo>
                    <a:lnTo>
                      <a:pt x="138113" y="14554"/>
                    </a:lnTo>
                    <a:lnTo>
                      <a:pt x="129540" y="11697"/>
                    </a:lnTo>
                    <a:lnTo>
                      <a:pt x="116205" y="10744"/>
                    </a:lnTo>
                    <a:lnTo>
                      <a:pt x="106680" y="9792"/>
                    </a:lnTo>
                    <a:lnTo>
                      <a:pt x="100013" y="9792"/>
                    </a:lnTo>
                    <a:lnTo>
                      <a:pt x="93345" y="8839"/>
                    </a:lnTo>
                    <a:lnTo>
                      <a:pt x="85725" y="5982"/>
                    </a:lnTo>
                    <a:lnTo>
                      <a:pt x="77152" y="1219"/>
                    </a:lnTo>
                    <a:cubicBezTo>
                      <a:pt x="77152" y="1219"/>
                      <a:pt x="70485" y="-686"/>
                      <a:pt x="67627" y="267"/>
                    </a:cubicBezTo>
                    <a:cubicBezTo>
                      <a:pt x="63818" y="1219"/>
                      <a:pt x="63818" y="1219"/>
                      <a:pt x="63818" y="1219"/>
                    </a:cubicBezTo>
                    <a:lnTo>
                      <a:pt x="58102" y="4077"/>
                    </a:lnTo>
                    <a:cubicBezTo>
                      <a:pt x="58102" y="4077"/>
                      <a:pt x="55245" y="5029"/>
                      <a:pt x="53340" y="6934"/>
                    </a:cubicBezTo>
                    <a:cubicBezTo>
                      <a:pt x="52388" y="8839"/>
                      <a:pt x="44768" y="9792"/>
                      <a:pt x="44768" y="9792"/>
                    </a:cubicBezTo>
                    <a:lnTo>
                      <a:pt x="36195" y="10744"/>
                    </a:lnTo>
                    <a:lnTo>
                      <a:pt x="28575" y="12649"/>
                    </a:lnTo>
                    <a:lnTo>
                      <a:pt x="22860" y="17412"/>
                    </a:lnTo>
                    <a:cubicBezTo>
                      <a:pt x="22860" y="17412"/>
                      <a:pt x="20002" y="17412"/>
                      <a:pt x="17145" y="19317"/>
                    </a:cubicBezTo>
                    <a:cubicBezTo>
                      <a:pt x="15240" y="21222"/>
                      <a:pt x="15240" y="21222"/>
                      <a:pt x="15240" y="21222"/>
                    </a:cubicBezTo>
                    <a:lnTo>
                      <a:pt x="7620" y="23127"/>
                    </a:lnTo>
                    <a:lnTo>
                      <a:pt x="3810" y="26937"/>
                    </a:lnTo>
                    <a:lnTo>
                      <a:pt x="0" y="31699"/>
                    </a:lnTo>
                    <a:cubicBezTo>
                      <a:pt x="0" y="31699"/>
                      <a:pt x="952" y="35509"/>
                      <a:pt x="3810" y="37414"/>
                    </a:cubicBezTo>
                    <a:cubicBezTo>
                      <a:pt x="6668" y="39319"/>
                      <a:pt x="3810" y="38367"/>
                      <a:pt x="6668" y="39319"/>
                    </a:cubicBezTo>
                    <a:cubicBezTo>
                      <a:pt x="9525" y="41224"/>
                      <a:pt x="3810" y="39319"/>
                      <a:pt x="14288" y="41224"/>
                    </a:cubicBezTo>
                    <a:cubicBezTo>
                      <a:pt x="24765" y="43129"/>
                      <a:pt x="22860" y="43129"/>
                      <a:pt x="24765" y="43129"/>
                    </a:cubicBezTo>
                    <a:cubicBezTo>
                      <a:pt x="26670" y="43129"/>
                      <a:pt x="26670" y="43129"/>
                      <a:pt x="26670" y="43129"/>
                    </a:cubicBezTo>
                    <a:cubicBezTo>
                      <a:pt x="26670" y="43129"/>
                      <a:pt x="28575" y="44082"/>
                      <a:pt x="29527" y="46939"/>
                    </a:cubicBezTo>
                    <a:cubicBezTo>
                      <a:pt x="30480" y="49797"/>
                      <a:pt x="26670" y="45034"/>
                      <a:pt x="30480" y="49797"/>
                    </a:cubicBezTo>
                    <a:lnTo>
                      <a:pt x="33338" y="53607"/>
                    </a:lnTo>
                    <a:lnTo>
                      <a:pt x="35243" y="62179"/>
                    </a:lnTo>
                    <a:cubicBezTo>
                      <a:pt x="35243" y="62179"/>
                      <a:pt x="33338" y="62179"/>
                      <a:pt x="35243" y="65037"/>
                    </a:cubicBezTo>
                    <a:cubicBezTo>
                      <a:pt x="37148" y="67894"/>
                      <a:pt x="38100" y="70752"/>
                      <a:pt x="38100" y="70752"/>
                    </a:cubicBezTo>
                    <a:cubicBezTo>
                      <a:pt x="38100" y="70752"/>
                      <a:pt x="38100" y="73609"/>
                      <a:pt x="41910" y="75514"/>
                    </a:cubicBezTo>
                    <a:cubicBezTo>
                      <a:pt x="46673" y="77419"/>
                      <a:pt x="46673" y="77419"/>
                      <a:pt x="50483" y="79324"/>
                    </a:cubicBezTo>
                    <a:cubicBezTo>
                      <a:pt x="55245" y="81229"/>
                      <a:pt x="59055" y="81229"/>
                      <a:pt x="59055" y="81229"/>
                    </a:cubicBezTo>
                    <a:lnTo>
                      <a:pt x="66675" y="81229"/>
                    </a:lnTo>
                    <a:cubicBezTo>
                      <a:pt x="66675" y="81229"/>
                      <a:pt x="71438" y="80277"/>
                      <a:pt x="74295" y="83134"/>
                    </a:cubicBezTo>
                    <a:cubicBezTo>
                      <a:pt x="77152" y="85992"/>
                      <a:pt x="77152" y="85992"/>
                      <a:pt x="77152" y="85992"/>
                    </a:cubicBezTo>
                    <a:lnTo>
                      <a:pt x="82868" y="86944"/>
                    </a:lnTo>
                    <a:cubicBezTo>
                      <a:pt x="82868" y="86944"/>
                      <a:pt x="83820" y="87897"/>
                      <a:pt x="88583" y="90754"/>
                    </a:cubicBezTo>
                    <a:cubicBezTo>
                      <a:pt x="93345" y="93612"/>
                      <a:pt x="86677" y="91707"/>
                      <a:pt x="93345" y="93612"/>
                    </a:cubicBezTo>
                    <a:cubicBezTo>
                      <a:pt x="100013" y="95517"/>
                      <a:pt x="104775" y="95517"/>
                      <a:pt x="104775" y="95517"/>
                    </a:cubicBezTo>
                    <a:cubicBezTo>
                      <a:pt x="104775" y="95517"/>
                      <a:pt x="112395" y="95517"/>
                      <a:pt x="116205" y="97422"/>
                    </a:cubicBezTo>
                    <a:cubicBezTo>
                      <a:pt x="119063" y="99327"/>
                      <a:pt x="127635" y="98374"/>
                      <a:pt x="127635" y="98374"/>
                    </a:cubicBezTo>
                    <a:cubicBezTo>
                      <a:pt x="127635" y="98374"/>
                      <a:pt x="132398" y="98374"/>
                      <a:pt x="135255" y="99327"/>
                    </a:cubicBezTo>
                    <a:cubicBezTo>
                      <a:pt x="138113" y="100279"/>
                      <a:pt x="138113" y="100279"/>
                      <a:pt x="138113" y="100279"/>
                    </a:cubicBezTo>
                    <a:cubicBezTo>
                      <a:pt x="138113" y="100279"/>
                      <a:pt x="143827" y="97422"/>
                      <a:pt x="147638" y="98374"/>
                    </a:cubicBezTo>
                    <a:cubicBezTo>
                      <a:pt x="152400" y="99327"/>
                      <a:pt x="156210" y="96469"/>
                      <a:pt x="156210" y="96469"/>
                    </a:cubicBezTo>
                    <a:cubicBezTo>
                      <a:pt x="156210" y="96469"/>
                      <a:pt x="160973" y="95517"/>
                      <a:pt x="163830" y="94564"/>
                    </a:cubicBezTo>
                    <a:cubicBezTo>
                      <a:pt x="166688" y="93612"/>
                      <a:pt x="170498" y="93612"/>
                      <a:pt x="173355" y="93612"/>
                    </a:cubicBezTo>
                    <a:cubicBezTo>
                      <a:pt x="176213" y="93612"/>
                      <a:pt x="178118" y="92659"/>
                      <a:pt x="180975" y="92659"/>
                    </a:cubicBezTo>
                    <a:cubicBezTo>
                      <a:pt x="183833" y="92659"/>
                      <a:pt x="194310" y="92659"/>
                      <a:pt x="194310" y="92659"/>
                    </a:cubicBezTo>
                    <a:lnTo>
                      <a:pt x="200977" y="89802"/>
                    </a:lnTo>
                    <a:cubicBezTo>
                      <a:pt x="200977" y="89802"/>
                      <a:pt x="201930" y="89802"/>
                      <a:pt x="206693" y="89802"/>
                    </a:cubicBezTo>
                    <a:cubicBezTo>
                      <a:pt x="211455" y="89802"/>
                      <a:pt x="216218" y="89802"/>
                      <a:pt x="220027" y="89802"/>
                    </a:cubicBezTo>
                    <a:cubicBezTo>
                      <a:pt x="222885" y="89802"/>
                      <a:pt x="222885" y="89802"/>
                      <a:pt x="222885" y="89802"/>
                    </a:cubicBezTo>
                    <a:cubicBezTo>
                      <a:pt x="222885" y="89802"/>
                      <a:pt x="224790" y="89802"/>
                      <a:pt x="229552" y="91707"/>
                    </a:cubicBezTo>
                    <a:cubicBezTo>
                      <a:pt x="234315" y="93612"/>
                      <a:pt x="227648" y="92659"/>
                      <a:pt x="234315" y="93612"/>
                    </a:cubicBezTo>
                    <a:cubicBezTo>
                      <a:pt x="240983" y="95517"/>
                      <a:pt x="236220" y="94564"/>
                      <a:pt x="240983" y="95517"/>
                    </a:cubicBezTo>
                    <a:cubicBezTo>
                      <a:pt x="248602" y="94564"/>
                      <a:pt x="256223" y="95517"/>
                      <a:pt x="256223" y="955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 name="Freeform: Shape 13">
                <a:extLst>
                  <a:ext uri="{FF2B5EF4-FFF2-40B4-BE49-F238E27FC236}">
                    <a16:creationId xmlns:a16="http://schemas.microsoft.com/office/drawing/2014/main" id="{2CCE6736-8A6F-46E4-AE61-54A9E63DBD81}"/>
                  </a:ext>
                </a:extLst>
              </p:cNvPr>
              <p:cNvSpPr/>
              <p:nvPr/>
            </p:nvSpPr>
            <p:spPr>
              <a:xfrm>
                <a:off x="5337839" y="2790554"/>
                <a:ext cx="9525" cy="9525"/>
              </a:xfrm>
              <a:custGeom>
                <a:avLst/>
                <a:gdLst/>
                <a:ahLst/>
                <a:cxnLst/>
                <a:rect l="l" t="t" r="r" b="b"/>
                <a:pathLst>
                  <a:path w="9525" h="9525"/>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A45B9B0F-8494-4DEC-896B-D2E90B574A94}"/>
                  </a:ext>
                </a:extLst>
              </p:cNvPr>
              <p:cNvSpPr/>
              <p:nvPr/>
            </p:nvSpPr>
            <p:spPr>
              <a:xfrm>
                <a:off x="6089361" y="3003913"/>
                <a:ext cx="156604" cy="65008"/>
              </a:xfrm>
              <a:custGeom>
                <a:avLst/>
                <a:gdLst>
                  <a:gd name="connsiteX0" fmla="*/ 123825 w 156604"/>
                  <a:gd name="connsiteY0" fmla="*/ 23813 h 65008"/>
                  <a:gd name="connsiteX1" fmla="*/ 113348 w 156604"/>
                  <a:gd name="connsiteY1" fmla="*/ 30480 h 65008"/>
                  <a:gd name="connsiteX2" fmla="*/ 105727 w 156604"/>
                  <a:gd name="connsiteY2" fmla="*/ 31433 h 65008"/>
                  <a:gd name="connsiteX3" fmla="*/ 97155 w 156604"/>
                  <a:gd name="connsiteY3" fmla="*/ 36195 h 65008"/>
                  <a:gd name="connsiteX4" fmla="*/ 97155 w 156604"/>
                  <a:gd name="connsiteY4" fmla="*/ 38100 h 65008"/>
                  <a:gd name="connsiteX5" fmla="*/ 95250 w 156604"/>
                  <a:gd name="connsiteY5" fmla="*/ 41910 h 65008"/>
                  <a:gd name="connsiteX6" fmla="*/ 91440 w 156604"/>
                  <a:gd name="connsiteY6" fmla="*/ 44768 h 65008"/>
                  <a:gd name="connsiteX7" fmla="*/ 83820 w 156604"/>
                  <a:gd name="connsiteY7" fmla="*/ 48578 h 65008"/>
                  <a:gd name="connsiteX8" fmla="*/ 83820 w 156604"/>
                  <a:gd name="connsiteY8" fmla="*/ 52388 h 65008"/>
                  <a:gd name="connsiteX9" fmla="*/ 82867 w 156604"/>
                  <a:gd name="connsiteY9" fmla="*/ 56197 h 65008"/>
                  <a:gd name="connsiteX10" fmla="*/ 80963 w 156604"/>
                  <a:gd name="connsiteY10" fmla="*/ 60008 h 65008"/>
                  <a:gd name="connsiteX11" fmla="*/ 75248 w 156604"/>
                  <a:gd name="connsiteY11" fmla="*/ 63818 h 65008"/>
                  <a:gd name="connsiteX12" fmla="*/ 54292 w 156604"/>
                  <a:gd name="connsiteY12" fmla="*/ 64770 h 65008"/>
                  <a:gd name="connsiteX13" fmla="*/ 45720 w 156604"/>
                  <a:gd name="connsiteY13" fmla="*/ 64770 h 65008"/>
                  <a:gd name="connsiteX14" fmla="*/ 39052 w 156604"/>
                  <a:gd name="connsiteY14" fmla="*/ 63818 h 65008"/>
                  <a:gd name="connsiteX15" fmla="*/ 29527 w 156604"/>
                  <a:gd name="connsiteY15" fmla="*/ 61913 h 65008"/>
                  <a:gd name="connsiteX16" fmla="*/ 24765 w 156604"/>
                  <a:gd name="connsiteY16" fmla="*/ 58103 h 65008"/>
                  <a:gd name="connsiteX17" fmla="*/ 19050 w 156604"/>
                  <a:gd name="connsiteY17" fmla="*/ 54293 h 65008"/>
                  <a:gd name="connsiteX18" fmla="*/ 10477 w 156604"/>
                  <a:gd name="connsiteY18" fmla="*/ 52388 h 65008"/>
                  <a:gd name="connsiteX19" fmla="*/ 5715 w 156604"/>
                  <a:gd name="connsiteY19" fmla="*/ 50483 h 65008"/>
                  <a:gd name="connsiteX20" fmla="*/ 3810 w 156604"/>
                  <a:gd name="connsiteY20" fmla="*/ 47625 h 65008"/>
                  <a:gd name="connsiteX21" fmla="*/ 2857 w 156604"/>
                  <a:gd name="connsiteY21" fmla="*/ 40958 h 65008"/>
                  <a:gd name="connsiteX22" fmla="*/ 0 w 156604"/>
                  <a:gd name="connsiteY22" fmla="*/ 37147 h 65008"/>
                  <a:gd name="connsiteX23" fmla="*/ 952 w 156604"/>
                  <a:gd name="connsiteY23" fmla="*/ 33338 h 65008"/>
                  <a:gd name="connsiteX24" fmla="*/ 5715 w 156604"/>
                  <a:gd name="connsiteY24" fmla="*/ 29528 h 65008"/>
                  <a:gd name="connsiteX25" fmla="*/ 10477 w 156604"/>
                  <a:gd name="connsiteY25" fmla="*/ 25718 h 65008"/>
                  <a:gd name="connsiteX26" fmla="*/ 11430 w 156604"/>
                  <a:gd name="connsiteY26" fmla="*/ 20955 h 65008"/>
                  <a:gd name="connsiteX27" fmla="*/ 13335 w 156604"/>
                  <a:gd name="connsiteY27" fmla="*/ 17145 h 65008"/>
                  <a:gd name="connsiteX28" fmla="*/ 14288 w 156604"/>
                  <a:gd name="connsiteY28" fmla="*/ 13335 h 65008"/>
                  <a:gd name="connsiteX29" fmla="*/ 20002 w 156604"/>
                  <a:gd name="connsiteY29" fmla="*/ 8572 h 65008"/>
                  <a:gd name="connsiteX30" fmla="*/ 27623 w 156604"/>
                  <a:gd name="connsiteY30" fmla="*/ 953 h 65008"/>
                  <a:gd name="connsiteX31" fmla="*/ 30480 w 156604"/>
                  <a:gd name="connsiteY31" fmla="*/ 953 h 65008"/>
                  <a:gd name="connsiteX32" fmla="*/ 43815 w 156604"/>
                  <a:gd name="connsiteY32" fmla="*/ 0 h 65008"/>
                  <a:gd name="connsiteX33" fmla="*/ 56198 w 156604"/>
                  <a:gd name="connsiteY33" fmla="*/ 953 h 65008"/>
                  <a:gd name="connsiteX34" fmla="*/ 69532 w 156604"/>
                  <a:gd name="connsiteY34" fmla="*/ 2858 h 65008"/>
                  <a:gd name="connsiteX35" fmla="*/ 90488 w 156604"/>
                  <a:gd name="connsiteY35" fmla="*/ 2858 h 65008"/>
                  <a:gd name="connsiteX36" fmla="*/ 103823 w 156604"/>
                  <a:gd name="connsiteY36" fmla="*/ 2858 h 65008"/>
                  <a:gd name="connsiteX37" fmla="*/ 117157 w 156604"/>
                  <a:gd name="connsiteY37" fmla="*/ 2858 h 65008"/>
                  <a:gd name="connsiteX38" fmla="*/ 131445 w 156604"/>
                  <a:gd name="connsiteY38" fmla="*/ 3810 h 65008"/>
                  <a:gd name="connsiteX39" fmla="*/ 139065 w 156604"/>
                  <a:gd name="connsiteY39" fmla="*/ 8572 h 65008"/>
                  <a:gd name="connsiteX40" fmla="*/ 150495 w 156604"/>
                  <a:gd name="connsiteY40" fmla="*/ 10478 h 65008"/>
                  <a:gd name="connsiteX41" fmla="*/ 155257 w 156604"/>
                  <a:gd name="connsiteY41" fmla="*/ 11430 h 65008"/>
                  <a:gd name="connsiteX42" fmla="*/ 156210 w 156604"/>
                  <a:gd name="connsiteY42" fmla="*/ 15240 h 65008"/>
                  <a:gd name="connsiteX43" fmla="*/ 147638 w 156604"/>
                  <a:gd name="connsiteY43" fmla="*/ 19050 h 65008"/>
                  <a:gd name="connsiteX44" fmla="*/ 123825 w 156604"/>
                  <a:gd name="connsiteY44" fmla="*/ 23813 h 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6604" h="65008">
                    <a:moveTo>
                      <a:pt x="123825" y="23813"/>
                    </a:moveTo>
                    <a:cubicBezTo>
                      <a:pt x="120015" y="27622"/>
                      <a:pt x="113348" y="30480"/>
                      <a:pt x="113348" y="30480"/>
                    </a:cubicBezTo>
                    <a:lnTo>
                      <a:pt x="105727" y="31433"/>
                    </a:lnTo>
                    <a:cubicBezTo>
                      <a:pt x="105727" y="31433"/>
                      <a:pt x="97155" y="34290"/>
                      <a:pt x="97155" y="36195"/>
                    </a:cubicBezTo>
                    <a:cubicBezTo>
                      <a:pt x="97155" y="38100"/>
                      <a:pt x="97155" y="38100"/>
                      <a:pt x="97155" y="38100"/>
                    </a:cubicBezTo>
                    <a:lnTo>
                      <a:pt x="95250" y="41910"/>
                    </a:lnTo>
                    <a:lnTo>
                      <a:pt x="91440" y="44768"/>
                    </a:lnTo>
                    <a:lnTo>
                      <a:pt x="83820" y="48578"/>
                    </a:lnTo>
                    <a:lnTo>
                      <a:pt x="83820" y="52388"/>
                    </a:lnTo>
                    <a:lnTo>
                      <a:pt x="82867" y="56197"/>
                    </a:lnTo>
                    <a:cubicBezTo>
                      <a:pt x="82867" y="56197"/>
                      <a:pt x="85725" y="56197"/>
                      <a:pt x="80963" y="60008"/>
                    </a:cubicBezTo>
                    <a:cubicBezTo>
                      <a:pt x="75248" y="63818"/>
                      <a:pt x="88582" y="61913"/>
                      <a:pt x="75248" y="63818"/>
                    </a:cubicBezTo>
                    <a:cubicBezTo>
                      <a:pt x="61913" y="65723"/>
                      <a:pt x="54292" y="64770"/>
                      <a:pt x="54292" y="64770"/>
                    </a:cubicBezTo>
                    <a:lnTo>
                      <a:pt x="45720" y="64770"/>
                    </a:lnTo>
                    <a:lnTo>
                      <a:pt x="39052" y="63818"/>
                    </a:lnTo>
                    <a:lnTo>
                      <a:pt x="29527" y="61913"/>
                    </a:lnTo>
                    <a:lnTo>
                      <a:pt x="24765" y="58103"/>
                    </a:lnTo>
                    <a:lnTo>
                      <a:pt x="19050" y="54293"/>
                    </a:lnTo>
                    <a:lnTo>
                      <a:pt x="10477" y="52388"/>
                    </a:lnTo>
                    <a:lnTo>
                      <a:pt x="5715" y="50483"/>
                    </a:lnTo>
                    <a:lnTo>
                      <a:pt x="3810" y="47625"/>
                    </a:lnTo>
                    <a:lnTo>
                      <a:pt x="2857" y="40958"/>
                    </a:lnTo>
                    <a:lnTo>
                      <a:pt x="0" y="37147"/>
                    </a:lnTo>
                    <a:lnTo>
                      <a:pt x="952" y="33338"/>
                    </a:lnTo>
                    <a:lnTo>
                      <a:pt x="5715" y="29528"/>
                    </a:lnTo>
                    <a:lnTo>
                      <a:pt x="10477" y="25718"/>
                    </a:lnTo>
                    <a:lnTo>
                      <a:pt x="11430" y="20955"/>
                    </a:lnTo>
                    <a:lnTo>
                      <a:pt x="13335" y="17145"/>
                    </a:lnTo>
                    <a:lnTo>
                      <a:pt x="14288" y="13335"/>
                    </a:lnTo>
                    <a:cubicBezTo>
                      <a:pt x="14288" y="13335"/>
                      <a:pt x="14288" y="11430"/>
                      <a:pt x="20002" y="8572"/>
                    </a:cubicBezTo>
                    <a:cubicBezTo>
                      <a:pt x="25717" y="5715"/>
                      <a:pt x="24765" y="953"/>
                      <a:pt x="27623" y="953"/>
                    </a:cubicBezTo>
                    <a:cubicBezTo>
                      <a:pt x="30480" y="953"/>
                      <a:pt x="26670" y="1905"/>
                      <a:pt x="30480" y="953"/>
                    </a:cubicBezTo>
                    <a:cubicBezTo>
                      <a:pt x="35242" y="0"/>
                      <a:pt x="38100" y="0"/>
                      <a:pt x="43815" y="0"/>
                    </a:cubicBezTo>
                    <a:cubicBezTo>
                      <a:pt x="49530" y="953"/>
                      <a:pt x="51435" y="-953"/>
                      <a:pt x="56198" y="953"/>
                    </a:cubicBezTo>
                    <a:cubicBezTo>
                      <a:pt x="60960" y="2858"/>
                      <a:pt x="62865" y="2858"/>
                      <a:pt x="69532" y="2858"/>
                    </a:cubicBezTo>
                    <a:cubicBezTo>
                      <a:pt x="76200" y="3810"/>
                      <a:pt x="90488" y="2858"/>
                      <a:pt x="90488" y="2858"/>
                    </a:cubicBezTo>
                    <a:cubicBezTo>
                      <a:pt x="90488" y="2858"/>
                      <a:pt x="100013" y="2858"/>
                      <a:pt x="103823" y="2858"/>
                    </a:cubicBezTo>
                    <a:cubicBezTo>
                      <a:pt x="107632" y="2858"/>
                      <a:pt x="111442" y="2858"/>
                      <a:pt x="117157" y="2858"/>
                    </a:cubicBezTo>
                    <a:cubicBezTo>
                      <a:pt x="122873" y="2858"/>
                      <a:pt x="131445" y="3810"/>
                      <a:pt x="131445" y="3810"/>
                    </a:cubicBezTo>
                    <a:cubicBezTo>
                      <a:pt x="134302" y="7620"/>
                      <a:pt x="139065" y="8572"/>
                      <a:pt x="139065" y="8572"/>
                    </a:cubicBezTo>
                    <a:cubicBezTo>
                      <a:pt x="139065" y="8572"/>
                      <a:pt x="145732" y="9525"/>
                      <a:pt x="150495" y="10478"/>
                    </a:cubicBezTo>
                    <a:cubicBezTo>
                      <a:pt x="155257" y="11430"/>
                      <a:pt x="154305" y="6668"/>
                      <a:pt x="155257" y="11430"/>
                    </a:cubicBezTo>
                    <a:cubicBezTo>
                      <a:pt x="156210" y="15240"/>
                      <a:pt x="157163" y="10478"/>
                      <a:pt x="156210" y="15240"/>
                    </a:cubicBezTo>
                    <a:cubicBezTo>
                      <a:pt x="155257" y="20003"/>
                      <a:pt x="150495" y="17145"/>
                      <a:pt x="147638" y="19050"/>
                    </a:cubicBezTo>
                    <a:cubicBezTo>
                      <a:pt x="142875" y="20955"/>
                      <a:pt x="123825" y="23813"/>
                      <a:pt x="123825" y="238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E61765F0-BBE2-46EC-9E91-3665943E5C89}"/>
                  </a:ext>
                </a:extLst>
              </p:cNvPr>
              <p:cNvSpPr/>
              <p:nvPr/>
            </p:nvSpPr>
            <p:spPr>
              <a:xfrm>
                <a:off x="6127461" y="2930148"/>
                <a:ext cx="114723" cy="40428"/>
              </a:xfrm>
              <a:custGeom>
                <a:avLst/>
                <a:gdLst>
                  <a:gd name="connsiteX0" fmla="*/ 40957 w 114723"/>
                  <a:gd name="connsiteY0" fmla="*/ 39476 h 40428"/>
                  <a:gd name="connsiteX1" fmla="*/ 31432 w 114723"/>
                  <a:gd name="connsiteY1" fmla="*/ 39476 h 40428"/>
                  <a:gd name="connsiteX2" fmla="*/ 16192 w 114723"/>
                  <a:gd name="connsiteY2" fmla="*/ 40428 h 40428"/>
                  <a:gd name="connsiteX3" fmla="*/ 6667 w 114723"/>
                  <a:gd name="connsiteY3" fmla="*/ 39476 h 40428"/>
                  <a:gd name="connsiteX4" fmla="*/ 952 w 114723"/>
                  <a:gd name="connsiteY4" fmla="*/ 35666 h 40428"/>
                  <a:gd name="connsiteX5" fmla="*/ 0 w 114723"/>
                  <a:gd name="connsiteY5" fmla="*/ 30903 h 40428"/>
                  <a:gd name="connsiteX6" fmla="*/ 6667 w 114723"/>
                  <a:gd name="connsiteY6" fmla="*/ 27093 h 40428"/>
                  <a:gd name="connsiteX7" fmla="*/ 15240 w 114723"/>
                  <a:gd name="connsiteY7" fmla="*/ 24236 h 40428"/>
                  <a:gd name="connsiteX8" fmla="*/ 21907 w 114723"/>
                  <a:gd name="connsiteY8" fmla="*/ 23283 h 40428"/>
                  <a:gd name="connsiteX9" fmla="*/ 33338 w 114723"/>
                  <a:gd name="connsiteY9" fmla="*/ 19473 h 40428"/>
                  <a:gd name="connsiteX10" fmla="*/ 41910 w 114723"/>
                  <a:gd name="connsiteY10" fmla="*/ 15663 h 40428"/>
                  <a:gd name="connsiteX11" fmla="*/ 46673 w 114723"/>
                  <a:gd name="connsiteY11" fmla="*/ 14711 h 40428"/>
                  <a:gd name="connsiteX12" fmla="*/ 56198 w 114723"/>
                  <a:gd name="connsiteY12" fmla="*/ 11853 h 40428"/>
                  <a:gd name="connsiteX13" fmla="*/ 59055 w 114723"/>
                  <a:gd name="connsiteY13" fmla="*/ 12806 h 40428"/>
                  <a:gd name="connsiteX14" fmla="*/ 70485 w 114723"/>
                  <a:gd name="connsiteY14" fmla="*/ 6138 h 40428"/>
                  <a:gd name="connsiteX15" fmla="*/ 78105 w 114723"/>
                  <a:gd name="connsiteY15" fmla="*/ 2328 h 40428"/>
                  <a:gd name="connsiteX16" fmla="*/ 90488 w 114723"/>
                  <a:gd name="connsiteY16" fmla="*/ 423 h 40428"/>
                  <a:gd name="connsiteX17" fmla="*/ 99060 w 114723"/>
                  <a:gd name="connsiteY17" fmla="*/ 423 h 40428"/>
                  <a:gd name="connsiteX18" fmla="*/ 107632 w 114723"/>
                  <a:gd name="connsiteY18" fmla="*/ 1376 h 40428"/>
                  <a:gd name="connsiteX19" fmla="*/ 114300 w 114723"/>
                  <a:gd name="connsiteY19" fmla="*/ 4233 h 40428"/>
                  <a:gd name="connsiteX20" fmla="*/ 114300 w 114723"/>
                  <a:gd name="connsiteY20" fmla="*/ 11853 h 40428"/>
                  <a:gd name="connsiteX21" fmla="*/ 110490 w 114723"/>
                  <a:gd name="connsiteY21" fmla="*/ 18521 h 40428"/>
                  <a:gd name="connsiteX22" fmla="*/ 103823 w 114723"/>
                  <a:gd name="connsiteY22" fmla="*/ 24236 h 40428"/>
                  <a:gd name="connsiteX23" fmla="*/ 92392 w 114723"/>
                  <a:gd name="connsiteY23" fmla="*/ 27093 h 40428"/>
                  <a:gd name="connsiteX24" fmla="*/ 87630 w 114723"/>
                  <a:gd name="connsiteY24" fmla="*/ 28046 h 40428"/>
                  <a:gd name="connsiteX25" fmla="*/ 82867 w 114723"/>
                  <a:gd name="connsiteY25" fmla="*/ 28046 h 40428"/>
                  <a:gd name="connsiteX26" fmla="*/ 77152 w 114723"/>
                  <a:gd name="connsiteY26" fmla="*/ 28046 h 40428"/>
                  <a:gd name="connsiteX27" fmla="*/ 71438 w 114723"/>
                  <a:gd name="connsiteY27" fmla="*/ 28998 h 40428"/>
                  <a:gd name="connsiteX28" fmla="*/ 65723 w 114723"/>
                  <a:gd name="connsiteY28" fmla="*/ 29951 h 40428"/>
                  <a:gd name="connsiteX29" fmla="*/ 60960 w 114723"/>
                  <a:gd name="connsiteY29" fmla="*/ 33761 h 40428"/>
                  <a:gd name="connsiteX30" fmla="*/ 56198 w 114723"/>
                  <a:gd name="connsiteY30" fmla="*/ 36618 h 40428"/>
                  <a:gd name="connsiteX31" fmla="*/ 40957 w 114723"/>
                  <a:gd name="connsiteY31" fmla="*/ 39476 h 4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723" h="40428">
                    <a:moveTo>
                      <a:pt x="40957" y="39476"/>
                    </a:moveTo>
                    <a:cubicBezTo>
                      <a:pt x="40957" y="39476"/>
                      <a:pt x="34290" y="39476"/>
                      <a:pt x="31432" y="39476"/>
                    </a:cubicBezTo>
                    <a:cubicBezTo>
                      <a:pt x="28575" y="39476"/>
                      <a:pt x="16192" y="40428"/>
                      <a:pt x="16192" y="40428"/>
                    </a:cubicBezTo>
                    <a:lnTo>
                      <a:pt x="6667" y="39476"/>
                    </a:lnTo>
                    <a:lnTo>
                      <a:pt x="952" y="35666"/>
                    </a:lnTo>
                    <a:lnTo>
                      <a:pt x="0" y="30903"/>
                    </a:lnTo>
                    <a:cubicBezTo>
                      <a:pt x="0" y="30903"/>
                      <a:pt x="1905" y="29951"/>
                      <a:pt x="6667" y="27093"/>
                    </a:cubicBezTo>
                    <a:cubicBezTo>
                      <a:pt x="11430" y="25188"/>
                      <a:pt x="15240" y="24236"/>
                      <a:pt x="15240" y="24236"/>
                    </a:cubicBezTo>
                    <a:cubicBezTo>
                      <a:pt x="21907" y="23283"/>
                      <a:pt x="16192" y="24236"/>
                      <a:pt x="21907" y="23283"/>
                    </a:cubicBezTo>
                    <a:cubicBezTo>
                      <a:pt x="27623" y="22331"/>
                      <a:pt x="28575" y="20426"/>
                      <a:pt x="33338" y="19473"/>
                    </a:cubicBezTo>
                    <a:cubicBezTo>
                      <a:pt x="38100" y="18521"/>
                      <a:pt x="38100" y="15663"/>
                      <a:pt x="41910" y="15663"/>
                    </a:cubicBezTo>
                    <a:cubicBezTo>
                      <a:pt x="46673" y="14711"/>
                      <a:pt x="40957" y="16616"/>
                      <a:pt x="46673" y="14711"/>
                    </a:cubicBezTo>
                    <a:cubicBezTo>
                      <a:pt x="52388" y="13758"/>
                      <a:pt x="53340" y="10901"/>
                      <a:pt x="56198" y="11853"/>
                    </a:cubicBezTo>
                    <a:cubicBezTo>
                      <a:pt x="59055" y="12806"/>
                      <a:pt x="59055" y="12806"/>
                      <a:pt x="59055" y="12806"/>
                    </a:cubicBezTo>
                    <a:lnTo>
                      <a:pt x="70485" y="6138"/>
                    </a:lnTo>
                    <a:cubicBezTo>
                      <a:pt x="70485" y="6138"/>
                      <a:pt x="72390" y="2328"/>
                      <a:pt x="78105" y="2328"/>
                    </a:cubicBezTo>
                    <a:cubicBezTo>
                      <a:pt x="83820" y="2328"/>
                      <a:pt x="90488" y="423"/>
                      <a:pt x="90488" y="423"/>
                    </a:cubicBezTo>
                    <a:cubicBezTo>
                      <a:pt x="90488" y="423"/>
                      <a:pt x="95250" y="-529"/>
                      <a:pt x="99060" y="423"/>
                    </a:cubicBezTo>
                    <a:cubicBezTo>
                      <a:pt x="103823" y="1376"/>
                      <a:pt x="107632" y="1376"/>
                      <a:pt x="107632" y="1376"/>
                    </a:cubicBezTo>
                    <a:lnTo>
                      <a:pt x="114300" y="4233"/>
                    </a:lnTo>
                    <a:cubicBezTo>
                      <a:pt x="115252" y="8996"/>
                      <a:pt x="114300" y="8043"/>
                      <a:pt x="114300" y="11853"/>
                    </a:cubicBezTo>
                    <a:cubicBezTo>
                      <a:pt x="114300" y="15663"/>
                      <a:pt x="112395" y="15663"/>
                      <a:pt x="110490" y="18521"/>
                    </a:cubicBezTo>
                    <a:cubicBezTo>
                      <a:pt x="109538" y="21378"/>
                      <a:pt x="103823" y="24236"/>
                      <a:pt x="103823" y="24236"/>
                    </a:cubicBezTo>
                    <a:lnTo>
                      <a:pt x="92392" y="27093"/>
                    </a:lnTo>
                    <a:lnTo>
                      <a:pt x="87630" y="28046"/>
                    </a:lnTo>
                    <a:lnTo>
                      <a:pt x="82867" y="28046"/>
                    </a:lnTo>
                    <a:lnTo>
                      <a:pt x="77152" y="28046"/>
                    </a:lnTo>
                    <a:lnTo>
                      <a:pt x="71438" y="28998"/>
                    </a:lnTo>
                    <a:lnTo>
                      <a:pt x="65723" y="29951"/>
                    </a:lnTo>
                    <a:cubicBezTo>
                      <a:pt x="60960" y="33761"/>
                      <a:pt x="60960" y="33761"/>
                      <a:pt x="60960" y="33761"/>
                    </a:cubicBezTo>
                    <a:lnTo>
                      <a:pt x="56198" y="36618"/>
                    </a:lnTo>
                    <a:lnTo>
                      <a:pt x="40957" y="3947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405F14EF-51C2-4A98-9132-055794D7A9F6}"/>
                  </a:ext>
                </a:extLst>
              </p:cNvPr>
              <p:cNvSpPr/>
              <p:nvPr/>
            </p:nvSpPr>
            <p:spPr>
              <a:xfrm>
                <a:off x="6227474" y="2955336"/>
                <a:ext cx="208597" cy="46114"/>
              </a:xfrm>
              <a:custGeom>
                <a:avLst/>
                <a:gdLst>
                  <a:gd name="connsiteX0" fmla="*/ 62865 w 208597"/>
                  <a:gd name="connsiteY0" fmla="*/ 4763 h 46114"/>
                  <a:gd name="connsiteX1" fmla="*/ 47625 w 208597"/>
                  <a:gd name="connsiteY1" fmla="*/ 4763 h 46114"/>
                  <a:gd name="connsiteX2" fmla="*/ 35242 w 208597"/>
                  <a:gd name="connsiteY2" fmla="*/ 4763 h 46114"/>
                  <a:gd name="connsiteX3" fmla="*/ 25717 w 208597"/>
                  <a:gd name="connsiteY3" fmla="*/ 5715 h 46114"/>
                  <a:gd name="connsiteX4" fmla="*/ 18098 w 208597"/>
                  <a:gd name="connsiteY4" fmla="*/ 10478 h 46114"/>
                  <a:gd name="connsiteX5" fmla="*/ 14288 w 208597"/>
                  <a:gd name="connsiteY5" fmla="*/ 17145 h 46114"/>
                  <a:gd name="connsiteX6" fmla="*/ 13335 w 208597"/>
                  <a:gd name="connsiteY6" fmla="*/ 19050 h 46114"/>
                  <a:gd name="connsiteX7" fmla="*/ 1905 w 208597"/>
                  <a:gd name="connsiteY7" fmla="*/ 24765 h 46114"/>
                  <a:gd name="connsiteX8" fmla="*/ 0 w 208597"/>
                  <a:gd name="connsiteY8" fmla="*/ 31433 h 46114"/>
                  <a:gd name="connsiteX9" fmla="*/ 9525 w 208597"/>
                  <a:gd name="connsiteY9" fmla="*/ 34290 h 46114"/>
                  <a:gd name="connsiteX10" fmla="*/ 21907 w 208597"/>
                  <a:gd name="connsiteY10" fmla="*/ 34290 h 46114"/>
                  <a:gd name="connsiteX11" fmla="*/ 35242 w 208597"/>
                  <a:gd name="connsiteY11" fmla="*/ 34290 h 46114"/>
                  <a:gd name="connsiteX12" fmla="*/ 40957 w 208597"/>
                  <a:gd name="connsiteY12" fmla="*/ 35243 h 46114"/>
                  <a:gd name="connsiteX13" fmla="*/ 56198 w 208597"/>
                  <a:gd name="connsiteY13" fmla="*/ 35243 h 46114"/>
                  <a:gd name="connsiteX14" fmla="*/ 60960 w 208597"/>
                  <a:gd name="connsiteY14" fmla="*/ 37148 h 46114"/>
                  <a:gd name="connsiteX15" fmla="*/ 62865 w 208597"/>
                  <a:gd name="connsiteY15" fmla="*/ 40958 h 46114"/>
                  <a:gd name="connsiteX16" fmla="*/ 70485 w 208597"/>
                  <a:gd name="connsiteY16" fmla="*/ 44768 h 46114"/>
                  <a:gd name="connsiteX17" fmla="*/ 81915 w 208597"/>
                  <a:gd name="connsiteY17" fmla="*/ 45720 h 46114"/>
                  <a:gd name="connsiteX18" fmla="*/ 95250 w 208597"/>
                  <a:gd name="connsiteY18" fmla="*/ 41910 h 46114"/>
                  <a:gd name="connsiteX19" fmla="*/ 107632 w 208597"/>
                  <a:gd name="connsiteY19" fmla="*/ 39053 h 46114"/>
                  <a:gd name="connsiteX20" fmla="*/ 116205 w 208597"/>
                  <a:gd name="connsiteY20" fmla="*/ 39053 h 46114"/>
                  <a:gd name="connsiteX21" fmla="*/ 134302 w 208597"/>
                  <a:gd name="connsiteY21" fmla="*/ 36195 h 46114"/>
                  <a:gd name="connsiteX22" fmla="*/ 148590 w 208597"/>
                  <a:gd name="connsiteY22" fmla="*/ 34290 h 46114"/>
                  <a:gd name="connsiteX23" fmla="*/ 166688 w 208597"/>
                  <a:gd name="connsiteY23" fmla="*/ 34290 h 46114"/>
                  <a:gd name="connsiteX24" fmla="*/ 179070 w 208597"/>
                  <a:gd name="connsiteY24" fmla="*/ 35243 h 46114"/>
                  <a:gd name="connsiteX25" fmla="*/ 190500 w 208597"/>
                  <a:gd name="connsiteY25" fmla="*/ 35243 h 46114"/>
                  <a:gd name="connsiteX26" fmla="*/ 197167 w 208597"/>
                  <a:gd name="connsiteY26" fmla="*/ 33338 h 46114"/>
                  <a:gd name="connsiteX27" fmla="*/ 204788 w 208597"/>
                  <a:gd name="connsiteY27" fmla="*/ 29528 h 46114"/>
                  <a:gd name="connsiteX28" fmla="*/ 208598 w 208597"/>
                  <a:gd name="connsiteY28" fmla="*/ 20955 h 46114"/>
                  <a:gd name="connsiteX29" fmla="*/ 204788 w 208597"/>
                  <a:gd name="connsiteY29" fmla="*/ 14288 h 46114"/>
                  <a:gd name="connsiteX30" fmla="*/ 192405 w 208597"/>
                  <a:gd name="connsiteY30" fmla="*/ 12383 h 46114"/>
                  <a:gd name="connsiteX31" fmla="*/ 180023 w 208597"/>
                  <a:gd name="connsiteY31" fmla="*/ 12383 h 46114"/>
                  <a:gd name="connsiteX32" fmla="*/ 170498 w 208597"/>
                  <a:gd name="connsiteY32" fmla="*/ 11430 h 46114"/>
                  <a:gd name="connsiteX33" fmla="*/ 166688 w 208597"/>
                  <a:gd name="connsiteY33" fmla="*/ 11430 h 46114"/>
                  <a:gd name="connsiteX34" fmla="*/ 158115 w 208597"/>
                  <a:gd name="connsiteY34" fmla="*/ 3810 h 46114"/>
                  <a:gd name="connsiteX35" fmla="*/ 153352 w 208597"/>
                  <a:gd name="connsiteY35" fmla="*/ 1905 h 46114"/>
                  <a:gd name="connsiteX36" fmla="*/ 139065 w 208597"/>
                  <a:gd name="connsiteY36" fmla="*/ 0 h 46114"/>
                  <a:gd name="connsiteX37" fmla="*/ 131445 w 208597"/>
                  <a:gd name="connsiteY37" fmla="*/ 0 h 46114"/>
                  <a:gd name="connsiteX38" fmla="*/ 126682 w 208597"/>
                  <a:gd name="connsiteY38" fmla="*/ 953 h 46114"/>
                  <a:gd name="connsiteX39" fmla="*/ 124777 w 208597"/>
                  <a:gd name="connsiteY39" fmla="*/ 6668 h 46114"/>
                  <a:gd name="connsiteX40" fmla="*/ 120967 w 208597"/>
                  <a:gd name="connsiteY40" fmla="*/ 11430 h 46114"/>
                  <a:gd name="connsiteX41" fmla="*/ 120015 w 208597"/>
                  <a:gd name="connsiteY41" fmla="*/ 13335 h 46114"/>
                  <a:gd name="connsiteX42" fmla="*/ 112395 w 208597"/>
                  <a:gd name="connsiteY42" fmla="*/ 17145 h 46114"/>
                  <a:gd name="connsiteX43" fmla="*/ 105727 w 208597"/>
                  <a:gd name="connsiteY43" fmla="*/ 18098 h 46114"/>
                  <a:gd name="connsiteX44" fmla="*/ 97155 w 208597"/>
                  <a:gd name="connsiteY44" fmla="*/ 18098 h 46114"/>
                  <a:gd name="connsiteX45" fmla="*/ 90488 w 208597"/>
                  <a:gd name="connsiteY45" fmla="*/ 17145 h 46114"/>
                  <a:gd name="connsiteX46" fmla="*/ 87630 w 208597"/>
                  <a:gd name="connsiteY46" fmla="*/ 14288 h 46114"/>
                  <a:gd name="connsiteX47" fmla="*/ 79057 w 208597"/>
                  <a:gd name="connsiteY47" fmla="*/ 10478 h 46114"/>
                  <a:gd name="connsiteX48" fmla="*/ 62865 w 208597"/>
                  <a:gd name="connsiteY48" fmla="*/ 4763 h 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8597" h="46114">
                    <a:moveTo>
                      <a:pt x="62865" y="4763"/>
                    </a:moveTo>
                    <a:lnTo>
                      <a:pt x="47625" y="4763"/>
                    </a:lnTo>
                    <a:lnTo>
                      <a:pt x="35242" y="4763"/>
                    </a:lnTo>
                    <a:cubicBezTo>
                      <a:pt x="35242" y="4763"/>
                      <a:pt x="28575" y="2858"/>
                      <a:pt x="25717" y="5715"/>
                    </a:cubicBezTo>
                    <a:cubicBezTo>
                      <a:pt x="21907" y="8573"/>
                      <a:pt x="19050" y="7620"/>
                      <a:pt x="18098" y="10478"/>
                    </a:cubicBezTo>
                    <a:cubicBezTo>
                      <a:pt x="17145" y="13335"/>
                      <a:pt x="16192" y="14288"/>
                      <a:pt x="14288" y="17145"/>
                    </a:cubicBezTo>
                    <a:cubicBezTo>
                      <a:pt x="13335" y="19050"/>
                      <a:pt x="13335" y="19050"/>
                      <a:pt x="13335" y="19050"/>
                    </a:cubicBezTo>
                    <a:lnTo>
                      <a:pt x="1905" y="24765"/>
                    </a:lnTo>
                    <a:cubicBezTo>
                      <a:pt x="0" y="28575"/>
                      <a:pt x="0" y="31433"/>
                      <a:pt x="0" y="31433"/>
                    </a:cubicBezTo>
                    <a:cubicBezTo>
                      <a:pt x="5715" y="34290"/>
                      <a:pt x="5715" y="33338"/>
                      <a:pt x="9525" y="34290"/>
                    </a:cubicBezTo>
                    <a:cubicBezTo>
                      <a:pt x="14288" y="35243"/>
                      <a:pt x="15240" y="33338"/>
                      <a:pt x="21907" y="34290"/>
                    </a:cubicBezTo>
                    <a:cubicBezTo>
                      <a:pt x="28575" y="35243"/>
                      <a:pt x="29527" y="33338"/>
                      <a:pt x="35242" y="34290"/>
                    </a:cubicBezTo>
                    <a:cubicBezTo>
                      <a:pt x="40957" y="35243"/>
                      <a:pt x="30480" y="34290"/>
                      <a:pt x="40957" y="35243"/>
                    </a:cubicBezTo>
                    <a:cubicBezTo>
                      <a:pt x="50482" y="36195"/>
                      <a:pt x="52388" y="34290"/>
                      <a:pt x="56198" y="35243"/>
                    </a:cubicBezTo>
                    <a:cubicBezTo>
                      <a:pt x="60960" y="37148"/>
                      <a:pt x="60960" y="37148"/>
                      <a:pt x="60960" y="37148"/>
                    </a:cubicBezTo>
                    <a:cubicBezTo>
                      <a:pt x="60960" y="37148"/>
                      <a:pt x="60007" y="39053"/>
                      <a:pt x="62865" y="40958"/>
                    </a:cubicBezTo>
                    <a:cubicBezTo>
                      <a:pt x="65723" y="42863"/>
                      <a:pt x="65723" y="43815"/>
                      <a:pt x="70485" y="44768"/>
                    </a:cubicBezTo>
                    <a:cubicBezTo>
                      <a:pt x="75248" y="45720"/>
                      <a:pt x="78105" y="46673"/>
                      <a:pt x="81915" y="45720"/>
                    </a:cubicBezTo>
                    <a:cubicBezTo>
                      <a:pt x="84773" y="44768"/>
                      <a:pt x="92392" y="41910"/>
                      <a:pt x="95250" y="41910"/>
                    </a:cubicBezTo>
                    <a:cubicBezTo>
                      <a:pt x="98107" y="41910"/>
                      <a:pt x="107632" y="39053"/>
                      <a:pt x="107632" y="39053"/>
                    </a:cubicBezTo>
                    <a:cubicBezTo>
                      <a:pt x="107632" y="39053"/>
                      <a:pt x="113348" y="38100"/>
                      <a:pt x="116205" y="39053"/>
                    </a:cubicBezTo>
                    <a:cubicBezTo>
                      <a:pt x="119063" y="40005"/>
                      <a:pt x="130492" y="37148"/>
                      <a:pt x="134302" y="36195"/>
                    </a:cubicBezTo>
                    <a:cubicBezTo>
                      <a:pt x="137160" y="35243"/>
                      <a:pt x="142875" y="33338"/>
                      <a:pt x="148590" y="34290"/>
                    </a:cubicBezTo>
                    <a:cubicBezTo>
                      <a:pt x="154305" y="35243"/>
                      <a:pt x="166688" y="34290"/>
                      <a:pt x="166688" y="34290"/>
                    </a:cubicBezTo>
                    <a:cubicBezTo>
                      <a:pt x="166688" y="34290"/>
                      <a:pt x="173355" y="34290"/>
                      <a:pt x="179070" y="35243"/>
                    </a:cubicBezTo>
                    <a:cubicBezTo>
                      <a:pt x="184785" y="36195"/>
                      <a:pt x="190500" y="35243"/>
                      <a:pt x="190500" y="35243"/>
                    </a:cubicBezTo>
                    <a:cubicBezTo>
                      <a:pt x="190500" y="35243"/>
                      <a:pt x="192405" y="33338"/>
                      <a:pt x="197167" y="33338"/>
                    </a:cubicBezTo>
                    <a:cubicBezTo>
                      <a:pt x="201930" y="33338"/>
                      <a:pt x="201930" y="30480"/>
                      <a:pt x="204788" y="29528"/>
                    </a:cubicBezTo>
                    <a:cubicBezTo>
                      <a:pt x="208598" y="28575"/>
                      <a:pt x="208598" y="20955"/>
                      <a:pt x="208598" y="20955"/>
                    </a:cubicBezTo>
                    <a:lnTo>
                      <a:pt x="204788" y="14288"/>
                    </a:lnTo>
                    <a:lnTo>
                      <a:pt x="192405" y="12383"/>
                    </a:lnTo>
                    <a:lnTo>
                      <a:pt x="180023" y="12383"/>
                    </a:lnTo>
                    <a:cubicBezTo>
                      <a:pt x="180023" y="12383"/>
                      <a:pt x="173355" y="11430"/>
                      <a:pt x="170498" y="11430"/>
                    </a:cubicBezTo>
                    <a:cubicBezTo>
                      <a:pt x="166688" y="11430"/>
                      <a:pt x="166688" y="11430"/>
                      <a:pt x="166688" y="11430"/>
                    </a:cubicBezTo>
                    <a:lnTo>
                      <a:pt x="158115" y="3810"/>
                    </a:lnTo>
                    <a:lnTo>
                      <a:pt x="153352" y="1905"/>
                    </a:lnTo>
                    <a:lnTo>
                      <a:pt x="139065" y="0"/>
                    </a:lnTo>
                    <a:lnTo>
                      <a:pt x="131445" y="0"/>
                    </a:lnTo>
                    <a:lnTo>
                      <a:pt x="126682" y="953"/>
                    </a:lnTo>
                    <a:cubicBezTo>
                      <a:pt x="126682" y="953"/>
                      <a:pt x="124777" y="4763"/>
                      <a:pt x="124777" y="6668"/>
                    </a:cubicBezTo>
                    <a:cubicBezTo>
                      <a:pt x="124777" y="8573"/>
                      <a:pt x="122873" y="9525"/>
                      <a:pt x="120967" y="11430"/>
                    </a:cubicBezTo>
                    <a:cubicBezTo>
                      <a:pt x="120015" y="13335"/>
                      <a:pt x="121920" y="11430"/>
                      <a:pt x="120015" y="13335"/>
                    </a:cubicBezTo>
                    <a:cubicBezTo>
                      <a:pt x="118110" y="15240"/>
                      <a:pt x="112395" y="17145"/>
                      <a:pt x="112395" y="17145"/>
                    </a:cubicBezTo>
                    <a:lnTo>
                      <a:pt x="105727" y="18098"/>
                    </a:lnTo>
                    <a:lnTo>
                      <a:pt x="97155" y="18098"/>
                    </a:lnTo>
                    <a:lnTo>
                      <a:pt x="90488" y="17145"/>
                    </a:lnTo>
                    <a:lnTo>
                      <a:pt x="87630" y="14288"/>
                    </a:lnTo>
                    <a:lnTo>
                      <a:pt x="79057" y="10478"/>
                    </a:lnTo>
                    <a:lnTo>
                      <a:pt x="62865"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183755C6-7661-4C2C-85CC-B998308CCD8F}"/>
                  </a:ext>
                </a:extLst>
              </p:cNvPr>
              <p:cNvSpPr/>
              <p:nvPr/>
            </p:nvSpPr>
            <p:spPr>
              <a:xfrm>
                <a:off x="6294576" y="2902525"/>
                <a:ext cx="65401" cy="30903"/>
              </a:xfrm>
              <a:custGeom>
                <a:avLst/>
                <a:gdLst>
                  <a:gd name="connsiteX0" fmla="*/ 17670 w 65401"/>
                  <a:gd name="connsiteY0" fmla="*/ 30903 h 30903"/>
                  <a:gd name="connsiteX1" fmla="*/ 2430 w 65401"/>
                  <a:gd name="connsiteY1" fmla="*/ 27093 h 30903"/>
                  <a:gd name="connsiteX2" fmla="*/ 1477 w 65401"/>
                  <a:gd name="connsiteY2" fmla="*/ 22331 h 30903"/>
                  <a:gd name="connsiteX3" fmla="*/ 5287 w 65401"/>
                  <a:gd name="connsiteY3" fmla="*/ 22331 h 30903"/>
                  <a:gd name="connsiteX4" fmla="*/ 10050 w 65401"/>
                  <a:gd name="connsiteY4" fmla="*/ 20426 h 30903"/>
                  <a:gd name="connsiteX5" fmla="*/ 11002 w 65401"/>
                  <a:gd name="connsiteY5" fmla="*/ 12806 h 30903"/>
                  <a:gd name="connsiteX6" fmla="*/ 10050 w 65401"/>
                  <a:gd name="connsiteY6" fmla="*/ 10901 h 30903"/>
                  <a:gd name="connsiteX7" fmla="*/ 5287 w 65401"/>
                  <a:gd name="connsiteY7" fmla="*/ 8043 h 30903"/>
                  <a:gd name="connsiteX8" fmla="*/ 11002 w 65401"/>
                  <a:gd name="connsiteY8" fmla="*/ 3281 h 30903"/>
                  <a:gd name="connsiteX9" fmla="*/ 25290 w 65401"/>
                  <a:gd name="connsiteY9" fmla="*/ 1376 h 30903"/>
                  <a:gd name="connsiteX10" fmla="*/ 42435 w 65401"/>
                  <a:gd name="connsiteY10" fmla="*/ 423 h 30903"/>
                  <a:gd name="connsiteX11" fmla="*/ 51960 w 65401"/>
                  <a:gd name="connsiteY11" fmla="*/ 423 h 30903"/>
                  <a:gd name="connsiteX12" fmla="*/ 62437 w 65401"/>
                  <a:gd name="connsiteY12" fmla="*/ 3281 h 30903"/>
                  <a:gd name="connsiteX13" fmla="*/ 65295 w 65401"/>
                  <a:gd name="connsiteY13" fmla="*/ 7091 h 30903"/>
                  <a:gd name="connsiteX14" fmla="*/ 60532 w 65401"/>
                  <a:gd name="connsiteY14" fmla="*/ 14711 h 30903"/>
                  <a:gd name="connsiteX15" fmla="*/ 53865 w 65401"/>
                  <a:gd name="connsiteY15" fmla="*/ 18521 h 30903"/>
                  <a:gd name="connsiteX16" fmla="*/ 53865 w 65401"/>
                  <a:gd name="connsiteY16" fmla="*/ 21378 h 30903"/>
                  <a:gd name="connsiteX17" fmla="*/ 53865 w 65401"/>
                  <a:gd name="connsiteY17" fmla="*/ 25188 h 30903"/>
                  <a:gd name="connsiteX18" fmla="*/ 53865 w 65401"/>
                  <a:gd name="connsiteY18" fmla="*/ 28998 h 30903"/>
                  <a:gd name="connsiteX19" fmla="*/ 46245 w 65401"/>
                  <a:gd name="connsiteY19" fmla="*/ 29951 h 30903"/>
                  <a:gd name="connsiteX20" fmla="*/ 40530 w 65401"/>
                  <a:gd name="connsiteY20" fmla="*/ 29951 h 30903"/>
                  <a:gd name="connsiteX21" fmla="*/ 31005 w 65401"/>
                  <a:gd name="connsiteY21" fmla="*/ 28998 h 30903"/>
                  <a:gd name="connsiteX22" fmla="*/ 26242 w 65401"/>
                  <a:gd name="connsiteY22" fmla="*/ 28998 h 30903"/>
                  <a:gd name="connsiteX23" fmla="*/ 19575 w 65401"/>
                  <a:gd name="connsiteY23" fmla="*/ 29951 h 30903"/>
                  <a:gd name="connsiteX24" fmla="*/ 17670 w 65401"/>
                  <a:gd name="connsiteY24" fmla="*/ 30903 h 3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401" h="30903">
                    <a:moveTo>
                      <a:pt x="17670" y="30903"/>
                    </a:moveTo>
                    <a:lnTo>
                      <a:pt x="2430" y="27093"/>
                    </a:lnTo>
                    <a:cubicBezTo>
                      <a:pt x="2430" y="27093"/>
                      <a:pt x="-2333" y="22331"/>
                      <a:pt x="1477" y="22331"/>
                    </a:cubicBezTo>
                    <a:cubicBezTo>
                      <a:pt x="5287" y="22331"/>
                      <a:pt x="5287" y="22331"/>
                      <a:pt x="5287" y="22331"/>
                    </a:cubicBezTo>
                    <a:lnTo>
                      <a:pt x="10050" y="20426"/>
                    </a:lnTo>
                    <a:cubicBezTo>
                      <a:pt x="10050" y="20426"/>
                      <a:pt x="11955" y="14711"/>
                      <a:pt x="11002" y="12806"/>
                    </a:cubicBezTo>
                    <a:cubicBezTo>
                      <a:pt x="10050" y="10901"/>
                      <a:pt x="10050" y="10901"/>
                      <a:pt x="10050" y="10901"/>
                    </a:cubicBezTo>
                    <a:lnTo>
                      <a:pt x="5287" y="8043"/>
                    </a:lnTo>
                    <a:cubicBezTo>
                      <a:pt x="5287" y="8043"/>
                      <a:pt x="5287" y="4233"/>
                      <a:pt x="11002" y="3281"/>
                    </a:cubicBezTo>
                    <a:cubicBezTo>
                      <a:pt x="16717" y="2328"/>
                      <a:pt x="22432" y="2328"/>
                      <a:pt x="25290" y="1376"/>
                    </a:cubicBezTo>
                    <a:cubicBezTo>
                      <a:pt x="28147" y="423"/>
                      <a:pt x="39577" y="423"/>
                      <a:pt x="42435" y="423"/>
                    </a:cubicBezTo>
                    <a:cubicBezTo>
                      <a:pt x="45292" y="423"/>
                      <a:pt x="49102" y="-529"/>
                      <a:pt x="51960" y="423"/>
                    </a:cubicBezTo>
                    <a:cubicBezTo>
                      <a:pt x="54817" y="1376"/>
                      <a:pt x="62437" y="3281"/>
                      <a:pt x="62437" y="3281"/>
                    </a:cubicBezTo>
                    <a:cubicBezTo>
                      <a:pt x="62437" y="3281"/>
                      <a:pt x="64342" y="5186"/>
                      <a:pt x="65295" y="7091"/>
                    </a:cubicBezTo>
                    <a:cubicBezTo>
                      <a:pt x="66247" y="9948"/>
                      <a:pt x="60532" y="12806"/>
                      <a:pt x="60532" y="14711"/>
                    </a:cubicBezTo>
                    <a:cubicBezTo>
                      <a:pt x="60532" y="16616"/>
                      <a:pt x="53865" y="15663"/>
                      <a:pt x="53865" y="18521"/>
                    </a:cubicBezTo>
                    <a:cubicBezTo>
                      <a:pt x="53865" y="21378"/>
                      <a:pt x="53865" y="17568"/>
                      <a:pt x="53865" y="21378"/>
                    </a:cubicBezTo>
                    <a:cubicBezTo>
                      <a:pt x="53865" y="25188"/>
                      <a:pt x="53865" y="21378"/>
                      <a:pt x="53865" y="25188"/>
                    </a:cubicBezTo>
                    <a:cubicBezTo>
                      <a:pt x="53865" y="28998"/>
                      <a:pt x="53865" y="28998"/>
                      <a:pt x="53865" y="28998"/>
                    </a:cubicBezTo>
                    <a:lnTo>
                      <a:pt x="46245" y="29951"/>
                    </a:lnTo>
                    <a:lnTo>
                      <a:pt x="40530" y="29951"/>
                    </a:lnTo>
                    <a:lnTo>
                      <a:pt x="31005" y="28998"/>
                    </a:lnTo>
                    <a:lnTo>
                      <a:pt x="26242" y="28998"/>
                    </a:lnTo>
                    <a:lnTo>
                      <a:pt x="19575" y="29951"/>
                    </a:lnTo>
                    <a:lnTo>
                      <a:pt x="17670" y="309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BDC8D695-11B2-4E6B-A566-2A4A593D26A5}"/>
                  </a:ext>
                </a:extLst>
              </p:cNvPr>
              <p:cNvSpPr/>
              <p:nvPr/>
            </p:nvSpPr>
            <p:spPr>
              <a:xfrm>
                <a:off x="6449139" y="2949621"/>
                <a:ext cx="125044" cy="39246"/>
              </a:xfrm>
              <a:custGeom>
                <a:avLst/>
                <a:gdLst>
                  <a:gd name="connsiteX0" fmla="*/ 43129 w 125044"/>
                  <a:gd name="connsiteY0" fmla="*/ 10477 h 39246"/>
                  <a:gd name="connsiteX1" fmla="*/ 30747 w 125044"/>
                  <a:gd name="connsiteY1" fmla="*/ 11430 h 39246"/>
                  <a:gd name="connsiteX2" fmla="*/ 24079 w 125044"/>
                  <a:gd name="connsiteY2" fmla="*/ 9525 h 39246"/>
                  <a:gd name="connsiteX3" fmla="*/ 23127 w 125044"/>
                  <a:gd name="connsiteY3" fmla="*/ 6667 h 39246"/>
                  <a:gd name="connsiteX4" fmla="*/ 16459 w 125044"/>
                  <a:gd name="connsiteY4" fmla="*/ 1905 h 39246"/>
                  <a:gd name="connsiteX5" fmla="*/ 8839 w 125044"/>
                  <a:gd name="connsiteY5" fmla="*/ 1905 h 39246"/>
                  <a:gd name="connsiteX6" fmla="*/ 1219 w 125044"/>
                  <a:gd name="connsiteY6" fmla="*/ 4763 h 39246"/>
                  <a:gd name="connsiteX7" fmla="*/ 267 w 125044"/>
                  <a:gd name="connsiteY7" fmla="*/ 8572 h 39246"/>
                  <a:gd name="connsiteX8" fmla="*/ 1219 w 125044"/>
                  <a:gd name="connsiteY8" fmla="*/ 11430 h 39246"/>
                  <a:gd name="connsiteX9" fmla="*/ 8839 w 125044"/>
                  <a:gd name="connsiteY9" fmla="*/ 16192 h 39246"/>
                  <a:gd name="connsiteX10" fmla="*/ 17412 w 125044"/>
                  <a:gd name="connsiteY10" fmla="*/ 18097 h 39246"/>
                  <a:gd name="connsiteX11" fmla="*/ 18364 w 125044"/>
                  <a:gd name="connsiteY11" fmla="*/ 20955 h 39246"/>
                  <a:gd name="connsiteX12" fmla="*/ 26937 w 125044"/>
                  <a:gd name="connsiteY12" fmla="*/ 23813 h 39246"/>
                  <a:gd name="connsiteX13" fmla="*/ 39319 w 125044"/>
                  <a:gd name="connsiteY13" fmla="*/ 25717 h 39246"/>
                  <a:gd name="connsiteX14" fmla="*/ 45034 w 125044"/>
                  <a:gd name="connsiteY14" fmla="*/ 27622 h 39246"/>
                  <a:gd name="connsiteX15" fmla="*/ 49797 w 125044"/>
                  <a:gd name="connsiteY15" fmla="*/ 29527 h 39246"/>
                  <a:gd name="connsiteX16" fmla="*/ 59322 w 125044"/>
                  <a:gd name="connsiteY16" fmla="*/ 33338 h 39246"/>
                  <a:gd name="connsiteX17" fmla="*/ 72657 w 125044"/>
                  <a:gd name="connsiteY17" fmla="*/ 38100 h 39246"/>
                  <a:gd name="connsiteX18" fmla="*/ 81229 w 125044"/>
                  <a:gd name="connsiteY18" fmla="*/ 39052 h 39246"/>
                  <a:gd name="connsiteX19" fmla="*/ 95517 w 125044"/>
                  <a:gd name="connsiteY19" fmla="*/ 39052 h 39246"/>
                  <a:gd name="connsiteX20" fmla="*/ 102184 w 125044"/>
                  <a:gd name="connsiteY20" fmla="*/ 37147 h 39246"/>
                  <a:gd name="connsiteX21" fmla="*/ 107899 w 125044"/>
                  <a:gd name="connsiteY21" fmla="*/ 35242 h 39246"/>
                  <a:gd name="connsiteX22" fmla="*/ 116472 w 125044"/>
                  <a:gd name="connsiteY22" fmla="*/ 34290 h 39246"/>
                  <a:gd name="connsiteX23" fmla="*/ 123139 w 125044"/>
                  <a:gd name="connsiteY23" fmla="*/ 29527 h 39246"/>
                  <a:gd name="connsiteX24" fmla="*/ 125044 w 125044"/>
                  <a:gd name="connsiteY24" fmla="*/ 22860 h 39246"/>
                  <a:gd name="connsiteX25" fmla="*/ 117424 w 125044"/>
                  <a:gd name="connsiteY25" fmla="*/ 18097 h 39246"/>
                  <a:gd name="connsiteX26" fmla="*/ 112662 w 125044"/>
                  <a:gd name="connsiteY26" fmla="*/ 16192 h 39246"/>
                  <a:gd name="connsiteX27" fmla="*/ 109804 w 125044"/>
                  <a:gd name="connsiteY27" fmla="*/ 12382 h 39246"/>
                  <a:gd name="connsiteX28" fmla="*/ 103137 w 125044"/>
                  <a:gd name="connsiteY28" fmla="*/ 8572 h 39246"/>
                  <a:gd name="connsiteX29" fmla="*/ 103137 w 125044"/>
                  <a:gd name="connsiteY29" fmla="*/ 4763 h 39246"/>
                  <a:gd name="connsiteX30" fmla="*/ 101232 w 125044"/>
                  <a:gd name="connsiteY30" fmla="*/ 1905 h 39246"/>
                  <a:gd name="connsiteX31" fmla="*/ 87897 w 125044"/>
                  <a:gd name="connsiteY31" fmla="*/ 0 h 39246"/>
                  <a:gd name="connsiteX32" fmla="*/ 79324 w 125044"/>
                  <a:gd name="connsiteY32" fmla="*/ 952 h 39246"/>
                  <a:gd name="connsiteX33" fmla="*/ 67894 w 125044"/>
                  <a:gd name="connsiteY33" fmla="*/ 1905 h 39246"/>
                  <a:gd name="connsiteX34" fmla="*/ 56464 w 125044"/>
                  <a:gd name="connsiteY34" fmla="*/ 3810 h 39246"/>
                  <a:gd name="connsiteX35" fmla="*/ 50749 w 125044"/>
                  <a:gd name="connsiteY35" fmla="*/ 4763 h 39246"/>
                  <a:gd name="connsiteX36" fmla="*/ 43129 w 125044"/>
                  <a:gd name="connsiteY36" fmla="*/ 10477 h 3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044" h="39246">
                    <a:moveTo>
                      <a:pt x="43129" y="10477"/>
                    </a:moveTo>
                    <a:lnTo>
                      <a:pt x="30747" y="11430"/>
                    </a:lnTo>
                    <a:lnTo>
                      <a:pt x="24079" y="9525"/>
                    </a:lnTo>
                    <a:lnTo>
                      <a:pt x="23127" y="6667"/>
                    </a:lnTo>
                    <a:lnTo>
                      <a:pt x="16459" y="1905"/>
                    </a:lnTo>
                    <a:cubicBezTo>
                      <a:pt x="16459" y="1905"/>
                      <a:pt x="11697" y="0"/>
                      <a:pt x="8839" y="1905"/>
                    </a:cubicBezTo>
                    <a:cubicBezTo>
                      <a:pt x="5029" y="2857"/>
                      <a:pt x="1219" y="4763"/>
                      <a:pt x="1219" y="4763"/>
                    </a:cubicBezTo>
                    <a:cubicBezTo>
                      <a:pt x="1219" y="4763"/>
                      <a:pt x="-686" y="5715"/>
                      <a:pt x="267" y="8572"/>
                    </a:cubicBezTo>
                    <a:cubicBezTo>
                      <a:pt x="1219" y="11430"/>
                      <a:pt x="1219" y="11430"/>
                      <a:pt x="1219" y="11430"/>
                    </a:cubicBezTo>
                    <a:lnTo>
                      <a:pt x="8839" y="16192"/>
                    </a:lnTo>
                    <a:lnTo>
                      <a:pt x="17412" y="18097"/>
                    </a:lnTo>
                    <a:lnTo>
                      <a:pt x="18364" y="20955"/>
                    </a:lnTo>
                    <a:cubicBezTo>
                      <a:pt x="18364" y="20955"/>
                      <a:pt x="24079" y="22860"/>
                      <a:pt x="26937" y="23813"/>
                    </a:cubicBezTo>
                    <a:cubicBezTo>
                      <a:pt x="29794" y="24765"/>
                      <a:pt x="39319" y="25717"/>
                      <a:pt x="39319" y="25717"/>
                    </a:cubicBezTo>
                    <a:lnTo>
                      <a:pt x="45034" y="27622"/>
                    </a:lnTo>
                    <a:lnTo>
                      <a:pt x="49797" y="29527"/>
                    </a:lnTo>
                    <a:cubicBezTo>
                      <a:pt x="49797" y="29527"/>
                      <a:pt x="55512" y="31432"/>
                      <a:pt x="59322" y="33338"/>
                    </a:cubicBezTo>
                    <a:cubicBezTo>
                      <a:pt x="64084" y="35242"/>
                      <a:pt x="72657" y="38100"/>
                      <a:pt x="72657" y="38100"/>
                    </a:cubicBezTo>
                    <a:lnTo>
                      <a:pt x="81229" y="39052"/>
                    </a:lnTo>
                    <a:cubicBezTo>
                      <a:pt x="81229" y="39052"/>
                      <a:pt x="92659" y="38100"/>
                      <a:pt x="95517" y="39052"/>
                    </a:cubicBezTo>
                    <a:cubicBezTo>
                      <a:pt x="98374" y="40005"/>
                      <a:pt x="102184" y="37147"/>
                      <a:pt x="102184" y="37147"/>
                    </a:cubicBezTo>
                    <a:cubicBezTo>
                      <a:pt x="102184" y="37147"/>
                      <a:pt x="104089" y="34290"/>
                      <a:pt x="107899" y="35242"/>
                    </a:cubicBezTo>
                    <a:cubicBezTo>
                      <a:pt x="110757" y="36195"/>
                      <a:pt x="116472" y="34290"/>
                      <a:pt x="116472" y="34290"/>
                    </a:cubicBezTo>
                    <a:lnTo>
                      <a:pt x="123139" y="29527"/>
                    </a:lnTo>
                    <a:lnTo>
                      <a:pt x="125044" y="22860"/>
                    </a:lnTo>
                    <a:lnTo>
                      <a:pt x="117424" y="18097"/>
                    </a:lnTo>
                    <a:lnTo>
                      <a:pt x="112662" y="16192"/>
                    </a:lnTo>
                    <a:lnTo>
                      <a:pt x="109804" y="12382"/>
                    </a:lnTo>
                    <a:lnTo>
                      <a:pt x="103137" y="8572"/>
                    </a:lnTo>
                    <a:lnTo>
                      <a:pt x="103137" y="4763"/>
                    </a:lnTo>
                    <a:lnTo>
                      <a:pt x="101232" y="1905"/>
                    </a:lnTo>
                    <a:lnTo>
                      <a:pt x="87897" y="0"/>
                    </a:lnTo>
                    <a:lnTo>
                      <a:pt x="79324" y="952"/>
                    </a:lnTo>
                    <a:cubicBezTo>
                      <a:pt x="79324" y="952"/>
                      <a:pt x="70752" y="0"/>
                      <a:pt x="67894" y="1905"/>
                    </a:cubicBezTo>
                    <a:cubicBezTo>
                      <a:pt x="65989" y="3810"/>
                      <a:pt x="62179" y="2857"/>
                      <a:pt x="56464" y="3810"/>
                    </a:cubicBezTo>
                    <a:cubicBezTo>
                      <a:pt x="50749" y="4763"/>
                      <a:pt x="50749" y="4763"/>
                      <a:pt x="50749" y="4763"/>
                    </a:cubicBezTo>
                    <a:lnTo>
                      <a:pt x="43129" y="104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C1680C12-7438-446D-9E49-3C3D1088C444}"/>
                  </a:ext>
                </a:extLst>
              </p:cNvPr>
              <p:cNvSpPr/>
              <p:nvPr/>
            </p:nvSpPr>
            <p:spPr>
              <a:xfrm>
                <a:off x="6418450" y="2925808"/>
                <a:ext cx="29051" cy="13335"/>
              </a:xfrm>
              <a:custGeom>
                <a:avLst/>
                <a:gdLst>
                  <a:gd name="connsiteX0" fmla="*/ 6191 w 29051"/>
                  <a:gd name="connsiteY0" fmla="*/ 11430 h 13335"/>
                  <a:gd name="connsiteX1" fmla="*/ 1429 w 29051"/>
                  <a:gd name="connsiteY1" fmla="*/ 9525 h 13335"/>
                  <a:gd name="connsiteX2" fmla="*/ 476 w 29051"/>
                  <a:gd name="connsiteY2" fmla="*/ 5715 h 13335"/>
                  <a:gd name="connsiteX3" fmla="*/ 2381 w 29051"/>
                  <a:gd name="connsiteY3" fmla="*/ 2858 h 13335"/>
                  <a:gd name="connsiteX4" fmla="*/ 8096 w 29051"/>
                  <a:gd name="connsiteY4" fmla="*/ 0 h 13335"/>
                  <a:gd name="connsiteX5" fmla="*/ 16669 w 29051"/>
                  <a:gd name="connsiteY5" fmla="*/ 0 h 13335"/>
                  <a:gd name="connsiteX6" fmla="*/ 22384 w 29051"/>
                  <a:gd name="connsiteY6" fmla="*/ 1905 h 13335"/>
                  <a:gd name="connsiteX7" fmla="*/ 25241 w 29051"/>
                  <a:gd name="connsiteY7" fmla="*/ 5715 h 13335"/>
                  <a:gd name="connsiteX8" fmla="*/ 26194 w 29051"/>
                  <a:gd name="connsiteY8" fmla="*/ 7620 h 13335"/>
                  <a:gd name="connsiteX9" fmla="*/ 29051 w 29051"/>
                  <a:gd name="connsiteY9" fmla="*/ 10478 h 13335"/>
                  <a:gd name="connsiteX10" fmla="*/ 22384 w 29051"/>
                  <a:gd name="connsiteY10" fmla="*/ 12383 h 13335"/>
                  <a:gd name="connsiteX11" fmla="*/ 17621 w 29051"/>
                  <a:gd name="connsiteY11" fmla="*/ 13335 h 13335"/>
                  <a:gd name="connsiteX12" fmla="*/ 12859 w 29051"/>
                  <a:gd name="connsiteY12" fmla="*/ 12383 h 13335"/>
                  <a:gd name="connsiteX13" fmla="*/ 6191 w 29051"/>
                  <a:gd name="connsiteY13" fmla="*/ 11430 h 1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3335">
                    <a:moveTo>
                      <a:pt x="6191" y="11430"/>
                    </a:moveTo>
                    <a:lnTo>
                      <a:pt x="1429" y="9525"/>
                    </a:lnTo>
                    <a:lnTo>
                      <a:pt x="476" y="5715"/>
                    </a:lnTo>
                    <a:cubicBezTo>
                      <a:pt x="476" y="5715"/>
                      <a:pt x="-1429" y="1905"/>
                      <a:pt x="2381" y="2858"/>
                    </a:cubicBezTo>
                    <a:cubicBezTo>
                      <a:pt x="7144" y="3810"/>
                      <a:pt x="-476" y="0"/>
                      <a:pt x="8096" y="0"/>
                    </a:cubicBezTo>
                    <a:cubicBezTo>
                      <a:pt x="16669" y="0"/>
                      <a:pt x="16669" y="0"/>
                      <a:pt x="16669" y="0"/>
                    </a:cubicBezTo>
                    <a:lnTo>
                      <a:pt x="22384" y="1905"/>
                    </a:lnTo>
                    <a:cubicBezTo>
                      <a:pt x="22384" y="1905"/>
                      <a:pt x="24289" y="3810"/>
                      <a:pt x="25241" y="5715"/>
                    </a:cubicBezTo>
                    <a:cubicBezTo>
                      <a:pt x="26194" y="7620"/>
                      <a:pt x="26194" y="7620"/>
                      <a:pt x="26194" y="7620"/>
                    </a:cubicBezTo>
                    <a:lnTo>
                      <a:pt x="29051" y="10478"/>
                    </a:lnTo>
                    <a:lnTo>
                      <a:pt x="22384" y="12383"/>
                    </a:lnTo>
                    <a:lnTo>
                      <a:pt x="17621" y="13335"/>
                    </a:lnTo>
                    <a:lnTo>
                      <a:pt x="12859" y="12383"/>
                    </a:lnTo>
                    <a:lnTo>
                      <a:pt x="619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4DC9F219-EEAC-4076-91B5-AC8ED7F52C12}"/>
                  </a:ext>
                </a:extLst>
              </p:cNvPr>
              <p:cNvSpPr/>
              <p:nvPr/>
            </p:nvSpPr>
            <p:spPr>
              <a:xfrm>
                <a:off x="6431309" y="2885909"/>
                <a:ext cx="106679" cy="41804"/>
              </a:xfrm>
              <a:custGeom>
                <a:avLst/>
                <a:gdLst>
                  <a:gd name="connsiteX0" fmla="*/ 20955 w 106679"/>
                  <a:gd name="connsiteY0" fmla="*/ 2752 h 41804"/>
                  <a:gd name="connsiteX1" fmla="*/ 14288 w 106679"/>
                  <a:gd name="connsiteY1" fmla="*/ 2752 h 41804"/>
                  <a:gd name="connsiteX2" fmla="*/ 2857 w 106679"/>
                  <a:gd name="connsiteY2" fmla="*/ 2752 h 41804"/>
                  <a:gd name="connsiteX3" fmla="*/ 0 w 106679"/>
                  <a:gd name="connsiteY3" fmla="*/ 2752 h 41804"/>
                  <a:gd name="connsiteX4" fmla="*/ 0 w 106679"/>
                  <a:gd name="connsiteY4" fmla="*/ 8467 h 41804"/>
                  <a:gd name="connsiteX5" fmla="*/ 8572 w 106679"/>
                  <a:gd name="connsiteY5" fmla="*/ 12277 h 41804"/>
                  <a:gd name="connsiteX6" fmla="*/ 11430 w 106679"/>
                  <a:gd name="connsiteY6" fmla="*/ 12277 h 41804"/>
                  <a:gd name="connsiteX7" fmla="*/ 14288 w 106679"/>
                  <a:gd name="connsiteY7" fmla="*/ 17039 h 41804"/>
                  <a:gd name="connsiteX8" fmla="*/ 20955 w 106679"/>
                  <a:gd name="connsiteY8" fmla="*/ 21802 h 41804"/>
                  <a:gd name="connsiteX9" fmla="*/ 25717 w 106679"/>
                  <a:gd name="connsiteY9" fmla="*/ 23707 h 41804"/>
                  <a:gd name="connsiteX10" fmla="*/ 25717 w 106679"/>
                  <a:gd name="connsiteY10" fmla="*/ 25612 h 41804"/>
                  <a:gd name="connsiteX11" fmla="*/ 23813 w 106679"/>
                  <a:gd name="connsiteY11" fmla="*/ 30374 h 41804"/>
                  <a:gd name="connsiteX12" fmla="*/ 40957 w 106679"/>
                  <a:gd name="connsiteY12" fmla="*/ 34184 h 41804"/>
                  <a:gd name="connsiteX13" fmla="*/ 50482 w 106679"/>
                  <a:gd name="connsiteY13" fmla="*/ 33232 h 41804"/>
                  <a:gd name="connsiteX14" fmla="*/ 57150 w 106679"/>
                  <a:gd name="connsiteY14" fmla="*/ 32279 h 41804"/>
                  <a:gd name="connsiteX15" fmla="*/ 66675 w 106679"/>
                  <a:gd name="connsiteY15" fmla="*/ 32279 h 41804"/>
                  <a:gd name="connsiteX16" fmla="*/ 69532 w 106679"/>
                  <a:gd name="connsiteY16" fmla="*/ 32279 h 41804"/>
                  <a:gd name="connsiteX17" fmla="*/ 80010 w 106679"/>
                  <a:gd name="connsiteY17" fmla="*/ 37042 h 41804"/>
                  <a:gd name="connsiteX18" fmla="*/ 84772 w 106679"/>
                  <a:gd name="connsiteY18" fmla="*/ 38947 h 41804"/>
                  <a:gd name="connsiteX19" fmla="*/ 92392 w 106679"/>
                  <a:gd name="connsiteY19" fmla="*/ 40852 h 41804"/>
                  <a:gd name="connsiteX20" fmla="*/ 95250 w 106679"/>
                  <a:gd name="connsiteY20" fmla="*/ 41804 h 41804"/>
                  <a:gd name="connsiteX21" fmla="*/ 106680 w 106679"/>
                  <a:gd name="connsiteY21" fmla="*/ 37994 h 41804"/>
                  <a:gd name="connsiteX22" fmla="*/ 106680 w 106679"/>
                  <a:gd name="connsiteY22" fmla="*/ 33232 h 41804"/>
                  <a:gd name="connsiteX23" fmla="*/ 97155 w 106679"/>
                  <a:gd name="connsiteY23" fmla="*/ 29422 h 41804"/>
                  <a:gd name="connsiteX24" fmla="*/ 93345 w 106679"/>
                  <a:gd name="connsiteY24" fmla="*/ 24659 h 41804"/>
                  <a:gd name="connsiteX25" fmla="*/ 93345 w 106679"/>
                  <a:gd name="connsiteY25" fmla="*/ 21802 h 41804"/>
                  <a:gd name="connsiteX26" fmla="*/ 87630 w 106679"/>
                  <a:gd name="connsiteY26" fmla="*/ 18944 h 41804"/>
                  <a:gd name="connsiteX27" fmla="*/ 79057 w 106679"/>
                  <a:gd name="connsiteY27" fmla="*/ 16087 h 41804"/>
                  <a:gd name="connsiteX28" fmla="*/ 70485 w 106679"/>
                  <a:gd name="connsiteY28" fmla="*/ 11324 h 41804"/>
                  <a:gd name="connsiteX29" fmla="*/ 64770 w 106679"/>
                  <a:gd name="connsiteY29" fmla="*/ 6562 h 41804"/>
                  <a:gd name="connsiteX30" fmla="*/ 60007 w 106679"/>
                  <a:gd name="connsiteY30" fmla="*/ 4657 h 41804"/>
                  <a:gd name="connsiteX31" fmla="*/ 51435 w 106679"/>
                  <a:gd name="connsiteY31" fmla="*/ 2752 h 41804"/>
                  <a:gd name="connsiteX32" fmla="*/ 45720 w 106679"/>
                  <a:gd name="connsiteY32" fmla="*/ 847 h 41804"/>
                  <a:gd name="connsiteX33" fmla="*/ 31432 w 106679"/>
                  <a:gd name="connsiteY33" fmla="*/ 847 h 41804"/>
                  <a:gd name="connsiteX34" fmla="*/ 20955 w 106679"/>
                  <a:gd name="connsiteY34" fmla="*/ 2752 h 4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79" h="41804">
                    <a:moveTo>
                      <a:pt x="20955" y="2752"/>
                    </a:moveTo>
                    <a:lnTo>
                      <a:pt x="14288" y="2752"/>
                    </a:lnTo>
                    <a:cubicBezTo>
                      <a:pt x="14288" y="2752"/>
                      <a:pt x="6667" y="2752"/>
                      <a:pt x="2857" y="2752"/>
                    </a:cubicBezTo>
                    <a:cubicBezTo>
                      <a:pt x="0" y="2752"/>
                      <a:pt x="0" y="2752"/>
                      <a:pt x="0" y="2752"/>
                    </a:cubicBezTo>
                    <a:lnTo>
                      <a:pt x="0" y="8467"/>
                    </a:lnTo>
                    <a:cubicBezTo>
                      <a:pt x="0" y="8467"/>
                      <a:pt x="5715" y="12277"/>
                      <a:pt x="8572" y="12277"/>
                    </a:cubicBezTo>
                    <a:cubicBezTo>
                      <a:pt x="11430" y="12277"/>
                      <a:pt x="8572" y="7514"/>
                      <a:pt x="11430" y="12277"/>
                    </a:cubicBezTo>
                    <a:cubicBezTo>
                      <a:pt x="14288" y="17039"/>
                      <a:pt x="14288" y="17039"/>
                      <a:pt x="14288" y="17039"/>
                    </a:cubicBezTo>
                    <a:lnTo>
                      <a:pt x="20955" y="21802"/>
                    </a:lnTo>
                    <a:cubicBezTo>
                      <a:pt x="20955" y="21802"/>
                      <a:pt x="25717" y="21802"/>
                      <a:pt x="25717" y="23707"/>
                    </a:cubicBezTo>
                    <a:cubicBezTo>
                      <a:pt x="25717" y="25612"/>
                      <a:pt x="27622" y="20849"/>
                      <a:pt x="25717" y="25612"/>
                    </a:cubicBezTo>
                    <a:cubicBezTo>
                      <a:pt x="23813" y="30374"/>
                      <a:pt x="17145" y="26564"/>
                      <a:pt x="23813" y="30374"/>
                    </a:cubicBezTo>
                    <a:cubicBezTo>
                      <a:pt x="30480" y="34184"/>
                      <a:pt x="40957" y="34184"/>
                      <a:pt x="40957" y="34184"/>
                    </a:cubicBezTo>
                    <a:lnTo>
                      <a:pt x="50482" y="33232"/>
                    </a:lnTo>
                    <a:lnTo>
                      <a:pt x="57150" y="32279"/>
                    </a:lnTo>
                    <a:cubicBezTo>
                      <a:pt x="57150" y="32279"/>
                      <a:pt x="63817" y="32279"/>
                      <a:pt x="66675" y="32279"/>
                    </a:cubicBezTo>
                    <a:cubicBezTo>
                      <a:pt x="69532" y="32279"/>
                      <a:pt x="64770" y="29422"/>
                      <a:pt x="69532" y="32279"/>
                    </a:cubicBezTo>
                    <a:cubicBezTo>
                      <a:pt x="75247" y="35137"/>
                      <a:pt x="76200" y="36089"/>
                      <a:pt x="80010" y="37042"/>
                    </a:cubicBezTo>
                    <a:cubicBezTo>
                      <a:pt x="84772" y="38947"/>
                      <a:pt x="77152" y="37042"/>
                      <a:pt x="84772" y="38947"/>
                    </a:cubicBezTo>
                    <a:cubicBezTo>
                      <a:pt x="92392" y="40852"/>
                      <a:pt x="89535" y="39899"/>
                      <a:pt x="92392" y="40852"/>
                    </a:cubicBezTo>
                    <a:cubicBezTo>
                      <a:pt x="95250" y="41804"/>
                      <a:pt x="95250" y="41804"/>
                      <a:pt x="95250" y="41804"/>
                    </a:cubicBezTo>
                    <a:lnTo>
                      <a:pt x="106680" y="37994"/>
                    </a:lnTo>
                    <a:lnTo>
                      <a:pt x="106680" y="33232"/>
                    </a:lnTo>
                    <a:lnTo>
                      <a:pt x="97155" y="29422"/>
                    </a:lnTo>
                    <a:lnTo>
                      <a:pt x="93345" y="24659"/>
                    </a:lnTo>
                    <a:lnTo>
                      <a:pt x="93345" y="21802"/>
                    </a:lnTo>
                    <a:lnTo>
                      <a:pt x="87630" y="18944"/>
                    </a:lnTo>
                    <a:lnTo>
                      <a:pt x="79057" y="16087"/>
                    </a:lnTo>
                    <a:lnTo>
                      <a:pt x="70485" y="11324"/>
                    </a:lnTo>
                    <a:lnTo>
                      <a:pt x="64770" y="6562"/>
                    </a:lnTo>
                    <a:lnTo>
                      <a:pt x="60007" y="4657"/>
                    </a:lnTo>
                    <a:lnTo>
                      <a:pt x="51435" y="2752"/>
                    </a:lnTo>
                    <a:lnTo>
                      <a:pt x="45720" y="847"/>
                    </a:lnTo>
                    <a:cubicBezTo>
                      <a:pt x="45720" y="847"/>
                      <a:pt x="38100" y="-1058"/>
                      <a:pt x="31432" y="847"/>
                    </a:cubicBezTo>
                    <a:cubicBezTo>
                      <a:pt x="24765" y="1799"/>
                      <a:pt x="20955" y="2752"/>
                      <a:pt x="20955" y="27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2CCF2565-1EB1-48E3-8BED-B2621191A0F9}"/>
                  </a:ext>
                </a:extLst>
              </p:cNvPr>
              <p:cNvSpPr/>
              <p:nvPr/>
            </p:nvSpPr>
            <p:spPr>
              <a:xfrm>
                <a:off x="6404639" y="3011534"/>
                <a:ext cx="49529" cy="26669"/>
              </a:xfrm>
              <a:custGeom>
                <a:avLst/>
                <a:gdLst>
                  <a:gd name="connsiteX0" fmla="*/ 31433 w 49529"/>
                  <a:gd name="connsiteY0" fmla="*/ 21907 h 26669"/>
                  <a:gd name="connsiteX1" fmla="*/ 40958 w 49529"/>
                  <a:gd name="connsiteY1" fmla="*/ 21907 h 26669"/>
                  <a:gd name="connsiteX2" fmla="*/ 44767 w 49529"/>
                  <a:gd name="connsiteY2" fmla="*/ 16192 h 26669"/>
                  <a:gd name="connsiteX3" fmla="*/ 49530 w 49529"/>
                  <a:gd name="connsiteY3" fmla="*/ 8572 h 26669"/>
                  <a:gd name="connsiteX4" fmla="*/ 40958 w 49529"/>
                  <a:gd name="connsiteY4" fmla="*/ 2857 h 26669"/>
                  <a:gd name="connsiteX5" fmla="*/ 35242 w 49529"/>
                  <a:gd name="connsiteY5" fmla="*/ 952 h 26669"/>
                  <a:gd name="connsiteX6" fmla="*/ 26670 w 49529"/>
                  <a:gd name="connsiteY6" fmla="*/ 0 h 26669"/>
                  <a:gd name="connsiteX7" fmla="*/ 15240 w 49529"/>
                  <a:gd name="connsiteY7" fmla="*/ 0 h 26669"/>
                  <a:gd name="connsiteX8" fmla="*/ 10477 w 49529"/>
                  <a:gd name="connsiteY8" fmla="*/ 0 h 26669"/>
                  <a:gd name="connsiteX9" fmla="*/ 8573 w 49529"/>
                  <a:gd name="connsiteY9" fmla="*/ 4763 h 26669"/>
                  <a:gd name="connsiteX10" fmla="*/ 10477 w 49529"/>
                  <a:gd name="connsiteY10" fmla="*/ 11430 h 26669"/>
                  <a:gd name="connsiteX11" fmla="*/ 8573 w 49529"/>
                  <a:gd name="connsiteY11" fmla="*/ 17145 h 26669"/>
                  <a:gd name="connsiteX12" fmla="*/ 0 w 49529"/>
                  <a:gd name="connsiteY12" fmla="*/ 17145 h 26669"/>
                  <a:gd name="connsiteX13" fmla="*/ 952 w 49529"/>
                  <a:gd name="connsiteY13" fmla="*/ 22860 h 26669"/>
                  <a:gd name="connsiteX14" fmla="*/ 7620 w 49529"/>
                  <a:gd name="connsiteY14" fmla="*/ 23813 h 26669"/>
                  <a:gd name="connsiteX15" fmla="*/ 14288 w 49529"/>
                  <a:gd name="connsiteY15" fmla="*/ 26670 h 26669"/>
                  <a:gd name="connsiteX16" fmla="*/ 25717 w 49529"/>
                  <a:gd name="connsiteY16" fmla="*/ 22860 h 26669"/>
                  <a:gd name="connsiteX17" fmla="*/ 31433 w 49529"/>
                  <a:gd name="connsiteY17" fmla="*/ 21907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29" h="26669">
                    <a:moveTo>
                      <a:pt x="31433" y="21907"/>
                    </a:moveTo>
                    <a:lnTo>
                      <a:pt x="40958" y="21907"/>
                    </a:lnTo>
                    <a:cubicBezTo>
                      <a:pt x="40958" y="21907"/>
                      <a:pt x="40958" y="15240"/>
                      <a:pt x="44767" y="16192"/>
                    </a:cubicBezTo>
                    <a:cubicBezTo>
                      <a:pt x="47625" y="17145"/>
                      <a:pt x="49530" y="8572"/>
                      <a:pt x="49530" y="8572"/>
                    </a:cubicBezTo>
                    <a:lnTo>
                      <a:pt x="40958" y="2857"/>
                    </a:lnTo>
                    <a:lnTo>
                      <a:pt x="35242" y="952"/>
                    </a:lnTo>
                    <a:lnTo>
                      <a:pt x="26670" y="0"/>
                    </a:lnTo>
                    <a:lnTo>
                      <a:pt x="15240" y="0"/>
                    </a:lnTo>
                    <a:lnTo>
                      <a:pt x="10477" y="0"/>
                    </a:lnTo>
                    <a:cubicBezTo>
                      <a:pt x="8573" y="4763"/>
                      <a:pt x="4763" y="952"/>
                      <a:pt x="8573" y="4763"/>
                    </a:cubicBezTo>
                    <a:cubicBezTo>
                      <a:pt x="11430" y="8572"/>
                      <a:pt x="10477" y="11430"/>
                      <a:pt x="10477" y="11430"/>
                    </a:cubicBezTo>
                    <a:lnTo>
                      <a:pt x="8573" y="17145"/>
                    </a:lnTo>
                    <a:lnTo>
                      <a:pt x="0" y="17145"/>
                    </a:lnTo>
                    <a:lnTo>
                      <a:pt x="952" y="22860"/>
                    </a:lnTo>
                    <a:lnTo>
                      <a:pt x="7620" y="23813"/>
                    </a:lnTo>
                    <a:lnTo>
                      <a:pt x="14288" y="26670"/>
                    </a:lnTo>
                    <a:lnTo>
                      <a:pt x="25717" y="22860"/>
                    </a:lnTo>
                    <a:lnTo>
                      <a:pt x="31433" y="219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6CE8B4F1-535F-43BD-A8E5-1B30C9EEA714}"/>
                  </a:ext>
                </a:extLst>
              </p:cNvPr>
              <p:cNvSpPr/>
              <p:nvPr/>
            </p:nvSpPr>
            <p:spPr>
              <a:xfrm>
                <a:off x="6474981" y="3011534"/>
                <a:ext cx="107423" cy="60007"/>
              </a:xfrm>
              <a:custGeom>
                <a:avLst/>
                <a:gdLst>
                  <a:gd name="connsiteX0" fmla="*/ 58245 w 107423"/>
                  <a:gd name="connsiteY0" fmla="*/ 57150 h 60007"/>
                  <a:gd name="connsiteX1" fmla="*/ 48720 w 107423"/>
                  <a:gd name="connsiteY1" fmla="*/ 50482 h 60007"/>
                  <a:gd name="connsiteX2" fmla="*/ 46815 w 107423"/>
                  <a:gd name="connsiteY2" fmla="*/ 47625 h 60007"/>
                  <a:gd name="connsiteX3" fmla="*/ 42052 w 107423"/>
                  <a:gd name="connsiteY3" fmla="*/ 45720 h 60007"/>
                  <a:gd name="connsiteX4" fmla="*/ 36337 w 107423"/>
                  <a:gd name="connsiteY4" fmla="*/ 43815 h 60007"/>
                  <a:gd name="connsiteX5" fmla="*/ 29670 w 107423"/>
                  <a:gd name="connsiteY5" fmla="*/ 39052 h 60007"/>
                  <a:gd name="connsiteX6" fmla="*/ 24907 w 107423"/>
                  <a:gd name="connsiteY6" fmla="*/ 36195 h 60007"/>
                  <a:gd name="connsiteX7" fmla="*/ 16335 w 107423"/>
                  <a:gd name="connsiteY7" fmla="*/ 34290 h 60007"/>
                  <a:gd name="connsiteX8" fmla="*/ 3000 w 107423"/>
                  <a:gd name="connsiteY8" fmla="*/ 32385 h 60007"/>
                  <a:gd name="connsiteX9" fmla="*/ 2047 w 107423"/>
                  <a:gd name="connsiteY9" fmla="*/ 29527 h 60007"/>
                  <a:gd name="connsiteX10" fmla="*/ 3000 w 107423"/>
                  <a:gd name="connsiteY10" fmla="*/ 27622 h 60007"/>
                  <a:gd name="connsiteX11" fmla="*/ 19192 w 107423"/>
                  <a:gd name="connsiteY11" fmla="*/ 26670 h 60007"/>
                  <a:gd name="connsiteX12" fmla="*/ 24907 w 107423"/>
                  <a:gd name="connsiteY12" fmla="*/ 26670 h 60007"/>
                  <a:gd name="connsiteX13" fmla="*/ 30622 w 107423"/>
                  <a:gd name="connsiteY13" fmla="*/ 25717 h 60007"/>
                  <a:gd name="connsiteX14" fmla="*/ 36337 w 107423"/>
                  <a:gd name="connsiteY14" fmla="*/ 21907 h 60007"/>
                  <a:gd name="connsiteX15" fmla="*/ 37290 w 107423"/>
                  <a:gd name="connsiteY15" fmla="*/ 19050 h 60007"/>
                  <a:gd name="connsiteX16" fmla="*/ 35385 w 107423"/>
                  <a:gd name="connsiteY16" fmla="*/ 16192 h 60007"/>
                  <a:gd name="connsiteX17" fmla="*/ 39195 w 107423"/>
                  <a:gd name="connsiteY17" fmla="*/ 3810 h 60007"/>
                  <a:gd name="connsiteX18" fmla="*/ 42052 w 107423"/>
                  <a:gd name="connsiteY18" fmla="*/ 2857 h 60007"/>
                  <a:gd name="connsiteX19" fmla="*/ 53482 w 107423"/>
                  <a:gd name="connsiteY19" fmla="*/ 2857 h 60007"/>
                  <a:gd name="connsiteX20" fmla="*/ 62055 w 107423"/>
                  <a:gd name="connsiteY20" fmla="*/ 1905 h 60007"/>
                  <a:gd name="connsiteX21" fmla="*/ 73485 w 107423"/>
                  <a:gd name="connsiteY21" fmla="*/ 0 h 60007"/>
                  <a:gd name="connsiteX22" fmla="*/ 81105 w 107423"/>
                  <a:gd name="connsiteY22" fmla="*/ 0 h 60007"/>
                  <a:gd name="connsiteX23" fmla="*/ 87773 w 107423"/>
                  <a:gd name="connsiteY23" fmla="*/ 1905 h 60007"/>
                  <a:gd name="connsiteX24" fmla="*/ 92535 w 107423"/>
                  <a:gd name="connsiteY24" fmla="*/ 5715 h 60007"/>
                  <a:gd name="connsiteX25" fmla="*/ 92535 w 107423"/>
                  <a:gd name="connsiteY25" fmla="*/ 9525 h 60007"/>
                  <a:gd name="connsiteX26" fmla="*/ 92535 w 107423"/>
                  <a:gd name="connsiteY26" fmla="*/ 15240 h 60007"/>
                  <a:gd name="connsiteX27" fmla="*/ 92535 w 107423"/>
                  <a:gd name="connsiteY27" fmla="*/ 20955 h 60007"/>
                  <a:gd name="connsiteX28" fmla="*/ 99202 w 107423"/>
                  <a:gd name="connsiteY28" fmla="*/ 24765 h 60007"/>
                  <a:gd name="connsiteX29" fmla="*/ 103965 w 107423"/>
                  <a:gd name="connsiteY29" fmla="*/ 26670 h 60007"/>
                  <a:gd name="connsiteX30" fmla="*/ 103965 w 107423"/>
                  <a:gd name="connsiteY30" fmla="*/ 38100 h 60007"/>
                  <a:gd name="connsiteX31" fmla="*/ 103965 w 107423"/>
                  <a:gd name="connsiteY31" fmla="*/ 42863 h 60007"/>
                  <a:gd name="connsiteX32" fmla="*/ 104917 w 107423"/>
                  <a:gd name="connsiteY32" fmla="*/ 46672 h 60007"/>
                  <a:gd name="connsiteX33" fmla="*/ 92535 w 107423"/>
                  <a:gd name="connsiteY33" fmla="*/ 52388 h 60007"/>
                  <a:gd name="connsiteX34" fmla="*/ 85867 w 107423"/>
                  <a:gd name="connsiteY34" fmla="*/ 53340 h 60007"/>
                  <a:gd name="connsiteX35" fmla="*/ 82057 w 107423"/>
                  <a:gd name="connsiteY35" fmla="*/ 55245 h 60007"/>
                  <a:gd name="connsiteX36" fmla="*/ 77295 w 107423"/>
                  <a:gd name="connsiteY36" fmla="*/ 59055 h 60007"/>
                  <a:gd name="connsiteX37" fmla="*/ 67770 w 107423"/>
                  <a:gd name="connsiteY37" fmla="*/ 60007 h 60007"/>
                  <a:gd name="connsiteX38" fmla="*/ 58245 w 107423"/>
                  <a:gd name="connsiteY38" fmla="*/ 5715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423" h="60007">
                    <a:moveTo>
                      <a:pt x="58245" y="57150"/>
                    </a:moveTo>
                    <a:lnTo>
                      <a:pt x="48720" y="50482"/>
                    </a:lnTo>
                    <a:lnTo>
                      <a:pt x="46815" y="47625"/>
                    </a:lnTo>
                    <a:lnTo>
                      <a:pt x="42052" y="45720"/>
                    </a:lnTo>
                    <a:lnTo>
                      <a:pt x="36337" y="43815"/>
                    </a:lnTo>
                    <a:lnTo>
                      <a:pt x="29670" y="39052"/>
                    </a:lnTo>
                    <a:lnTo>
                      <a:pt x="24907" y="36195"/>
                    </a:lnTo>
                    <a:lnTo>
                      <a:pt x="16335" y="34290"/>
                    </a:lnTo>
                    <a:lnTo>
                      <a:pt x="3000" y="32385"/>
                    </a:lnTo>
                    <a:cubicBezTo>
                      <a:pt x="3000" y="32385"/>
                      <a:pt x="1095" y="31432"/>
                      <a:pt x="2047" y="29527"/>
                    </a:cubicBezTo>
                    <a:cubicBezTo>
                      <a:pt x="3000" y="27622"/>
                      <a:pt x="-3668" y="29527"/>
                      <a:pt x="3000" y="27622"/>
                    </a:cubicBezTo>
                    <a:cubicBezTo>
                      <a:pt x="9667" y="25717"/>
                      <a:pt x="19192" y="26670"/>
                      <a:pt x="19192" y="26670"/>
                    </a:cubicBezTo>
                    <a:lnTo>
                      <a:pt x="24907" y="26670"/>
                    </a:lnTo>
                    <a:cubicBezTo>
                      <a:pt x="24907" y="26670"/>
                      <a:pt x="26812" y="25717"/>
                      <a:pt x="30622" y="25717"/>
                    </a:cubicBezTo>
                    <a:cubicBezTo>
                      <a:pt x="33480" y="25717"/>
                      <a:pt x="36337" y="21907"/>
                      <a:pt x="36337" y="21907"/>
                    </a:cubicBezTo>
                    <a:lnTo>
                      <a:pt x="37290" y="19050"/>
                    </a:lnTo>
                    <a:lnTo>
                      <a:pt x="35385" y="16192"/>
                    </a:lnTo>
                    <a:cubicBezTo>
                      <a:pt x="35385" y="16192"/>
                      <a:pt x="35385" y="3810"/>
                      <a:pt x="39195" y="3810"/>
                    </a:cubicBezTo>
                    <a:cubicBezTo>
                      <a:pt x="42052" y="2857"/>
                      <a:pt x="38242" y="2857"/>
                      <a:pt x="42052" y="2857"/>
                    </a:cubicBezTo>
                    <a:cubicBezTo>
                      <a:pt x="46815" y="2857"/>
                      <a:pt x="53482" y="2857"/>
                      <a:pt x="53482" y="2857"/>
                    </a:cubicBezTo>
                    <a:lnTo>
                      <a:pt x="62055" y="1905"/>
                    </a:lnTo>
                    <a:lnTo>
                      <a:pt x="73485" y="0"/>
                    </a:lnTo>
                    <a:lnTo>
                      <a:pt x="81105" y="0"/>
                    </a:lnTo>
                    <a:lnTo>
                      <a:pt x="87773" y="1905"/>
                    </a:lnTo>
                    <a:lnTo>
                      <a:pt x="92535" y="5715"/>
                    </a:lnTo>
                    <a:lnTo>
                      <a:pt x="92535" y="9525"/>
                    </a:lnTo>
                    <a:lnTo>
                      <a:pt x="92535" y="15240"/>
                    </a:lnTo>
                    <a:cubicBezTo>
                      <a:pt x="92535" y="15240"/>
                      <a:pt x="88725" y="20002"/>
                      <a:pt x="92535" y="20955"/>
                    </a:cubicBezTo>
                    <a:cubicBezTo>
                      <a:pt x="95392" y="21907"/>
                      <a:pt x="99202" y="24765"/>
                      <a:pt x="99202" y="24765"/>
                    </a:cubicBezTo>
                    <a:lnTo>
                      <a:pt x="103965" y="26670"/>
                    </a:lnTo>
                    <a:lnTo>
                      <a:pt x="103965" y="38100"/>
                    </a:lnTo>
                    <a:cubicBezTo>
                      <a:pt x="103965" y="38100"/>
                      <a:pt x="103012" y="39052"/>
                      <a:pt x="103965" y="42863"/>
                    </a:cubicBezTo>
                    <a:cubicBezTo>
                      <a:pt x="104917" y="46672"/>
                      <a:pt x="110632" y="42863"/>
                      <a:pt x="104917" y="46672"/>
                    </a:cubicBezTo>
                    <a:cubicBezTo>
                      <a:pt x="99202" y="50482"/>
                      <a:pt x="92535" y="52388"/>
                      <a:pt x="92535" y="52388"/>
                    </a:cubicBezTo>
                    <a:cubicBezTo>
                      <a:pt x="92535" y="52388"/>
                      <a:pt x="89677" y="53340"/>
                      <a:pt x="85867" y="53340"/>
                    </a:cubicBezTo>
                    <a:cubicBezTo>
                      <a:pt x="82057" y="55245"/>
                      <a:pt x="82057" y="55245"/>
                      <a:pt x="82057" y="55245"/>
                    </a:cubicBezTo>
                    <a:lnTo>
                      <a:pt x="77295" y="59055"/>
                    </a:lnTo>
                    <a:lnTo>
                      <a:pt x="67770" y="60007"/>
                    </a:lnTo>
                    <a:lnTo>
                      <a:pt x="58245" y="571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Freeform: Shape 25">
                <a:extLst>
                  <a:ext uri="{FF2B5EF4-FFF2-40B4-BE49-F238E27FC236}">
                    <a16:creationId xmlns:a16="http://schemas.microsoft.com/office/drawing/2014/main" id="{5D009068-668F-4467-8D82-70724EA64283}"/>
                  </a:ext>
                </a:extLst>
              </p:cNvPr>
              <p:cNvSpPr/>
              <p:nvPr/>
            </p:nvSpPr>
            <p:spPr>
              <a:xfrm>
                <a:off x="6600854" y="3011295"/>
                <a:ext cx="77495" cy="35480"/>
              </a:xfrm>
              <a:custGeom>
                <a:avLst/>
                <a:gdLst>
                  <a:gd name="connsiteX0" fmla="*/ 9525 w 77495"/>
                  <a:gd name="connsiteY0" fmla="*/ 35481 h 35480"/>
                  <a:gd name="connsiteX1" fmla="*/ 1905 w 77495"/>
                  <a:gd name="connsiteY1" fmla="*/ 33576 h 35480"/>
                  <a:gd name="connsiteX2" fmla="*/ 0 w 77495"/>
                  <a:gd name="connsiteY2" fmla="*/ 28813 h 35480"/>
                  <a:gd name="connsiteX3" fmla="*/ 952 w 77495"/>
                  <a:gd name="connsiteY3" fmla="*/ 22146 h 35480"/>
                  <a:gd name="connsiteX4" fmla="*/ 952 w 77495"/>
                  <a:gd name="connsiteY4" fmla="*/ 12621 h 35480"/>
                  <a:gd name="connsiteX5" fmla="*/ 1905 w 77495"/>
                  <a:gd name="connsiteY5" fmla="*/ 8811 h 35480"/>
                  <a:gd name="connsiteX6" fmla="*/ 3810 w 77495"/>
                  <a:gd name="connsiteY6" fmla="*/ 5001 h 35480"/>
                  <a:gd name="connsiteX7" fmla="*/ 9525 w 77495"/>
                  <a:gd name="connsiteY7" fmla="*/ 238 h 35480"/>
                  <a:gd name="connsiteX8" fmla="*/ 14288 w 77495"/>
                  <a:gd name="connsiteY8" fmla="*/ 238 h 35480"/>
                  <a:gd name="connsiteX9" fmla="*/ 31432 w 77495"/>
                  <a:gd name="connsiteY9" fmla="*/ 1191 h 35480"/>
                  <a:gd name="connsiteX10" fmla="*/ 44767 w 77495"/>
                  <a:gd name="connsiteY10" fmla="*/ 1191 h 35480"/>
                  <a:gd name="connsiteX11" fmla="*/ 50482 w 77495"/>
                  <a:gd name="connsiteY11" fmla="*/ 1191 h 35480"/>
                  <a:gd name="connsiteX12" fmla="*/ 59055 w 77495"/>
                  <a:gd name="connsiteY12" fmla="*/ 238 h 35480"/>
                  <a:gd name="connsiteX13" fmla="*/ 68580 w 77495"/>
                  <a:gd name="connsiteY13" fmla="*/ 1191 h 35480"/>
                  <a:gd name="connsiteX14" fmla="*/ 73342 w 77495"/>
                  <a:gd name="connsiteY14" fmla="*/ 3096 h 35480"/>
                  <a:gd name="connsiteX15" fmla="*/ 77152 w 77495"/>
                  <a:gd name="connsiteY15" fmla="*/ 8811 h 35480"/>
                  <a:gd name="connsiteX16" fmla="*/ 76200 w 77495"/>
                  <a:gd name="connsiteY16" fmla="*/ 14526 h 35480"/>
                  <a:gd name="connsiteX17" fmla="*/ 75247 w 77495"/>
                  <a:gd name="connsiteY17" fmla="*/ 16431 h 35480"/>
                  <a:gd name="connsiteX18" fmla="*/ 66675 w 77495"/>
                  <a:gd name="connsiteY18" fmla="*/ 24051 h 35480"/>
                  <a:gd name="connsiteX19" fmla="*/ 60960 w 77495"/>
                  <a:gd name="connsiteY19" fmla="*/ 25003 h 35480"/>
                  <a:gd name="connsiteX20" fmla="*/ 53340 w 77495"/>
                  <a:gd name="connsiteY20" fmla="*/ 26908 h 35480"/>
                  <a:gd name="connsiteX21" fmla="*/ 44767 w 77495"/>
                  <a:gd name="connsiteY21" fmla="*/ 30718 h 35480"/>
                  <a:gd name="connsiteX22" fmla="*/ 33338 w 77495"/>
                  <a:gd name="connsiteY22" fmla="*/ 33576 h 35480"/>
                  <a:gd name="connsiteX23" fmla="*/ 28575 w 77495"/>
                  <a:gd name="connsiteY23" fmla="*/ 33576 h 35480"/>
                  <a:gd name="connsiteX24" fmla="*/ 21907 w 77495"/>
                  <a:gd name="connsiteY24" fmla="*/ 34528 h 35480"/>
                  <a:gd name="connsiteX25" fmla="*/ 15240 w 77495"/>
                  <a:gd name="connsiteY25" fmla="*/ 35481 h 35480"/>
                  <a:gd name="connsiteX26" fmla="*/ 9525 w 77495"/>
                  <a:gd name="connsiteY26" fmla="*/ 35481 h 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495" h="35480">
                    <a:moveTo>
                      <a:pt x="9525" y="35481"/>
                    </a:moveTo>
                    <a:lnTo>
                      <a:pt x="1905" y="33576"/>
                    </a:lnTo>
                    <a:lnTo>
                      <a:pt x="0" y="28813"/>
                    </a:lnTo>
                    <a:lnTo>
                      <a:pt x="952" y="22146"/>
                    </a:lnTo>
                    <a:lnTo>
                      <a:pt x="952" y="12621"/>
                    </a:lnTo>
                    <a:lnTo>
                      <a:pt x="1905" y="8811"/>
                    </a:lnTo>
                    <a:lnTo>
                      <a:pt x="3810" y="5001"/>
                    </a:lnTo>
                    <a:lnTo>
                      <a:pt x="9525" y="238"/>
                    </a:lnTo>
                    <a:lnTo>
                      <a:pt x="14288" y="238"/>
                    </a:lnTo>
                    <a:lnTo>
                      <a:pt x="31432" y="1191"/>
                    </a:lnTo>
                    <a:lnTo>
                      <a:pt x="44767" y="1191"/>
                    </a:lnTo>
                    <a:cubicBezTo>
                      <a:pt x="44767" y="1191"/>
                      <a:pt x="46672" y="1191"/>
                      <a:pt x="50482" y="1191"/>
                    </a:cubicBezTo>
                    <a:cubicBezTo>
                      <a:pt x="53340" y="1191"/>
                      <a:pt x="59055" y="238"/>
                      <a:pt x="59055" y="238"/>
                    </a:cubicBezTo>
                    <a:cubicBezTo>
                      <a:pt x="59055" y="238"/>
                      <a:pt x="64770" y="-714"/>
                      <a:pt x="68580" y="1191"/>
                    </a:cubicBezTo>
                    <a:cubicBezTo>
                      <a:pt x="73342" y="3096"/>
                      <a:pt x="68580" y="-2619"/>
                      <a:pt x="73342" y="3096"/>
                    </a:cubicBezTo>
                    <a:cubicBezTo>
                      <a:pt x="77152" y="8811"/>
                      <a:pt x="78105" y="5953"/>
                      <a:pt x="77152" y="8811"/>
                    </a:cubicBezTo>
                    <a:cubicBezTo>
                      <a:pt x="77152" y="11668"/>
                      <a:pt x="77152" y="12621"/>
                      <a:pt x="76200" y="14526"/>
                    </a:cubicBezTo>
                    <a:cubicBezTo>
                      <a:pt x="75247" y="16431"/>
                      <a:pt x="75247" y="16431"/>
                      <a:pt x="75247" y="16431"/>
                    </a:cubicBezTo>
                    <a:lnTo>
                      <a:pt x="66675" y="24051"/>
                    </a:lnTo>
                    <a:lnTo>
                      <a:pt x="60960" y="25003"/>
                    </a:lnTo>
                    <a:lnTo>
                      <a:pt x="53340" y="26908"/>
                    </a:lnTo>
                    <a:cubicBezTo>
                      <a:pt x="53340" y="26908"/>
                      <a:pt x="48577" y="28813"/>
                      <a:pt x="44767" y="30718"/>
                    </a:cubicBezTo>
                    <a:cubicBezTo>
                      <a:pt x="40005" y="32623"/>
                      <a:pt x="33338" y="33576"/>
                      <a:pt x="33338" y="33576"/>
                    </a:cubicBezTo>
                    <a:lnTo>
                      <a:pt x="28575" y="33576"/>
                    </a:lnTo>
                    <a:lnTo>
                      <a:pt x="21907" y="34528"/>
                    </a:lnTo>
                    <a:lnTo>
                      <a:pt x="15240" y="35481"/>
                    </a:lnTo>
                    <a:lnTo>
                      <a:pt x="9525" y="354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F77615D0-5C3A-493A-97BF-BDD849B24EBD}"/>
                  </a:ext>
                </a:extLst>
              </p:cNvPr>
              <p:cNvSpPr/>
              <p:nvPr/>
            </p:nvSpPr>
            <p:spPr>
              <a:xfrm>
                <a:off x="6586566" y="2980794"/>
                <a:ext cx="48577" cy="17404"/>
              </a:xfrm>
              <a:custGeom>
                <a:avLst/>
                <a:gdLst>
                  <a:gd name="connsiteX0" fmla="*/ 8572 w 48577"/>
                  <a:gd name="connsiteY0" fmla="*/ 17405 h 17404"/>
                  <a:gd name="connsiteX1" fmla="*/ 3810 w 48577"/>
                  <a:gd name="connsiteY1" fmla="*/ 17405 h 17404"/>
                  <a:gd name="connsiteX2" fmla="*/ 0 w 48577"/>
                  <a:gd name="connsiteY2" fmla="*/ 10737 h 17404"/>
                  <a:gd name="connsiteX3" fmla="*/ 1905 w 48577"/>
                  <a:gd name="connsiteY3" fmla="*/ 7880 h 17404"/>
                  <a:gd name="connsiteX4" fmla="*/ 5715 w 48577"/>
                  <a:gd name="connsiteY4" fmla="*/ 4070 h 17404"/>
                  <a:gd name="connsiteX5" fmla="*/ 10477 w 48577"/>
                  <a:gd name="connsiteY5" fmla="*/ 3117 h 17404"/>
                  <a:gd name="connsiteX6" fmla="*/ 20002 w 48577"/>
                  <a:gd name="connsiteY6" fmla="*/ 2165 h 17404"/>
                  <a:gd name="connsiteX7" fmla="*/ 32385 w 48577"/>
                  <a:gd name="connsiteY7" fmla="*/ 260 h 17404"/>
                  <a:gd name="connsiteX8" fmla="*/ 43815 w 48577"/>
                  <a:gd name="connsiteY8" fmla="*/ 2165 h 17404"/>
                  <a:gd name="connsiteX9" fmla="*/ 48577 w 48577"/>
                  <a:gd name="connsiteY9" fmla="*/ 5022 h 17404"/>
                  <a:gd name="connsiteX10" fmla="*/ 48577 w 48577"/>
                  <a:gd name="connsiteY10" fmla="*/ 11690 h 17404"/>
                  <a:gd name="connsiteX11" fmla="*/ 42863 w 48577"/>
                  <a:gd name="connsiteY11" fmla="*/ 15500 h 17404"/>
                  <a:gd name="connsiteX12" fmla="*/ 8572 w 48577"/>
                  <a:gd name="connsiteY12" fmla="*/ 17405 h 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77" h="17404">
                    <a:moveTo>
                      <a:pt x="8572" y="17405"/>
                    </a:moveTo>
                    <a:lnTo>
                      <a:pt x="3810" y="17405"/>
                    </a:lnTo>
                    <a:lnTo>
                      <a:pt x="0" y="10737"/>
                    </a:lnTo>
                    <a:lnTo>
                      <a:pt x="1905" y="7880"/>
                    </a:lnTo>
                    <a:cubicBezTo>
                      <a:pt x="1905" y="7880"/>
                      <a:pt x="952" y="5975"/>
                      <a:pt x="5715" y="4070"/>
                    </a:cubicBezTo>
                    <a:cubicBezTo>
                      <a:pt x="10477" y="3117"/>
                      <a:pt x="10477" y="3117"/>
                      <a:pt x="10477" y="3117"/>
                    </a:cubicBezTo>
                    <a:cubicBezTo>
                      <a:pt x="10477" y="3117"/>
                      <a:pt x="17145" y="2165"/>
                      <a:pt x="20002" y="2165"/>
                    </a:cubicBezTo>
                    <a:cubicBezTo>
                      <a:pt x="22860" y="1212"/>
                      <a:pt x="28575" y="-693"/>
                      <a:pt x="32385" y="260"/>
                    </a:cubicBezTo>
                    <a:cubicBezTo>
                      <a:pt x="35242" y="1212"/>
                      <a:pt x="39052" y="-693"/>
                      <a:pt x="43815" y="2165"/>
                    </a:cubicBezTo>
                    <a:cubicBezTo>
                      <a:pt x="48577" y="5022"/>
                      <a:pt x="48577" y="5022"/>
                      <a:pt x="48577" y="5022"/>
                    </a:cubicBezTo>
                    <a:lnTo>
                      <a:pt x="48577" y="11690"/>
                    </a:lnTo>
                    <a:lnTo>
                      <a:pt x="42863" y="15500"/>
                    </a:lnTo>
                    <a:lnTo>
                      <a:pt x="8572" y="174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084BB0BB-CCC6-481F-8B9E-E79B6769C9B1}"/>
                  </a:ext>
                </a:extLst>
              </p:cNvPr>
              <p:cNvSpPr/>
              <p:nvPr/>
            </p:nvSpPr>
            <p:spPr>
              <a:xfrm>
                <a:off x="6737908" y="3182031"/>
                <a:ext cx="118215" cy="40957"/>
              </a:xfrm>
              <a:custGeom>
                <a:avLst/>
                <a:gdLst>
                  <a:gd name="connsiteX0" fmla="*/ 51541 w 118215"/>
                  <a:gd name="connsiteY0" fmla="*/ 3810 h 40957"/>
                  <a:gd name="connsiteX1" fmla="*/ 42016 w 118215"/>
                  <a:gd name="connsiteY1" fmla="*/ 953 h 40957"/>
                  <a:gd name="connsiteX2" fmla="*/ 28681 w 118215"/>
                  <a:gd name="connsiteY2" fmla="*/ 0 h 40957"/>
                  <a:gd name="connsiteX3" fmla="*/ 21061 w 118215"/>
                  <a:gd name="connsiteY3" fmla="*/ 953 h 40957"/>
                  <a:gd name="connsiteX4" fmla="*/ 17251 w 118215"/>
                  <a:gd name="connsiteY4" fmla="*/ 6668 h 40957"/>
                  <a:gd name="connsiteX5" fmla="*/ 10583 w 118215"/>
                  <a:gd name="connsiteY5" fmla="*/ 10478 h 40957"/>
                  <a:gd name="connsiteX6" fmla="*/ 10583 w 118215"/>
                  <a:gd name="connsiteY6" fmla="*/ 12383 h 40957"/>
                  <a:gd name="connsiteX7" fmla="*/ 9631 w 118215"/>
                  <a:gd name="connsiteY7" fmla="*/ 16193 h 40957"/>
                  <a:gd name="connsiteX8" fmla="*/ 9631 w 118215"/>
                  <a:gd name="connsiteY8" fmla="*/ 19050 h 40957"/>
                  <a:gd name="connsiteX9" fmla="*/ 4868 w 118215"/>
                  <a:gd name="connsiteY9" fmla="*/ 23813 h 40957"/>
                  <a:gd name="connsiteX10" fmla="*/ 2963 w 118215"/>
                  <a:gd name="connsiteY10" fmla="*/ 28575 h 40957"/>
                  <a:gd name="connsiteX11" fmla="*/ 2963 w 118215"/>
                  <a:gd name="connsiteY11" fmla="*/ 34290 h 40957"/>
                  <a:gd name="connsiteX12" fmla="*/ 18203 w 118215"/>
                  <a:gd name="connsiteY12" fmla="*/ 36195 h 40957"/>
                  <a:gd name="connsiteX13" fmla="*/ 23918 w 118215"/>
                  <a:gd name="connsiteY13" fmla="*/ 39053 h 40957"/>
                  <a:gd name="connsiteX14" fmla="*/ 31538 w 118215"/>
                  <a:gd name="connsiteY14" fmla="*/ 40958 h 40957"/>
                  <a:gd name="connsiteX15" fmla="*/ 41063 w 118215"/>
                  <a:gd name="connsiteY15" fmla="*/ 40005 h 40957"/>
                  <a:gd name="connsiteX16" fmla="*/ 46778 w 118215"/>
                  <a:gd name="connsiteY16" fmla="*/ 33338 h 40957"/>
                  <a:gd name="connsiteX17" fmla="*/ 56303 w 118215"/>
                  <a:gd name="connsiteY17" fmla="*/ 32385 h 40957"/>
                  <a:gd name="connsiteX18" fmla="*/ 62018 w 118215"/>
                  <a:gd name="connsiteY18" fmla="*/ 32385 h 40957"/>
                  <a:gd name="connsiteX19" fmla="*/ 71543 w 118215"/>
                  <a:gd name="connsiteY19" fmla="*/ 33338 h 40957"/>
                  <a:gd name="connsiteX20" fmla="*/ 80116 w 118215"/>
                  <a:gd name="connsiteY20" fmla="*/ 34290 h 40957"/>
                  <a:gd name="connsiteX21" fmla="*/ 98213 w 118215"/>
                  <a:gd name="connsiteY21" fmla="*/ 35243 h 40957"/>
                  <a:gd name="connsiteX22" fmla="*/ 111548 w 118215"/>
                  <a:gd name="connsiteY22" fmla="*/ 37148 h 40957"/>
                  <a:gd name="connsiteX23" fmla="*/ 118216 w 118215"/>
                  <a:gd name="connsiteY23" fmla="*/ 35243 h 40957"/>
                  <a:gd name="connsiteX24" fmla="*/ 118216 w 118215"/>
                  <a:gd name="connsiteY24" fmla="*/ 32385 h 40957"/>
                  <a:gd name="connsiteX25" fmla="*/ 111548 w 118215"/>
                  <a:gd name="connsiteY25" fmla="*/ 28575 h 40957"/>
                  <a:gd name="connsiteX26" fmla="*/ 103928 w 118215"/>
                  <a:gd name="connsiteY26" fmla="*/ 27623 h 40957"/>
                  <a:gd name="connsiteX27" fmla="*/ 90593 w 118215"/>
                  <a:gd name="connsiteY27" fmla="*/ 23813 h 40957"/>
                  <a:gd name="connsiteX28" fmla="*/ 89641 w 118215"/>
                  <a:gd name="connsiteY28" fmla="*/ 20955 h 40957"/>
                  <a:gd name="connsiteX29" fmla="*/ 82021 w 118215"/>
                  <a:gd name="connsiteY29" fmla="*/ 16193 h 40957"/>
                  <a:gd name="connsiteX30" fmla="*/ 77258 w 118215"/>
                  <a:gd name="connsiteY30" fmla="*/ 15240 h 40957"/>
                  <a:gd name="connsiteX31" fmla="*/ 75353 w 118215"/>
                  <a:gd name="connsiteY31" fmla="*/ 12383 h 40957"/>
                  <a:gd name="connsiteX32" fmla="*/ 61066 w 118215"/>
                  <a:gd name="connsiteY32" fmla="*/ 8573 h 40957"/>
                  <a:gd name="connsiteX33" fmla="*/ 51541 w 118215"/>
                  <a:gd name="connsiteY33" fmla="*/ 381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8215" h="40957">
                    <a:moveTo>
                      <a:pt x="51541" y="3810"/>
                    </a:moveTo>
                    <a:lnTo>
                      <a:pt x="42016" y="953"/>
                    </a:lnTo>
                    <a:lnTo>
                      <a:pt x="28681" y="0"/>
                    </a:lnTo>
                    <a:lnTo>
                      <a:pt x="21061" y="953"/>
                    </a:lnTo>
                    <a:lnTo>
                      <a:pt x="17251" y="6668"/>
                    </a:lnTo>
                    <a:cubicBezTo>
                      <a:pt x="17251" y="6668"/>
                      <a:pt x="10583" y="8573"/>
                      <a:pt x="10583" y="10478"/>
                    </a:cubicBezTo>
                    <a:cubicBezTo>
                      <a:pt x="10583" y="12383"/>
                      <a:pt x="11536" y="8573"/>
                      <a:pt x="10583" y="12383"/>
                    </a:cubicBezTo>
                    <a:cubicBezTo>
                      <a:pt x="9631" y="16193"/>
                      <a:pt x="9631" y="16193"/>
                      <a:pt x="9631" y="16193"/>
                    </a:cubicBezTo>
                    <a:cubicBezTo>
                      <a:pt x="9631" y="16193"/>
                      <a:pt x="9631" y="17145"/>
                      <a:pt x="9631" y="19050"/>
                    </a:cubicBezTo>
                    <a:cubicBezTo>
                      <a:pt x="9631" y="20955"/>
                      <a:pt x="4868" y="21908"/>
                      <a:pt x="4868" y="23813"/>
                    </a:cubicBezTo>
                    <a:cubicBezTo>
                      <a:pt x="4868" y="25718"/>
                      <a:pt x="2963" y="28575"/>
                      <a:pt x="2963" y="28575"/>
                    </a:cubicBezTo>
                    <a:cubicBezTo>
                      <a:pt x="2963" y="34290"/>
                      <a:pt x="-3704" y="31433"/>
                      <a:pt x="2963" y="34290"/>
                    </a:cubicBezTo>
                    <a:cubicBezTo>
                      <a:pt x="9631" y="37148"/>
                      <a:pt x="18203" y="36195"/>
                      <a:pt x="18203" y="36195"/>
                    </a:cubicBezTo>
                    <a:lnTo>
                      <a:pt x="23918" y="39053"/>
                    </a:lnTo>
                    <a:lnTo>
                      <a:pt x="31538" y="40958"/>
                    </a:lnTo>
                    <a:lnTo>
                      <a:pt x="41063" y="40005"/>
                    </a:lnTo>
                    <a:cubicBezTo>
                      <a:pt x="41063" y="40005"/>
                      <a:pt x="42968" y="33338"/>
                      <a:pt x="46778" y="33338"/>
                    </a:cubicBezTo>
                    <a:cubicBezTo>
                      <a:pt x="49636" y="32385"/>
                      <a:pt x="56303" y="32385"/>
                      <a:pt x="56303" y="32385"/>
                    </a:cubicBezTo>
                    <a:lnTo>
                      <a:pt x="62018" y="32385"/>
                    </a:lnTo>
                    <a:lnTo>
                      <a:pt x="71543" y="33338"/>
                    </a:lnTo>
                    <a:cubicBezTo>
                      <a:pt x="71543" y="33338"/>
                      <a:pt x="77258" y="34290"/>
                      <a:pt x="80116" y="34290"/>
                    </a:cubicBezTo>
                    <a:cubicBezTo>
                      <a:pt x="82973" y="34290"/>
                      <a:pt x="94403" y="34290"/>
                      <a:pt x="98213" y="35243"/>
                    </a:cubicBezTo>
                    <a:cubicBezTo>
                      <a:pt x="101071" y="36195"/>
                      <a:pt x="111548" y="37148"/>
                      <a:pt x="111548" y="37148"/>
                    </a:cubicBezTo>
                    <a:lnTo>
                      <a:pt x="118216" y="35243"/>
                    </a:lnTo>
                    <a:lnTo>
                      <a:pt x="118216" y="32385"/>
                    </a:lnTo>
                    <a:lnTo>
                      <a:pt x="111548" y="28575"/>
                    </a:lnTo>
                    <a:lnTo>
                      <a:pt x="103928" y="27623"/>
                    </a:lnTo>
                    <a:lnTo>
                      <a:pt x="90593" y="23813"/>
                    </a:lnTo>
                    <a:lnTo>
                      <a:pt x="89641" y="20955"/>
                    </a:lnTo>
                    <a:lnTo>
                      <a:pt x="82021" y="16193"/>
                    </a:lnTo>
                    <a:lnTo>
                      <a:pt x="77258" y="15240"/>
                    </a:lnTo>
                    <a:cubicBezTo>
                      <a:pt x="77258" y="15240"/>
                      <a:pt x="76306" y="14288"/>
                      <a:pt x="75353" y="12383"/>
                    </a:cubicBezTo>
                    <a:cubicBezTo>
                      <a:pt x="74401" y="10478"/>
                      <a:pt x="61066" y="8573"/>
                      <a:pt x="61066" y="8573"/>
                    </a:cubicBezTo>
                    <a:lnTo>
                      <a:pt x="51541" y="38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BE287A2-9BF1-4674-9E74-D028E2134FD3}"/>
                  </a:ext>
                </a:extLst>
              </p:cNvPr>
              <p:cNvSpPr/>
              <p:nvPr/>
            </p:nvSpPr>
            <p:spPr>
              <a:xfrm>
                <a:off x="6787470" y="3229656"/>
                <a:ext cx="39126" cy="10477"/>
              </a:xfrm>
              <a:custGeom>
                <a:avLst/>
                <a:gdLst>
                  <a:gd name="connsiteX0" fmla="*/ 32459 w 39126"/>
                  <a:gd name="connsiteY0" fmla="*/ 953 h 10477"/>
                  <a:gd name="connsiteX1" fmla="*/ 18171 w 39126"/>
                  <a:gd name="connsiteY1" fmla="*/ 953 h 10477"/>
                  <a:gd name="connsiteX2" fmla="*/ 13409 w 39126"/>
                  <a:gd name="connsiteY2" fmla="*/ 2858 h 10477"/>
                  <a:gd name="connsiteX3" fmla="*/ 7694 w 39126"/>
                  <a:gd name="connsiteY3" fmla="*/ 4763 h 10477"/>
                  <a:gd name="connsiteX4" fmla="*/ 74 w 39126"/>
                  <a:gd name="connsiteY4" fmla="*/ 5715 h 10477"/>
                  <a:gd name="connsiteX5" fmla="*/ 1026 w 39126"/>
                  <a:gd name="connsiteY5" fmla="*/ 7620 h 10477"/>
                  <a:gd name="connsiteX6" fmla="*/ 6741 w 39126"/>
                  <a:gd name="connsiteY6" fmla="*/ 10478 h 10477"/>
                  <a:gd name="connsiteX7" fmla="*/ 16266 w 39126"/>
                  <a:gd name="connsiteY7" fmla="*/ 9525 h 10477"/>
                  <a:gd name="connsiteX8" fmla="*/ 21029 w 39126"/>
                  <a:gd name="connsiteY8" fmla="*/ 9525 h 10477"/>
                  <a:gd name="connsiteX9" fmla="*/ 34364 w 39126"/>
                  <a:gd name="connsiteY9" fmla="*/ 9525 h 10477"/>
                  <a:gd name="connsiteX10" fmla="*/ 39126 w 39126"/>
                  <a:gd name="connsiteY10" fmla="*/ 8573 h 10477"/>
                  <a:gd name="connsiteX11" fmla="*/ 39126 w 39126"/>
                  <a:gd name="connsiteY11" fmla="*/ 0 h 10477"/>
                  <a:gd name="connsiteX12" fmla="*/ 32459 w 39126"/>
                  <a:gd name="connsiteY12" fmla="*/ 953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26" h="10477">
                    <a:moveTo>
                      <a:pt x="32459" y="953"/>
                    </a:moveTo>
                    <a:lnTo>
                      <a:pt x="18171" y="953"/>
                    </a:lnTo>
                    <a:cubicBezTo>
                      <a:pt x="13409" y="2858"/>
                      <a:pt x="13409" y="2858"/>
                      <a:pt x="13409" y="2858"/>
                    </a:cubicBezTo>
                    <a:lnTo>
                      <a:pt x="7694" y="4763"/>
                    </a:lnTo>
                    <a:cubicBezTo>
                      <a:pt x="7694" y="4763"/>
                      <a:pt x="-879" y="3810"/>
                      <a:pt x="74" y="5715"/>
                    </a:cubicBezTo>
                    <a:cubicBezTo>
                      <a:pt x="1026" y="7620"/>
                      <a:pt x="1026" y="7620"/>
                      <a:pt x="1026" y="7620"/>
                    </a:cubicBezTo>
                    <a:lnTo>
                      <a:pt x="6741" y="10478"/>
                    </a:lnTo>
                    <a:lnTo>
                      <a:pt x="16266" y="9525"/>
                    </a:lnTo>
                    <a:cubicBezTo>
                      <a:pt x="16266" y="9525"/>
                      <a:pt x="17219" y="8573"/>
                      <a:pt x="21029" y="9525"/>
                    </a:cubicBezTo>
                    <a:cubicBezTo>
                      <a:pt x="23886" y="10478"/>
                      <a:pt x="34364" y="9525"/>
                      <a:pt x="34364" y="9525"/>
                    </a:cubicBezTo>
                    <a:lnTo>
                      <a:pt x="39126" y="8573"/>
                    </a:lnTo>
                    <a:lnTo>
                      <a:pt x="39126" y="0"/>
                    </a:lnTo>
                    <a:lnTo>
                      <a:pt x="32459" y="9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0C1BF5C3-1C01-4516-9A8B-01375B1E8184}"/>
                  </a:ext>
                </a:extLst>
              </p:cNvPr>
              <p:cNvSpPr/>
              <p:nvPr/>
            </p:nvSpPr>
            <p:spPr>
              <a:xfrm>
                <a:off x="6892241" y="3188804"/>
                <a:ext cx="51512" cy="17991"/>
              </a:xfrm>
              <a:custGeom>
                <a:avLst/>
                <a:gdLst>
                  <a:gd name="connsiteX0" fmla="*/ 44845 w 51512"/>
                  <a:gd name="connsiteY0" fmla="*/ 14182 h 17991"/>
                  <a:gd name="connsiteX1" fmla="*/ 21985 w 51512"/>
                  <a:gd name="connsiteY1" fmla="*/ 17039 h 17991"/>
                  <a:gd name="connsiteX2" fmla="*/ 14365 w 51512"/>
                  <a:gd name="connsiteY2" fmla="*/ 17039 h 17991"/>
                  <a:gd name="connsiteX3" fmla="*/ 1030 w 51512"/>
                  <a:gd name="connsiteY3" fmla="*/ 17992 h 17991"/>
                  <a:gd name="connsiteX4" fmla="*/ 78 w 51512"/>
                  <a:gd name="connsiteY4" fmla="*/ 15134 h 17991"/>
                  <a:gd name="connsiteX5" fmla="*/ 3888 w 51512"/>
                  <a:gd name="connsiteY5" fmla="*/ 8467 h 17991"/>
                  <a:gd name="connsiteX6" fmla="*/ 8650 w 51512"/>
                  <a:gd name="connsiteY6" fmla="*/ 8467 h 17991"/>
                  <a:gd name="connsiteX7" fmla="*/ 15318 w 51512"/>
                  <a:gd name="connsiteY7" fmla="*/ 2752 h 17991"/>
                  <a:gd name="connsiteX8" fmla="*/ 20080 w 51512"/>
                  <a:gd name="connsiteY8" fmla="*/ 847 h 17991"/>
                  <a:gd name="connsiteX9" fmla="*/ 24843 w 51512"/>
                  <a:gd name="connsiteY9" fmla="*/ 847 h 17991"/>
                  <a:gd name="connsiteX10" fmla="*/ 38178 w 51512"/>
                  <a:gd name="connsiteY10" fmla="*/ 1799 h 17991"/>
                  <a:gd name="connsiteX11" fmla="*/ 41035 w 51512"/>
                  <a:gd name="connsiteY11" fmla="*/ 2752 h 17991"/>
                  <a:gd name="connsiteX12" fmla="*/ 46750 w 51512"/>
                  <a:gd name="connsiteY12" fmla="*/ 3704 h 17991"/>
                  <a:gd name="connsiteX13" fmla="*/ 51513 w 51512"/>
                  <a:gd name="connsiteY13" fmla="*/ 8467 h 17991"/>
                  <a:gd name="connsiteX14" fmla="*/ 51513 w 51512"/>
                  <a:gd name="connsiteY14" fmla="*/ 12277 h 17991"/>
                  <a:gd name="connsiteX15" fmla="*/ 44845 w 51512"/>
                  <a:gd name="connsiteY15" fmla="*/ 14182 h 1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12" h="17991">
                    <a:moveTo>
                      <a:pt x="44845" y="14182"/>
                    </a:moveTo>
                    <a:lnTo>
                      <a:pt x="21985" y="17039"/>
                    </a:lnTo>
                    <a:lnTo>
                      <a:pt x="14365" y="17039"/>
                    </a:lnTo>
                    <a:lnTo>
                      <a:pt x="1030" y="17992"/>
                    </a:lnTo>
                    <a:lnTo>
                      <a:pt x="78" y="15134"/>
                    </a:lnTo>
                    <a:cubicBezTo>
                      <a:pt x="78" y="15134"/>
                      <a:pt x="-875" y="8467"/>
                      <a:pt x="3888" y="8467"/>
                    </a:cubicBezTo>
                    <a:cubicBezTo>
                      <a:pt x="8650" y="8467"/>
                      <a:pt x="8650" y="8467"/>
                      <a:pt x="8650" y="8467"/>
                    </a:cubicBezTo>
                    <a:lnTo>
                      <a:pt x="15318" y="2752"/>
                    </a:lnTo>
                    <a:lnTo>
                      <a:pt x="20080" y="847"/>
                    </a:lnTo>
                    <a:cubicBezTo>
                      <a:pt x="20080" y="847"/>
                      <a:pt x="18175" y="-1058"/>
                      <a:pt x="24843" y="847"/>
                    </a:cubicBezTo>
                    <a:cubicBezTo>
                      <a:pt x="31510" y="2752"/>
                      <a:pt x="34368" y="847"/>
                      <a:pt x="38178" y="1799"/>
                    </a:cubicBezTo>
                    <a:cubicBezTo>
                      <a:pt x="41035" y="2752"/>
                      <a:pt x="41035" y="2752"/>
                      <a:pt x="41035" y="2752"/>
                    </a:cubicBezTo>
                    <a:lnTo>
                      <a:pt x="46750" y="3704"/>
                    </a:lnTo>
                    <a:cubicBezTo>
                      <a:pt x="51513" y="8467"/>
                      <a:pt x="51513" y="5609"/>
                      <a:pt x="51513" y="8467"/>
                    </a:cubicBezTo>
                    <a:cubicBezTo>
                      <a:pt x="51513" y="12277"/>
                      <a:pt x="51513" y="12277"/>
                      <a:pt x="51513" y="12277"/>
                    </a:cubicBezTo>
                    <a:lnTo>
                      <a:pt x="44845" y="141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71274083-D4B7-41C6-B33D-6EF2E4287862}"/>
                  </a:ext>
                </a:extLst>
              </p:cNvPr>
              <p:cNvSpPr/>
              <p:nvPr/>
            </p:nvSpPr>
            <p:spPr>
              <a:xfrm>
                <a:off x="6909464" y="3135359"/>
                <a:ext cx="44437" cy="15239"/>
              </a:xfrm>
              <a:custGeom>
                <a:avLst/>
                <a:gdLst>
                  <a:gd name="connsiteX0" fmla="*/ 43815 w 44437"/>
                  <a:gd name="connsiteY0" fmla="*/ 13335 h 15239"/>
                  <a:gd name="connsiteX1" fmla="*/ 32385 w 44437"/>
                  <a:gd name="connsiteY1" fmla="*/ 14288 h 15239"/>
                  <a:gd name="connsiteX2" fmla="*/ 13335 w 44437"/>
                  <a:gd name="connsiteY2" fmla="*/ 15240 h 15239"/>
                  <a:gd name="connsiteX3" fmla="*/ 7620 w 44437"/>
                  <a:gd name="connsiteY3" fmla="*/ 12382 h 15239"/>
                  <a:gd name="connsiteX4" fmla="*/ 5715 w 44437"/>
                  <a:gd name="connsiteY4" fmla="*/ 8572 h 15239"/>
                  <a:gd name="connsiteX5" fmla="*/ 0 w 44437"/>
                  <a:gd name="connsiteY5" fmla="*/ 3810 h 15239"/>
                  <a:gd name="connsiteX6" fmla="*/ 3810 w 44437"/>
                  <a:gd name="connsiteY6" fmla="*/ 0 h 15239"/>
                  <a:gd name="connsiteX7" fmla="*/ 15240 w 44437"/>
                  <a:gd name="connsiteY7" fmla="*/ 952 h 15239"/>
                  <a:gd name="connsiteX8" fmla="*/ 22860 w 44437"/>
                  <a:gd name="connsiteY8" fmla="*/ 952 h 15239"/>
                  <a:gd name="connsiteX9" fmla="*/ 37147 w 44437"/>
                  <a:gd name="connsiteY9" fmla="*/ 1905 h 15239"/>
                  <a:gd name="connsiteX10" fmla="*/ 42863 w 44437"/>
                  <a:gd name="connsiteY10" fmla="*/ 2857 h 15239"/>
                  <a:gd name="connsiteX11" fmla="*/ 43815 w 44437"/>
                  <a:gd name="connsiteY11"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7" h="15239">
                    <a:moveTo>
                      <a:pt x="43815" y="13335"/>
                    </a:moveTo>
                    <a:lnTo>
                      <a:pt x="32385" y="14288"/>
                    </a:lnTo>
                    <a:lnTo>
                      <a:pt x="13335" y="15240"/>
                    </a:lnTo>
                    <a:lnTo>
                      <a:pt x="7620" y="12382"/>
                    </a:lnTo>
                    <a:lnTo>
                      <a:pt x="5715" y="8572"/>
                    </a:lnTo>
                    <a:lnTo>
                      <a:pt x="0" y="3810"/>
                    </a:lnTo>
                    <a:cubicBezTo>
                      <a:pt x="0" y="3810"/>
                      <a:pt x="0" y="0"/>
                      <a:pt x="3810" y="0"/>
                    </a:cubicBezTo>
                    <a:cubicBezTo>
                      <a:pt x="6667" y="952"/>
                      <a:pt x="15240" y="952"/>
                      <a:pt x="15240" y="952"/>
                    </a:cubicBezTo>
                    <a:lnTo>
                      <a:pt x="22860" y="952"/>
                    </a:lnTo>
                    <a:lnTo>
                      <a:pt x="37147" y="1905"/>
                    </a:lnTo>
                    <a:lnTo>
                      <a:pt x="42863" y="2857"/>
                    </a:lnTo>
                    <a:cubicBezTo>
                      <a:pt x="45720" y="7620"/>
                      <a:pt x="43815" y="13335"/>
                      <a:pt x="43815" y="13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0E61D2A1-52DB-4095-B29B-48C9063DDA35}"/>
                  </a:ext>
                </a:extLst>
              </p:cNvPr>
              <p:cNvSpPr/>
              <p:nvPr/>
            </p:nvSpPr>
            <p:spPr>
              <a:xfrm>
                <a:off x="6576089" y="2948245"/>
                <a:ext cx="300990" cy="63288"/>
              </a:xfrm>
              <a:custGeom>
                <a:avLst/>
                <a:gdLst>
                  <a:gd name="connsiteX0" fmla="*/ 282892 w 300990"/>
                  <a:gd name="connsiteY0" fmla="*/ 53763 h 63288"/>
                  <a:gd name="connsiteX1" fmla="*/ 277178 w 300990"/>
                  <a:gd name="connsiteY1" fmla="*/ 54716 h 63288"/>
                  <a:gd name="connsiteX2" fmla="*/ 267653 w 300990"/>
                  <a:gd name="connsiteY2" fmla="*/ 55668 h 63288"/>
                  <a:gd name="connsiteX3" fmla="*/ 258128 w 300990"/>
                  <a:gd name="connsiteY3" fmla="*/ 55668 h 63288"/>
                  <a:gd name="connsiteX4" fmla="*/ 248603 w 300990"/>
                  <a:gd name="connsiteY4" fmla="*/ 55668 h 63288"/>
                  <a:gd name="connsiteX5" fmla="*/ 237172 w 300990"/>
                  <a:gd name="connsiteY5" fmla="*/ 58526 h 63288"/>
                  <a:gd name="connsiteX6" fmla="*/ 229553 w 300990"/>
                  <a:gd name="connsiteY6" fmla="*/ 62336 h 63288"/>
                  <a:gd name="connsiteX7" fmla="*/ 221933 w 300990"/>
                  <a:gd name="connsiteY7" fmla="*/ 63288 h 63288"/>
                  <a:gd name="connsiteX8" fmla="*/ 210503 w 300990"/>
                  <a:gd name="connsiteY8" fmla="*/ 63288 h 63288"/>
                  <a:gd name="connsiteX9" fmla="*/ 202883 w 300990"/>
                  <a:gd name="connsiteY9" fmla="*/ 63288 h 63288"/>
                  <a:gd name="connsiteX10" fmla="*/ 196215 w 300990"/>
                  <a:gd name="connsiteY10" fmla="*/ 63288 h 63288"/>
                  <a:gd name="connsiteX11" fmla="*/ 187642 w 300990"/>
                  <a:gd name="connsiteY11" fmla="*/ 63288 h 63288"/>
                  <a:gd name="connsiteX12" fmla="*/ 180975 w 300990"/>
                  <a:gd name="connsiteY12" fmla="*/ 63288 h 63288"/>
                  <a:gd name="connsiteX13" fmla="*/ 176213 w 300990"/>
                  <a:gd name="connsiteY13" fmla="*/ 63288 h 63288"/>
                  <a:gd name="connsiteX14" fmla="*/ 164783 w 300990"/>
                  <a:gd name="connsiteY14" fmla="*/ 61383 h 63288"/>
                  <a:gd name="connsiteX15" fmla="*/ 158115 w 300990"/>
                  <a:gd name="connsiteY15" fmla="*/ 60431 h 63288"/>
                  <a:gd name="connsiteX16" fmla="*/ 142875 w 300990"/>
                  <a:gd name="connsiteY16" fmla="*/ 58526 h 63288"/>
                  <a:gd name="connsiteX17" fmla="*/ 135255 w 300990"/>
                  <a:gd name="connsiteY17" fmla="*/ 57573 h 63288"/>
                  <a:gd name="connsiteX18" fmla="*/ 114300 w 300990"/>
                  <a:gd name="connsiteY18" fmla="*/ 52811 h 63288"/>
                  <a:gd name="connsiteX19" fmla="*/ 101917 w 300990"/>
                  <a:gd name="connsiteY19" fmla="*/ 51858 h 63288"/>
                  <a:gd name="connsiteX20" fmla="*/ 93345 w 300990"/>
                  <a:gd name="connsiteY20" fmla="*/ 50906 h 63288"/>
                  <a:gd name="connsiteX21" fmla="*/ 86678 w 300990"/>
                  <a:gd name="connsiteY21" fmla="*/ 49001 h 63288"/>
                  <a:gd name="connsiteX22" fmla="*/ 80963 w 300990"/>
                  <a:gd name="connsiteY22" fmla="*/ 46143 h 63288"/>
                  <a:gd name="connsiteX23" fmla="*/ 80963 w 300990"/>
                  <a:gd name="connsiteY23" fmla="*/ 40428 h 63288"/>
                  <a:gd name="connsiteX24" fmla="*/ 79058 w 300990"/>
                  <a:gd name="connsiteY24" fmla="*/ 34713 h 63288"/>
                  <a:gd name="connsiteX25" fmla="*/ 78105 w 300990"/>
                  <a:gd name="connsiteY25" fmla="*/ 29951 h 63288"/>
                  <a:gd name="connsiteX26" fmla="*/ 72390 w 300990"/>
                  <a:gd name="connsiteY26" fmla="*/ 25188 h 63288"/>
                  <a:gd name="connsiteX27" fmla="*/ 63817 w 300990"/>
                  <a:gd name="connsiteY27" fmla="*/ 21378 h 63288"/>
                  <a:gd name="connsiteX28" fmla="*/ 58103 w 300990"/>
                  <a:gd name="connsiteY28" fmla="*/ 19473 h 63288"/>
                  <a:gd name="connsiteX29" fmla="*/ 40958 w 300990"/>
                  <a:gd name="connsiteY29" fmla="*/ 15663 h 63288"/>
                  <a:gd name="connsiteX30" fmla="*/ 29528 w 300990"/>
                  <a:gd name="connsiteY30" fmla="*/ 15663 h 63288"/>
                  <a:gd name="connsiteX31" fmla="*/ 23813 w 300990"/>
                  <a:gd name="connsiteY31" fmla="*/ 15663 h 63288"/>
                  <a:gd name="connsiteX32" fmla="*/ 10478 w 300990"/>
                  <a:gd name="connsiteY32" fmla="*/ 14711 h 63288"/>
                  <a:gd name="connsiteX33" fmla="*/ 953 w 300990"/>
                  <a:gd name="connsiteY33" fmla="*/ 11853 h 63288"/>
                  <a:gd name="connsiteX34" fmla="*/ 0 w 300990"/>
                  <a:gd name="connsiteY34" fmla="*/ 6138 h 63288"/>
                  <a:gd name="connsiteX35" fmla="*/ 5715 w 300990"/>
                  <a:gd name="connsiteY35" fmla="*/ 3281 h 63288"/>
                  <a:gd name="connsiteX36" fmla="*/ 12383 w 300990"/>
                  <a:gd name="connsiteY36" fmla="*/ 2328 h 63288"/>
                  <a:gd name="connsiteX37" fmla="*/ 28575 w 300990"/>
                  <a:gd name="connsiteY37" fmla="*/ 423 h 63288"/>
                  <a:gd name="connsiteX38" fmla="*/ 38100 w 300990"/>
                  <a:gd name="connsiteY38" fmla="*/ 423 h 63288"/>
                  <a:gd name="connsiteX39" fmla="*/ 51435 w 300990"/>
                  <a:gd name="connsiteY39" fmla="*/ 423 h 63288"/>
                  <a:gd name="connsiteX40" fmla="*/ 60008 w 300990"/>
                  <a:gd name="connsiteY40" fmla="*/ 423 h 63288"/>
                  <a:gd name="connsiteX41" fmla="*/ 72390 w 300990"/>
                  <a:gd name="connsiteY41" fmla="*/ 2328 h 63288"/>
                  <a:gd name="connsiteX42" fmla="*/ 79058 w 300990"/>
                  <a:gd name="connsiteY42" fmla="*/ 4233 h 63288"/>
                  <a:gd name="connsiteX43" fmla="*/ 86678 w 300990"/>
                  <a:gd name="connsiteY43" fmla="*/ 5186 h 63288"/>
                  <a:gd name="connsiteX44" fmla="*/ 94297 w 300990"/>
                  <a:gd name="connsiteY44" fmla="*/ 9948 h 63288"/>
                  <a:gd name="connsiteX45" fmla="*/ 89535 w 300990"/>
                  <a:gd name="connsiteY45" fmla="*/ 13758 h 63288"/>
                  <a:gd name="connsiteX46" fmla="*/ 99060 w 300990"/>
                  <a:gd name="connsiteY46" fmla="*/ 19473 h 63288"/>
                  <a:gd name="connsiteX47" fmla="*/ 104775 w 300990"/>
                  <a:gd name="connsiteY47" fmla="*/ 19473 h 63288"/>
                  <a:gd name="connsiteX48" fmla="*/ 110490 w 300990"/>
                  <a:gd name="connsiteY48" fmla="*/ 28046 h 63288"/>
                  <a:gd name="connsiteX49" fmla="*/ 123825 w 300990"/>
                  <a:gd name="connsiteY49" fmla="*/ 31856 h 63288"/>
                  <a:gd name="connsiteX50" fmla="*/ 135255 w 300990"/>
                  <a:gd name="connsiteY50" fmla="*/ 33761 h 63288"/>
                  <a:gd name="connsiteX51" fmla="*/ 149542 w 300990"/>
                  <a:gd name="connsiteY51" fmla="*/ 35666 h 63288"/>
                  <a:gd name="connsiteX52" fmla="*/ 154305 w 300990"/>
                  <a:gd name="connsiteY52" fmla="*/ 39476 h 63288"/>
                  <a:gd name="connsiteX53" fmla="*/ 167640 w 300990"/>
                  <a:gd name="connsiteY53" fmla="*/ 39476 h 63288"/>
                  <a:gd name="connsiteX54" fmla="*/ 194310 w 300990"/>
                  <a:gd name="connsiteY54" fmla="*/ 35666 h 63288"/>
                  <a:gd name="connsiteX55" fmla="*/ 205740 w 300990"/>
                  <a:gd name="connsiteY55" fmla="*/ 34713 h 63288"/>
                  <a:gd name="connsiteX56" fmla="*/ 214313 w 300990"/>
                  <a:gd name="connsiteY56" fmla="*/ 34713 h 63288"/>
                  <a:gd name="connsiteX57" fmla="*/ 231458 w 300990"/>
                  <a:gd name="connsiteY57" fmla="*/ 36618 h 63288"/>
                  <a:gd name="connsiteX58" fmla="*/ 246697 w 300990"/>
                  <a:gd name="connsiteY58" fmla="*/ 36618 h 63288"/>
                  <a:gd name="connsiteX59" fmla="*/ 258128 w 300990"/>
                  <a:gd name="connsiteY59" fmla="*/ 35666 h 63288"/>
                  <a:gd name="connsiteX60" fmla="*/ 269558 w 300990"/>
                  <a:gd name="connsiteY60" fmla="*/ 35666 h 63288"/>
                  <a:gd name="connsiteX61" fmla="*/ 276225 w 300990"/>
                  <a:gd name="connsiteY61" fmla="*/ 35666 h 63288"/>
                  <a:gd name="connsiteX62" fmla="*/ 290513 w 300990"/>
                  <a:gd name="connsiteY62" fmla="*/ 36618 h 63288"/>
                  <a:gd name="connsiteX63" fmla="*/ 297180 w 300990"/>
                  <a:gd name="connsiteY63" fmla="*/ 39476 h 63288"/>
                  <a:gd name="connsiteX64" fmla="*/ 299085 w 300990"/>
                  <a:gd name="connsiteY64" fmla="*/ 42333 h 63288"/>
                  <a:gd name="connsiteX65" fmla="*/ 300990 w 300990"/>
                  <a:gd name="connsiteY65" fmla="*/ 46143 h 63288"/>
                  <a:gd name="connsiteX66" fmla="*/ 296228 w 300990"/>
                  <a:gd name="connsiteY66" fmla="*/ 53763 h 63288"/>
                  <a:gd name="connsiteX67" fmla="*/ 282892 w 300990"/>
                  <a:gd name="connsiteY67" fmla="*/ 53763 h 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0990" h="63288">
                    <a:moveTo>
                      <a:pt x="282892" y="53763"/>
                    </a:moveTo>
                    <a:lnTo>
                      <a:pt x="277178" y="54716"/>
                    </a:lnTo>
                    <a:lnTo>
                      <a:pt x="267653" y="55668"/>
                    </a:lnTo>
                    <a:lnTo>
                      <a:pt x="258128" y="55668"/>
                    </a:lnTo>
                    <a:lnTo>
                      <a:pt x="248603" y="55668"/>
                    </a:lnTo>
                    <a:cubicBezTo>
                      <a:pt x="241935" y="57573"/>
                      <a:pt x="237172" y="58526"/>
                      <a:pt x="237172" y="58526"/>
                    </a:cubicBezTo>
                    <a:lnTo>
                      <a:pt x="229553" y="62336"/>
                    </a:lnTo>
                    <a:cubicBezTo>
                      <a:pt x="229553" y="62336"/>
                      <a:pt x="228600" y="63288"/>
                      <a:pt x="221933" y="63288"/>
                    </a:cubicBezTo>
                    <a:cubicBezTo>
                      <a:pt x="215265" y="63288"/>
                      <a:pt x="210503" y="63288"/>
                      <a:pt x="210503" y="63288"/>
                    </a:cubicBezTo>
                    <a:lnTo>
                      <a:pt x="202883" y="63288"/>
                    </a:lnTo>
                    <a:lnTo>
                      <a:pt x="196215" y="63288"/>
                    </a:lnTo>
                    <a:lnTo>
                      <a:pt x="187642" y="63288"/>
                    </a:lnTo>
                    <a:lnTo>
                      <a:pt x="180975" y="63288"/>
                    </a:lnTo>
                    <a:lnTo>
                      <a:pt x="176213" y="63288"/>
                    </a:lnTo>
                    <a:lnTo>
                      <a:pt x="164783" y="61383"/>
                    </a:lnTo>
                    <a:lnTo>
                      <a:pt x="158115" y="60431"/>
                    </a:lnTo>
                    <a:lnTo>
                      <a:pt x="142875" y="58526"/>
                    </a:lnTo>
                    <a:cubicBezTo>
                      <a:pt x="142875" y="58526"/>
                      <a:pt x="140017" y="57573"/>
                      <a:pt x="135255" y="57573"/>
                    </a:cubicBezTo>
                    <a:cubicBezTo>
                      <a:pt x="130492" y="57573"/>
                      <a:pt x="114300" y="52811"/>
                      <a:pt x="114300" y="52811"/>
                    </a:cubicBezTo>
                    <a:cubicBezTo>
                      <a:pt x="114300" y="52811"/>
                      <a:pt x="105728" y="50906"/>
                      <a:pt x="101917" y="51858"/>
                    </a:cubicBezTo>
                    <a:cubicBezTo>
                      <a:pt x="99060" y="52811"/>
                      <a:pt x="93345" y="50906"/>
                      <a:pt x="93345" y="50906"/>
                    </a:cubicBezTo>
                    <a:lnTo>
                      <a:pt x="86678" y="49001"/>
                    </a:lnTo>
                    <a:lnTo>
                      <a:pt x="80963" y="46143"/>
                    </a:lnTo>
                    <a:lnTo>
                      <a:pt x="80963" y="40428"/>
                    </a:lnTo>
                    <a:lnTo>
                      <a:pt x="79058" y="34713"/>
                    </a:lnTo>
                    <a:lnTo>
                      <a:pt x="78105" y="29951"/>
                    </a:lnTo>
                    <a:lnTo>
                      <a:pt x="72390" y="25188"/>
                    </a:lnTo>
                    <a:cubicBezTo>
                      <a:pt x="72390" y="25188"/>
                      <a:pt x="69533" y="23283"/>
                      <a:pt x="63817" y="21378"/>
                    </a:cubicBezTo>
                    <a:cubicBezTo>
                      <a:pt x="58103" y="19473"/>
                      <a:pt x="58103" y="19473"/>
                      <a:pt x="58103" y="19473"/>
                    </a:cubicBezTo>
                    <a:cubicBezTo>
                      <a:pt x="58103" y="19473"/>
                      <a:pt x="43815" y="15663"/>
                      <a:pt x="40958" y="15663"/>
                    </a:cubicBezTo>
                    <a:cubicBezTo>
                      <a:pt x="38100" y="15663"/>
                      <a:pt x="29528" y="15663"/>
                      <a:pt x="29528" y="15663"/>
                    </a:cubicBezTo>
                    <a:cubicBezTo>
                      <a:pt x="29528" y="15663"/>
                      <a:pt x="28575" y="15663"/>
                      <a:pt x="23813" y="15663"/>
                    </a:cubicBezTo>
                    <a:cubicBezTo>
                      <a:pt x="19050" y="15663"/>
                      <a:pt x="10478" y="14711"/>
                      <a:pt x="10478" y="14711"/>
                    </a:cubicBezTo>
                    <a:lnTo>
                      <a:pt x="953" y="11853"/>
                    </a:lnTo>
                    <a:lnTo>
                      <a:pt x="0" y="6138"/>
                    </a:lnTo>
                    <a:lnTo>
                      <a:pt x="5715" y="3281"/>
                    </a:lnTo>
                    <a:cubicBezTo>
                      <a:pt x="12383" y="2328"/>
                      <a:pt x="4763" y="4233"/>
                      <a:pt x="12383" y="2328"/>
                    </a:cubicBezTo>
                    <a:cubicBezTo>
                      <a:pt x="20003" y="423"/>
                      <a:pt x="28575" y="423"/>
                      <a:pt x="28575" y="423"/>
                    </a:cubicBezTo>
                    <a:lnTo>
                      <a:pt x="38100" y="423"/>
                    </a:lnTo>
                    <a:lnTo>
                      <a:pt x="51435" y="423"/>
                    </a:lnTo>
                    <a:cubicBezTo>
                      <a:pt x="51435" y="423"/>
                      <a:pt x="56197" y="-529"/>
                      <a:pt x="60008" y="423"/>
                    </a:cubicBezTo>
                    <a:cubicBezTo>
                      <a:pt x="64770" y="1376"/>
                      <a:pt x="72390" y="2328"/>
                      <a:pt x="72390" y="2328"/>
                    </a:cubicBezTo>
                    <a:lnTo>
                      <a:pt x="79058" y="4233"/>
                    </a:lnTo>
                    <a:lnTo>
                      <a:pt x="86678" y="5186"/>
                    </a:lnTo>
                    <a:lnTo>
                      <a:pt x="94297" y="9948"/>
                    </a:lnTo>
                    <a:cubicBezTo>
                      <a:pt x="94297" y="9948"/>
                      <a:pt x="88583" y="11853"/>
                      <a:pt x="89535" y="13758"/>
                    </a:cubicBezTo>
                    <a:cubicBezTo>
                      <a:pt x="90488" y="15663"/>
                      <a:pt x="99060" y="19473"/>
                      <a:pt x="99060" y="19473"/>
                    </a:cubicBezTo>
                    <a:lnTo>
                      <a:pt x="104775" y="19473"/>
                    </a:lnTo>
                    <a:lnTo>
                      <a:pt x="110490" y="28046"/>
                    </a:lnTo>
                    <a:lnTo>
                      <a:pt x="123825" y="31856"/>
                    </a:lnTo>
                    <a:cubicBezTo>
                      <a:pt x="123825" y="31856"/>
                      <a:pt x="131445" y="32808"/>
                      <a:pt x="135255" y="33761"/>
                    </a:cubicBezTo>
                    <a:cubicBezTo>
                      <a:pt x="138113" y="34713"/>
                      <a:pt x="149542" y="35666"/>
                      <a:pt x="149542" y="35666"/>
                    </a:cubicBezTo>
                    <a:cubicBezTo>
                      <a:pt x="149542" y="35666"/>
                      <a:pt x="150495" y="38523"/>
                      <a:pt x="154305" y="39476"/>
                    </a:cubicBezTo>
                    <a:cubicBezTo>
                      <a:pt x="157163" y="40428"/>
                      <a:pt x="162878" y="40428"/>
                      <a:pt x="167640" y="39476"/>
                    </a:cubicBezTo>
                    <a:cubicBezTo>
                      <a:pt x="172403" y="38523"/>
                      <a:pt x="194310" y="35666"/>
                      <a:pt x="194310" y="35666"/>
                    </a:cubicBezTo>
                    <a:lnTo>
                      <a:pt x="205740" y="34713"/>
                    </a:lnTo>
                    <a:lnTo>
                      <a:pt x="214313" y="34713"/>
                    </a:lnTo>
                    <a:cubicBezTo>
                      <a:pt x="221933" y="36618"/>
                      <a:pt x="225742" y="36618"/>
                      <a:pt x="231458" y="36618"/>
                    </a:cubicBezTo>
                    <a:cubicBezTo>
                      <a:pt x="238125" y="37571"/>
                      <a:pt x="246697" y="36618"/>
                      <a:pt x="246697" y="36618"/>
                    </a:cubicBezTo>
                    <a:lnTo>
                      <a:pt x="258128" y="35666"/>
                    </a:lnTo>
                    <a:lnTo>
                      <a:pt x="269558" y="35666"/>
                    </a:lnTo>
                    <a:lnTo>
                      <a:pt x="276225" y="35666"/>
                    </a:lnTo>
                    <a:cubicBezTo>
                      <a:pt x="276225" y="35666"/>
                      <a:pt x="289560" y="34713"/>
                      <a:pt x="290513" y="36618"/>
                    </a:cubicBezTo>
                    <a:cubicBezTo>
                      <a:pt x="291465" y="38523"/>
                      <a:pt x="295275" y="36618"/>
                      <a:pt x="297180" y="39476"/>
                    </a:cubicBezTo>
                    <a:cubicBezTo>
                      <a:pt x="299085" y="42333"/>
                      <a:pt x="297180" y="38523"/>
                      <a:pt x="299085" y="42333"/>
                    </a:cubicBezTo>
                    <a:cubicBezTo>
                      <a:pt x="300990" y="46143"/>
                      <a:pt x="300990" y="43286"/>
                      <a:pt x="300990" y="46143"/>
                    </a:cubicBezTo>
                    <a:cubicBezTo>
                      <a:pt x="300990" y="49953"/>
                      <a:pt x="296228" y="53763"/>
                      <a:pt x="296228" y="53763"/>
                    </a:cubicBezTo>
                    <a:lnTo>
                      <a:pt x="282892" y="53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29AD9D81-D372-4656-9E35-A0C3ECA9DC33}"/>
                  </a:ext>
                </a:extLst>
              </p:cNvPr>
              <p:cNvSpPr/>
              <p:nvPr/>
            </p:nvSpPr>
            <p:spPr>
              <a:xfrm>
                <a:off x="6555074" y="2902133"/>
                <a:ext cx="61442" cy="32247"/>
              </a:xfrm>
              <a:custGeom>
                <a:avLst/>
                <a:gdLst>
                  <a:gd name="connsiteX0" fmla="*/ 44827 w 61442"/>
                  <a:gd name="connsiteY0" fmla="*/ 32248 h 32247"/>
                  <a:gd name="connsiteX1" fmla="*/ 35302 w 61442"/>
                  <a:gd name="connsiteY1" fmla="*/ 30343 h 32247"/>
                  <a:gd name="connsiteX2" fmla="*/ 21015 w 61442"/>
                  <a:gd name="connsiteY2" fmla="*/ 29390 h 32247"/>
                  <a:gd name="connsiteX3" fmla="*/ 20062 w 61442"/>
                  <a:gd name="connsiteY3" fmla="*/ 26533 h 32247"/>
                  <a:gd name="connsiteX4" fmla="*/ 13394 w 61442"/>
                  <a:gd name="connsiteY4" fmla="*/ 20818 h 32247"/>
                  <a:gd name="connsiteX5" fmla="*/ 7680 w 61442"/>
                  <a:gd name="connsiteY5" fmla="*/ 18913 h 32247"/>
                  <a:gd name="connsiteX6" fmla="*/ 2917 w 61442"/>
                  <a:gd name="connsiteY6" fmla="*/ 18913 h 32247"/>
                  <a:gd name="connsiteX7" fmla="*/ 60 w 61442"/>
                  <a:gd name="connsiteY7" fmla="*/ 12245 h 32247"/>
                  <a:gd name="connsiteX8" fmla="*/ 60 w 61442"/>
                  <a:gd name="connsiteY8" fmla="*/ 7483 h 32247"/>
                  <a:gd name="connsiteX9" fmla="*/ 4822 w 61442"/>
                  <a:gd name="connsiteY9" fmla="*/ 1768 h 32247"/>
                  <a:gd name="connsiteX10" fmla="*/ 10537 w 61442"/>
                  <a:gd name="connsiteY10" fmla="*/ 815 h 32247"/>
                  <a:gd name="connsiteX11" fmla="*/ 21967 w 61442"/>
                  <a:gd name="connsiteY11" fmla="*/ 1768 h 32247"/>
                  <a:gd name="connsiteX12" fmla="*/ 31492 w 61442"/>
                  <a:gd name="connsiteY12" fmla="*/ 1768 h 32247"/>
                  <a:gd name="connsiteX13" fmla="*/ 34349 w 61442"/>
                  <a:gd name="connsiteY13" fmla="*/ 2720 h 32247"/>
                  <a:gd name="connsiteX14" fmla="*/ 41017 w 61442"/>
                  <a:gd name="connsiteY14" fmla="*/ 1768 h 32247"/>
                  <a:gd name="connsiteX15" fmla="*/ 56257 w 61442"/>
                  <a:gd name="connsiteY15" fmla="*/ 2720 h 32247"/>
                  <a:gd name="connsiteX16" fmla="*/ 58162 w 61442"/>
                  <a:gd name="connsiteY16" fmla="*/ 4625 h 32247"/>
                  <a:gd name="connsiteX17" fmla="*/ 61019 w 61442"/>
                  <a:gd name="connsiteY17" fmla="*/ 10340 h 32247"/>
                  <a:gd name="connsiteX18" fmla="*/ 61019 w 61442"/>
                  <a:gd name="connsiteY18" fmla="*/ 16055 h 32247"/>
                  <a:gd name="connsiteX19" fmla="*/ 61019 w 61442"/>
                  <a:gd name="connsiteY19" fmla="*/ 18913 h 32247"/>
                  <a:gd name="connsiteX20" fmla="*/ 61019 w 61442"/>
                  <a:gd name="connsiteY20" fmla="*/ 23675 h 32247"/>
                  <a:gd name="connsiteX21" fmla="*/ 61019 w 61442"/>
                  <a:gd name="connsiteY21" fmla="*/ 26533 h 32247"/>
                  <a:gd name="connsiteX22" fmla="*/ 61019 w 61442"/>
                  <a:gd name="connsiteY22" fmla="*/ 28438 h 32247"/>
                  <a:gd name="connsiteX23" fmla="*/ 44827 w 61442"/>
                  <a:gd name="connsiteY23" fmla="*/ 32248 h 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442" h="32247">
                    <a:moveTo>
                      <a:pt x="44827" y="32248"/>
                    </a:moveTo>
                    <a:lnTo>
                      <a:pt x="35302" y="30343"/>
                    </a:lnTo>
                    <a:lnTo>
                      <a:pt x="21015" y="29390"/>
                    </a:lnTo>
                    <a:lnTo>
                      <a:pt x="20062" y="26533"/>
                    </a:lnTo>
                    <a:lnTo>
                      <a:pt x="13394" y="20818"/>
                    </a:lnTo>
                    <a:cubicBezTo>
                      <a:pt x="13394" y="20818"/>
                      <a:pt x="12442" y="18913"/>
                      <a:pt x="7680" y="18913"/>
                    </a:cubicBezTo>
                    <a:cubicBezTo>
                      <a:pt x="2917" y="18913"/>
                      <a:pt x="2917" y="18913"/>
                      <a:pt x="2917" y="18913"/>
                    </a:cubicBezTo>
                    <a:lnTo>
                      <a:pt x="60" y="12245"/>
                    </a:lnTo>
                    <a:lnTo>
                      <a:pt x="60" y="7483"/>
                    </a:lnTo>
                    <a:cubicBezTo>
                      <a:pt x="60" y="7483"/>
                      <a:pt x="-893" y="3673"/>
                      <a:pt x="4822" y="1768"/>
                    </a:cubicBezTo>
                    <a:cubicBezTo>
                      <a:pt x="10537" y="815"/>
                      <a:pt x="3869" y="-1090"/>
                      <a:pt x="10537" y="815"/>
                    </a:cubicBezTo>
                    <a:cubicBezTo>
                      <a:pt x="17205" y="2720"/>
                      <a:pt x="17205" y="815"/>
                      <a:pt x="21967" y="1768"/>
                    </a:cubicBezTo>
                    <a:cubicBezTo>
                      <a:pt x="26730" y="2720"/>
                      <a:pt x="28635" y="815"/>
                      <a:pt x="31492" y="1768"/>
                    </a:cubicBezTo>
                    <a:cubicBezTo>
                      <a:pt x="34349" y="2720"/>
                      <a:pt x="34349" y="2720"/>
                      <a:pt x="34349" y="2720"/>
                    </a:cubicBezTo>
                    <a:cubicBezTo>
                      <a:pt x="34349" y="2720"/>
                      <a:pt x="35302" y="1768"/>
                      <a:pt x="41017" y="1768"/>
                    </a:cubicBezTo>
                    <a:cubicBezTo>
                      <a:pt x="46732" y="2720"/>
                      <a:pt x="54352" y="815"/>
                      <a:pt x="56257" y="2720"/>
                    </a:cubicBezTo>
                    <a:cubicBezTo>
                      <a:pt x="58162" y="4625"/>
                      <a:pt x="58162" y="4625"/>
                      <a:pt x="58162" y="4625"/>
                    </a:cubicBezTo>
                    <a:cubicBezTo>
                      <a:pt x="58162" y="4625"/>
                      <a:pt x="60067" y="8435"/>
                      <a:pt x="61019" y="10340"/>
                    </a:cubicBezTo>
                    <a:cubicBezTo>
                      <a:pt x="61972" y="12245"/>
                      <a:pt x="61019" y="16055"/>
                      <a:pt x="61019" y="16055"/>
                    </a:cubicBezTo>
                    <a:cubicBezTo>
                      <a:pt x="61019" y="16055"/>
                      <a:pt x="60067" y="17008"/>
                      <a:pt x="61019" y="18913"/>
                    </a:cubicBezTo>
                    <a:cubicBezTo>
                      <a:pt x="61972" y="20818"/>
                      <a:pt x="61019" y="23675"/>
                      <a:pt x="61019" y="23675"/>
                    </a:cubicBezTo>
                    <a:cubicBezTo>
                      <a:pt x="61019" y="23675"/>
                      <a:pt x="61019" y="24628"/>
                      <a:pt x="61019" y="26533"/>
                    </a:cubicBezTo>
                    <a:cubicBezTo>
                      <a:pt x="61019" y="28438"/>
                      <a:pt x="61019" y="28438"/>
                      <a:pt x="61019" y="28438"/>
                    </a:cubicBezTo>
                    <a:lnTo>
                      <a:pt x="44827" y="32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F5E2DAA-3210-4109-AB37-261FC4254E62}"/>
                  </a:ext>
                </a:extLst>
              </p:cNvPr>
              <p:cNvSpPr/>
              <p:nvPr/>
            </p:nvSpPr>
            <p:spPr>
              <a:xfrm>
                <a:off x="6586291" y="2844579"/>
                <a:ext cx="180297" cy="79324"/>
              </a:xfrm>
              <a:custGeom>
                <a:avLst/>
                <a:gdLst>
                  <a:gd name="connsiteX0" fmla="*/ 5037 w 180297"/>
                  <a:gd name="connsiteY0" fmla="*/ 21222 h 79324"/>
                  <a:gd name="connsiteX1" fmla="*/ 275 w 180297"/>
                  <a:gd name="connsiteY1" fmla="*/ 25032 h 79324"/>
                  <a:gd name="connsiteX2" fmla="*/ 275 w 180297"/>
                  <a:gd name="connsiteY2" fmla="*/ 30747 h 79324"/>
                  <a:gd name="connsiteX3" fmla="*/ 1227 w 180297"/>
                  <a:gd name="connsiteY3" fmla="*/ 32652 h 79324"/>
                  <a:gd name="connsiteX4" fmla="*/ 3132 w 180297"/>
                  <a:gd name="connsiteY4" fmla="*/ 36462 h 79324"/>
                  <a:gd name="connsiteX5" fmla="*/ 9800 w 180297"/>
                  <a:gd name="connsiteY5" fmla="*/ 44082 h 79324"/>
                  <a:gd name="connsiteX6" fmla="*/ 17420 w 180297"/>
                  <a:gd name="connsiteY6" fmla="*/ 45987 h 79324"/>
                  <a:gd name="connsiteX7" fmla="*/ 25992 w 180297"/>
                  <a:gd name="connsiteY7" fmla="*/ 45987 h 79324"/>
                  <a:gd name="connsiteX8" fmla="*/ 37422 w 180297"/>
                  <a:gd name="connsiteY8" fmla="*/ 45987 h 79324"/>
                  <a:gd name="connsiteX9" fmla="*/ 51710 w 180297"/>
                  <a:gd name="connsiteY9" fmla="*/ 47892 h 79324"/>
                  <a:gd name="connsiteX10" fmla="*/ 58377 w 180297"/>
                  <a:gd name="connsiteY10" fmla="*/ 48844 h 79324"/>
                  <a:gd name="connsiteX11" fmla="*/ 61235 w 180297"/>
                  <a:gd name="connsiteY11" fmla="*/ 54559 h 79324"/>
                  <a:gd name="connsiteX12" fmla="*/ 61235 w 180297"/>
                  <a:gd name="connsiteY12" fmla="*/ 62179 h 79324"/>
                  <a:gd name="connsiteX13" fmla="*/ 61235 w 180297"/>
                  <a:gd name="connsiteY13" fmla="*/ 69799 h 79324"/>
                  <a:gd name="connsiteX14" fmla="*/ 64092 w 180297"/>
                  <a:gd name="connsiteY14" fmla="*/ 74562 h 79324"/>
                  <a:gd name="connsiteX15" fmla="*/ 72665 w 180297"/>
                  <a:gd name="connsiteY15" fmla="*/ 76467 h 79324"/>
                  <a:gd name="connsiteX16" fmla="*/ 84095 w 180297"/>
                  <a:gd name="connsiteY16" fmla="*/ 76467 h 79324"/>
                  <a:gd name="connsiteX17" fmla="*/ 97430 w 180297"/>
                  <a:gd name="connsiteY17" fmla="*/ 77419 h 79324"/>
                  <a:gd name="connsiteX18" fmla="*/ 106002 w 180297"/>
                  <a:gd name="connsiteY18" fmla="*/ 79324 h 79324"/>
                  <a:gd name="connsiteX19" fmla="*/ 114575 w 180297"/>
                  <a:gd name="connsiteY19" fmla="*/ 79324 h 79324"/>
                  <a:gd name="connsiteX20" fmla="*/ 124100 w 180297"/>
                  <a:gd name="connsiteY20" fmla="*/ 76467 h 79324"/>
                  <a:gd name="connsiteX21" fmla="*/ 133625 w 180297"/>
                  <a:gd name="connsiteY21" fmla="*/ 73609 h 79324"/>
                  <a:gd name="connsiteX22" fmla="*/ 146960 w 180297"/>
                  <a:gd name="connsiteY22" fmla="*/ 70752 h 79324"/>
                  <a:gd name="connsiteX23" fmla="*/ 150770 w 180297"/>
                  <a:gd name="connsiteY23" fmla="*/ 62179 h 79324"/>
                  <a:gd name="connsiteX24" fmla="*/ 159342 w 180297"/>
                  <a:gd name="connsiteY24" fmla="*/ 61227 h 79324"/>
                  <a:gd name="connsiteX25" fmla="*/ 166963 w 180297"/>
                  <a:gd name="connsiteY25" fmla="*/ 60274 h 79324"/>
                  <a:gd name="connsiteX26" fmla="*/ 172677 w 180297"/>
                  <a:gd name="connsiteY26" fmla="*/ 59322 h 79324"/>
                  <a:gd name="connsiteX27" fmla="*/ 178392 w 180297"/>
                  <a:gd name="connsiteY27" fmla="*/ 55512 h 79324"/>
                  <a:gd name="connsiteX28" fmla="*/ 180297 w 180297"/>
                  <a:gd name="connsiteY28" fmla="*/ 50749 h 79324"/>
                  <a:gd name="connsiteX29" fmla="*/ 180297 w 180297"/>
                  <a:gd name="connsiteY29" fmla="*/ 47892 h 79324"/>
                  <a:gd name="connsiteX30" fmla="*/ 174582 w 180297"/>
                  <a:gd name="connsiteY30" fmla="*/ 45034 h 79324"/>
                  <a:gd name="connsiteX31" fmla="*/ 153627 w 180297"/>
                  <a:gd name="connsiteY31" fmla="*/ 37414 h 79324"/>
                  <a:gd name="connsiteX32" fmla="*/ 146007 w 180297"/>
                  <a:gd name="connsiteY32" fmla="*/ 28842 h 79324"/>
                  <a:gd name="connsiteX33" fmla="*/ 138388 w 180297"/>
                  <a:gd name="connsiteY33" fmla="*/ 25032 h 79324"/>
                  <a:gd name="connsiteX34" fmla="*/ 124100 w 180297"/>
                  <a:gd name="connsiteY34" fmla="*/ 23127 h 79324"/>
                  <a:gd name="connsiteX35" fmla="*/ 110765 w 180297"/>
                  <a:gd name="connsiteY35" fmla="*/ 19317 h 79324"/>
                  <a:gd name="connsiteX36" fmla="*/ 96477 w 180297"/>
                  <a:gd name="connsiteY36" fmla="*/ 9792 h 79324"/>
                  <a:gd name="connsiteX37" fmla="*/ 91715 w 180297"/>
                  <a:gd name="connsiteY37" fmla="*/ 8839 h 79324"/>
                  <a:gd name="connsiteX38" fmla="*/ 85047 w 180297"/>
                  <a:gd name="connsiteY38" fmla="*/ 7887 h 79324"/>
                  <a:gd name="connsiteX39" fmla="*/ 72665 w 180297"/>
                  <a:gd name="connsiteY39" fmla="*/ 5982 h 79324"/>
                  <a:gd name="connsiteX40" fmla="*/ 65045 w 180297"/>
                  <a:gd name="connsiteY40" fmla="*/ 3124 h 79324"/>
                  <a:gd name="connsiteX41" fmla="*/ 58377 w 180297"/>
                  <a:gd name="connsiteY41" fmla="*/ 1219 h 79324"/>
                  <a:gd name="connsiteX42" fmla="*/ 49805 w 180297"/>
                  <a:gd name="connsiteY42" fmla="*/ 267 h 79324"/>
                  <a:gd name="connsiteX43" fmla="*/ 30755 w 180297"/>
                  <a:gd name="connsiteY43" fmla="*/ 4077 h 79324"/>
                  <a:gd name="connsiteX44" fmla="*/ 22182 w 180297"/>
                  <a:gd name="connsiteY44" fmla="*/ 10744 h 79324"/>
                  <a:gd name="connsiteX45" fmla="*/ 16467 w 180297"/>
                  <a:gd name="connsiteY45" fmla="*/ 16459 h 79324"/>
                  <a:gd name="connsiteX46" fmla="*/ 5037 w 180297"/>
                  <a:gd name="connsiteY46" fmla="*/ 21222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0297" h="79324">
                    <a:moveTo>
                      <a:pt x="5037" y="21222"/>
                    </a:moveTo>
                    <a:cubicBezTo>
                      <a:pt x="5037" y="21222"/>
                      <a:pt x="-678" y="22174"/>
                      <a:pt x="275" y="25032"/>
                    </a:cubicBezTo>
                    <a:cubicBezTo>
                      <a:pt x="1227" y="27889"/>
                      <a:pt x="-678" y="28842"/>
                      <a:pt x="275" y="30747"/>
                    </a:cubicBezTo>
                    <a:cubicBezTo>
                      <a:pt x="1227" y="32652"/>
                      <a:pt x="-678" y="28842"/>
                      <a:pt x="1227" y="32652"/>
                    </a:cubicBezTo>
                    <a:cubicBezTo>
                      <a:pt x="3132" y="36462"/>
                      <a:pt x="3132" y="31699"/>
                      <a:pt x="3132" y="36462"/>
                    </a:cubicBezTo>
                    <a:cubicBezTo>
                      <a:pt x="3132" y="41224"/>
                      <a:pt x="5990" y="43129"/>
                      <a:pt x="9800" y="44082"/>
                    </a:cubicBezTo>
                    <a:cubicBezTo>
                      <a:pt x="12657" y="45034"/>
                      <a:pt x="17420" y="45987"/>
                      <a:pt x="17420" y="45987"/>
                    </a:cubicBezTo>
                    <a:cubicBezTo>
                      <a:pt x="17420" y="45987"/>
                      <a:pt x="23135" y="45987"/>
                      <a:pt x="25992" y="45987"/>
                    </a:cubicBezTo>
                    <a:cubicBezTo>
                      <a:pt x="28850" y="45987"/>
                      <a:pt x="37422" y="45987"/>
                      <a:pt x="37422" y="45987"/>
                    </a:cubicBezTo>
                    <a:cubicBezTo>
                      <a:pt x="45042" y="47892"/>
                      <a:pt x="45042" y="46939"/>
                      <a:pt x="51710" y="47892"/>
                    </a:cubicBezTo>
                    <a:cubicBezTo>
                      <a:pt x="58377" y="48844"/>
                      <a:pt x="58377" y="48844"/>
                      <a:pt x="58377" y="48844"/>
                    </a:cubicBezTo>
                    <a:cubicBezTo>
                      <a:pt x="58377" y="48844"/>
                      <a:pt x="60282" y="51702"/>
                      <a:pt x="61235" y="54559"/>
                    </a:cubicBezTo>
                    <a:cubicBezTo>
                      <a:pt x="62187" y="57417"/>
                      <a:pt x="60282" y="58369"/>
                      <a:pt x="61235" y="62179"/>
                    </a:cubicBezTo>
                    <a:cubicBezTo>
                      <a:pt x="62187" y="65989"/>
                      <a:pt x="61235" y="69799"/>
                      <a:pt x="61235" y="69799"/>
                    </a:cubicBezTo>
                    <a:lnTo>
                      <a:pt x="64092" y="74562"/>
                    </a:lnTo>
                    <a:cubicBezTo>
                      <a:pt x="64092" y="74562"/>
                      <a:pt x="69807" y="76467"/>
                      <a:pt x="72665" y="76467"/>
                    </a:cubicBezTo>
                    <a:cubicBezTo>
                      <a:pt x="75522" y="76467"/>
                      <a:pt x="80285" y="76467"/>
                      <a:pt x="84095" y="76467"/>
                    </a:cubicBezTo>
                    <a:cubicBezTo>
                      <a:pt x="86952" y="76467"/>
                      <a:pt x="93620" y="76467"/>
                      <a:pt x="97430" y="77419"/>
                    </a:cubicBezTo>
                    <a:cubicBezTo>
                      <a:pt x="100287" y="78372"/>
                      <a:pt x="103145" y="79324"/>
                      <a:pt x="106002" y="79324"/>
                    </a:cubicBezTo>
                    <a:cubicBezTo>
                      <a:pt x="108860" y="79324"/>
                      <a:pt x="114575" y="79324"/>
                      <a:pt x="114575" y="79324"/>
                    </a:cubicBezTo>
                    <a:lnTo>
                      <a:pt x="124100" y="76467"/>
                    </a:lnTo>
                    <a:cubicBezTo>
                      <a:pt x="124100" y="76467"/>
                      <a:pt x="130767" y="73609"/>
                      <a:pt x="133625" y="73609"/>
                    </a:cubicBezTo>
                    <a:cubicBezTo>
                      <a:pt x="136482" y="73609"/>
                      <a:pt x="146960" y="70752"/>
                      <a:pt x="146960" y="70752"/>
                    </a:cubicBezTo>
                    <a:cubicBezTo>
                      <a:pt x="146960" y="70752"/>
                      <a:pt x="146007" y="62179"/>
                      <a:pt x="150770" y="62179"/>
                    </a:cubicBezTo>
                    <a:cubicBezTo>
                      <a:pt x="155532" y="62179"/>
                      <a:pt x="159342" y="61227"/>
                      <a:pt x="159342" y="61227"/>
                    </a:cubicBezTo>
                    <a:lnTo>
                      <a:pt x="166963" y="60274"/>
                    </a:lnTo>
                    <a:cubicBezTo>
                      <a:pt x="166963" y="60274"/>
                      <a:pt x="168867" y="59322"/>
                      <a:pt x="172677" y="59322"/>
                    </a:cubicBezTo>
                    <a:cubicBezTo>
                      <a:pt x="175535" y="59322"/>
                      <a:pt x="178392" y="55512"/>
                      <a:pt x="178392" y="55512"/>
                    </a:cubicBezTo>
                    <a:lnTo>
                      <a:pt x="180297" y="50749"/>
                    </a:lnTo>
                    <a:lnTo>
                      <a:pt x="180297" y="47892"/>
                    </a:lnTo>
                    <a:cubicBezTo>
                      <a:pt x="180297" y="47892"/>
                      <a:pt x="179345" y="46939"/>
                      <a:pt x="174582" y="45034"/>
                    </a:cubicBezTo>
                    <a:cubicBezTo>
                      <a:pt x="169820" y="43129"/>
                      <a:pt x="153627" y="37414"/>
                      <a:pt x="153627" y="37414"/>
                    </a:cubicBezTo>
                    <a:lnTo>
                      <a:pt x="146007" y="28842"/>
                    </a:lnTo>
                    <a:lnTo>
                      <a:pt x="138388" y="25032"/>
                    </a:lnTo>
                    <a:lnTo>
                      <a:pt x="124100" y="23127"/>
                    </a:lnTo>
                    <a:lnTo>
                      <a:pt x="110765" y="19317"/>
                    </a:lnTo>
                    <a:lnTo>
                      <a:pt x="96477" y="9792"/>
                    </a:lnTo>
                    <a:lnTo>
                      <a:pt x="91715" y="8839"/>
                    </a:lnTo>
                    <a:lnTo>
                      <a:pt x="85047" y="7887"/>
                    </a:lnTo>
                    <a:lnTo>
                      <a:pt x="72665" y="5982"/>
                    </a:lnTo>
                    <a:lnTo>
                      <a:pt x="65045" y="3124"/>
                    </a:lnTo>
                    <a:lnTo>
                      <a:pt x="58377" y="1219"/>
                    </a:lnTo>
                    <a:cubicBezTo>
                      <a:pt x="58377" y="1219"/>
                      <a:pt x="63140" y="-686"/>
                      <a:pt x="49805" y="267"/>
                    </a:cubicBezTo>
                    <a:cubicBezTo>
                      <a:pt x="36470" y="1219"/>
                      <a:pt x="34565" y="2172"/>
                      <a:pt x="30755" y="4077"/>
                    </a:cubicBezTo>
                    <a:cubicBezTo>
                      <a:pt x="26945" y="5029"/>
                      <a:pt x="22182" y="6934"/>
                      <a:pt x="22182" y="10744"/>
                    </a:cubicBezTo>
                    <a:cubicBezTo>
                      <a:pt x="22182" y="14554"/>
                      <a:pt x="16467" y="16459"/>
                      <a:pt x="16467" y="16459"/>
                    </a:cubicBezTo>
                    <a:lnTo>
                      <a:pt x="5037" y="212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D7FA902-5F5A-4FCC-A207-E6418D03491D}"/>
                  </a:ext>
                </a:extLst>
              </p:cNvPr>
              <p:cNvSpPr/>
              <p:nvPr/>
            </p:nvSpPr>
            <p:spPr>
              <a:xfrm>
                <a:off x="6688484" y="2797750"/>
                <a:ext cx="501014" cy="170920"/>
              </a:xfrm>
              <a:custGeom>
                <a:avLst/>
                <a:gdLst>
                  <a:gd name="connsiteX0" fmla="*/ 0 w 501014"/>
                  <a:gd name="connsiteY0" fmla="*/ 32808 h 170920"/>
                  <a:gd name="connsiteX1" fmla="*/ 3810 w 501014"/>
                  <a:gd name="connsiteY1" fmla="*/ 40428 h 170920"/>
                  <a:gd name="connsiteX2" fmla="*/ 16192 w 501014"/>
                  <a:gd name="connsiteY2" fmla="*/ 48048 h 170920"/>
                  <a:gd name="connsiteX3" fmla="*/ 31433 w 501014"/>
                  <a:gd name="connsiteY3" fmla="*/ 49953 h 170920"/>
                  <a:gd name="connsiteX4" fmla="*/ 36195 w 501014"/>
                  <a:gd name="connsiteY4" fmla="*/ 53763 h 170920"/>
                  <a:gd name="connsiteX5" fmla="*/ 44767 w 501014"/>
                  <a:gd name="connsiteY5" fmla="*/ 58526 h 170920"/>
                  <a:gd name="connsiteX6" fmla="*/ 52388 w 501014"/>
                  <a:gd name="connsiteY6" fmla="*/ 60431 h 170920"/>
                  <a:gd name="connsiteX7" fmla="*/ 61913 w 501014"/>
                  <a:gd name="connsiteY7" fmla="*/ 61383 h 170920"/>
                  <a:gd name="connsiteX8" fmla="*/ 83820 w 501014"/>
                  <a:gd name="connsiteY8" fmla="*/ 62336 h 170920"/>
                  <a:gd name="connsiteX9" fmla="*/ 99060 w 501014"/>
                  <a:gd name="connsiteY9" fmla="*/ 63288 h 170920"/>
                  <a:gd name="connsiteX10" fmla="*/ 112395 w 501014"/>
                  <a:gd name="connsiteY10" fmla="*/ 63288 h 170920"/>
                  <a:gd name="connsiteX11" fmla="*/ 132397 w 501014"/>
                  <a:gd name="connsiteY11" fmla="*/ 63288 h 170920"/>
                  <a:gd name="connsiteX12" fmla="*/ 141922 w 501014"/>
                  <a:gd name="connsiteY12" fmla="*/ 62336 h 170920"/>
                  <a:gd name="connsiteX13" fmla="*/ 155258 w 501014"/>
                  <a:gd name="connsiteY13" fmla="*/ 62336 h 170920"/>
                  <a:gd name="connsiteX14" fmla="*/ 163830 w 501014"/>
                  <a:gd name="connsiteY14" fmla="*/ 62336 h 170920"/>
                  <a:gd name="connsiteX15" fmla="*/ 163830 w 501014"/>
                  <a:gd name="connsiteY15" fmla="*/ 69956 h 170920"/>
                  <a:gd name="connsiteX16" fmla="*/ 153352 w 501014"/>
                  <a:gd name="connsiteY16" fmla="*/ 73766 h 170920"/>
                  <a:gd name="connsiteX17" fmla="*/ 130492 w 501014"/>
                  <a:gd name="connsiteY17" fmla="*/ 76623 h 170920"/>
                  <a:gd name="connsiteX18" fmla="*/ 116205 w 501014"/>
                  <a:gd name="connsiteY18" fmla="*/ 78528 h 170920"/>
                  <a:gd name="connsiteX19" fmla="*/ 104775 w 501014"/>
                  <a:gd name="connsiteY19" fmla="*/ 80433 h 170920"/>
                  <a:gd name="connsiteX20" fmla="*/ 91440 w 501014"/>
                  <a:gd name="connsiteY20" fmla="*/ 85196 h 170920"/>
                  <a:gd name="connsiteX21" fmla="*/ 92392 w 501014"/>
                  <a:gd name="connsiteY21" fmla="*/ 91863 h 170920"/>
                  <a:gd name="connsiteX22" fmla="*/ 100013 w 501014"/>
                  <a:gd name="connsiteY22" fmla="*/ 93768 h 170920"/>
                  <a:gd name="connsiteX23" fmla="*/ 105727 w 501014"/>
                  <a:gd name="connsiteY23" fmla="*/ 93768 h 170920"/>
                  <a:gd name="connsiteX24" fmla="*/ 105727 w 501014"/>
                  <a:gd name="connsiteY24" fmla="*/ 96626 h 170920"/>
                  <a:gd name="connsiteX25" fmla="*/ 104775 w 501014"/>
                  <a:gd name="connsiteY25" fmla="*/ 99483 h 170920"/>
                  <a:gd name="connsiteX26" fmla="*/ 99060 w 501014"/>
                  <a:gd name="connsiteY26" fmla="*/ 109961 h 170920"/>
                  <a:gd name="connsiteX27" fmla="*/ 85725 w 501014"/>
                  <a:gd name="connsiteY27" fmla="*/ 110913 h 170920"/>
                  <a:gd name="connsiteX28" fmla="*/ 85725 w 501014"/>
                  <a:gd name="connsiteY28" fmla="*/ 112818 h 170920"/>
                  <a:gd name="connsiteX29" fmla="*/ 79058 w 501014"/>
                  <a:gd name="connsiteY29" fmla="*/ 117581 h 170920"/>
                  <a:gd name="connsiteX30" fmla="*/ 51435 w 501014"/>
                  <a:gd name="connsiteY30" fmla="*/ 127106 h 170920"/>
                  <a:gd name="connsiteX31" fmla="*/ 51435 w 501014"/>
                  <a:gd name="connsiteY31" fmla="*/ 129963 h 170920"/>
                  <a:gd name="connsiteX32" fmla="*/ 59055 w 501014"/>
                  <a:gd name="connsiteY32" fmla="*/ 138536 h 170920"/>
                  <a:gd name="connsiteX33" fmla="*/ 54292 w 501014"/>
                  <a:gd name="connsiteY33" fmla="*/ 143298 h 170920"/>
                  <a:gd name="connsiteX34" fmla="*/ 29527 w 501014"/>
                  <a:gd name="connsiteY34" fmla="*/ 150918 h 170920"/>
                  <a:gd name="connsiteX35" fmla="*/ 24765 w 501014"/>
                  <a:gd name="connsiteY35" fmla="*/ 153776 h 170920"/>
                  <a:gd name="connsiteX36" fmla="*/ 24765 w 501014"/>
                  <a:gd name="connsiteY36" fmla="*/ 157586 h 170920"/>
                  <a:gd name="connsiteX37" fmla="*/ 38100 w 501014"/>
                  <a:gd name="connsiteY37" fmla="*/ 162348 h 170920"/>
                  <a:gd name="connsiteX38" fmla="*/ 47625 w 501014"/>
                  <a:gd name="connsiteY38" fmla="*/ 162348 h 170920"/>
                  <a:gd name="connsiteX39" fmla="*/ 82867 w 501014"/>
                  <a:gd name="connsiteY39" fmla="*/ 160443 h 170920"/>
                  <a:gd name="connsiteX40" fmla="*/ 92392 w 501014"/>
                  <a:gd name="connsiteY40" fmla="*/ 160443 h 170920"/>
                  <a:gd name="connsiteX41" fmla="*/ 98108 w 501014"/>
                  <a:gd name="connsiteY41" fmla="*/ 165206 h 170920"/>
                  <a:gd name="connsiteX42" fmla="*/ 112395 w 501014"/>
                  <a:gd name="connsiteY42" fmla="*/ 166158 h 170920"/>
                  <a:gd name="connsiteX43" fmla="*/ 127635 w 501014"/>
                  <a:gd name="connsiteY43" fmla="*/ 168063 h 170920"/>
                  <a:gd name="connsiteX44" fmla="*/ 140017 w 501014"/>
                  <a:gd name="connsiteY44" fmla="*/ 169016 h 170920"/>
                  <a:gd name="connsiteX45" fmla="*/ 147638 w 501014"/>
                  <a:gd name="connsiteY45" fmla="*/ 169016 h 170920"/>
                  <a:gd name="connsiteX46" fmla="*/ 159067 w 501014"/>
                  <a:gd name="connsiteY46" fmla="*/ 170921 h 170920"/>
                  <a:gd name="connsiteX47" fmla="*/ 182880 w 501014"/>
                  <a:gd name="connsiteY47" fmla="*/ 169968 h 170920"/>
                  <a:gd name="connsiteX48" fmla="*/ 194310 w 501014"/>
                  <a:gd name="connsiteY48" fmla="*/ 164253 h 170920"/>
                  <a:gd name="connsiteX49" fmla="*/ 200977 w 501014"/>
                  <a:gd name="connsiteY49" fmla="*/ 154728 h 170920"/>
                  <a:gd name="connsiteX50" fmla="*/ 206692 w 501014"/>
                  <a:gd name="connsiteY50" fmla="*/ 148061 h 170920"/>
                  <a:gd name="connsiteX51" fmla="*/ 216217 w 501014"/>
                  <a:gd name="connsiteY51" fmla="*/ 143298 h 170920"/>
                  <a:gd name="connsiteX52" fmla="*/ 224790 w 501014"/>
                  <a:gd name="connsiteY52" fmla="*/ 136631 h 170920"/>
                  <a:gd name="connsiteX53" fmla="*/ 232410 w 501014"/>
                  <a:gd name="connsiteY53" fmla="*/ 127106 h 170920"/>
                  <a:gd name="connsiteX54" fmla="*/ 241935 w 501014"/>
                  <a:gd name="connsiteY54" fmla="*/ 124248 h 170920"/>
                  <a:gd name="connsiteX55" fmla="*/ 253365 w 501014"/>
                  <a:gd name="connsiteY55" fmla="*/ 120438 h 170920"/>
                  <a:gd name="connsiteX56" fmla="*/ 260985 w 501014"/>
                  <a:gd name="connsiteY56" fmla="*/ 116628 h 170920"/>
                  <a:gd name="connsiteX57" fmla="*/ 262890 w 501014"/>
                  <a:gd name="connsiteY57" fmla="*/ 109961 h 170920"/>
                  <a:gd name="connsiteX58" fmla="*/ 268605 w 501014"/>
                  <a:gd name="connsiteY58" fmla="*/ 103293 h 170920"/>
                  <a:gd name="connsiteX59" fmla="*/ 276225 w 501014"/>
                  <a:gd name="connsiteY59" fmla="*/ 100436 h 170920"/>
                  <a:gd name="connsiteX60" fmla="*/ 290513 w 501014"/>
                  <a:gd name="connsiteY60" fmla="*/ 93768 h 170920"/>
                  <a:gd name="connsiteX61" fmla="*/ 310515 w 501014"/>
                  <a:gd name="connsiteY61" fmla="*/ 87101 h 170920"/>
                  <a:gd name="connsiteX62" fmla="*/ 325755 w 501014"/>
                  <a:gd name="connsiteY62" fmla="*/ 79481 h 170920"/>
                  <a:gd name="connsiteX63" fmla="*/ 334327 w 501014"/>
                  <a:gd name="connsiteY63" fmla="*/ 75671 h 170920"/>
                  <a:gd name="connsiteX64" fmla="*/ 351472 w 501014"/>
                  <a:gd name="connsiteY64" fmla="*/ 68051 h 170920"/>
                  <a:gd name="connsiteX65" fmla="*/ 366713 w 501014"/>
                  <a:gd name="connsiteY65" fmla="*/ 64241 h 170920"/>
                  <a:gd name="connsiteX66" fmla="*/ 384810 w 501014"/>
                  <a:gd name="connsiteY66" fmla="*/ 57573 h 170920"/>
                  <a:gd name="connsiteX67" fmla="*/ 397192 w 501014"/>
                  <a:gd name="connsiteY67" fmla="*/ 54716 h 170920"/>
                  <a:gd name="connsiteX68" fmla="*/ 417195 w 501014"/>
                  <a:gd name="connsiteY68" fmla="*/ 49953 h 170920"/>
                  <a:gd name="connsiteX69" fmla="*/ 428625 w 501014"/>
                  <a:gd name="connsiteY69" fmla="*/ 43286 h 170920"/>
                  <a:gd name="connsiteX70" fmla="*/ 435292 w 501014"/>
                  <a:gd name="connsiteY70" fmla="*/ 41381 h 170920"/>
                  <a:gd name="connsiteX71" fmla="*/ 448627 w 501014"/>
                  <a:gd name="connsiteY71" fmla="*/ 38523 h 170920"/>
                  <a:gd name="connsiteX72" fmla="*/ 473392 w 501014"/>
                  <a:gd name="connsiteY72" fmla="*/ 33761 h 170920"/>
                  <a:gd name="connsiteX73" fmla="*/ 478155 w 501014"/>
                  <a:gd name="connsiteY73" fmla="*/ 30903 h 170920"/>
                  <a:gd name="connsiteX74" fmla="*/ 498158 w 501014"/>
                  <a:gd name="connsiteY74" fmla="*/ 28046 h 170920"/>
                  <a:gd name="connsiteX75" fmla="*/ 501015 w 501014"/>
                  <a:gd name="connsiteY75" fmla="*/ 17568 h 170920"/>
                  <a:gd name="connsiteX76" fmla="*/ 499110 w 501014"/>
                  <a:gd name="connsiteY76" fmla="*/ 13758 h 170920"/>
                  <a:gd name="connsiteX77" fmla="*/ 489585 w 501014"/>
                  <a:gd name="connsiteY77" fmla="*/ 11853 h 170920"/>
                  <a:gd name="connsiteX78" fmla="*/ 472440 w 501014"/>
                  <a:gd name="connsiteY78" fmla="*/ 8043 h 170920"/>
                  <a:gd name="connsiteX79" fmla="*/ 456247 w 501014"/>
                  <a:gd name="connsiteY79" fmla="*/ 4233 h 170920"/>
                  <a:gd name="connsiteX80" fmla="*/ 436245 w 501014"/>
                  <a:gd name="connsiteY80" fmla="*/ 2328 h 170920"/>
                  <a:gd name="connsiteX81" fmla="*/ 408622 w 501014"/>
                  <a:gd name="connsiteY81" fmla="*/ 2328 h 170920"/>
                  <a:gd name="connsiteX82" fmla="*/ 388620 w 501014"/>
                  <a:gd name="connsiteY82" fmla="*/ 423 h 170920"/>
                  <a:gd name="connsiteX83" fmla="*/ 372427 w 501014"/>
                  <a:gd name="connsiteY83" fmla="*/ 423 h 170920"/>
                  <a:gd name="connsiteX84" fmla="*/ 345758 w 501014"/>
                  <a:gd name="connsiteY84" fmla="*/ 423 h 170920"/>
                  <a:gd name="connsiteX85" fmla="*/ 302895 w 501014"/>
                  <a:gd name="connsiteY85" fmla="*/ 423 h 170920"/>
                  <a:gd name="connsiteX86" fmla="*/ 273367 w 501014"/>
                  <a:gd name="connsiteY86" fmla="*/ 1376 h 170920"/>
                  <a:gd name="connsiteX87" fmla="*/ 231458 w 501014"/>
                  <a:gd name="connsiteY87" fmla="*/ 4233 h 170920"/>
                  <a:gd name="connsiteX88" fmla="*/ 209550 w 501014"/>
                  <a:gd name="connsiteY88" fmla="*/ 7091 h 170920"/>
                  <a:gd name="connsiteX89" fmla="*/ 188595 w 501014"/>
                  <a:gd name="connsiteY89" fmla="*/ 5186 h 170920"/>
                  <a:gd name="connsiteX90" fmla="*/ 154305 w 501014"/>
                  <a:gd name="connsiteY90" fmla="*/ 5186 h 170920"/>
                  <a:gd name="connsiteX91" fmla="*/ 140017 w 501014"/>
                  <a:gd name="connsiteY91" fmla="*/ 6138 h 170920"/>
                  <a:gd name="connsiteX92" fmla="*/ 121920 w 501014"/>
                  <a:gd name="connsiteY92" fmla="*/ 8996 h 170920"/>
                  <a:gd name="connsiteX93" fmla="*/ 100965 w 501014"/>
                  <a:gd name="connsiteY93" fmla="*/ 10901 h 170920"/>
                  <a:gd name="connsiteX94" fmla="*/ 88583 w 501014"/>
                  <a:gd name="connsiteY94" fmla="*/ 12806 h 170920"/>
                  <a:gd name="connsiteX95" fmla="*/ 69533 w 501014"/>
                  <a:gd name="connsiteY95" fmla="*/ 16616 h 170920"/>
                  <a:gd name="connsiteX96" fmla="*/ 57150 w 501014"/>
                  <a:gd name="connsiteY96" fmla="*/ 17568 h 170920"/>
                  <a:gd name="connsiteX97" fmla="*/ 50483 w 501014"/>
                  <a:gd name="connsiteY97" fmla="*/ 19473 h 170920"/>
                  <a:gd name="connsiteX98" fmla="*/ 40005 w 501014"/>
                  <a:gd name="connsiteY98" fmla="*/ 22331 h 170920"/>
                  <a:gd name="connsiteX99" fmla="*/ 26670 w 501014"/>
                  <a:gd name="connsiteY99" fmla="*/ 25188 h 170920"/>
                  <a:gd name="connsiteX100" fmla="*/ 17145 w 501014"/>
                  <a:gd name="connsiteY100" fmla="*/ 27093 h 170920"/>
                  <a:gd name="connsiteX101" fmla="*/ 0 w 501014"/>
                  <a:gd name="connsiteY101" fmla="*/ 32808 h 1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01014" h="170920">
                    <a:moveTo>
                      <a:pt x="0" y="32808"/>
                    </a:moveTo>
                    <a:cubicBezTo>
                      <a:pt x="0" y="32808"/>
                      <a:pt x="952" y="39476"/>
                      <a:pt x="3810" y="40428"/>
                    </a:cubicBezTo>
                    <a:cubicBezTo>
                      <a:pt x="6667" y="42333"/>
                      <a:pt x="16192" y="48048"/>
                      <a:pt x="16192" y="48048"/>
                    </a:cubicBezTo>
                    <a:lnTo>
                      <a:pt x="31433" y="49953"/>
                    </a:lnTo>
                    <a:cubicBezTo>
                      <a:pt x="31433" y="49953"/>
                      <a:pt x="33338" y="51858"/>
                      <a:pt x="36195" y="53763"/>
                    </a:cubicBezTo>
                    <a:cubicBezTo>
                      <a:pt x="38100" y="55668"/>
                      <a:pt x="44767" y="58526"/>
                      <a:pt x="44767" y="58526"/>
                    </a:cubicBezTo>
                    <a:lnTo>
                      <a:pt x="52388" y="60431"/>
                    </a:lnTo>
                    <a:cubicBezTo>
                      <a:pt x="52388" y="60431"/>
                      <a:pt x="56197" y="60431"/>
                      <a:pt x="61913" y="61383"/>
                    </a:cubicBezTo>
                    <a:cubicBezTo>
                      <a:pt x="68580" y="62336"/>
                      <a:pt x="83820" y="62336"/>
                      <a:pt x="83820" y="62336"/>
                    </a:cubicBezTo>
                    <a:lnTo>
                      <a:pt x="99060" y="63288"/>
                    </a:lnTo>
                    <a:cubicBezTo>
                      <a:pt x="99060" y="63288"/>
                      <a:pt x="106680" y="62336"/>
                      <a:pt x="112395" y="63288"/>
                    </a:cubicBezTo>
                    <a:cubicBezTo>
                      <a:pt x="118110" y="64241"/>
                      <a:pt x="132397" y="63288"/>
                      <a:pt x="132397" y="63288"/>
                    </a:cubicBezTo>
                    <a:cubicBezTo>
                      <a:pt x="132397" y="63288"/>
                      <a:pt x="137160" y="62336"/>
                      <a:pt x="141922" y="62336"/>
                    </a:cubicBezTo>
                    <a:cubicBezTo>
                      <a:pt x="147638" y="63288"/>
                      <a:pt x="155258" y="62336"/>
                      <a:pt x="155258" y="62336"/>
                    </a:cubicBezTo>
                    <a:lnTo>
                      <a:pt x="163830" y="62336"/>
                    </a:lnTo>
                    <a:cubicBezTo>
                      <a:pt x="168592" y="66146"/>
                      <a:pt x="164783" y="68051"/>
                      <a:pt x="163830" y="69956"/>
                    </a:cubicBezTo>
                    <a:cubicBezTo>
                      <a:pt x="162877" y="71861"/>
                      <a:pt x="157163" y="71861"/>
                      <a:pt x="153352" y="73766"/>
                    </a:cubicBezTo>
                    <a:cubicBezTo>
                      <a:pt x="149542" y="75671"/>
                      <a:pt x="145733" y="74718"/>
                      <a:pt x="130492" y="76623"/>
                    </a:cubicBezTo>
                    <a:cubicBezTo>
                      <a:pt x="116205" y="78528"/>
                      <a:pt x="116205" y="78528"/>
                      <a:pt x="116205" y="78528"/>
                    </a:cubicBezTo>
                    <a:cubicBezTo>
                      <a:pt x="116205" y="78528"/>
                      <a:pt x="108585" y="78528"/>
                      <a:pt x="104775" y="80433"/>
                    </a:cubicBezTo>
                    <a:cubicBezTo>
                      <a:pt x="101917" y="82338"/>
                      <a:pt x="90488" y="78528"/>
                      <a:pt x="91440" y="85196"/>
                    </a:cubicBezTo>
                    <a:cubicBezTo>
                      <a:pt x="92392" y="91863"/>
                      <a:pt x="92392" y="91863"/>
                      <a:pt x="92392" y="91863"/>
                    </a:cubicBezTo>
                    <a:lnTo>
                      <a:pt x="100013" y="93768"/>
                    </a:lnTo>
                    <a:lnTo>
                      <a:pt x="105727" y="93768"/>
                    </a:lnTo>
                    <a:cubicBezTo>
                      <a:pt x="105727" y="93768"/>
                      <a:pt x="106680" y="93768"/>
                      <a:pt x="105727" y="96626"/>
                    </a:cubicBezTo>
                    <a:cubicBezTo>
                      <a:pt x="104775" y="99483"/>
                      <a:pt x="104775" y="99483"/>
                      <a:pt x="104775" y="99483"/>
                    </a:cubicBezTo>
                    <a:lnTo>
                      <a:pt x="99060" y="109961"/>
                    </a:lnTo>
                    <a:cubicBezTo>
                      <a:pt x="99060" y="109961"/>
                      <a:pt x="85725" y="109008"/>
                      <a:pt x="85725" y="110913"/>
                    </a:cubicBezTo>
                    <a:cubicBezTo>
                      <a:pt x="85725" y="112818"/>
                      <a:pt x="85725" y="112818"/>
                      <a:pt x="85725" y="112818"/>
                    </a:cubicBezTo>
                    <a:cubicBezTo>
                      <a:pt x="85725" y="112818"/>
                      <a:pt x="79058" y="114723"/>
                      <a:pt x="79058" y="117581"/>
                    </a:cubicBezTo>
                    <a:cubicBezTo>
                      <a:pt x="79058" y="120438"/>
                      <a:pt x="51435" y="124248"/>
                      <a:pt x="51435" y="127106"/>
                    </a:cubicBezTo>
                    <a:cubicBezTo>
                      <a:pt x="51435" y="129963"/>
                      <a:pt x="51435" y="129963"/>
                      <a:pt x="51435" y="129963"/>
                    </a:cubicBezTo>
                    <a:cubicBezTo>
                      <a:pt x="51435" y="129963"/>
                      <a:pt x="55245" y="136631"/>
                      <a:pt x="59055" y="138536"/>
                    </a:cubicBezTo>
                    <a:cubicBezTo>
                      <a:pt x="61913" y="140441"/>
                      <a:pt x="54292" y="143298"/>
                      <a:pt x="54292" y="143298"/>
                    </a:cubicBezTo>
                    <a:lnTo>
                      <a:pt x="29527" y="150918"/>
                    </a:lnTo>
                    <a:lnTo>
                      <a:pt x="24765" y="153776"/>
                    </a:lnTo>
                    <a:cubicBezTo>
                      <a:pt x="24765" y="153776"/>
                      <a:pt x="21908" y="153776"/>
                      <a:pt x="24765" y="157586"/>
                    </a:cubicBezTo>
                    <a:cubicBezTo>
                      <a:pt x="27622" y="161396"/>
                      <a:pt x="38100" y="162348"/>
                      <a:pt x="38100" y="162348"/>
                    </a:cubicBezTo>
                    <a:cubicBezTo>
                      <a:pt x="38100" y="162348"/>
                      <a:pt x="43815" y="161396"/>
                      <a:pt x="47625" y="162348"/>
                    </a:cubicBezTo>
                    <a:cubicBezTo>
                      <a:pt x="52388" y="163301"/>
                      <a:pt x="82867" y="160443"/>
                      <a:pt x="82867" y="160443"/>
                    </a:cubicBezTo>
                    <a:cubicBezTo>
                      <a:pt x="82867" y="160443"/>
                      <a:pt x="93345" y="157586"/>
                      <a:pt x="92392" y="160443"/>
                    </a:cubicBezTo>
                    <a:cubicBezTo>
                      <a:pt x="92392" y="163301"/>
                      <a:pt x="94297" y="165206"/>
                      <a:pt x="98108" y="165206"/>
                    </a:cubicBezTo>
                    <a:cubicBezTo>
                      <a:pt x="100965" y="165206"/>
                      <a:pt x="106680" y="164253"/>
                      <a:pt x="112395" y="166158"/>
                    </a:cubicBezTo>
                    <a:cubicBezTo>
                      <a:pt x="118110" y="168063"/>
                      <a:pt x="127635" y="168063"/>
                      <a:pt x="127635" y="168063"/>
                    </a:cubicBezTo>
                    <a:lnTo>
                      <a:pt x="140017" y="169016"/>
                    </a:lnTo>
                    <a:cubicBezTo>
                      <a:pt x="140017" y="169016"/>
                      <a:pt x="144780" y="168063"/>
                      <a:pt x="147638" y="169016"/>
                    </a:cubicBezTo>
                    <a:cubicBezTo>
                      <a:pt x="150495" y="170921"/>
                      <a:pt x="155258" y="170921"/>
                      <a:pt x="159067" y="170921"/>
                    </a:cubicBezTo>
                    <a:cubicBezTo>
                      <a:pt x="161925" y="170921"/>
                      <a:pt x="173355" y="169968"/>
                      <a:pt x="182880" y="169968"/>
                    </a:cubicBezTo>
                    <a:cubicBezTo>
                      <a:pt x="192405" y="169016"/>
                      <a:pt x="190500" y="166158"/>
                      <a:pt x="194310" y="164253"/>
                    </a:cubicBezTo>
                    <a:cubicBezTo>
                      <a:pt x="197167" y="163301"/>
                      <a:pt x="200977" y="154728"/>
                      <a:pt x="200977" y="154728"/>
                    </a:cubicBezTo>
                    <a:cubicBezTo>
                      <a:pt x="200977" y="154728"/>
                      <a:pt x="202883" y="149966"/>
                      <a:pt x="206692" y="148061"/>
                    </a:cubicBezTo>
                    <a:cubicBezTo>
                      <a:pt x="209550" y="147108"/>
                      <a:pt x="213360" y="144251"/>
                      <a:pt x="216217" y="143298"/>
                    </a:cubicBezTo>
                    <a:cubicBezTo>
                      <a:pt x="219075" y="142346"/>
                      <a:pt x="220980" y="138536"/>
                      <a:pt x="224790" y="136631"/>
                    </a:cubicBezTo>
                    <a:cubicBezTo>
                      <a:pt x="229552" y="135678"/>
                      <a:pt x="229552" y="128058"/>
                      <a:pt x="232410" y="127106"/>
                    </a:cubicBezTo>
                    <a:cubicBezTo>
                      <a:pt x="235267" y="126153"/>
                      <a:pt x="238125" y="124248"/>
                      <a:pt x="241935" y="124248"/>
                    </a:cubicBezTo>
                    <a:cubicBezTo>
                      <a:pt x="246697" y="124248"/>
                      <a:pt x="253365" y="120438"/>
                      <a:pt x="253365" y="120438"/>
                    </a:cubicBezTo>
                    <a:lnTo>
                      <a:pt x="260985" y="116628"/>
                    </a:lnTo>
                    <a:lnTo>
                      <a:pt x="262890" y="109961"/>
                    </a:lnTo>
                    <a:cubicBezTo>
                      <a:pt x="262890" y="109961"/>
                      <a:pt x="262890" y="103293"/>
                      <a:pt x="268605" y="103293"/>
                    </a:cubicBezTo>
                    <a:cubicBezTo>
                      <a:pt x="274320" y="103293"/>
                      <a:pt x="271463" y="101388"/>
                      <a:pt x="276225" y="100436"/>
                    </a:cubicBezTo>
                    <a:cubicBezTo>
                      <a:pt x="280988" y="99483"/>
                      <a:pt x="290513" y="93768"/>
                      <a:pt x="290513" y="93768"/>
                    </a:cubicBezTo>
                    <a:lnTo>
                      <a:pt x="310515" y="87101"/>
                    </a:lnTo>
                    <a:lnTo>
                      <a:pt x="325755" y="79481"/>
                    </a:lnTo>
                    <a:lnTo>
                      <a:pt x="334327" y="75671"/>
                    </a:lnTo>
                    <a:cubicBezTo>
                      <a:pt x="334327" y="75671"/>
                      <a:pt x="346710" y="68051"/>
                      <a:pt x="351472" y="68051"/>
                    </a:cubicBezTo>
                    <a:cubicBezTo>
                      <a:pt x="356235" y="68051"/>
                      <a:pt x="362902" y="64241"/>
                      <a:pt x="366713" y="64241"/>
                    </a:cubicBezTo>
                    <a:cubicBezTo>
                      <a:pt x="371475" y="64241"/>
                      <a:pt x="384810" y="57573"/>
                      <a:pt x="384810" y="57573"/>
                    </a:cubicBezTo>
                    <a:cubicBezTo>
                      <a:pt x="384810" y="57573"/>
                      <a:pt x="392430" y="56621"/>
                      <a:pt x="397192" y="54716"/>
                    </a:cubicBezTo>
                    <a:cubicBezTo>
                      <a:pt x="401955" y="53763"/>
                      <a:pt x="417195" y="49953"/>
                      <a:pt x="417195" y="49953"/>
                    </a:cubicBezTo>
                    <a:lnTo>
                      <a:pt x="428625" y="43286"/>
                    </a:lnTo>
                    <a:cubicBezTo>
                      <a:pt x="428625" y="43286"/>
                      <a:pt x="430530" y="42333"/>
                      <a:pt x="435292" y="41381"/>
                    </a:cubicBezTo>
                    <a:cubicBezTo>
                      <a:pt x="440055" y="40428"/>
                      <a:pt x="443865" y="39476"/>
                      <a:pt x="448627" y="38523"/>
                    </a:cubicBezTo>
                    <a:cubicBezTo>
                      <a:pt x="453390" y="37571"/>
                      <a:pt x="473392" y="33761"/>
                      <a:pt x="473392" y="33761"/>
                    </a:cubicBezTo>
                    <a:cubicBezTo>
                      <a:pt x="473392" y="33761"/>
                      <a:pt x="458152" y="33761"/>
                      <a:pt x="478155" y="30903"/>
                    </a:cubicBezTo>
                    <a:cubicBezTo>
                      <a:pt x="498158" y="28046"/>
                      <a:pt x="498158" y="28046"/>
                      <a:pt x="498158" y="28046"/>
                    </a:cubicBezTo>
                    <a:lnTo>
                      <a:pt x="501015" y="17568"/>
                    </a:lnTo>
                    <a:lnTo>
                      <a:pt x="499110" y="13758"/>
                    </a:lnTo>
                    <a:lnTo>
                      <a:pt x="489585" y="11853"/>
                    </a:lnTo>
                    <a:lnTo>
                      <a:pt x="472440" y="8043"/>
                    </a:lnTo>
                    <a:lnTo>
                      <a:pt x="456247" y="4233"/>
                    </a:lnTo>
                    <a:cubicBezTo>
                      <a:pt x="456247" y="4233"/>
                      <a:pt x="441960" y="2328"/>
                      <a:pt x="436245" y="2328"/>
                    </a:cubicBezTo>
                    <a:cubicBezTo>
                      <a:pt x="430530" y="2328"/>
                      <a:pt x="408622" y="2328"/>
                      <a:pt x="408622" y="2328"/>
                    </a:cubicBezTo>
                    <a:cubicBezTo>
                      <a:pt x="408622" y="2328"/>
                      <a:pt x="393383" y="423"/>
                      <a:pt x="388620" y="423"/>
                    </a:cubicBezTo>
                    <a:cubicBezTo>
                      <a:pt x="383858" y="423"/>
                      <a:pt x="375285" y="423"/>
                      <a:pt x="372427" y="423"/>
                    </a:cubicBezTo>
                    <a:cubicBezTo>
                      <a:pt x="369570" y="423"/>
                      <a:pt x="345758" y="423"/>
                      <a:pt x="345758" y="423"/>
                    </a:cubicBezTo>
                    <a:cubicBezTo>
                      <a:pt x="345758" y="423"/>
                      <a:pt x="308610" y="-529"/>
                      <a:pt x="302895" y="423"/>
                    </a:cubicBezTo>
                    <a:cubicBezTo>
                      <a:pt x="297180" y="1376"/>
                      <a:pt x="281940" y="423"/>
                      <a:pt x="273367" y="1376"/>
                    </a:cubicBezTo>
                    <a:cubicBezTo>
                      <a:pt x="264795" y="2328"/>
                      <a:pt x="231458" y="4233"/>
                      <a:pt x="231458" y="4233"/>
                    </a:cubicBezTo>
                    <a:lnTo>
                      <a:pt x="209550" y="7091"/>
                    </a:lnTo>
                    <a:cubicBezTo>
                      <a:pt x="209550" y="7091"/>
                      <a:pt x="194310" y="5186"/>
                      <a:pt x="188595" y="5186"/>
                    </a:cubicBezTo>
                    <a:cubicBezTo>
                      <a:pt x="182880" y="8043"/>
                      <a:pt x="154305" y="5186"/>
                      <a:pt x="154305" y="5186"/>
                    </a:cubicBezTo>
                    <a:lnTo>
                      <a:pt x="140017" y="6138"/>
                    </a:lnTo>
                    <a:cubicBezTo>
                      <a:pt x="140017" y="6138"/>
                      <a:pt x="125730" y="7091"/>
                      <a:pt x="121920" y="8996"/>
                    </a:cubicBezTo>
                    <a:cubicBezTo>
                      <a:pt x="118110" y="9948"/>
                      <a:pt x="100965" y="10901"/>
                      <a:pt x="100965" y="10901"/>
                    </a:cubicBezTo>
                    <a:lnTo>
                      <a:pt x="88583" y="12806"/>
                    </a:lnTo>
                    <a:cubicBezTo>
                      <a:pt x="88583" y="12806"/>
                      <a:pt x="73342" y="16616"/>
                      <a:pt x="69533" y="16616"/>
                    </a:cubicBezTo>
                    <a:cubicBezTo>
                      <a:pt x="66675" y="17568"/>
                      <a:pt x="57150" y="17568"/>
                      <a:pt x="57150" y="17568"/>
                    </a:cubicBezTo>
                    <a:lnTo>
                      <a:pt x="50483" y="19473"/>
                    </a:lnTo>
                    <a:lnTo>
                      <a:pt x="40005" y="22331"/>
                    </a:lnTo>
                    <a:lnTo>
                      <a:pt x="26670" y="25188"/>
                    </a:lnTo>
                    <a:lnTo>
                      <a:pt x="17145" y="27093"/>
                    </a:lnTo>
                    <a:lnTo>
                      <a:pt x="0" y="328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7C1BB3DD-C289-488F-9723-E50DB41F2FB0}"/>
                  </a:ext>
                </a:extLst>
              </p:cNvPr>
              <p:cNvSpPr/>
              <p:nvPr/>
            </p:nvSpPr>
            <p:spPr>
              <a:xfrm>
                <a:off x="6865648" y="3021232"/>
                <a:ext cx="48577" cy="18876"/>
              </a:xfrm>
              <a:custGeom>
                <a:avLst/>
                <a:gdLst>
                  <a:gd name="connsiteX0" fmla="*/ 39053 w 48577"/>
                  <a:gd name="connsiteY0" fmla="*/ 16971 h 18876"/>
                  <a:gd name="connsiteX1" fmla="*/ 36195 w 48577"/>
                  <a:gd name="connsiteY1" fmla="*/ 16971 h 18876"/>
                  <a:gd name="connsiteX2" fmla="*/ 24765 w 48577"/>
                  <a:gd name="connsiteY2" fmla="*/ 16971 h 18876"/>
                  <a:gd name="connsiteX3" fmla="*/ 21908 w 48577"/>
                  <a:gd name="connsiteY3" fmla="*/ 16971 h 18876"/>
                  <a:gd name="connsiteX4" fmla="*/ 15240 w 48577"/>
                  <a:gd name="connsiteY4" fmla="*/ 15066 h 18876"/>
                  <a:gd name="connsiteX5" fmla="*/ 1905 w 48577"/>
                  <a:gd name="connsiteY5" fmla="*/ 11256 h 18876"/>
                  <a:gd name="connsiteX6" fmla="*/ 0 w 48577"/>
                  <a:gd name="connsiteY6" fmla="*/ 7446 h 18876"/>
                  <a:gd name="connsiteX7" fmla="*/ 0 w 48577"/>
                  <a:gd name="connsiteY7" fmla="*/ 2684 h 18876"/>
                  <a:gd name="connsiteX8" fmla="*/ 2858 w 48577"/>
                  <a:gd name="connsiteY8" fmla="*/ 1731 h 18876"/>
                  <a:gd name="connsiteX9" fmla="*/ 4763 w 48577"/>
                  <a:gd name="connsiteY9" fmla="*/ 1731 h 18876"/>
                  <a:gd name="connsiteX10" fmla="*/ 14288 w 48577"/>
                  <a:gd name="connsiteY10" fmla="*/ 779 h 18876"/>
                  <a:gd name="connsiteX11" fmla="*/ 16193 w 48577"/>
                  <a:gd name="connsiteY11" fmla="*/ 1731 h 18876"/>
                  <a:gd name="connsiteX12" fmla="*/ 22860 w 48577"/>
                  <a:gd name="connsiteY12" fmla="*/ 5541 h 18876"/>
                  <a:gd name="connsiteX13" fmla="*/ 39053 w 48577"/>
                  <a:gd name="connsiteY13" fmla="*/ 7446 h 18876"/>
                  <a:gd name="connsiteX14" fmla="*/ 42863 w 48577"/>
                  <a:gd name="connsiteY14" fmla="*/ 8399 h 18876"/>
                  <a:gd name="connsiteX15" fmla="*/ 44768 w 48577"/>
                  <a:gd name="connsiteY15" fmla="*/ 9351 h 18876"/>
                  <a:gd name="connsiteX16" fmla="*/ 46673 w 48577"/>
                  <a:gd name="connsiteY16" fmla="*/ 12209 h 18876"/>
                  <a:gd name="connsiteX17" fmla="*/ 48578 w 48577"/>
                  <a:gd name="connsiteY17" fmla="*/ 14114 h 18876"/>
                  <a:gd name="connsiteX18" fmla="*/ 45720 w 48577"/>
                  <a:gd name="connsiteY18" fmla="*/ 17924 h 18876"/>
                  <a:gd name="connsiteX19" fmla="*/ 40958 w 48577"/>
                  <a:gd name="connsiteY19" fmla="*/ 18876 h 18876"/>
                  <a:gd name="connsiteX20" fmla="*/ 39053 w 48577"/>
                  <a:gd name="connsiteY20" fmla="*/ 16971 h 1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577" h="18876">
                    <a:moveTo>
                      <a:pt x="39053" y="16971"/>
                    </a:moveTo>
                    <a:lnTo>
                      <a:pt x="36195" y="16971"/>
                    </a:lnTo>
                    <a:lnTo>
                      <a:pt x="24765" y="16971"/>
                    </a:lnTo>
                    <a:lnTo>
                      <a:pt x="21908" y="16971"/>
                    </a:lnTo>
                    <a:lnTo>
                      <a:pt x="15240" y="15066"/>
                    </a:lnTo>
                    <a:lnTo>
                      <a:pt x="1905" y="11256"/>
                    </a:lnTo>
                    <a:cubicBezTo>
                      <a:pt x="1905" y="11256"/>
                      <a:pt x="0" y="9351"/>
                      <a:pt x="0" y="7446"/>
                    </a:cubicBezTo>
                    <a:cubicBezTo>
                      <a:pt x="0" y="5541"/>
                      <a:pt x="0" y="2684"/>
                      <a:pt x="0" y="2684"/>
                    </a:cubicBezTo>
                    <a:cubicBezTo>
                      <a:pt x="0" y="2684"/>
                      <a:pt x="953" y="1731"/>
                      <a:pt x="2858" y="1731"/>
                    </a:cubicBezTo>
                    <a:cubicBezTo>
                      <a:pt x="4763" y="1731"/>
                      <a:pt x="953" y="1731"/>
                      <a:pt x="4763" y="1731"/>
                    </a:cubicBezTo>
                    <a:cubicBezTo>
                      <a:pt x="9525" y="1731"/>
                      <a:pt x="12383" y="779"/>
                      <a:pt x="14288" y="779"/>
                    </a:cubicBezTo>
                    <a:cubicBezTo>
                      <a:pt x="16193" y="1731"/>
                      <a:pt x="9525" y="-2079"/>
                      <a:pt x="16193" y="1731"/>
                    </a:cubicBezTo>
                    <a:cubicBezTo>
                      <a:pt x="22860" y="5541"/>
                      <a:pt x="18098" y="3636"/>
                      <a:pt x="22860" y="5541"/>
                    </a:cubicBezTo>
                    <a:cubicBezTo>
                      <a:pt x="27623" y="6494"/>
                      <a:pt x="39053" y="7446"/>
                      <a:pt x="39053" y="7446"/>
                    </a:cubicBezTo>
                    <a:cubicBezTo>
                      <a:pt x="39053" y="7446"/>
                      <a:pt x="40958" y="7446"/>
                      <a:pt x="42863" y="8399"/>
                    </a:cubicBezTo>
                    <a:cubicBezTo>
                      <a:pt x="44768" y="9351"/>
                      <a:pt x="43815" y="6494"/>
                      <a:pt x="44768" y="9351"/>
                    </a:cubicBezTo>
                    <a:cubicBezTo>
                      <a:pt x="46673" y="12209"/>
                      <a:pt x="43815" y="10304"/>
                      <a:pt x="46673" y="12209"/>
                    </a:cubicBezTo>
                    <a:cubicBezTo>
                      <a:pt x="48578" y="14114"/>
                      <a:pt x="48578" y="12209"/>
                      <a:pt x="48578" y="14114"/>
                    </a:cubicBezTo>
                    <a:cubicBezTo>
                      <a:pt x="48578" y="16019"/>
                      <a:pt x="45720" y="17924"/>
                      <a:pt x="45720" y="17924"/>
                    </a:cubicBezTo>
                    <a:lnTo>
                      <a:pt x="40958" y="18876"/>
                    </a:lnTo>
                    <a:lnTo>
                      <a:pt x="39053" y="16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0B608C4E-6853-4157-90CD-67E23DD3B874}"/>
                  </a:ext>
                </a:extLst>
              </p:cNvPr>
              <p:cNvSpPr/>
              <p:nvPr/>
            </p:nvSpPr>
            <p:spPr>
              <a:xfrm>
                <a:off x="7005044" y="2790554"/>
                <a:ext cx="1036941" cy="497205"/>
              </a:xfrm>
              <a:custGeom>
                <a:avLst/>
                <a:gdLst>
                  <a:gd name="connsiteX0" fmla="*/ 75870 w 1036941"/>
                  <a:gd name="connsiteY0" fmla="*/ 120968 h 497205"/>
                  <a:gd name="connsiteX1" fmla="*/ 59677 w 1036941"/>
                  <a:gd name="connsiteY1" fmla="*/ 120968 h 497205"/>
                  <a:gd name="connsiteX2" fmla="*/ 50152 w 1036941"/>
                  <a:gd name="connsiteY2" fmla="*/ 121920 h 497205"/>
                  <a:gd name="connsiteX3" fmla="*/ 33007 w 1036941"/>
                  <a:gd name="connsiteY3" fmla="*/ 121920 h 497205"/>
                  <a:gd name="connsiteX4" fmla="*/ 21577 w 1036941"/>
                  <a:gd name="connsiteY4" fmla="*/ 121920 h 497205"/>
                  <a:gd name="connsiteX5" fmla="*/ 13004 w 1036941"/>
                  <a:gd name="connsiteY5" fmla="*/ 121920 h 497205"/>
                  <a:gd name="connsiteX6" fmla="*/ 9195 w 1036941"/>
                  <a:gd name="connsiteY6" fmla="*/ 121920 h 497205"/>
                  <a:gd name="connsiteX7" fmla="*/ 3479 w 1036941"/>
                  <a:gd name="connsiteY7" fmla="*/ 121920 h 497205"/>
                  <a:gd name="connsiteX8" fmla="*/ 622 w 1036941"/>
                  <a:gd name="connsiteY8" fmla="*/ 128588 h 497205"/>
                  <a:gd name="connsiteX9" fmla="*/ 1575 w 1036941"/>
                  <a:gd name="connsiteY9" fmla="*/ 131445 h 497205"/>
                  <a:gd name="connsiteX10" fmla="*/ 3479 w 1036941"/>
                  <a:gd name="connsiteY10" fmla="*/ 132398 h 497205"/>
                  <a:gd name="connsiteX11" fmla="*/ 8242 w 1036941"/>
                  <a:gd name="connsiteY11" fmla="*/ 136208 h 497205"/>
                  <a:gd name="connsiteX12" fmla="*/ 11100 w 1036941"/>
                  <a:gd name="connsiteY12" fmla="*/ 137160 h 497205"/>
                  <a:gd name="connsiteX13" fmla="*/ 17767 w 1036941"/>
                  <a:gd name="connsiteY13" fmla="*/ 139065 h 497205"/>
                  <a:gd name="connsiteX14" fmla="*/ 29197 w 1036941"/>
                  <a:gd name="connsiteY14" fmla="*/ 141923 h 497205"/>
                  <a:gd name="connsiteX15" fmla="*/ 31102 w 1036941"/>
                  <a:gd name="connsiteY15" fmla="*/ 142875 h 497205"/>
                  <a:gd name="connsiteX16" fmla="*/ 41579 w 1036941"/>
                  <a:gd name="connsiteY16" fmla="*/ 148590 h 497205"/>
                  <a:gd name="connsiteX17" fmla="*/ 45390 w 1036941"/>
                  <a:gd name="connsiteY17" fmla="*/ 150495 h 497205"/>
                  <a:gd name="connsiteX18" fmla="*/ 54915 w 1036941"/>
                  <a:gd name="connsiteY18" fmla="*/ 152400 h 497205"/>
                  <a:gd name="connsiteX19" fmla="*/ 59677 w 1036941"/>
                  <a:gd name="connsiteY19" fmla="*/ 154305 h 497205"/>
                  <a:gd name="connsiteX20" fmla="*/ 63487 w 1036941"/>
                  <a:gd name="connsiteY20" fmla="*/ 157163 h 497205"/>
                  <a:gd name="connsiteX21" fmla="*/ 62535 w 1036941"/>
                  <a:gd name="connsiteY21" fmla="*/ 163830 h 497205"/>
                  <a:gd name="connsiteX22" fmla="*/ 56820 w 1036941"/>
                  <a:gd name="connsiteY22" fmla="*/ 169545 h 497205"/>
                  <a:gd name="connsiteX23" fmla="*/ 52057 w 1036941"/>
                  <a:gd name="connsiteY23" fmla="*/ 176213 h 497205"/>
                  <a:gd name="connsiteX24" fmla="*/ 53010 w 1036941"/>
                  <a:gd name="connsiteY24" fmla="*/ 179070 h 497205"/>
                  <a:gd name="connsiteX25" fmla="*/ 55867 w 1036941"/>
                  <a:gd name="connsiteY25" fmla="*/ 185738 h 497205"/>
                  <a:gd name="connsiteX26" fmla="*/ 60629 w 1036941"/>
                  <a:gd name="connsiteY26" fmla="*/ 188595 h 497205"/>
                  <a:gd name="connsiteX27" fmla="*/ 66345 w 1036941"/>
                  <a:gd name="connsiteY27" fmla="*/ 189548 h 497205"/>
                  <a:gd name="connsiteX28" fmla="*/ 82537 w 1036941"/>
                  <a:gd name="connsiteY28" fmla="*/ 191453 h 497205"/>
                  <a:gd name="connsiteX29" fmla="*/ 88252 w 1036941"/>
                  <a:gd name="connsiteY29" fmla="*/ 192405 h 497205"/>
                  <a:gd name="connsiteX30" fmla="*/ 95872 w 1036941"/>
                  <a:gd name="connsiteY30" fmla="*/ 191453 h 497205"/>
                  <a:gd name="connsiteX31" fmla="*/ 105397 w 1036941"/>
                  <a:gd name="connsiteY31" fmla="*/ 184785 h 497205"/>
                  <a:gd name="connsiteX32" fmla="*/ 110160 w 1036941"/>
                  <a:gd name="connsiteY32" fmla="*/ 182880 h 497205"/>
                  <a:gd name="connsiteX33" fmla="*/ 123495 w 1036941"/>
                  <a:gd name="connsiteY33" fmla="*/ 182880 h 497205"/>
                  <a:gd name="connsiteX34" fmla="*/ 129210 w 1036941"/>
                  <a:gd name="connsiteY34" fmla="*/ 183833 h 497205"/>
                  <a:gd name="connsiteX35" fmla="*/ 146354 w 1036941"/>
                  <a:gd name="connsiteY35" fmla="*/ 184785 h 497205"/>
                  <a:gd name="connsiteX36" fmla="*/ 167310 w 1036941"/>
                  <a:gd name="connsiteY36" fmla="*/ 185738 h 497205"/>
                  <a:gd name="connsiteX37" fmla="*/ 180645 w 1036941"/>
                  <a:gd name="connsiteY37" fmla="*/ 183833 h 497205"/>
                  <a:gd name="connsiteX38" fmla="*/ 184454 w 1036941"/>
                  <a:gd name="connsiteY38" fmla="*/ 185738 h 497205"/>
                  <a:gd name="connsiteX39" fmla="*/ 199695 w 1036941"/>
                  <a:gd name="connsiteY39" fmla="*/ 194310 h 497205"/>
                  <a:gd name="connsiteX40" fmla="*/ 211125 w 1036941"/>
                  <a:gd name="connsiteY40" fmla="*/ 198120 h 497205"/>
                  <a:gd name="connsiteX41" fmla="*/ 224460 w 1036941"/>
                  <a:gd name="connsiteY41" fmla="*/ 201930 h 497205"/>
                  <a:gd name="connsiteX42" fmla="*/ 246367 w 1036941"/>
                  <a:gd name="connsiteY42" fmla="*/ 209550 h 497205"/>
                  <a:gd name="connsiteX43" fmla="*/ 252082 w 1036941"/>
                  <a:gd name="connsiteY43" fmla="*/ 216218 h 497205"/>
                  <a:gd name="connsiteX44" fmla="*/ 253987 w 1036941"/>
                  <a:gd name="connsiteY44" fmla="*/ 219075 h 497205"/>
                  <a:gd name="connsiteX45" fmla="*/ 266370 w 1036941"/>
                  <a:gd name="connsiteY45" fmla="*/ 231458 h 497205"/>
                  <a:gd name="connsiteX46" fmla="*/ 272085 w 1036941"/>
                  <a:gd name="connsiteY46" fmla="*/ 235268 h 497205"/>
                  <a:gd name="connsiteX47" fmla="*/ 277800 w 1036941"/>
                  <a:gd name="connsiteY47" fmla="*/ 239078 h 497205"/>
                  <a:gd name="connsiteX48" fmla="*/ 282562 w 1036941"/>
                  <a:gd name="connsiteY48" fmla="*/ 242888 h 497205"/>
                  <a:gd name="connsiteX49" fmla="*/ 286372 w 1036941"/>
                  <a:gd name="connsiteY49" fmla="*/ 253365 h 497205"/>
                  <a:gd name="connsiteX50" fmla="*/ 287325 w 1036941"/>
                  <a:gd name="connsiteY50" fmla="*/ 258128 h 497205"/>
                  <a:gd name="connsiteX51" fmla="*/ 287325 w 1036941"/>
                  <a:gd name="connsiteY51" fmla="*/ 268605 h 497205"/>
                  <a:gd name="connsiteX52" fmla="*/ 287325 w 1036941"/>
                  <a:gd name="connsiteY52" fmla="*/ 271463 h 497205"/>
                  <a:gd name="connsiteX53" fmla="*/ 287325 w 1036941"/>
                  <a:gd name="connsiteY53" fmla="*/ 276225 h 497205"/>
                  <a:gd name="connsiteX54" fmla="*/ 288277 w 1036941"/>
                  <a:gd name="connsiteY54" fmla="*/ 283845 h 497205"/>
                  <a:gd name="connsiteX55" fmla="*/ 292087 w 1036941"/>
                  <a:gd name="connsiteY55" fmla="*/ 288608 h 497205"/>
                  <a:gd name="connsiteX56" fmla="*/ 297802 w 1036941"/>
                  <a:gd name="connsiteY56" fmla="*/ 292418 h 497205"/>
                  <a:gd name="connsiteX57" fmla="*/ 307327 w 1036941"/>
                  <a:gd name="connsiteY57" fmla="*/ 293370 h 497205"/>
                  <a:gd name="connsiteX58" fmla="*/ 310185 w 1036941"/>
                  <a:gd name="connsiteY58" fmla="*/ 292418 h 497205"/>
                  <a:gd name="connsiteX59" fmla="*/ 312090 w 1036941"/>
                  <a:gd name="connsiteY59" fmla="*/ 290513 h 497205"/>
                  <a:gd name="connsiteX60" fmla="*/ 311137 w 1036941"/>
                  <a:gd name="connsiteY60" fmla="*/ 285750 h 497205"/>
                  <a:gd name="connsiteX61" fmla="*/ 310185 w 1036941"/>
                  <a:gd name="connsiteY61" fmla="*/ 283845 h 497205"/>
                  <a:gd name="connsiteX62" fmla="*/ 311137 w 1036941"/>
                  <a:gd name="connsiteY62" fmla="*/ 280035 h 497205"/>
                  <a:gd name="connsiteX63" fmla="*/ 322567 w 1036941"/>
                  <a:gd name="connsiteY63" fmla="*/ 280035 h 497205"/>
                  <a:gd name="connsiteX64" fmla="*/ 332092 w 1036941"/>
                  <a:gd name="connsiteY64" fmla="*/ 279083 h 497205"/>
                  <a:gd name="connsiteX65" fmla="*/ 336855 w 1036941"/>
                  <a:gd name="connsiteY65" fmla="*/ 279083 h 497205"/>
                  <a:gd name="connsiteX66" fmla="*/ 337807 w 1036941"/>
                  <a:gd name="connsiteY66" fmla="*/ 283845 h 497205"/>
                  <a:gd name="connsiteX67" fmla="*/ 340665 w 1036941"/>
                  <a:gd name="connsiteY67" fmla="*/ 289560 h 497205"/>
                  <a:gd name="connsiteX68" fmla="*/ 350190 w 1036941"/>
                  <a:gd name="connsiteY68" fmla="*/ 292418 h 497205"/>
                  <a:gd name="connsiteX69" fmla="*/ 356857 w 1036941"/>
                  <a:gd name="connsiteY69" fmla="*/ 294323 h 497205"/>
                  <a:gd name="connsiteX70" fmla="*/ 360667 w 1036941"/>
                  <a:gd name="connsiteY70" fmla="*/ 296228 h 497205"/>
                  <a:gd name="connsiteX71" fmla="*/ 361620 w 1036941"/>
                  <a:gd name="connsiteY71" fmla="*/ 298133 h 497205"/>
                  <a:gd name="connsiteX72" fmla="*/ 359715 w 1036941"/>
                  <a:gd name="connsiteY72" fmla="*/ 302895 h 497205"/>
                  <a:gd name="connsiteX73" fmla="*/ 360667 w 1036941"/>
                  <a:gd name="connsiteY73" fmla="*/ 312420 h 497205"/>
                  <a:gd name="connsiteX74" fmla="*/ 361620 w 1036941"/>
                  <a:gd name="connsiteY74" fmla="*/ 317183 h 497205"/>
                  <a:gd name="connsiteX75" fmla="*/ 361620 w 1036941"/>
                  <a:gd name="connsiteY75" fmla="*/ 323850 h 497205"/>
                  <a:gd name="connsiteX76" fmla="*/ 360667 w 1036941"/>
                  <a:gd name="connsiteY76" fmla="*/ 327660 h 497205"/>
                  <a:gd name="connsiteX77" fmla="*/ 358762 w 1036941"/>
                  <a:gd name="connsiteY77" fmla="*/ 334328 h 497205"/>
                  <a:gd name="connsiteX78" fmla="*/ 354952 w 1036941"/>
                  <a:gd name="connsiteY78" fmla="*/ 342900 h 497205"/>
                  <a:gd name="connsiteX79" fmla="*/ 351142 w 1036941"/>
                  <a:gd name="connsiteY79" fmla="*/ 347663 h 497205"/>
                  <a:gd name="connsiteX80" fmla="*/ 339712 w 1036941"/>
                  <a:gd name="connsiteY80" fmla="*/ 354330 h 497205"/>
                  <a:gd name="connsiteX81" fmla="*/ 333045 w 1036941"/>
                  <a:gd name="connsiteY81" fmla="*/ 358140 h 497205"/>
                  <a:gd name="connsiteX82" fmla="*/ 326377 w 1036941"/>
                  <a:gd name="connsiteY82" fmla="*/ 360998 h 497205"/>
                  <a:gd name="connsiteX83" fmla="*/ 321615 w 1036941"/>
                  <a:gd name="connsiteY83" fmla="*/ 363855 h 497205"/>
                  <a:gd name="connsiteX84" fmla="*/ 320662 w 1036941"/>
                  <a:gd name="connsiteY84" fmla="*/ 373380 h 497205"/>
                  <a:gd name="connsiteX85" fmla="*/ 318757 w 1036941"/>
                  <a:gd name="connsiteY85" fmla="*/ 375285 h 497205"/>
                  <a:gd name="connsiteX86" fmla="*/ 316852 w 1036941"/>
                  <a:gd name="connsiteY86" fmla="*/ 381000 h 497205"/>
                  <a:gd name="connsiteX87" fmla="*/ 316852 w 1036941"/>
                  <a:gd name="connsiteY87" fmla="*/ 392430 h 497205"/>
                  <a:gd name="connsiteX88" fmla="*/ 324472 w 1036941"/>
                  <a:gd name="connsiteY88" fmla="*/ 401003 h 497205"/>
                  <a:gd name="connsiteX89" fmla="*/ 325425 w 1036941"/>
                  <a:gd name="connsiteY89" fmla="*/ 403860 h 497205"/>
                  <a:gd name="connsiteX90" fmla="*/ 329235 w 1036941"/>
                  <a:gd name="connsiteY90" fmla="*/ 407670 h 497205"/>
                  <a:gd name="connsiteX91" fmla="*/ 342570 w 1036941"/>
                  <a:gd name="connsiteY91" fmla="*/ 420053 h 497205"/>
                  <a:gd name="connsiteX92" fmla="*/ 354000 w 1036941"/>
                  <a:gd name="connsiteY92" fmla="*/ 427673 h 497205"/>
                  <a:gd name="connsiteX93" fmla="*/ 358762 w 1036941"/>
                  <a:gd name="connsiteY93" fmla="*/ 437198 h 497205"/>
                  <a:gd name="connsiteX94" fmla="*/ 364477 w 1036941"/>
                  <a:gd name="connsiteY94" fmla="*/ 445770 h 497205"/>
                  <a:gd name="connsiteX95" fmla="*/ 372097 w 1036941"/>
                  <a:gd name="connsiteY95" fmla="*/ 451485 h 497205"/>
                  <a:gd name="connsiteX96" fmla="*/ 381622 w 1036941"/>
                  <a:gd name="connsiteY96" fmla="*/ 457200 h 497205"/>
                  <a:gd name="connsiteX97" fmla="*/ 393052 w 1036941"/>
                  <a:gd name="connsiteY97" fmla="*/ 463868 h 497205"/>
                  <a:gd name="connsiteX98" fmla="*/ 398767 w 1036941"/>
                  <a:gd name="connsiteY98" fmla="*/ 472440 h 497205"/>
                  <a:gd name="connsiteX99" fmla="*/ 406387 w 1036941"/>
                  <a:gd name="connsiteY99" fmla="*/ 478155 h 497205"/>
                  <a:gd name="connsiteX100" fmla="*/ 416865 w 1036941"/>
                  <a:gd name="connsiteY100" fmla="*/ 483870 h 497205"/>
                  <a:gd name="connsiteX101" fmla="*/ 420675 w 1036941"/>
                  <a:gd name="connsiteY101" fmla="*/ 485775 h 497205"/>
                  <a:gd name="connsiteX102" fmla="*/ 434010 w 1036941"/>
                  <a:gd name="connsiteY102" fmla="*/ 491490 h 497205"/>
                  <a:gd name="connsiteX103" fmla="*/ 442582 w 1036941"/>
                  <a:gd name="connsiteY103" fmla="*/ 494348 h 497205"/>
                  <a:gd name="connsiteX104" fmla="*/ 448297 w 1036941"/>
                  <a:gd name="connsiteY104" fmla="*/ 496253 h 497205"/>
                  <a:gd name="connsiteX105" fmla="*/ 465442 w 1036941"/>
                  <a:gd name="connsiteY105" fmla="*/ 497205 h 497205"/>
                  <a:gd name="connsiteX106" fmla="*/ 481635 w 1036941"/>
                  <a:gd name="connsiteY106" fmla="*/ 493395 h 497205"/>
                  <a:gd name="connsiteX107" fmla="*/ 489255 w 1036941"/>
                  <a:gd name="connsiteY107" fmla="*/ 492443 h 497205"/>
                  <a:gd name="connsiteX108" fmla="*/ 496875 w 1036941"/>
                  <a:gd name="connsiteY108" fmla="*/ 492443 h 497205"/>
                  <a:gd name="connsiteX109" fmla="*/ 507352 w 1036941"/>
                  <a:gd name="connsiteY109" fmla="*/ 483870 h 497205"/>
                  <a:gd name="connsiteX110" fmla="*/ 512115 w 1036941"/>
                  <a:gd name="connsiteY110" fmla="*/ 474345 h 497205"/>
                  <a:gd name="connsiteX111" fmla="*/ 514020 w 1036941"/>
                  <a:gd name="connsiteY111" fmla="*/ 465773 h 497205"/>
                  <a:gd name="connsiteX112" fmla="*/ 518782 w 1036941"/>
                  <a:gd name="connsiteY112" fmla="*/ 460058 h 497205"/>
                  <a:gd name="connsiteX113" fmla="*/ 522592 w 1036941"/>
                  <a:gd name="connsiteY113" fmla="*/ 451485 h 497205"/>
                  <a:gd name="connsiteX114" fmla="*/ 531165 w 1036941"/>
                  <a:gd name="connsiteY114" fmla="*/ 444818 h 497205"/>
                  <a:gd name="connsiteX115" fmla="*/ 534975 w 1036941"/>
                  <a:gd name="connsiteY115" fmla="*/ 438150 h 497205"/>
                  <a:gd name="connsiteX116" fmla="*/ 540690 w 1036941"/>
                  <a:gd name="connsiteY116" fmla="*/ 430530 h 497205"/>
                  <a:gd name="connsiteX117" fmla="*/ 545452 w 1036941"/>
                  <a:gd name="connsiteY117" fmla="*/ 425768 h 497205"/>
                  <a:gd name="connsiteX118" fmla="*/ 551167 w 1036941"/>
                  <a:gd name="connsiteY118" fmla="*/ 420053 h 497205"/>
                  <a:gd name="connsiteX119" fmla="*/ 554977 w 1036941"/>
                  <a:gd name="connsiteY119" fmla="*/ 412433 h 497205"/>
                  <a:gd name="connsiteX120" fmla="*/ 557835 w 1036941"/>
                  <a:gd name="connsiteY120" fmla="*/ 408623 h 497205"/>
                  <a:gd name="connsiteX121" fmla="*/ 569265 w 1036941"/>
                  <a:gd name="connsiteY121" fmla="*/ 403860 h 497205"/>
                  <a:gd name="connsiteX122" fmla="*/ 583552 w 1036941"/>
                  <a:gd name="connsiteY122" fmla="*/ 401003 h 497205"/>
                  <a:gd name="connsiteX123" fmla="*/ 593077 w 1036941"/>
                  <a:gd name="connsiteY123" fmla="*/ 398145 h 497205"/>
                  <a:gd name="connsiteX124" fmla="*/ 603555 w 1036941"/>
                  <a:gd name="connsiteY124" fmla="*/ 398145 h 497205"/>
                  <a:gd name="connsiteX125" fmla="*/ 618795 w 1036941"/>
                  <a:gd name="connsiteY125" fmla="*/ 397193 h 497205"/>
                  <a:gd name="connsiteX126" fmla="*/ 624510 w 1036941"/>
                  <a:gd name="connsiteY126" fmla="*/ 397193 h 497205"/>
                  <a:gd name="connsiteX127" fmla="*/ 644512 w 1036941"/>
                  <a:gd name="connsiteY127" fmla="*/ 394335 h 497205"/>
                  <a:gd name="connsiteX128" fmla="*/ 653085 w 1036941"/>
                  <a:gd name="connsiteY128" fmla="*/ 391478 h 497205"/>
                  <a:gd name="connsiteX129" fmla="*/ 657847 w 1036941"/>
                  <a:gd name="connsiteY129" fmla="*/ 387668 h 497205"/>
                  <a:gd name="connsiteX130" fmla="*/ 663562 w 1036941"/>
                  <a:gd name="connsiteY130" fmla="*/ 382905 h 497205"/>
                  <a:gd name="connsiteX131" fmla="*/ 669277 w 1036941"/>
                  <a:gd name="connsiteY131" fmla="*/ 376238 h 497205"/>
                  <a:gd name="connsiteX132" fmla="*/ 673087 w 1036941"/>
                  <a:gd name="connsiteY132" fmla="*/ 372428 h 497205"/>
                  <a:gd name="connsiteX133" fmla="*/ 677850 w 1036941"/>
                  <a:gd name="connsiteY133" fmla="*/ 367665 h 497205"/>
                  <a:gd name="connsiteX134" fmla="*/ 683565 w 1036941"/>
                  <a:gd name="connsiteY134" fmla="*/ 362903 h 497205"/>
                  <a:gd name="connsiteX135" fmla="*/ 695947 w 1036941"/>
                  <a:gd name="connsiteY135" fmla="*/ 360998 h 497205"/>
                  <a:gd name="connsiteX136" fmla="*/ 702615 w 1036941"/>
                  <a:gd name="connsiteY136" fmla="*/ 360045 h 497205"/>
                  <a:gd name="connsiteX137" fmla="*/ 706425 w 1036941"/>
                  <a:gd name="connsiteY137" fmla="*/ 360045 h 497205"/>
                  <a:gd name="connsiteX138" fmla="*/ 714045 w 1036941"/>
                  <a:gd name="connsiteY138" fmla="*/ 360045 h 497205"/>
                  <a:gd name="connsiteX139" fmla="*/ 725475 w 1036941"/>
                  <a:gd name="connsiteY139" fmla="*/ 360045 h 497205"/>
                  <a:gd name="connsiteX140" fmla="*/ 739762 w 1036941"/>
                  <a:gd name="connsiteY140" fmla="*/ 356235 h 497205"/>
                  <a:gd name="connsiteX141" fmla="*/ 751192 w 1036941"/>
                  <a:gd name="connsiteY141" fmla="*/ 350520 h 497205"/>
                  <a:gd name="connsiteX142" fmla="*/ 760717 w 1036941"/>
                  <a:gd name="connsiteY142" fmla="*/ 348615 h 497205"/>
                  <a:gd name="connsiteX143" fmla="*/ 771195 w 1036941"/>
                  <a:gd name="connsiteY143" fmla="*/ 348615 h 497205"/>
                  <a:gd name="connsiteX144" fmla="*/ 779767 w 1036941"/>
                  <a:gd name="connsiteY144" fmla="*/ 348615 h 497205"/>
                  <a:gd name="connsiteX145" fmla="*/ 793102 w 1036941"/>
                  <a:gd name="connsiteY145" fmla="*/ 346710 h 497205"/>
                  <a:gd name="connsiteX146" fmla="*/ 813105 w 1036941"/>
                  <a:gd name="connsiteY146" fmla="*/ 345758 h 497205"/>
                  <a:gd name="connsiteX147" fmla="*/ 820725 w 1036941"/>
                  <a:gd name="connsiteY147" fmla="*/ 345758 h 497205"/>
                  <a:gd name="connsiteX148" fmla="*/ 829297 w 1036941"/>
                  <a:gd name="connsiteY148" fmla="*/ 345758 h 497205"/>
                  <a:gd name="connsiteX149" fmla="*/ 844537 w 1036941"/>
                  <a:gd name="connsiteY149" fmla="*/ 340995 h 497205"/>
                  <a:gd name="connsiteX150" fmla="*/ 846442 w 1036941"/>
                  <a:gd name="connsiteY150" fmla="*/ 335280 h 497205"/>
                  <a:gd name="connsiteX151" fmla="*/ 847395 w 1036941"/>
                  <a:gd name="connsiteY151" fmla="*/ 329565 h 497205"/>
                  <a:gd name="connsiteX152" fmla="*/ 847395 w 1036941"/>
                  <a:gd name="connsiteY152" fmla="*/ 327660 h 497205"/>
                  <a:gd name="connsiteX153" fmla="*/ 833107 w 1036941"/>
                  <a:gd name="connsiteY153" fmla="*/ 324803 h 497205"/>
                  <a:gd name="connsiteX154" fmla="*/ 817867 w 1036941"/>
                  <a:gd name="connsiteY154" fmla="*/ 322898 h 497205"/>
                  <a:gd name="connsiteX155" fmla="*/ 810247 w 1036941"/>
                  <a:gd name="connsiteY155" fmla="*/ 320993 h 497205"/>
                  <a:gd name="connsiteX156" fmla="*/ 806437 w 1036941"/>
                  <a:gd name="connsiteY156" fmla="*/ 316230 h 497205"/>
                  <a:gd name="connsiteX157" fmla="*/ 806437 w 1036941"/>
                  <a:gd name="connsiteY157" fmla="*/ 312420 h 497205"/>
                  <a:gd name="connsiteX158" fmla="*/ 816914 w 1036941"/>
                  <a:gd name="connsiteY158" fmla="*/ 312420 h 497205"/>
                  <a:gd name="connsiteX159" fmla="*/ 835964 w 1036941"/>
                  <a:gd name="connsiteY159" fmla="*/ 316230 h 497205"/>
                  <a:gd name="connsiteX160" fmla="*/ 853110 w 1036941"/>
                  <a:gd name="connsiteY160" fmla="*/ 318135 h 497205"/>
                  <a:gd name="connsiteX161" fmla="*/ 865492 w 1036941"/>
                  <a:gd name="connsiteY161" fmla="*/ 318135 h 497205"/>
                  <a:gd name="connsiteX162" fmla="*/ 870255 w 1036941"/>
                  <a:gd name="connsiteY162" fmla="*/ 317183 h 497205"/>
                  <a:gd name="connsiteX163" fmla="*/ 881685 w 1036941"/>
                  <a:gd name="connsiteY163" fmla="*/ 317183 h 497205"/>
                  <a:gd name="connsiteX164" fmla="*/ 886447 w 1036941"/>
                  <a:gd name="connsiteY164" fmla="*/ 316230 h 497205"/>
                  <a:gd name="connsiteX165" fmla="*/ 893114 w 1036941"/>
                  <a:gd name="connsiteY165" fmla="*/ 311468 h 497205"/>
                  <a:gd name="connsiteX166" fmla="*/ 894067 w 1036941"/>
                  <a:gd name="connsiteY166" fmla="*/ 305753 h 497205"/>
                  <a:gd name="connsiteX167" fmla="*/ 890257 w 1036941"/>
                  <a:gd name="connsiteY167" fmla="*/ 302895 h 497205"/>
                  <a:gd name="connsiteX168" fmla="*/ 880732 w 1036941"/>
                  <a:gd name="connsiteY168" fmla="*/ 303848 h 497205"/>
                  <a:gd name="connsiteX169" fmla="*/ 875970 w 1036941"/>
                  <a:gd name="connsiteY169" fmla="*/ 301943 h 497205"/>
                  <a:gd name="connsiteX170" fmla="*/ 873112 w 1036941"/>
                  <a:gd name="connsiteY170" fmla="*/ 294323 h 497205"/>
                  <a:gd name="connsiteX171" fmla="*/ 868350 w 1036941"/>
                  <a:gd name="connsiteY171" fmla="*/ 290513 h 497205"/>
                  <a:gd name="connsiteX172" fmla="*/ 859777 w 1036941"/>
                  <a:gd name="connsiteY172" fmla="*/ 286703 h 497205"/>
                  <a:gd name="connsiteX173" fmla="*/ 859777 w 1036941"/>
                  <a:gd name="connsiteY173" fmla="*/ 281940 h 497205"/>
                  <a:gd name="connsiteX174" fmla="*/ 859777 w 1036941"/>
                  <a:gd name="connsiteY174" fmla="*/ 274320 h 497205"/>
                  <a:gd name="connsiteX175" fmla="*/ 860730 w 1036941"/>
                  <a:gd name="connsiteY175" fmla="*/ 264795 h 497205"/>
                  <a:gd name="connsiteX176" fmla="*/ 863587 w 1036941"/>
                  <a:gd name="connsiteY176" fmla="*/ 254318 h 497205"/>
                  <a:gd name="connsiteX177" fmla="*/ 866445 w 1036941"/>
                  <a:gd name="connsiteY177" fmla="*/ 250508 h 497205"/>
                  <a:gd name="connsiteX178" fmla="*/ 872160 w 1036941"/>
                  <a:gd name="connsiteY178" fmla="*/ 247650 h 497205"/>
                  <a:gd name="connsiteX179" fmla="*/ 880732 w 1036941"/>
                  <a:gd name="connsiteY179" fmla="*/ 241935 h 497205"/>
                  <a:gd name="connsiteX180" fmla="*/ 884542 w 1036941"/>
                  <a:gd name="connsiteY180" fmla="*/ 240983 h 497205"/>
                  <a:gd name="connsiteX181" fmla="*/ 891210 w 1036941"/>
                  <a:gd name="connsiteY181" fmla="*/ 240030 h 497205"/>
                  <a:gd name="connsiteX182" fmla="*/ 901687 w 1036941"/>
                  <a:gd name="connsiteY182" fmla="*/ 237173 h 497205"/>
                  <a:gd name="connsiteX183" fmla="*/ 915975 w 1036941"/>
                  <a:gd name="connsiteY183" fmla="*/ 231458 h 497205"/>
                  <a:gd name="connsiteX184" fmla="*/ 916927 w 1036941"/>
                  <a:gd name="connsiteY184" fmla="*/ 227648 h 497205"/>
                  <a:gd name="connsiteX185" fmla="*/ 917880 w 1036941"/>
                  <a:gd name="connsiteY185" fmla="*/ 220028 h 497205"/>
                  <a:gd name="connsiteX186" fmla="*/ 919785 w 1036941"/>
                  <a:gd name="connsiteY186" fmla="*/ 211455 h 497205"/>
                  <a:gd name="connsiteX187" fmla="*/ 924547 w 1036941"/>
                  <a:gd name="connsiteY187" fmla="*/ 209550 h 497205"/>
                  <a:gd name="connsiteX188" fmla="*/ 927405 w 1036941"/>
                  <a:gd name="connsiteY188" fmla="*/ 200978 h 497205"/>
                  <a:gd name="connsiteX189" fmla="*/ 924547 w 1036941"/>
                  <a:gd name="connsiteY189" fmla="*/ 198120 h 497205"/>
                  <a:gd name="connsiteX190" fmla="*/ 913117 w 1036941"/>
                  <a:gd name="connsiteY190" fmla="*/ 198120 h 497205"/>
                  <a:gd name="connsiteX191" fmla="*/ 905497 w 1036941"/>
                  <a:gd name="connsiteY191" fmla="*/ 198120 h 497205"/>
                  <a:gd name="connsiteX192" fmla="*/ 898830 w 1036941"/>
                  <a:gd name="connsiteY192" fmla="*/ 196215 h 497205"/>
                  <a:gd name="connsiteX193" fmla="*/ 896925 w 1036941"/>
                  <a:gd name="connsiteY193" fmla="*/ 194310 h 497205"/>
                  <a:gd name="connsiteX194" fmla="*/ 894067 w 1036941"/>
                  <a:gd name="connsiteY194" fmla="*/ 191453 h 497205"/>
                  <a:gd name="connsiteX195" fmla="*/ 893114 w 1036941"/>
                  <a:gd name="connsiteY195" fmla="*/ 188595 h 497205"/>
                  <a:gd name="connsiteX196" fmla="*/ 893114 w 1036941"/>
                  <a:gd name="connsiteY196" fmla="*/ 185738 h 497205"/>
                  <a:gd name="connsiteX197" fmla="*/ 900735 w 1036941"/>
                  <a:gd name="connsiteY197" fmla="*/ 184785 h 497205"/>
                  <a:gd name="connsiteX198" fmla="*/ 915022 w 1036941"/>
                  <a:gd name="connsiteY198" fmla="*/ 183833 h 497205"/>
                  <a:gd name="connsiteX199" fmla="*/ 919785 w 1036941"/>
                  <a:gd name="connsiteY199" fmla="*/ 181928 h 497205"/>
                  <a:gd name="connsiteX200" fmla="*/ 922642 w 1036941"/>
                  <a:gd name="connsiteY200" fmla="*/ 176213 h 497205"/>
                  <a:gd name="connsiteX201" fmla="*/ 921689 w 1036941"/>
                  <a:gd name="connsiteY201" fmla="*/ 169545 h 497205"/>
                  <a:gd name="connsiteX202" fmla="*/ 915022 w 1036941"/>
                  <a:gd name="connsiteY202" fmla="*/ 168593 h 497205"/>
                  <a:gd name="connsiteX203" fmla="*/ 909307 w 1036941"/>
                  <a:gd name="connsiteY203" fmla="*/ 166688 h 497205"/>
                  <a:gd name="connsiteX204" fmla="*/ 904545 w 1036941"/>
                  <a:gd name="connsiteY204" fmla="*/ 165735 h 497205"/>
                  <a:gd name="connsiteX205" fmla="*/ 899782 w 1036941"/>
                  <a:gd name="connsiteY205" fmla="*/ 164783 h 497205"/>
                  <a:gd name="connsiteX206" fmla="*/ 893114 w 1036941"/>
                  <a:gd name="connsiteY206" fmla="*/ 160973 h 497205"/>
                  <a:gd name="connsiteX207" fmla="*/ 889305 w 1036941"/>
                  <a:gd name="connsiteY207" fmla="*/ 153353 h 497205"/>
                  <a:gd name="connsiteX208" fmla="*/ 888352 w 1036941"/>
                  <a:gd name="connsiteY208" fmla="*/ 146685 h 497205"/>
                  <a:gd name="connsiteX209" fmla="*/ 903592 w 1036941"/>
                  <a:gd name="connsiteY209" fmla="*/ 137160 h 497205"/>
                  <a:gd name="connsiteX210" fmla="*/ 905497 w 1036941"/>
                  <a:gd name="connsiteY210" fmla="*/ 135255 h 497205"/>
                  <a:gd name="connsiteX211" fmla="*/ 917880 w 1036941"/>
                  <a:gd name="connsiteY211" fmla="*/ 123825 h 497205"/>
                  <a:gd name="connsiteX212" fmla="*/ 925500 w 1036941"/>
                  <a:gd name="connsiteY212" fmla="*/ 120015 h 497205"/>
                  <a:gd name="connsiteX213" fmla="*/ 931214 w 1036941"/>
                  <a:gd name="connsiteY213" fmla="*/ 116205 h 497205"/>
                  <a:gd name="connsiteX214" fmla="*/ 935977 w 1036941"/>
                  <a:gd name="connsiteY214" fmla="*/ 113348 h 497205"/>
                  <a:gd name="connsiteX215" fmla="*/ 939787 w 1036941"/>
                  <a:gd name="connsiteY215" fmla="*/ 112395 h 497205"/>
                  <a:gd name="connsiteX216" fmla="*/ 950264 w 1036941"/>
                  <a:gd name="connsiteY216" fmla="*/ 110490 h 497205"/>
                  <a:gd name="connsiteX217" fmla="*/ 956932 w 1036941"/>
                  <a:gd name="connsiteY217" fmla="*/ 103823 h 497205"/>
                  <a:gd name="connsiteX218" fmla="*/ 962647 w 1036941"/>
                  <a:gd name="connsiteY218" fmla="*/ 99060 h 497205"/>
                  <a:gd name="connsiteX219" fmla="*/ 968362 w 1036941"/>
                  <a:gd name="connsiteY219" fmla="*/ 98108 h 497205"/>
                  <a:gd name="connsiteX220" fmla="*/ 975982 w 1036941"/>
                  <a:gd name="connsiteY220" fmla="*/ 95250 h 497205"/>
                  <a:gd name="connsiteX221" fmla="*/ 983602 w 1036941"/>
                  <a:gd name="connsiteY221" fmla="*/ 90488 h 497205"/>
                  <a:gd name="connsiteX222" fmla="*/ 991222 w 1036941"/>
                  <a:gd name="connsiteY222" fmla="*/ 89535 h 497205"/>
                  <a:gd name="connsiteX223" fmla="*/ 1006462 w 1036941"/>
                  <a:gd name="connsiteY223" fmla="*/ 87630 h 497205"/>
                  <a:gd name="connsiteX224" fmla="*/ 1013130 w 1036941"/>
                  <a:gd name="connsiteY224" fmla="*/ 81915 h 497205"/>
                  <a:gd name="connsiteX225" fmla="*/ 1019797 w 1036941"/>
                  <a:gd name="connsiteY225" fmla="*/ 81915 h 497205"/>
                  <a:gd name="connsiteX226" fmla="*/ 1027417 w 1036941"/>
                  <a:gd name="connsiteY226" fmla="*/ 80010 h 497205"/>
                  <a:gd name="connsiteX227" fmla="*/ 1034085 w 1036941"/>
                  <a:gd name="connsiteY227" fmla="*/ 76200 h 497205"/>
                  <a:gd name="connsiteX228" fmla="*/ 1035989 w 1036941"/>
                  <a:gd name="connsiteY228" fmla="*/ 71438 h 497205"/>
                  <a:gd name="connsiteX229" fmla="*/ 1036942 w 1036941"/>
                  <a:gd name="connsiteY229" fmla="*/ 67628 h 497205"/>
                  <a:gd name="connsiteX230" fmla="*/ 1035989 w 1036941"/>
                  <a:gd name="connsiteY230" fmla="*/ 63818 h 497205"/>
                  <a:gd name="connsiteX231" fmla="*/ 1028370 w 1036941"/>
                  <a:gd name="connsiteY231" fmla="*/ 61913 h 497205"/>
                  <a:gd name="connsiteX232" fmla="*/ 1018845 w 1036941"/>
                  <a:gd name="connsiteY232" fmla="*/ 61913 h 497205"/>
                  <a:gd name="connsiteX233" fmla="*/ 1011225 w 1036941"/>
                  <a:gd name="connsiteY233" fmla="*/ 60960 h 497205"/>
                  <a:gd name="connsiteX234" fmla="*/ 984555 w 1036941"/>
                  <a:gd name="connsiteY234" fmla="*/ 58103 h 497205"/>
                  <a:gd name="connsiteX235" fmla="*/ 975030 w 1036941"/>
                  <a:gd name="connsiteY235" fmla="*/ 58103 h 497205"/>
                  <a:gd name="connsiteX236" fmla="*/ 963600 w 1036941"/>
                  <a:gd name="connsiteY236" fmla="*/ 58103 h 497205"/>
                  <a:gd name="connsiteX237" fmla="*/ 957885 w 1036941"/>
                  <a:gd name="connsiteY237" fmla="*/ 58103 h 497205"/>
                  <a:gd name="connsiteX238" fmla="*/ 950264 w 1036941"/>
                  <a:gd name="connsiteY238" fmla="*/ 60008 h 497205"/>
                  <a:gd name="connsiteX239" fmla="*/ 945502 w 1036941"/>
                  <a:gd name="connsiteY239" fmla="*/ 62865 h 497205"/>
                  <a:gd name="connsiteX240" fmla="*/ 935025 w 1036941"/>
                  <a:gd name="connsiteY240" fmla="*/ 65723 h 497205"/>
                  <a:gd name="connsiteX241" fmla="*/ 930262 w 1036941"/>
                  <a:gd name="connsiteY241" fmla="*/ 68580 h 497205"/>
                  <a:gd name="connsiteX242" fmla="*/ 918832 w 1036941"/>
                  <a:gd name="connsiteY242" fmla="*/ 71438 h 497205"/>
                  <a:gd name="connsiteX243" fmla="*/ 895020 w 1036941"/>
                  <a:gd name="connsiteY243" fmla="*/ 59055 h 497205"/>
                  <a:gd name="connsiteX244" fmla="*/ 890257 w 1036941"/>
                  <a:gd name="connsiteY244" fmla="*/ 59055 h 497205"/>
                  <a:gd name="connsiteX245" fmla="*/ 882637 w 1036941"/>
                  <a:gd name="connsiteY245" fmla="*/ 57150 h 497205"/>
                  <a:gd name="connsiteX246" fmla="*/ 877875 w 1036941"/>
                  <a:gd name="connsiteY246" fmla="*/ 54293 h 497205"/>
                  <a:gd name="connsiteX247" fmla="*/ 874064 w 1036941"/>
                  <a:gd name="connsiteY247" fmla="*/ 52388 h 497205"/>
                  <a:gd name="connsiteX248" fmla="*/ 869302 w 1036941"/>
                  <a:gd name="connsiteY248" fmla="*/ 47625 h 497205"/>
                  <a:gd name="connsiteX249" fmla="*/ 867397 w 1036941"/>
                  <a:gd name="connsiteY249" fmla="*/ 42863 h 497205"/>
                  <a:gd name="connsiteX250" fmla="*/ 861682 w 1036941"/>
                  <a:gd name="connsiteY250" fmla="*/ 35243 h 497205"/>
                  <a:gd name="connsiteX251" fmla="*/ 860730 w 1036941"/>
                  <a:gd name="connsiteY251" fmla="*/ 31433 h 497205"/>
                  <a:gd name="connsiteX252" fmla="*/ 856920 w 1036941"/>
                  <a:gd name="connsiteY252" fmla="*/ 25718 h 497205"/>
                  <a:gd name="connsiteX253" fmla="*/ 855014 w 1036941"/>
                  <a:gd name="connsiteY253" fmla="*/ 22860 h 497205"/>
                  <a:gd name="connsiteX254" fmla="*/ 849300 w 1036941"/>
                  <a:gd name="connsiteY254" fmla="*/ 20955 h 497205"/>
                  <a:gd name="connsiteX255" fmla="*/ 844537 w 1036941"/>
                  <a:gd name="connsiteY255" fmla="*/ 20003 h 497205"/>
                  <a:gd name="connsiteX256" fmla="*/ 839775 w 1036941"/>
                  <a:gd name="connsiteY256" fmla="*/ 20003 h 497205"/>
                  <a:gd name="connsiteX257" fmla="*/ 829297 w 1036941"/>
                  <a:gd name="connsiteY257" fmla="*/ 19050 h 497205"/>
                  <a:gd name="connsiteX258" fmla="*/ 822630 w 1036941"/>
                  <a:gd name="connsiteY258" fmla="*/ 18098 h 497205"/>
                  <a:gd name="connsiteX259" fmla="*/ 815010 w 1036941"/>
                  <a:gd name="connsiteY259" fmla="*/ 18098 h 497205"/>
                  <a:gd name="connsiteX260" fmla="*/ 807389 w 1036941"/>
                  <a:gd name="connsiteY260" fmla="*/ 16193 h 497205"/>
                  <a:gd name="connsiteX261" fmla="*/ 790245 w 1036941"/>
                  <a:gd name="connsiteY261" fmla="*/ 15240 h 497205"/>
                  <a:gd name="connsiteX262" fmla="*/ 787387 w 1036941"/>
                  <a:gd name="connsiteY262" fmla="*/ 13335 h 497205"/>
                  <a:gd name="connsiteX263" fmla="*/ 777862 w 1036941"/>
                  <a:gd name="connsiteY263" fmla="*/ 5715 h 497205"/>
                  <a:gd name="connsiteX264" fmla="*/ 759765 w 1036941"/>
                  <a:gd name="connsiteY264" fmla="*/ 3810 h 497205"/>
                  <a:gd name="connsiteX265" fmla="*/ 744525 w 1036941"/>
                  <a:gd name="connsiteY265" fmla="*/ 3810 h 497205"/>
                  <a:gd name="connsiteX266" fmla="*/ 717855 w 1036941"/>
                  <a:gd name="connsiteY266" fmla="*/ 1905 h 497205"/>
                  <a:gd name="connsiteX267" fmla="*/ 711187 w 1036941"/>
                  <a:gd name="connsiteY267" fmla="*/ 0 h 497205"/>
                  <a:gd name="connsiteX268" fmla="*/ 690232 w 1036941"/>
                  <a:gd name="connsiteY268" fmla="*/ 0 h 497205"/>
                  <a:gd name="connsiteX269" fmla="*/ 679755 w 1036941"/>
                  <a:gd name="connsiteY269" fmla="*/ 1905 h 497205"/>
                  <a:gd name="connsiteX270" fmla="*/ 671182 w 1036941"/>
                  <a:gd name="connsiteY270" fmla="*/ 2858 h 497205"/>
                  <a:gd name="connsiteX271" fmla="*/ 652132 w 1036941"/>
                  <a:gd name="connsiteY271" fmla="*/ 3810 h 497205"/>
                  <a:gd name="connsiteX272" fmla="*/ 641655 w 1036941"/>
                  <a:gd name="connsiteY272" fmla="*/ 3810 h 497205"/>
                  <a:gd name="connsiteX273" fmla="*/ 636892 w 1036941"/>
                  <a:gd name="connsiteY273" fmla="*/ 4763 h 497205"/>
                  <a:gd name="connsiteX274" fmla="*/ 617842 w 1036941"/>
                  <a:gd name="connsiteY274" fmla="*/ 5715 h 497205"/>
                  <a:gd name="connsiteX275" fmla="*/ 611175 w 1036941"/>
                  <a:gd name="connsiteY275" fmla="*/ 7620 h 497205"/>
                  <a:gd name="connsiteX276" fmla="*/ 597840 w 1036941"/>
                  <a:gd name="connsiteY276" fmla="*/ 9525 h 497205"/>
                  <a:gd name="connsiteX277" fmla="*/ 583552 w 1036941"/>
                  <a:gd name="connsiteY277" fmla="*/ 12383 h 497205"/>
                  <a:gd name="connsiteX278" fmla="*/ 575932 w 1036941"/>
                  <a:gd name="connsiteY278" fmla="*/ 12383 h 497205"/>
                  <a:gd name="connsiteX279" fmla="*/ 568312 w 1036941"/>
                  <a:gd name="connsiteY279" fmla="*/ 12383 h 497205"/>
                  <a:gd name="connsiteX280" fmla="*/ 553072 w 1036941"/>
                  <a:gd name="connsiteY280" fmla="*/ 12383 h 497205"/>
                  <a:gd name="connsiteX281" fmla="*/ 542595 w 1036941"/>
                  <a:gd name="connsiteY281" fmla="*/ 12383 h 497205"/>
                  <a:gd name="connsiteX282" fmla="*/ 523545 w 1036941"/>
                  <a:gd name="connsiteY282" fmla="*/ 12383 h 497205"/>
                  <a:gd name="connsiteX283" fmla="*/ 506400 w 1036941"/>
                  <a:gd name="connsiteY283" fmla="*/ 10478 h 497205"/>
                  <a:gd name="connsiteX284" fmla="*/ 489255 w 1036941"/>
                  <a:gd name="connsiteY284" fmla="*/ 8573 h 497205"/>
                  <a:gd name="connsiteX285" fmla="*/ 478777 w 1036941"/>
                  <a:gd name="connsiteY285" fmla="*/ 8573 h 497205"/>
                  <a:gd name="connsiteX286" fmla="*/ 471157 w 1036941"/>
                  <a:gd name="connsiteY286" fmla="*/ 9525 h 497205"/>
                  <a:gd name="connsiteX287" fmla="*/ 456870 w 1036941"/>
                  <a:gd name="connsiteY287" fmla="*/ 11430 h 497205"/>
                  <a:gd name="connsiteX288" fmla="*/ 452107 w 1036941"/>
                  <a:gd name="connsiteY288" fmla="*/ 12383 h 497205"/>
                  <a:gd name="connsiteX289" fmla="*/ 448297 w 1036941"/>
                  <a:gd name="connsiteY289" fmla="*/ 14288 h 497205"/>
                  <a:gd name="connsiteX290" fmla="*/ 447345 w 1036941"/>
                  <a:gd name="connsiteY290" fmla="*/ 18098 h 497205"/>
                  <a:gd name="connsiteX291" fmla="*/ 442582 w 1036941"/>
                  <a:gd name="connsiteY291" fmla="*/ 20955 h 497205"/>
                  <a:gd name="connsiteX292" fmla="*/ 434962 w 1036941"/>
                  <a:gd name="connsiteY292" fmla="*/ 21908 h 497205"/>
                  <a:gd name="connsiteX293" fmla="*/ 425437 w 1036941"/>
                  <a:gd name="connsiteY293" fmla="*/ 26670 h 497205"/>
                  <a:gd name="connsiteX294" fmla="*/ 416865 w 1036941"/>
                  <a:gd name="connsiteY294" fmla="*/ 28575 h 497205"/>
                  <a:gd name="connsiteX295" fmla="*/ 396862 w 1036941"/>
                  <a:gd name="connsiteY295" fmla="*/ 28575 h 497205"/>
                  <a:gd name="connsiteX296" fmla="*/ 392100 w 1036941"/>
                  <a:gd name="connsiteY296" fmla="*/ 27623 h 497205"/>
                  <a:gd name="connsiteX297" fmla="*/ 384480 w 1036941"/>
                  <a:gd name="connsiteY297" fmla="*/ 29528 h 497205"/>
                  <a:gd name="connsiteX298" fmla="*/ 374955 w 1036941"/>
                  <a:gd name="connsiteY298" fmla="*/ 32385 h 497205"/>
                  <a:gd name="connsiteX299" fmla="*/ 365430 w 1036941"/>
                  <a:gd name="connsiteY299" fmla="*/ 36195 h 497205"/>
                  <a:gd name="connsiteX300" fmla="*/ 360667 w 1036941"/>
                  <a:gd name="connsiteY300" fmla="*/ 38100 h 497205"/>
                  <a:gd name="connsiteX301" fmla="*/ 349237 w 1036941"/>
                  <a:gd name="connsiteY301" fmla="*/ 38100 h 497205"/>
                  <a:gd name="connsiteX302" fmla="*/ 338760 w 1036941"/>
                  <a:gd name="connsiteY302" fmla="*/ 36195 h 497205"/>
                  <a:gd name="connsiteX303" fmla="*/ 308280 w 1036941"/>
                  <a:gd name="connsiteY303" fmla="*/ 35243 h 497205"/>
                  <a:gd name="connsiteX304" fmla="*/ 299707 w 1036941"/>
                  <a:gd name="connsiteY304" fmla="*/ 35243 h 497205"/>
                  <a:gd name="connsiteX305" fmla="*/ 291135 w 1036941"/>
                  <a:gd name="connsiteY305" fmla="*/ 35243 h 497205"/>
                  <a:gd name="connsiteX306" fmla="*/ 286372 w 1036941"/>
                  <a:gd name="connsiteY306" fmla="*/ 35243 h 497205"/>
                  <a:gd name="connsiteX307" fmla="*/ 275895 w 1036941"/>
                  <a:gd name="connsiteY307" fmla="*/ 35243 h 497205"/>
                  <a:gd name="connsiteX308" fmla="*/ 263512 w 1036941"/>
                  <a:gd name="connsiteY308" fmla="*/ 35243 h 497205"/>
                  <a:gd name="connsiteX309" fmla="*/ 255892 w 1036941"/>
                  <a:gd name="connsiteY309" fmla="*/ 35243 h 497205"/>
                  <a:gd name="connsiteX310" fmla="*/ 250177 w 1036941"/>
                  <a:gd name="connsiteY310" fmla="*/ 36195 h 497205"/>
                  <a:gd name="connsiteX311" fmla="*/ 240652 w 1036941"/>
                  <a:gd name="connsiteY311" fmla="*/ 39053 h 497205"/>
                  <a:gd name="connsiteX312" fmla="*/ 235890 w 1036941"/>
                  <a:gd name="connsiteY312" fmla="*/ 41910 h 497205"/>
                  <a:gd name="connsiteX313" fmla="*/ 224460 w 1036941"/>
                  <a:gd name="connsiteY313" fmla="*/ 42863 h 497205"/>
                  <a:gd name="connsiteX314" fmla="*/ 219697 w 1036941"/>
                  <a:gd name="connsiteY314" fmla="*/ 42863 h 497205"/>
                  <a:gd name="connsiteX315" fmla="*/ 215887 w 1036941"/>
                  <a:gd name="connsiteY315" fmla="*/ 44768 h 497205"/>
                  <a:gd name="connsiteX316" fmla="*/ 210172 w 1036941"/>
                  <a:gd name="connsiteY316" fmla="*/ 47625 h 497205"/>
                  <a:gd name="connsiteX317" fmla="*/ 201600 w 1036941"/>
                  <a:gd name="connsiteY317" fmla="*/ 49530 h 497205"/>
                  <a:gd name="connsiteX318" fmla="*/ 191122 w 1036941"/>
                  <a:gd name="connsiteY318" fmla="*/ 51435 h 497205"/>
                  <a:gd name="connsiteX319" fmla="*/ 185407 w 1036941"/>
                  <a:gd name="connsiteY319" fmla="*/ 51435 h 497205"/>
                  <a:gd name="connsiteX320" fmla="*/ 182550 w 1036941"/>
                  <a:gd name="connsiteY320" fmla="*/ 51435 h 497205"/>
                  <a:gd name="connsiteX321" fmla="*/ 171120 w 1036941"/>
                  <a:gd name="connsiteY321" fmla="*/ 51435 h 497205"/>
                  <a:gd name="connsiteX322" fmla="*/ 163500 w 1036941"/>
                  <a:gd name="connsiteY322" fmla="*/ 53340 h 497205"/>
                  <a:gd name="connsiteX323" fmla="*/ 158737 w 1036941"/>
                  <a:gd name="connsiteY323" fmla="*/ 56198 h 497205"/>
                  <a:gd name="connsiteX324" fmla="*/ 150165 w 1036941"/>
                  <a:gd name="connsiteY324" fmla="*/ 61913 h 497205"/>
                  <a:gd name="connsiteX325" fmla="*/ 146354 w 1036941"/>
                  <a:gd name="connsiteY325" fmla="*/ 64770 h 497205"/>
                  <a:gd name="connsiteX326" fmla="*/ 134925 w 1036941"/>
                  <a:gd name="connsiteY326" fmla="*/ 67628 h 497205"/>
                  <a:gd name="connsiteX327" fmla="*/ 113970 w 1036941"/>
                  <a:gd name="connsiteY327" fmla="*/ 69533 h 497205"/>
                  <a:gd name="connsiteX328" fmla="*/ 100635 w 1036941"/>
                  <a:gd name="connsiteY328" fmla="*/ 70485 h 497205"/>
                  <a:gd name="connsiteX329" fmla="*/ 92062 w 1036941"/>
                  <a:gd name="connsiteY329" fmla="*/ 71438 h 497205"/>
                  <a:gd name="connsiteX330" fmla="*/ 88252 w 1036941"/>
                  <a:gd name="connsiteY330" fmla="*/ 75248 h 497205"/>
                  <a:gd name="connsiteX331" fmla="*/ 87300 w 1036941"/>
                  <a:gd name="connsiteY331" fmla="*/ 79058 h 497205"/>
                  <a:gd name="connsiteX332" fmla="*/ 92062 w 1036941"/>
                  <a:gd name="connsiteY332" fmla="*/ 80963 h 497205"/>
                  <a:gd name="connsiteX333" fmla="*/ 104445 w 1036941"/>
                  <a:gd name="connsiteY333" fmla="*/ 81915 h 497205"/>
                  <a:gd name="connsiteX334" fmla="*/ 108254 w 1036941"/>
                  <a:gd name="connsiteY334" fmla="*/ 82868 h 497205"/>
                  <a:gd name="connsiteX335" fmla="*/ 113017 w 1036941"/>
                  <a:gd name="connsiteY335" fmla="*/ 85725 h 497205"/>
                  <a:gd name="connsiteX336" fmla="*/ 113970 w 1036941"/>
                  <a:gd name="connsiteY336" fmla="*/ 89535 h 497205"/>
                  <a:gd name="connsiteX337" fmla="*/ 111112 w 1036941"/>
                  <a:gd name="connsiteY337" fmla="*/ 98108 h 497205"/>
                  <a:gd name="connsiteX338" fmla="*/ 102540 w 1036941"/>
                  <a:gd name="connsiteY338" fmla="*/ 100013 h 497205"/>
                  <a:gd name="connsiteX339" fmla="*/ 95872 w 1036941"/>
                  <a:gd name="connsiteY339" fmla="*/ 102870 h 497205"/>
                  <a:gd name="connsiteX340" fmla="*/ 94920 w 1036941"/>
                  <a:gd name="connsiteY340" fmla="*/ 106680 h 497205"/>
                  <a:gd name="connsiteX341" fmla="*/ 89204 w 1036941"/>
                  <a:gd name="connsiteY341" fmla="*/ 110490 h 497205"/>
                  <a:gd name="connsiteX342" fmla="*/ 83490 w 1036941"/>
                  <a:gd name="connsiteY342" fmla="*/ 112395 h 497205"/>
                  <a:gd name="connsiteX343" fmla="*/ 81585 w 1036941"/>
                  <a:gd name="connsiteY343" fmla="*/ 114300 h 497205"/>
                  <a:gd name="connsiteX344" fmla="*/ 75870 w 1036941"/>
                  <a:gd name="connsiteY344" fmla="*/ 120968 h 4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Lst>
                <a:rect l="l" t="t" r="r" b="b"/>
                <a:pathLst>
                  <a:path w="1036941" h="497205">
                    <a:moveTo>
                      <a:pt x="75870" y="120968"/>
                    </a:moveTo>
                    <a:lnTo>
                      <a:pt x="59677" y="120968"/>
                    </a:lnTo>
                    <a:cubicBezTo>
                      <a:pt x="59677" y="120968"/>
                      <a:pt x="53962" y="120968"/>
                      <a:pt x="50152" y="121920"/>
                    </a:cubicBezTo>
                    <a:cubicBezTo>
                      <a:pt x="46342" y="121920"/>
                      <a:pt x="34912" y="121920"/>
                      <a:pt x="33007" y="121920"/>
                    </a:cubicBezTo>
                    <a:cubicBezTo>
                      <a:pt x="31102" y="121920"/>
                      <a:pt x="21577" y="121920"/>
                      <a:pt x="21577" y="121920"/>
                    </a:cubicBezTo>
                    <a:lnTo>
                      <a:pt x="13004" y="121920"/>
                    </a:lnTo>
                    <a:lnTo>
                      <a:pt x="9195" y="121920"/>
                    </a:lnTo>
                    <a:lnTo>
                      <a:pt x="3479" y="121920"/>
                    </a:lnTo>
                    <a:cubicBezTo>
                      <a:pt x="1575" y="124778"/>
                      <a:pt x="622" y="128588"/>
                      <a:pt x="622" y="128588"/>
                    </a:cubicBezTo>
                    <a:cubicBezTo>
                      <a:pt x="622" y="128588"/>
                      <a:pt x="-1283" y="129540"/>
                      <a:pt x="1575" y="131445"/>
                    </a:cubicBezTo>
                    <a:cubicBezTo>
                      <a:pt x="3479" y="132398"/>
                      <a:pt x="-1283" y="128588"/>
                      <a:pt x="3479" y="132398"/>
                    </a:cubicBezTo>
                    <a:cubicBezTo>
                      <a:pt x="8242" y="136208"/>
                      <a:pt x="5385" y="135255"/>
                      <a:pt x="8242" y="136208"/>
                    </a:cubicBezTo>
                    <a:cubicBezTo>
                      <a:pt x="11100" y="137160"/>
                      <a:pt x="11100" y="137160"/>
                      <a:pt x="11100" y="137160"/>
                    </a:cubicBezTo>
                    <a:cubicBezTo>
                      <a:pt x="11100" y="137160"/>
                      <a:pt x="13004" y="138113"/>
                      <a:pt x="17767" y="139065"/>
                    </a:cubicBezTo>
                    <a:cubicBezTo>
                      <a:pt x="22529" y="140018"/>
                      <a:pt x="28245" y="140018"/>
                      <a:pt x="29197" y="141923"/>
                    </a:cubicBezTo>
                    <a:cubicBezTo>
                      <a:pt x="31102" y="142875"/>
                      <a:pt x="25387" y="138113"/>
                      <a:pt x="31102" y="142875"/>
                    </a:cubicBezTo>
                    <a:cubicBezTo>
                      <a:pt x="35865" y="147638"/>
                      <a:pt x="37770" y="146685"/>
                      <a:pt x="41579" y="148590"/>
                    </a:cubicBezTo>
                    <a:cubicBezTo>
                      <a:pt x="45390" y="150495"/>
                      <a:pt x="45390" y="150495"/>
                      <a:pt x="45390" y="150495"/>
                    </a:cubicBezTo>
                    <a:cubicBezTo>
                      <a:pt x="45390" y="150495"/>
                      <a:pt x="50152" y="150495"/>
                      <a:pt x="54915" y="152400"/>
                    </a:cubicBezTo>
                    <a:cubicBezTo>
                      <a:pt x="59677" y="154305"/>
                      <a:pt x="55867" y="151448"/>
                      <a:pt x="59677" y="154305"/>
                    </a:cubicBezTo>
                    <a:cubicBezTo>
                      <a:pt x="63487" y="157163"/>
                      <a:pt x="61582" y="154305"/>
                      <a:pt x="63487" y="157163"/>
                    </a:cubicBezTo>
                    <a:cubicBezTo>
                      <a:pt x="65392" y="160020"/>
                      <a:pt x="68250" y="158115"/>
                      <a:pt x="62535" y="163830"/>
                    </a:cubicBezTo>
                    <a:cubicBezTo>
                      <a:pt x="56820" y="169545"/>
                      <a:pt x="56820" y="169545"/>
                      <a:pt x="56820" y="169545"/>
                    </a:cubicBezTo>
                    <a:cubicBezTo>
                      <a:pt x="56820" y="169545"/>
                      <a:pt x="51104" y="173355"/>
                      <a:pt x="52057" y="176213"/>
                    </a:cubicBezTo>
                    <a:cubicBezTo>
                      <a:pt x="53010" y="179070"/>
                      <a:pt x="51104" y="175260"/>
                      <a:pt x="53010" y="179070"/>
                    </a:cubicBezTo>
                    <a:cubicBezTo>
                      <a:pt x="53962" y="182880"/>
                      <a:pt x="53962" y="182880"/>
                      <a:pt x="55867" y="185738"/>
                    </a:cubicBezTo>
                    <a:cubicBezTo>
                      <a:pt x="56820" y="187643"/>
                      <a:pt x="58725" y="187643"/>
                      <a:pt x="60629" y="188595"/>
                    </a:cubicBezTo>
                    <a:cubicBezTo>
                      <a:pt x="62535" y="190500"/>
                      <a:pt x="60629" y="188595"/>
                      <a:pt x="66345" y="189548"/>
                    </a:cubicBezTo>
                    <a:cubicBezTo>
                      <a:pt x="72060" y="191453"/>
                      <a:pt x="79679" y="190500"/>
                      <a:pt x="82537" y="191453"/>
                    </a:cubicBezTo>
                    <a:cubicBezTo>
                      <a:pt x="85395" y="192405"/>
                      <a:pt x="84442" y="192405"/>
                      <a:pt x="88252" y="192405"/>
                    </a:cubicBezTo>
                    <a:cubicBezTo>
                      <a:pt x="92062" y="192405"/>
                      <a:pt x="93015" y="192405"/>
                      <a:pt x="95872" y="191453"/>
                    </a:cubicBezTo>
                    <a:cubicBezTo>
                      <a:pt x="98729" y="191453"/>
                      <a:pt x="105397" y="184785"/>
                      <a:pt x="105397" y="184785"/>
                    </a:cubicBezTo>
                    <a:cubicBezTo>
                      <a:pt x="105397" y="184785"/>
                      <a:pt x="106350" y="182880"/>
                      <a:pt x="110160" y="182880"/>
                    </a:cubicBezTo>
                    <a:cubicBezTo>
                      <a:pt x="113970" y="182880"/>
                      <a:pt x="123495" y="182880"/>
                      <a:pt x="123495" y="182880"/>
                    </a:cubicBezTo>
                    <a:cubicBezTo>
                      <a:pt x="123495" y="182880"/>
                      <a:pt x="125400" y="182880"/>
                      <a:pt x="129210" y="183833"/>
                    </a:cubicBezTo>
                    <a:cubicBezTo>
                      <a:pt x="133020" y="184785"/>
                      <a:pt x="125400" y="183833"/>
                      <a:pt x="146354" y="184785"/>
                    </a:cubicBezTo>
                    <a:cubicBezTo>
                      <a:pt x="167310" y="185738"/>
                      <a:pt x="167310" y="185738"/>
                      <a:pt x="167310" y="185738"/>
                    </a:cubicBezTo>
                    <a:cubicBezTo>
                      <a:pt x="167310" y="185738"/>
                      <a:pt x="176835" y="181928"/>
                      <a:pt x="180645" y="183833"/>
                    </a:cubicBezTo>
                    <a:cubicBezTo>
                      <a:pt x="184454" y="185738"/>
                      <a:pt x="177787" y="181928"/>
                      <a:pt x="184454" y="185738"/>
                    </a:cubicBezTo>
                    <a:cubicBezTo>
                      <a:pt x="191122" y="189548"/>
                      <a:pt x="197790" y="193358"/>
                      <a:pt x="199695" y="194310"/>
                    </a:cubicBezTo>
                    <a:cubicBezTo>
                      <a:pt x="201600" y="195263"/>
                      <a:pt x="207315" y="196215"/>
                      <a:pt x="211125" y="198120"/>
                    </a:cubicBezTo>
                    <a:cubicBezTo>
                      <a:pt x="214935" y="200025"/>
                      <a:pt x="210172" y="197168"/>
                      <a:pt x="224460" y="201930"/>
                    </a:cubicBezTo>
                    <a:cubicBezTo>
                      <a:pt x="238747" y="206693"/>
                      <a:pt x="244462" y="207645"/>
                      <a:pt x="246367" y="209550"/>
                    </a:cubicBezTo>
                    <a:cubicBezTo>
                      <a:pt x="247320" y="210503"/>
                      <a:pt x="250177" y="212408"/>
                      <a:pt x="252082" y="216218"/>
                    </a:cubicBezTo>
                    <a:cubicBezTo>
                      <a:pt x="253987" y="219075"/>
                      <a:pt x="251129" y="215265"/>
                      <a:pt x="253987" y="219075"/>
                    </a:cubicBezTo>
                    <a:cubicBezTo>
                      <a:pt x="257797" y="223838"/>
                      <a:pt x="264465" y="230505"/>
                      <a:pt x="266370" y="231458"/>
                    </a:cubicBezTo>
                    <a:cubicBezTo>
                      <a:pt x="268275" y="233363"/>
                      <a:pt x="271132" y="233363"/>
                      <a:pt x="272085" y="235268"/>
                    </a:cubicBezTo>
                    <a:cubicBezTo>
                      <a:pt x="273990" y="237173"/>
                      <a:pt x="276847" y="237173"/>
                      <a:pt x="277800" y="239078"/>
                    </a:cubicBezTo>
                    <a:cubicBezTo>
                      <a:pt x="278752" y="240030"/>
                      <a:pt x="281610" y="239078"/>
                      <a:pt x="282562" y="242888"/>
                    </a:cubicBezTo>
                    <a:cubicBezTo>
                      <a:pt x="283515" y="246698"/>
                      <a:pt x="284467" y="252413"/>
                      <a:pt x="286372" y="253365"/>
                    </a:cubicBezTo>
                    <a:cubicBezTo>
                      <a:pt x="287325" y="255270"/>
                      <a:pt x="286372" y="255270"/>
                      <a:pt x="287325" y="258128"/>
                    </a:cubicBezTo>
                    <a:cubicBezTo>
                      <a:pt x="288277" y="261938"/>
                      <a:pt x="287325" y="268605"/>
                      <a:pt x="287325" y="268605"/>
                    </a:cubicBezTo>
                    <a:cubicBezTo>
                      <a:pt x="287325" y="268605"/>
                      <a:pt x="287325" y="269558"/>
                      <a:pt x="287325" y="271463"/>
                    </a:cubicBezTo>
                    <a:cubicBezTo>
                      <a:pt x="287325" y="273368"/>
                      <a:pt x="287325" y="272415"/>
                      <a:pt x="287325" y="276225"/>
                    </a:cubicBezTo>
                    <a:cubicBezTo>
                      <a:pt x="287325" y="279083"/>
                      <a:pt x="284467" y="279083"/>
                      <a:pt x="288277" y="283845"/>
                    </a:cubicBezTo>
                    <a:cubicBezTo>
                      <a:pt x="292087" y="288608"/>
                      <a:pt x="289230" y="285750"/>
                      <a:pt x="292087" y="288608"/>
                    </a:cubicBezTo>
                    <a:cubicBezTo>
                      <a:pt x="293992" y="290513"/>
                      <a:pt x="297802" y="292418"/>
                      <a:pt x="297802" y="292418"/>
                    </a:cubicBezTo>
                    <a:lnTo>
                      <a:pt x="307327" y="293370"/>
                    </a:lnTo>
                    <a:lnTo>
                      <a:pt x="310185" y="292418"/>
                    </a:lnTo>
                    <a:lnTo>
                      <a:pt x="312090" y="290513"/>
                    </a:lnTo>
                    <a:lnTo>
                      <a:pt x="311137" y="285750"/>
                    </a:lnTo>
                    <a:lnTo>
                      <a:pt x="310185" y="283845"/>
                    </a:lnTo>
                    <a:lnTo>
                      <a:pt x="311137" y="280035"/>
                    </a:lnTo>
                    <a:cubicBezTo>
                      <a:pt x="315900" y="280035"/>
                      <a:pt x="319710" y="280035"/>
                      <a:pt x="322567" y="280035"/>
                    </a:cubicBezTo>
                    <a:cubicBezTo>
                      <a:pt x="324472" y="280035"/>
                      <a:pt x="332092" y="279083"/>
                      <a:pt x="332092" y="279083"/>
                    </a:cubicBezTo>
                    <a:lnTo>
                      <a:pt x="336855" y="279083"/>
                    </a:lnTo>
                    <a:cubicBezTo>
                      <a:pt x="337807" y="283845"/>
                      <a:pt x="337807" y="280988"/>
                      <a:pt x="337807" y="283845"/>
                    </a:cubicBezTo>
                    <a:cubicBezTo>
                      <a:pt x="337807" y="286703"/>
                      <a:pt x="338760" y="287655"/>
                      <a:pt x="340665" y="289560"/>
                    </a:cubicBezTo>
                    <a:cubicBezTo>
                      <a:pt x="342570" y="290513"/>
                      <a:pt x="350190" y="292418"/>
                      <a:pt x="350190" y="292418"/>
                    </a:cubicBezTo>
                    <a:lnTo>
                      <a:pt x="356857" y="294323"/>
                    </a:lnTo>
                    <a:lnTo>
                      <a:pt x="360667" y="296228"/>
                    </a:lnTo>
                    <a:lnTo>
                      <a:pt x="361620" y="298133"/>
                    </a:lnTo>
                    <a:lnTo>
                      <a:pt x="359715" y="302895"/>
                    </a:lnTo>
                    <a:lnTo>
                      <a:pt x="360667" y="312420"/>
                    </a:lnTo>
                    <a:cubicBezTo>
                      <a:pt x="360667" y="312420"/>
                      <a:pt x="361620" y="315278"/>
                      <a:pt x="361620" y="317183"/>
                    </a:cubicBezTo>
                    <a:cubicBezTo>
                      <a:pt x="361620" y="319088"/>
                      <a:pt x="361620" y="322898"/>
                      <a:pt x="361620" y="323850"/>
                    </a:cubicBezTo>
                    <a:cubicBezTo>
                      <a:pt x="361620" y="324803"/>
                      <a:pt x="361620" y="324803"/>
                      <a:pt x="360667" y="327660"/>
                    </a:cubicBezTo>
                    <a:cubicBezTo>
                      <a:pt x="359715" y="330518"/>
                      <a:pt x="359715" y="331470"/>
                      <a:pt x="358762" y="334328"/>
                    </a:cubicBezTo>
                    <a:cubicBezTo>
                      <a:pt x="356857" y="337185"/>
                      <a:pt x="356857" y="340995"/>
                      <a:pt x="354952" y="342900"/>
                    </a:cubicBezTo>
                    <a:cubicBezTo>
                      <a:pt x="353047" y="344805"/>
                      <a:pt x="353047" y="344805"/>
                      <a:pt x="351142" y="347663"/>
                    </a:cubicBezTo>
                    <a:cubicBezTo>
                      <a:pt x="349237" y="349568"/>
                      <a:pt x="342570" y="351473"/>
                      <a:pt x="339712" y="354330"/>
                    </a:cubicBezTo>
                    <a:cubicBezTo>
                      <a:pt x="337807" y="356235"/>
                      <a:pt x="333045" y="358140"/>
                      <a:pt x="333045" y="358140"/>
                    </a:cubicBezTo>
                    <a:lnTo>
                      <a:pt x="326377" y="360998"/>
                    </a:lnTo>
                    <a:lnTo>
                      <a:pt x="321615" y="363855"/>
                    </a:lnTo>
                    <a:lnTo>
                      <a:pt x="320662" y="373380"/>
                    </a:lnTo>
                    <a:lnTo>
                      <a:pt x="318757" y="375285"/>
                    </a:lnTo>
                    <a:cubicBezTo>
                      <a:pt x="318757" y="375285"/>
                      <a:pt x="315900" y="378143"/>
                      <a:pt x="316852" y="381000"/>
                    </a:cubicBezTo>
                    <a:cubicBezTo>
                      <a:pt x="317805" y="383858"/>
                      <a:pt x="312090" y="387668"/>
                      <a:pt x="316852" y="392430"/>
                    </a:cubicBezTo>
                    <a:cubicBezTo>
                      <a:pt x="320662" y="397193"/>
                      <a:pt x="324472" y="401003"/>
                      <a:pt x="324472" y="401003"/>
                    </a:cubicBezTo>
                    <a:lnTo>
                      <a:pt x="325425" y="403860"/>
                    </a:lnTo>
                    <a:cubicBezTo>
                      <a:pt x="325425" y="403860"/>
                      <a:pt x="321615" y="401955"/>
                      <a:pt x="329235" y="407670"/>
                    </a:cubicBezTo>
                    <a:cubicBezTo>
                      <a:pt x="336855" y="413385"/>
                      <a:pt x="341617" y="418148"/>
                      <a:pt x="342570" y="420053"/>
                    </a:cubicBezTo>
                    <a:cubicBezTo>
                      <a:pt x="343522" y="421005"/>
                      <a:pt x="353047" y="425768"/>
                      <a:pt x="354000" y="427673"/>
                    </a:cubicBezTo>
                    <a:cubicBezTo>
                      <a:pt x="354952" y="429578"/>
                      <a:pt x="357810" y="434340"/>
                      <a:pt x="358762" y="437198"/>
                    </a:cubicBezTo>
                    <a:cubicBezTo>
                      <a:pt x="359715" y="440055"/>
                      <a:pt x="356857" y="440055"/>
                      <a:pt x="364477" y="445770"/>
                    </a:cubicBezTo>
                    <a:cubicBezTo>
                      <a:pt x="372097" y="451485"/>
                      <a:pt x="368287" y="448628"/>
                      <a:pt x="372097" y="451485"/>
                    </a:cubicBezTo>
                    <a:cubicBezTo>
                      <a:pt x="375907" y="454343"/>
                      <a:pt x="375907" y="454343"/>
                      <a:pt x="381622" y="457200"/>
                    </a:cubicBezTo>
                    <a:cubicBezTo>
                      <a:pt x="387337" y="460058"/>
                      <a:pt x="389242" y="460058"/>
                      <a:pt x="393052" y="463868"/>
                    </a:cubicBezTo>
                    <a:cubicBezTo>
                      <a:pt x="396862" y="467678"/>
                      <a:pt x="394005" y="468630"/>
                      <a:pt x="398767" y="472440"/>
                    </a:cubicBezTo>
                    <a:cubicBezTo>
                      <a:pt x="403530" y="476250"/>
                      <a:pt x="402577" y="476250"/>
                      <a:pt x="406387" y="478155"/>
                    </a:cubicBezTo>
                    <a:cubicBezTo>
                      <a:pt x="409245" y="481013"/>
                      <a:pt x="415912" y="481965"/>
                      <a:pt x="416865" y="483870"/>
                    </a:cubicBezTo>
                    <a:cubicBezTo>
                      <a:pt x="417817" y="484823"/>
                      <a:pt x="420675" y="485775"/>
                      <a:pt x="420675" y="485775"/>
                    </a:cubicBezTo>
                    <a:lnTo>
                      <a:pt x="434010" y="491490"/>
                    </a:lnTo>
                    <a:lnTo>
                      <a:pt x="442582" y="494348"/>
                    </a:lnTo>
                    <a:lnTo>
                      <a:pt x="448297" y="496253"/>
                    </a:lnTo>
                    <a:cubicBezTo>
                      <a:pt x="448297" y="496253"/>
                      <a:pt x="462585" y="497205"/>
                      <a:pt x="465442" y="497205"/>
                    </a:cubicBezTo>
                    <a:cubicBezTo>
                      <a:pt x="469252" y="497205"/>
                      <a:pt x="481635" y="493395"/>
                      <a:pt x="481635" y="493395"/>
                    </a:cubicBezTo>
                    <a:cubicBezTo>
                      <a:pt x="481635" y="493395"/>
                      <a:pt x="485445" y="491490"/>
                      <a:pt x="489255" y="492443"/>
                    </a:cubicBezTo>
                    <a:cubicBezTo>
                      <a:pt x="493065" y="493395"/>
                      <a:pt x="494017" y="493395"/>
                      <a:pt x="496875" y="492443"/>
                    </a:cubicBezTo>
                    <a:cubicBezTo>
                      <a:pt x="499732" y="491490"/>
                      <a:pt x="503542" y="485775"/>
                      <a:pt x="507352" y="483870"/>
                    </a:cubicBezTo>
                    <a:cubicBezTo>
                      <a:pt x="511162" y="481965"/>
                      <a:pt x="510210" y="477203"/>
                      <a:pt x="512115" y="474345"/>
                    </a:cubicBezTo>
                    <a:cubicBezTo>
                      <a:pt x="514020" y="471488"/>
                      <a:pt x="511162" y="467678"/>
                      <a:pt x="514020" y="465773"/>
                    </a:cubicBezTo>
                    <a:cubicBezTo>
                      <a:pt x="515925" y="463868"/>
                      <a:pt x="516877" y="461963"/>
                      <a:pt x="518782" y="460058"/>
                    </a:cubicBezTo>
                    <a:cubicBezTo>
                      <a:pt x="520687" y="458153"/>
                      <a:pt x="518782" y="453390"/>
                      <a:pt x="522592" y="451485"/>
                    </a:cubicBezTo>
                    <a:cubicBezTo>
                      <a:pt x="526402" y="449580"/>
                      <a:pt x="531165" y="444818"/>
                      <a:pt x="531165" y="444818"/>
                    </a:cubicBezTo>
                    <a:cubicBezTo>
                      <a:pt x="531165" y="444818"/>
                      <a:pt x="533070" y="441008"/>
                      <a:pt x="534975" y="438150"/>
                    </a:cubicBezTo>
                    <a:cubicBezTo>
                      <a:pt x="536880" y="436245"/>
                      <a:pt x="538785" y="431483"/>
                      <a:pt x="540690" y="430530"/>
                    </a:cubicBezTo>
                    <a:cubicBezTo>
                      <a:pt x="542595" y="429578"/>
                      <a:pt x="545452" y="425768"/>
                      <a:pt x="545452" y="425768"/>
                    </a:cubicBezTo>
                    <a:cubicBezTo>
                      <a:pt x="545452" y="425768"/>
                      <a:pt x="551167" y="421005"/>
                      <a:pt x="551167" y="420053"/>
                    </a:cubicBezTo>
                    <a:cubicBezTo>
                      <a:pt x="552120" y="419100"/>
                      <a:pt x="554977" y="412433"/>
                      <a:pt x="554977" y="412433"/>
                    </a:cubicBezTo>
                    <a:cubicBezTo>
                      <a:pt x="554977" y="412433"/>
                      <a:pt x="555930" y="410528"/>
                      <a:pt x="557835" y="408623"/>
                    </a:cubicBezTo>
                    <a:cubicBezTo>
                      <a:pt x="559740" y="406718"/>
                      <a:pt x="569265" y="403860"/>
                      <a:pt x="569265" y="403860"/>
                    </a:cubicBezTo>
                    <a:cubicBezTo>
                      <a:pt x="580695" y="401955"/>
                      <a:pt x="578790" y="401955"/>
                      <a:pt x="583552" y="401003"/>
                    </a:cubicBezTo>
                    <a:cubicBezTo>
                      <a:pt x="588315" y="400050"/>
                      <a:pt x="593077" y="398145"/>
                      <a:pt x="593077" y="398145"/>
                    </a:cubicBezTo>
                    <a:lnTo>
                      <a:pt x="603555" y="398145"/>
                    </a:lnTo>
                    <a:cubicBezTo>
                      <a:pt x="603555" y="398145"/>
                      <a:pt x="616890" y="397193"/>
                      <a:pt x="618795" y="397193"/>
                    </a:cubicBezTo>
                    <a:cubicBezTo>
                      <a:pt x="620700" y="397193"/>
                      <a:pt x="620700" y="397193"/>
                      <a:pt x="624510" y="397193"/>
                    </a:cubicBezTo>
                    <a:cubicBezTo>
                      <a:pt x="629272" y="397193"/>
                      <a:pt x="640702" y="394335"/>
                      <a:pt x="644512" y="394335"/>
                    </a:cubicBezTo>
                    <a:cubicBezTo>
                      <a:pt x="648322" y="394335"/>
                      <a:pt x="653085" y="391478"/>
                      <a:pt x="653085" y="391478"/>
                    </a:cubicBezTo>
                    <a:cubicBezTo>
                      <a:pt x="653085" y="391478"/>
                      <a:pt x="654990" y="388620"/>
                      <a:pt x="657847" y="387668"/>
                    </a:cubicBezTo>
                    <a:cubicBezTo>
                      <a:pt x="659752" y="387668"/>
                      <a:pt x="660705" y="383858"/>
                      <a:pt x="663562" y="382905"/>
                    </a:cubicBezTo>
                    <a:cubicBezTo>
                      <a:pt x="665467" y="381953"/>
                      <a:pt x="666420" y="377190"/>
                      <a:pt x="669277" y="376238"/>
                    </a:cubicBezTo>
                    <a:cubicBezTo>
                      <a:pt x="671182" y="375285"/>
                      <a:pt x="671182" y="374333"/>
                      <a:pt x="673087" y="372428"/>
                    </a:cubicBezTo>
                    <a:cubicBezTo>
                      <a:pt x="674992" y="370523"/>
                      <a:pt x="677850" y="367665"/>
                      <a:pt x="677850" y="367665"/>
                    </a:cubicBezTo>
                    <a:cubicBezTo>
                      <a:pt x="677850" y="367665"/>
                      <a:pt x="679755" y="362903"/>
                      <a:pt x="683565" y="362903"/>
                    </a:cubicBezTo>
                    <a:cubicBezTo>
                      <a:pt x="686422" y="362903"/>
                      <a:pt x="695947" y="360998"/>
                      <a:pt x="695947" y="360998"/>
                    </a:cubicBezTo>
                    <a:lnTo>
                      <a:pt x="702615" y="360045"/>
                    </a:lnTo>
                    <a:cubicBezTo>
                      <a:pt x="702615" y="360045"/>
                      <a:pt x="704520" y="360045"/>
                      <a:pt x="706425" y="360045"/>
                    </a:cubicBezTo>
                    <a:cubicBezTo>
                      <a:pt x="708330" y="360045"/>
                      <a:pt x="714045" y="360045"/>
                      <a:pt x="714045" y="360045"/>
                    </a:cubicBezTo>
                    <a:cubicBezTo>
                      <a:pt x="714045" y="360045"/>
                      <a:pt x="718807" y="360998"/>
                      <a:pt x="725475" y="360045"/>
                    </a:cubicBezTo>
                    <a:cubicBezTo>
                      <a:pt x="732142" y="359093"/>
                      <a:pt x="731190" y="361950"/>
                      <a:pt x="739762" y="356235"/>
                    </a:cubicBezTo>
                    <a:cubicBezTo>
                      <a:pt x="748335" y="351473"/>
                      <a:pt x="748335" y="350520"/>
                      <a:pt x="751192" y="350520"/>
                    </a:cubicBezTo>
                    <a:cubicBezTo>
                      <a:pt x="754050" y="350520"/>
                      <a:pt x="760717" y="348615"/>
                      <a:pt x="760717" y="348615"/>
                    </a:cubicBezTo>
                    <a:lnTo>
                      <a:pt x="771195" y="348615"/>
                    </a:lnTo>
                    <a:cubicBezTo>
                      <a:pt x="771195" y="348615"/>
                      <a:pt x="776910" y="348615"/>
                      <a:pt x="779767" y="348615"/>
                    </a:cubicBezTo>
                    <a:cubicBezTo>
                      <a:pt x="782625" y="348615"/>
                      <a:pt x="786435" y="346710"/>
                      <a:pt x="793102" y="346710"/>
                    </a:cubicBezTo>
                    <a:cubicBezTo>
                      <a:pt x="799770" y="346710"/>
                      <a:pt x="809295" y="345758"/>
                      <a:pt x="813105" y="345758"/>
                    </a:cubicBezTo>
                    <a:cubicBezTo>
                      <a:pt x="816914" y="346710"/>
                      <a:pt x="818820" y="345758"/>
                      <a:pt x="820725" y="345758"/>
                    </a:cubicBezTo>
                    <a:cubicBezTo>
                      <a:pt x="822630" y="346710"/>
                      <a:pt x="826439" y="346710"/>
                      <a:pt x="829297" y="345758"/>
                    </a:cubicBezTo>
                    <a:cubicBezTo>
                      <a:pt x="832155" y="345758"/>
                      <a:pt x="844537" y="340995"/>
                      <a:pt x="844537" y="340995"/>
                    </a:cubicBezTo>
                    <a:cubicBezTo>
                      <a:pt x="844537" y="340995"/>
                      <a:pt x="846442" y="337185"/>
                      <a:pt x="846442" y="335280"/>
                    </a:cubicBezTo>
                    <a:cubicBezTo>
                      <a:pt x="847395" y="333375"/>
                      <a:pt x="847395" y="329565"/>
                      <a:pt x="847395" y="329565"/>
                    </a:cubicBezTo>
                    <a:lnTo>
                      <a:pt x="847395" y="327660"/>
                    </a:lnTo>
                    <a:cubicBezTo>
                      <a:pt x="847395" y="327660"/>
                      <a:pt x="837870" y="324803"/>
                      <a:pt x="833107" y="324803"/>
                    </a:cubicBezTo>
                    <a:cubicBezTo>
                      <a:pt x="828345" y="324803"/>
                      <a:pt x="820725" y="322898"/>
                      <a:pt x="817867" y="322898"/>
                    </a:cubicBezTo>
                    <a:cubicBezTo>
                      <a:pt x="815010" y="322898"/>
                      <a:pt x="810247" y="320993"/>
                      <a:pt x="810247" y="320993"/>
                    </a:cubicBezTo>
                    <a:lnTo>
                      <a:pt x="806437" y="316230"/>
                    </a:lnTo>
                    <a:lnTo>
                      <a:pt x="806437" y="312420"/>
                    </a:lnTo>
                    <a:cubicBezTo>
                      <a:pt x="812152" y="312420"/>
                      <a:pt x="814057" y="312420"/>
                      <a:pt x="816914" y="312420"/>
                    </a:cubicBezTo>
                    <a:cubicBezTo>
                      <a:pt x="818820" y="313373"/>
                      <a:pt x="835964" y="316230"/>
                      <a:pt x="835964" y="316230"/>
                    </a:cubicBezTo>
                    <a:cubicBezTo>
                      <a:pt x="835964" y="316230"/>
                      <a:pt x="850252" y="317183"/>
                      <a:pt x="853110" y="318135"/>
                    </a:cubicBezTo>
                    <a:cubicBezTo>
                      <a:pt x="855967" y="319088"/>
                      <a:pt x="865492" y="318135"/>
                      <a:pt x="865492" y="318135"/>
                    </a:cubicBezTo>
                    <a:lnTo>
                      <a:pt x="870255" y="317183"/>
                    </a:lnTo>
                    <a:lnTo>
                      <a:pt x="881685" y="317183"/>
                    </a:lnTo>
                    <a:cubicBezTo>
                      <a:pt x="881685" y="317183"/>
                      <a:pt x="884542" y="316230"/>
                      <a:pt x="886447" y="316230"/>
                    </a:cubicBezTo>
                    <a:cubicBezTo>
                      <a:pt x="888352" y="316230"/>
                      <a:pt x="891210" y="313373"/>
                      <a:pt x="893114" y="311468"/>
                    </a:cubicBezTo>
                    <a:cubicBezTo>
                      <a:pt x="895020" y="310515"/>
                      <a:pt x="894067" y="305753"/>
                      <a:pt x="894067" y="305753"/>
                    </a:cubicBezTo>
                    <a:lnTo>
                      <a:pt x="890257" y="302895"/>
                    </a:lnTo>
                    <a:lnTo>
                      <a:pt x="880732" y="303848"/>
                    </a:lnTo>
                    <a:lnTo>
                      <a:pt x="875970" y="301943"/>
                    </a:lnTo>
                    <a:lnTo>
                      <a:pt x="873112" y="294323"/>
                    </a:lnTo>
                    <a:lnTo>
                      <a:pt x="868350" y="290513"/>
                    </a:lnTo>
                    <a:lnTo>
                      <a:pt x="859777" y="286703"/>
                    </a:lnTo>
                    <a:cubicBezTo>
                      <a:pt x="859777" y="286703"/>
                      <a:pt x="858825" y="284798"/>
                      <a:pt x="859777" y="281940"/>
                    </a:cubicBezTo>
                    <a:cubicBezTo>
                      <a:pt x="860730" y="280035"/>
                      <a:pt x="858825" y="277178"/>
                      <a:pt x="859777" y="274320"/>
                    </a:cubicBezTo>
                    <a:cubicBezTo>
                      <a:pt x="861682" y="272415"/>
                      <a:pt x="857872" y="270510"/>
                      <a:pt x="860730" y="264795"/>
                    </a:cubicBezTo>
                    <a:cubicBezTo>
                      <a:pt x="863587" y="258128"/>
                      <a:pt x="863587" y="254318"/>
                      <a:pt x="863587" y="254318"/>
                    </a:cubicBezTo>
                    <a:cubicBezTo>
                      <a:pt x="863587" y="254318"/>
                      <a:pt x="864539" y="250508"/>
                      <a:pt x="866445" y="250508"/>
                    </a:cubicBezTo>
                    <a:cubicBezTo>
                      <a:pt x="868350" y="250508"/>
                      <a:pt x="872160" y="247650"/>
                      <a:pt x="872160" y="247650"/>
                    </a:cubicBezTo>
                    <a:lnTo>
                      <a:pt x="880732" y="241935"/>
                    </a:lnTo>
                    <a:cubicBezTo>
                      <a:pt x="880732" y="241935"/>
                      <a:pt x="882637" y="240983"/>
                      <a:pt x="884542" y="240983"/>
                    </a:cubicBezTo>
                    <a:cubicBezTo>
                      <a:pt x="886447" y="240983"/>
                      <a:pt x="889305" y="240983"/>
                      <a:pt x="891210" y="240030"/>
                    </a:cubicBezTo>
                    <a:cubicBezTo>
                      <a:pt x="893114" y="240030"/>
                      <a:pt x="895020" y="237173"/>
                      <a:pt x="901687" y="237173"/>
                    </a:cubicBezTo>
                    <a:cubicBezTo>
                      <a:pt x="908355" y="237173"/>
                      <a:pt x="915975" y="231458"/>
                      <a:pt x="915975" y="231458"/>
                    </a:cubicBezTo>
                    <a:lnTo>
                      <a:pt x="916927" y="227648"/>
                    </a:lnTo>
                    <a:lnTo>
                      <a:pt x="917880" y="220028"/>
                    </a:lnTo>
                    <a:cubicBezTo>
                      <a:pt x="917880" y="220028"/>
                      <a:pt x="916927" y="211455"/>
                      <a:pt x="919785" y="211455"/>
                    </a:cubicBezTo>
                    <a:cubicBezTo>
                      <a:pt x="921689" y="211455"/>
                      <a:pt x="922642" y="209550"/>
                      <a:pt x="924547" y="209550"/>
                    </a:cubicBezTo>
                    <a:cubicBezTo>
                      <a:pt x="926452" y="209550"/>
                      <a:pt x="927405" y="200978"/>
                      <a:pt x="927405" y="200978"/>
                    </a:cubicBezTo>
                    <a:lnTo>
                      <a:pt x="924547" y="198120"/>
                    </a:lnTo>
                    <a:lnTo>
                      <a:pt x="913117" y="198120"/>
                    </a:lnTo>
                    <a:lnTo>
                      <a:pt x="905497" y="198120"/>
                    </a:lnTo>
                    <a:lnTo>
                      <a:pt x="898830" y="196215"/>
                    </a:lnTo>
                    <a:lnTo>
                      <a:pt x="896925" y="194310"/>
                    </a:lnTo>
                    <a:lnTo>
                      <a:pt x="894067" y="191453"/>
                    </a:lnTo>
                    <a:lnTo>
                      <a:pt x="893114" y="188595"/>
                    </a:lnTo>
                    <a:lnTo>
                      <a:pt x="893114" y="185738"/>
                    </a:lnTo>
                    <a:cubicBezTo>
                      <a:pt x="893114" y="185738"/>
                      <a:pt x="898830" y="184785"/>
                      <a:pt x="900735" y="184785"/>
                    </a:cubicBezTo>
                    <a:cubicBezTo>
                      <a:pt x="902639" y="184785"/>
                      <a:pt x="915022" y="183833"/>
                      <a:pt x="915022" y="183833"/>
                    </a:cubicBezTo>
                    <a:cubicBezTo>
                      <a:pt x="915022" y="183833"/>
                      <a:pt x="918832" y="183833"/>
                      <a:pt x="919785" y="181928"/>
                    </a:cubicBezTo>
                    <a:cubicBezTo>
                      <a:pt x="921689" y="180975"/>
                      <a:pt x="922642" y="176213"/>
                      <a:pt x="922642" y="176213"/>
                    </a:cubicBezTo>
                    <a:lnTo>
                      <a:pt x="921689" y="169545"/>
                    </a:lnTo>
                    <a:lnTo>
                      <a:pt x="915022" y="168593"/>
                    </a:lnTo>
                    <a:lnTo>
                      <a:pt x="909307" y="166688"/>
                    </a:lnTo>
                    <a:lnTo>
                      <a:pt x="904545" y="165735"/>
                    </a:lnTo>
                    <a:lnTo>
                      <a:pt x="899782" y="164783"/>
                    </a:lnTo>
                    <a:lnTo>
                      <a:pt x="893114" y="160973"/>
                    </a:lnTo>
                    <a:lnTo>
                      <a:pt x="889305" y="153353"/>
                    </a:lnTo>
                    <a:cubicBezTo>
                      <a:pt x="889305" y="153353"/>
                      <a:pt x="888352" y="148590"/>
                      <a:pt x="888352" y="146685"/>
                    </a:cubicBezTo>
                    <a:cubicBezTo>
                      <a:pt x="889305" y="145733"/>
                      <a:pt x="903592" y="137160"/>
                      <a:pt x="903592" y="137160"/>
                    </a:cubicBezTo>
                    <a:lnTo>
                      <a:pt x="905497" y="135255"/>
                    </a:lnTo>
                    <a:cubicBezTo>
                      <a:pt x="905497" y="135255"/>
                      <a:pt x="915022" y="123825"/>
                      <a:pt x="917880" y="123825"/>
                    </a:cubicBezTo>
                    <a:cubicBezTo>
                      <a:pt x="920737" y="123825"/>
                      <a:pt x="922642" y="120015"/>
                      <a:pt x="925500" y="120015"/>
                    </a:cubicBezTo>
                    <a:cubicBezTo>
                      <a:pt x="927405" y="120015"/>
                      <a:pt x="931214" y="116205"/>
                      <a:pt x="931214" y="116205"/>
                    </a:cubicBezTo>
                    <a:lnTo>
                      <a:pt x="935977" y="113348"/>
                    </a:lnTo>
                    <a:cubicBezTo>
                      <a:pt x="935977" y="113348"/>
                      <a:pt x="936930" y="112395"/>
                      <a:pt x="939787" y="112395"/>
                    </a:cubicBezTo>
                    <a:cubicBezTo>
                      <a:pt x="942645" y="112395"/>
                      <a:pt x="950264" y="110490"/>
                      <a:pt x="950264" y="110490"/>
                    </a:cubicBezTo>
                    <a:lnTo>
                      <a:pt x="956932" y="103823"/>
                    </a:lnTo>
                    <a:lnTo>
                      <a:pt x="962647" y="99060"/>
                    </a:lnTo>
                    <a:lnTo>
                      <a:pt x="968362" y="98108"/>
                    </a:lnTo>
                    <a:cubicBezTo>
                      <a:pt x="968362" y="98108"/>
                      <a:pt x="973125" y="96203"/>
                      <a:pt x="975982" y="95250"/>
                    </a:cubicBezTo>
                    <a:cubicBezTo>
                      <a:pt x="977887" y="94298"/>
                      <a:pt x="983602" y="90488"/>
                      <a:pt x="983602" y="90488"/>
                    </a:cubicBezTo>
                    <a:lnTo>
                      <a:pt x="991222" y="89535"/>
                    </a:lnTo>
                    <a:lnTo>
                      <a:pt x="1006462" y="87630"/>
                    </a:lnTo>
                    <a:cubicBezTo>
                      <a:pt x="1006462" y="87630"/>
                      <a:pt x="1011225" y="81915"/>
                      <a:pt x="1013130" y="81915"/>
                    </a:cubicBezTo>
                    <a:cubicBezTo>
                      <a:pt x="1015035" y="81915"/>
                      <a:pt x="1019797" y="81915"/>
                      <a:pt x="1019797" y="81915"/>
                    </a:cubicBezTo>
                    <a:lnTo>
                      <a:pt x="1027417" y="80010"/>
                    </a:lnTo>
                    <a:cubicBezTo>
                      <a:pt x="1027417" y="80010"/>
                      <a:pt x="1033132" y="78105"/>
                      <a:pt x="1034085" y="76200"/>
                    </a:cubicBezTo>
                    <a:cubicBezTo>
                      <a:pt x="1035037" y="75248"/>
                      <a:pt x="1035989" y="71438"/>
                      <a:pt x="1035989" y="71438"/>
                    </a:cubicBezTo>
                    <a:lnTo>
                      <a:pt x="1036942" y="67628"/>
                    </a:lnTo>
                    <a:lnTo>
                      <a:pt x="1035989" y="63818"/>
                    </a:lnTo>
                    <a:lnTo>
                      <a:pt x="1028370" y="61913"/>
                    </a:lnTo>
                    <a:lnTo>
                      <a:pt x="1018845" y="61913"/>
                    </a:lnTo>
                    <a:lnTo>
                      <a:pt x="1011225" y="60960"/>
                    </a:lnTo>
                    <a:lnTo>
                      <a:pt x="984555" y="58103"/>
                    </a:lnTo>
                    <a:cubicBezTo>
                      <a:pt x="984555" y="58103"/>
                      <a:pt x="976935" y="57150"/>
                      <a:pt x="975030" y="58103"/>
                    </a:cubicBezTo>
                    <a:cubicBezTo>
                      <a:pt x="973125" y="58103"/>
                      <a:pt x="963600" y="58103"/>
                      <a:pt x="963600" y="58103"/>
                    </a:cubicBezTo>
                    <a:cubicBezTo>
                      <a:pt x="963600" y="58103"/>
                      <a:pt x="958837" y="57150"/>
                      <a:pt x="957885" y="58103"/>
                    </a:cubicBezTo>
                    <a:cubicBezTo>
                      <a:pt x="955980" y="59055"/>
                      <a:pt x="950264" y="58103"/>
                      <a:pt x="950264" y="60008"/>
                    </a:cubicBezTo>
                    <a:cubicBezTo>
                      <a:pt x="950264" y="61913"/>
                      <a:pt x="947407" y="60960"/>
                      <a:pt x="945502" y="62865"/>
                    </a:cubicBezTo>
                    <a:cubicBezTo>
                      <a:pt x="943597" y="64770"/>
                      <a:pt x="935977" y="63818"/>
                      <a:pt x="935025" y="65723"/>
                    </a:cubicBezTo>
                    <a:cubicBezTo>
                      <a:pt x="934072" y="67628"/>
                      <a:pt x="932167" y="66675"/>
                      <a:pt x="930262" y="68580"/>
                    </a:cubicBezTo>
                    <a:cubicBezTo>
                      <a:pt x="928357" y="70485"/>
                      <a:pt x="918832" y="71438"/>
                      <a:pt x="918832" y="71438"/>
                    </a:cubicBezTo>
                    <a:lnTo>
                      <a:pt x="895020" y="59055"/>
                    </a:lnTo>
                    <a:lnTo>
                      <a:pt x="890257" y="59055"/>
                    </a:lnTo>
                    <a:lnTo>
                      <a:pt x="882637" y="57150"/>
                    </a:lnTo>
                    <a:lnTo>
                      <a:pt x="877875" y="54293"/>
                    </a:lnTo>
                    <a:cubicBezTo>
                      <a:pt x="877875" y="54293"/>
                      <a:pt x="875970" y="53340"/>
                      <a:pt x="874064" y="52388"/>
                    </a:cubicBezTo>
                    <a:cubicBezTo>
                      <a:pt x="872160" y="51435"/>
                      <a:pt x="869302" y="47625"/>
                      <a:pt x="869302" y="47625"/>
                    </a:cubicBezTo>
                    <a:lnTo>
                      <a:pt x="867397" y="42863"/>
                    </a:lnTo>
                    <a:lnTo>
                      <a:pt x="861682" y="35243"/>
                    </a:lnTo>
                    <a:lnTo>
                      <a:pt x="860730" y="31433"/>
                    </a:lnTo>
                    <a:lnTo>
                      <a:pt x="856920" y="25718"/>
                    </a:lnTo>
                    <a:lnTo>
                      <a:pt x="855014" y="22860"/>
                    </a:lnTo>
                    <a:lnTo>
                      <a:pt x="849300" y="20955"/>
                    </a:lnTo>
                    <a:lnTo>
                      <a:pt x="844537" y="20003"/>
                    </a:lnTo>
                    <a:lnTo>
                      <a:pt x="839775" y="20003"/>
                    </a:lnTo>
                    <a:lnTo>
                      <a:pt x="829297" y="19050"/>
                    </a:lnTo>
                    <a:cubicBezTo>
                      <a:pt x="829297" y="19050"/>
                      <a:pt x="825487" y="18098"/>
                      <a:pt x="822630" y="18098"/>
                    </a:cubicBezTo>
                    <a:cubicBezTo>
                      <a:pt x="819772" y="18098"/>
                      <a:pt x="817867" y="18098"/>
                      <a:pt x="815010" y="18098"/>
                    </a:cubicBezTo>
                    <a:cubicBezTo>
                      <a:pt x="811200" y="18098"/>
                      <a:pt x="807389" y="16193"/>
                      <a:pt x="807389" y="16193"/>
                    </a:cubicBezTo>
                    <a:lnTo>
                      <a:pt x="790245" y="15240"/>
                    </a:lnTo>
                    <a:lnTo>
                      <a:pt x="787387" y="13335"/>
                    </a:lnTo>
                    <a:lnTo>
                      <a:pt x="777862" y="5715"/>
                    </a:lnTo>
                    <a:cubicBezTo>
                      <a:pt x="774052" y="3810"/>
                      <a:pt x="759765" y="3810"/>
                      <a:pt x="759765" y="3810"/>
                    </a:cubicBezTo>
                    <a:lnTo>
                      <a:pt x="744525" y="3810"/>
                    </a:lnTo>
                    <a:lnTo>
                      <a:pt x="717855" y="1905"/>
                    </a:lnTo>
                    <a:cubicBezTo>
                      <a:pt x="717855" y="1905"/>
                      <a:pt x="714045" y="953"/>
                      <a:pt x="711187" y="0"/>
                    </a:cubicBezTo>
                    <a:cubicBezTo>
                      <a:pt x="707377" y="0"/>
                      <a:pt x="690232" y="0"/>
                      <a:pt x="690232" y="0"/>
                    </a:cubicBezTo>
                    <a:lnTo>
                      <a:pt x="679755" y="1905"/>
                    </a:lnTo>
                    <a:lnTo>
                      <a:pt x="671182" y="2858"/>
                    </a:lnTo>
                    <a:lnTo>
                      <a:pt x="652132" y="3810"/>
                    </a:lnTo>
                    <a:lnTo>
                      <a:pt x="641655" y="3810"/>
                    </a:lnTo>
                    <a:lnTo>
                      <a:pt x="636892" y="4763"/>
                    </a:lnTo>
                    <a:cubicBezTo>
                      <a:pt x="636892" y="4763"/>
                      <a:pt x="619747" y="3810"/>
                      <a:pt x="617842" y="5715"/>
                    </a:cubicBezTo>
                    <a:cubicBezTo>
                      <a:pt x="615937" y="6668"/>
                      <a:pt x="613080" y="5715"/>
                      <a:pt x="611175" y="7620"/>
                    </a:cubicBezTo>
                    <a:cubicBezTo>
                      <a:pt x="609270" y="8573"/>
                      <a:pt x="597840" y="9525"/>
                      <a:pt x="597840" y="9525"/>
                    </a:cubicBezTo>
                    <a:lnTo>
                      <a:pt x="583552" y="12383"/>
                    </a:lnTo>
                    <a:lnTo>
                      <a:pt x="575932" y="12383"/>
                    </a:lnTo>
                    <a:lnTo>
                      <a:pt x="568312" y="12383"/>
                    </a:lnTo>
                    <a:lnTo>
                      <a:pt x="553072" y="12383"/>
                    </a:lnTo>
                    <a:lnTo>
                      <a:pt x="542595" y="12383"/>
                    </a:lnTo>
                    <a:lnTo>
                      <a:pt x="523545" y="12383"/>
                    </a:lnTo>
                    <a:lnTo>
                      <a:pt x="506400" y="10478"/>
                    </a:lnTo>
                    <a:lnTo>
                      <a:pt x="489255" y="8573"/>
                    </a:lnTo>
                    <a:lnTo>
                      <a:pt x="478777" y="8573"/>
                    </a:lnTo>
                    <a:lnTo>
                      <a:pt x="471157" y="9525"/>
                    </a:lnTo>
                    <a:lnTo>
                      <a:pt x="456870" y="11430"/>
                    </a:lnTo>
                    <a:lnTo>
                      <a:pt x="452107" y="12383"/>
                    </a:lnTo>
                    <a:lnTo>
                      <a:pt x="448297" y="14288"/>
                    </a:lnTo>
                    <a:lnTo>
                      <a:pt x="447345" y="18098"/>
                    </a:lnTo>
                    <a:lnTo>
                      <a:pt x="442582" y="20955"/>
                    </a:lnTo>
                    <a:lnTo>
                      <a:pt x="434962" y="21908"/>
                    </a:lnTo>
                    <a:lnTo>
                      <a:pt x="425437" y="26670"/>
                    </a:lnTo>
                    <a:lnTo>
                      <a:pt x="416865" y="28575"/>
                    </a:lnTo>
                    <a:lnTo>
                      <a:pt x="396862" y="28575"/>
                    </a:lnTo>
                    <a:lnTo>
                      <a:pt x="392100" y="27623"/>
                    </a:lnTo>
                    <a:lnTo>
                      <a:pt x="384480" y="29528"/>
                    </a:lnTo>
                    <a:lnTo>
                      <a:pt x="374955" y="32385"/>
                    </a:lnTo>
                    <a:lnTo>
                      <a:pt x="365430" y="36195"/>
                    </a:lnTo>
                    <a:lnTo>
                      <a:pt x="360667" y="38100"/>
                    </a:lnTo>
                    <a:lnTo>
                      <a:pt x="349237" y="38100"/>
                    </a:lnTo>
                    <a:lnTo>
                      <a:pt x="338760" y="36195"/>
                    </a:lnTo>
                    <a:cubicBezTo>
                      <a:pt x="334950" y="35243"/>
                      <a:pt x="308280" y="35243"/>
                      <a:pt x="308280" y="35243"/>
                    </a:cubicBezTo>
                    <a:lnTo>
                      <a:pt x="299707" y="35243"/>
                    </a:lnTo>
                    <a:lnTo>
                      <a:pt x="291135" y="35243"/>
                    </a:lnTo>
                    <a:lnTo>
                      <a:pt x="286372" y="35243"/>
                    </a:lnTo>
                    <a:lnTo>
                      <a:pt x="275895" y="35243"/>
                    </a:lnTo>
                    <a:lnTo>
                      <a:pt x="263512" y="35243"/>
                    </a:lnTo>
                    <a:lnTo>
                      <a:pt x="255892" y="35243"/>
                    </a:lnTo>
                    <a:lnTo>
                      <a:pt x="250177" y="36195"/>
                    </a:lnTo>
                    <a:cubicBezTo>
                      <a:pt x="250177" y="36195"/>
                      <a:pt x="242557" y="36195"/>
                      <a:pt x="240652" y="39053"/>
                    </a:cubicBezTo>
                    <a:cubicBezTo>
                      <a:pt x="238747" y="40958"/>
                      <a:pt x="237795" y="40958"/>
                      <a:pt x="235890" y="41910"/>
                    </a:cubicBezTo>
                    <a:cubicBezTo>
                      <a:pt x="233985" y="42863"/>
                      <a:pt x="224460" y="42863"/>
                      <a:pt x="224460" y="42863"/>
                    </a:cubicBezTo>
                    <a:lnTo>
                      <a:pt x="219697" y="42863"/>
                    </a:lnTo>
                    <a:lnTo>
                      <a:pt x="215887" y="44768"/>
                    </a:lnTo>
                    <a:lnTo>
                      <a:pt x="210172" y="47625"/>
                    </a:lnTo>
                    <a:cubicBezTo>
                      <a:pt x="210172" y="47625"/>
                      <a:pt x="205410" y="48578"/>
                      <a:pt x="201600" y="49530"/>
                    </a:cubicBezTo>
                    <a:cubicBezTo>
                      <a:pt x="198742" y="50483"/>
                      <a:pt x="191122" y="51435"/>
                      <a:pt x="191122" y="51435"/>
                    </a:cubicBezTo>
                    <a:lnTo>
                      <a:pt x="185407" y="51435"/>
                    </a:lnTo>
                    <a:lnTo>
                      <a:pt x="182550" y="51435"/>
                    </a:lnTo>
                    <a:lnTo>
                      <a:pt x="171120" y="51435"/>
                    </a:lnTo>
                    <a:lnTo>
                      <a:pt x="163500" y="53340"/>
                    </a:lnTo>
                    <a:cubicBezTo>
                      <a:pt x="163500" y="53340"/>
                      <a:pt x="160642" y="53340"/>
                      <a:pt x="158737" y="56198"/>
                    </a:cubicBezTo>
                    <a:cubicBezTo>
                      <a:pt x="156832" y="58103"/>
                      <a:pt x="151117" y="60960"/>
                      <a:pt x="150165" y="61913"/>
                    </a:cubicBezTo>
                    <a:cubicBezTo>
                      <a:pt x="149212" y="62865"/>
                      <a:pt x="146354" y="64770"/>
                      <a:pt x="146354" y="64770"/>
                    </a:cubicBezTo>
                    <a:lnTo>
                      <a:pt x="134925" y="67628"/>
                    </a:lnTo>
                    <a:lnTo>
                      <a:pt x="113970" y="69533"/>
                    </a:lnTo>
                    <a:lnTo>
                      <a:pt x="100635" y="70485"/>
                    </a:lnTo>
                    <a:lnTo>
                      <a:pt x="92062" y="71438"/>
                    </a:lnTo>
                    <a:cubicBezTo>
                      <a:pt x="92062" y="71438"/>
                      <a:pt x="88252" y="73343"/>
                      <a:pt x="88252" y="75248"/>
                    </a:cubicBezTo>
                    <a:cubicBezTo>
                      <a:pt x="88252" y="76200"/>
                      <a:pt x="87300" y="79058"/>
                      <a:pt x="87300" y="79058"/>
                    </a:cubicBezTo>
                    <a:cubicBezTo>
                      <a:pt x="87300" y="79058"/>
                      <a:pt x="90157" y="80963"/>
                      <a:pt x="92062" y="80963"/>
                    </a:cubicBezTo>
                    <a:cubicBezTo>
                      <a:pt x="93967" y="80963"/>
                      <a:pt x="104445" y="81915"/>
                      <a:pt x="104445" y="81915"/>
                    </a:cubicBezTo>
                    <a:cubicBezTo>
                      <a:pt x="104445" y="81915"/>
                      <a:pt x="106350" y="82868"/>
                      <a:pt x="108254" y="82868"/>
                    </a:cubicBezTo>
                    <a:cubicBezTo>
                      <a:pt x="110160" y="83820"/>
                      <a:pt x="113017" y="85725"/>
                      <a:pt x="113017" y="85725"/>
                    </a:cubicBezTo>
                    <a:cubicBezTo>
                      <a:pt x="113017" y="85725"/>
                      <a:pt x="113970" y="84773"/>
                      <a:pt x="113970" y="89535"/>
                    </a:cubicBezTo>
                    <a:cubicBezTo>
                      <a:pt x="113017" y="94298"/>
                      <a:pt x="111112" y="98108"/>
                      <a:pt x="111112" y="98108"/>
                    </a:cubicBezTo>
                    <a:lnTo>
                      <a:pt x="102540" y="100013"/>
                    </a:lnTo>
                    <a:cubicBezTo>
                      <a:pt x="102540" y="100013"/>
                      <a:pt x="95872" y="100965"/>
                      <a:pt x="95872" y="102870"/>
                    </a:cubicBezTo>
                    <a:cubicBezTo>
                      <a:pt x="95872" y="103823"/>
                      <a:pt x="94920" y="106680"/>
                      <a:pt x="94920" y="106680"/>
                    </a:cubicBezTo>
                    <a:lnTo>
                      <a:pt x="89204" y="110490"/>
                    </a:lnTo>
                    <a:lnTo>
                      <a:pt x="83490" y="112395"/>
                    </a:lnTo>
                    <a:lnTo>
                      <a:pt x="81585" y="114300"/>
                    </a:lnTo>
                    <a:lnTo>
                      <a:pt x="75870" y="1209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8" name="Freeform: Shape 37">
                <a:extLst>
                  <a:ext uri="{FF2B5EF4-FFF2-40B4-BE49-F238E27FC236}">
                    <a16:creationId xmlns:a16="http://schemas.microsoft.com/office/drawing/2014/main" id="{57A5C612-EE94-49CC-B233-05C1F359D956}"/>
                  </a:ext>
                </a:extLst>
              </p:cNvPr>
              <p:cNvSpPr/>
              <p:nvPr/>
            </p:nvSpPr>
            <p:spPr>
              <a:xfrm>
                <a:off x="7292898" y="3092496"/>
                <a:ext cx="56620" cy="27622"/>
              </a:xfrm>
              <a:custGeom>
                <a:avLst/>
                <a:gdLst>
                  <a:gd name="connsiteX0" fmla="*/ 43286 w 56620"/>
                  <a:gd name="connsiteY0" fmla="*/ 24765 h 27622"/>
                  <a:gd name="connsiteX1" fmla="*/ 41381 w 56620"/>
                  <a:gd name="connsiteY1" fmla="*/ 26670 h 27622"/>
                  <a:gd name="connsiteX2" fmla="*/ 28046 w 56620"/>
                  <a:gd name="connsiteY2" fmla="*/ 27622 h 27622"/>
                  <a:gd name="connsiteX3" fmla="*/ 21378 w 56620"/>
                  <a:gd name="connsiteY3" fmla="*/ 27622 h 27622"/>
                  <a:gd name="connsiteX4" fmla="*/ 14711 w 56620"/>
                  <a:gd name="connsiteY4" fmla="*/ 27622 h 27622"/>
                  <a:gd name="connsiteX5" fmla="*/ 10901 w 56620"/>
                  <a:gd name="connsiteY5" fmla="*/ 26670 h 27622"/>
                  <a:gd name="connsiteX6" fmla="*/ 9948 w 56620"/>
                  <a:gd name="connsiteY6" fmla="*/ 23813 h 27622"/>
                  <a:gd name="connsiteX7" fmla="*/ 3281 w 56620"/>
                  <a:gd name="connsiteY7" fmla="*/ 21907 h 27622"/>
                  <a:gd name="connsiteX8" fmla="*/ 1376 w 56620"/>
                  <a:gd name="connsiteY8" fmla="*/ 21907 h 27622"/>
                  <a:gd name="connsiteX9" fmla="*/ 1376 w 56620"/>
                  <a:gd name="connsiteY9" fmla="*/ 19050 h 27622"/>
                  <a:gd name="connsiteX10" fmla="*/ 1376 w 56620"/>
                  <a:gd name="connsiteY10" fmla="*/ 16193 h 27622"/>
                  <a:gd name="connsiteX11" fmla="*/ 423 w 56620"/>
                  <a:gd name="connsiteY11" fmla="*/ 12382 h 27622"/>
                  <a:gd name="connsiteX12" fmla="*/ 423 w 56620"/>
                  <a:gd name="connsiteY12" fmla="*/ 10477 h 27622"/>
                  <a:gd name="connsiteX13" fmla="*/ 1376 w 56620"/>
                  <a:gd name="connsiteY13" fmla="*/ 10477 h 27622"/>
                  <a:gd name="connsiteX14" fmla="*/ 4233 w 56620"/>
                  <a:gd name="connsiteY14" fmla="*/ 10477 h 27622"/>
                  <a:gd name="connsiteX15" fmla="*/ 7091 w 56620"/>
                  <a:gd name="connsiteY15" fmla="*/ 8572 h 27622"/>
                  <a:gd name="connsiteX16" fmla="*/ 12806 w 56620"/>
                  <a:gd name="connsiteY16" fmla="*/ 8572 h 27622"/>
                  <a:gd name="connsiteX17" fmla="*/ 19473 w 56620"/>
                  <a:gd name="connsiteY17" fmla="*/ 7620 h 27622"/>
                  <a:gd name="connsiteX18" fmla="*/ 28046 w 56620"/>
                  <a:gd name="connsiteY18" fmla="*/ 4763 h 27622"/>
                  <a:gd name="connsiteX19" fmla="*/ 30903 w 56620"/>
                  <a:gd name="connsiteY19" fmla="*/ 4763 h 27622"/>
                  <a:gd name="connsiteX20" fmla="*/ 34713 w 56620"/>
                  <a:gd name="connsiteY20" fmla="*/ 3810 h 27622"/>
                  <a:gd name="connsiteX21" fmla="*/ 40428 w 56620"/>
                  <a:gd name="connsiteY21" fmla="*/ 5715 h 27622"/>
                  <a:gd name="connsiteX22" fmla="*/ 45191 w 56620"/>
                  <a:gd name="connsiteY22" fmla="*/ 3810 h 27622"/>
                  <a:gd name="connsiteX23" fmla="*/ 49001 w 56620"/>
                  <a:gd name="connsiteY23" fmla="*/ 0 h 27622"/>
                  <a:gd name="connsiteX24" fmla="*/ 51858 w 56620"/>
                  <a:gd name="connsiteY24" fmla="*/ 952 h 27622"/>
                  <a:gd name="connsiteX25" fmla="*/ 55668 w 56620"/>
                  <a:gd name="connsiteY25" fmla="*/ 2857 h 27622"/>
                  <a:gd name="connsiteX26" fmla="*/ 54716 w 56620"/>
                  <a:gd name="connsiteY26" fmla="*/ 7620 h 27622"/>
                  <a:gd name="connsiteX27" fmla="*/ 55668 w 56620"/>
                  <a:gd name="connsiteY27" fmla="*/ 10477 h 27622"/>
                  <a:gd name="connsiteX28" fmla="*/ 56621 w 56620"/>
                  <a:gd name="connsiteY28" fmla="*/ 12382 h 27622"/>
                  <a:gd name="connsiteX29" fmla="*/ 54716 w 56620"/>
                  <a:gd name="connsiteY29" fmla="*/ 15240 h 27622"/>
                  <a:gd name="connsiteX30" fmla="*/ 46143 w 56620"/>
                  <a:gd name="connsiteY30" fmla="*/ 17145 h 27622"/>
                  <a:gd name="connsiteX31" fmla="*/ 47096 w 56620"/>
                  <a:gd name="connsiteY31" fmla="*/ 20955 h 27622"/>
                  <a:gd name="connsiteX32" fmla="*/ 47096 w 56620"/>
                  <a:gd name="connsiteY32" fmla="*/ 21907 h 27622"/>
                  <a:gd name="connsiteX33" fmla="*/ 48048 w 56620"/>
                  <a:gd name="connsiteY33" fmla="*/ 23813 h 27622"/>
                  <a:gd name="connsiteX34" fmla="*/ 43286 w 56620"/>
                  <a:gd name="connsiteY34" fmla="*/ 24765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6620" h="27622">
                    <a:moveTo>
                      <a:pt x="43286" y="24765"/>
                    </a:moveTo>
                    <a:cubicBezTo>
                      <a:pt x="43286" y="24765"/>
                      <a:pt x="43286" y="25718"/>
                      <a:pt x="41381" y="26670"/>
                    </a:cubicBezTo>
                    <a:cubicBezTo>
                      <a:pt x="39476" y="26670"/>
                      <a:pt x="28046" y="27622"/>
                      <a:pt x="28046" y="27622"/>
                    </a:cubicBezTo>
                    <a:lnTo>
                      <a:pt x="21378" y="27622"/>
                    </a:lnTo>
                    <a:lnTo>
                      <a:pt x="14711" y="27622"/>
                    </a:lnTo>
                    <a:lnTo>
                      <a:pt x="10901" y="26670"/>
                    </a:lnTo>
                    <a:cubicBezTo>
                      <a:pt x="10901" y="26670"/>
                      <a:pt x="10901" y="24765"/>
                      <a:pt x="9948" y="23813"/>
                    </a:cubicBezTo>
                    <a:cubicBezTo>
                      <a:pt x="8043" y="22860"/>
                      <a:pt x="3281" y="21907"/>
                      <a:pt x="3281" y="21907"/>
                    </a:cubicBezTo>
                    <a:lnTo>
                      <a:pt x="1376" y="21907"/>
                    </a:lnTo>
                    <a:lnTo>
                      <a:pt x="1376" y="19050"/>
                    </a:lnTo>
                    <a:lnTo>
                      <a:pt x="1376" y="16193"/>
                    </a:lnTo>
                    <a:lnTo>
                      <a:pt x="423" y="12382"/>
                    </a:lnTo>
                    <a:cubicBezTo>
                      <a:pt x="423" y="12382"/>
                      <a:pt x="-529" y="10477"/>
                      <a:pt x="423" y="10477"/>
                    </a:cubicBezTo>
                    <a:cubicBezTo>
                      <a:pt x="1376" y="10477"/>
                      <a:pt x="-1482" y="10477"/>
                      <a:pt x="1376" y="10477"/>
                    </a:cubicBezTo>
                    <a:cubicBezTo>
                      <a:pt x="4233" y="10477"/>
                      <a:pt x="2328" y="10477"/>
                      <a:pt x="4233" y="10477"/>
                    </a:cubicBezTo>
                    <a:cubicBezTo>
                      <a:pt x="6138" y="10477"/>
                      <a:pt x="7091" y="8572"/>
                      <a:pt x="7091" y="8572"/>
                    </a:cubicBezTo>
                    <a:cubicBezTo>
                      <a:pt x="10901" y="8572"/>
                      <a:pt x="9948" y="8572"/>
                      <a:pt x="12806" y="8572"/>
                    </a:cubicBezTo>
                    <a:cubicBezTo>
                      <a:pt x="15663" y="8572"/>
                      <a:pt x="13758" y="10477"/>
                      <a:pt x="19473" y="7620"/>
                    </a:cubicBezTo>
                    <a:cubicBezTo>
                      <a:pt x="24236" y="4763"/>
                      <a:pt x="26141" y="4763"/>
                      <a:pt x="28046" y="4763"/>
                    </a:cubicBezTo>
                    <a:cubicBezTo>
                      <a:pt x="29951" y="4763"/>
                      <a:pt x="30903" y="4763"/>
                      <a:pt x="30903" y="4763"/>
                    </a:cubicBezTo>
                    <a:cubicBezTo>
                      <a:pt x="30903" y="4763"/>
                      <a:pt x="29951" y="1905"/>
                      <a:pt x="34713" y="3810"/>
                    </a:cubicBezTo>
                    <a:cubicBezTo>
                      <a:pt x="39476" y="5715"/>
                      <a:pt x="38523" y="5715"/>
                      <a:pt x="40428" y="5715"/>
                    </a:cubicBezTo>
                    <a:cubicBezTo>
                      <a:pt x="42333" y="5715"/>
                      <a:pt x="43286" y="3810"/>
                      <a:pt x="45191" y="3810"/>
                    </a:cubicBezTo>
                    <a:cubicBezTo>
                      <a:pt x="47096" y="2857"/>
                      <a:pt x="46143" y="0"/>
                      <a:pt x="49001" y="0"/>
                    </a:cubicBezTo>
                    <a:cubicBezTo>
                      <a:pt x="51858" y="952"/>
                      <a:pt x="49001" y="0"/>
                      <a:pt x="51858" y="952"/>
                    </a:cubicBezTo>
                    <a:cubicBezTo>
                      <a:pt x="54716" y="1905"/>
                      <a:pt x="54716" y="952"/>
                      <a:pt x="55668" y="2857"/>
                    </a:cubicBezTo>
                    <a:cubicBezTo>
                      <a:pt x="56621" y="4763"/>
                      <a:pt x="55668" y="6668"/>
                      <a:pt x="54716" y="7620"/>
                    </a:cubicBezTo>
                    <a:cubicBezTo>
                      <a:pt x="54716" y="8572"/>
                      <a:pt x="55668" y="8572"/>
                      <a:pt x="55668" y="10477"/>
                    </a:cubicBezTo>
                    <a:cubicBezTo>
                      <a:pt x="55668" y="11430"/>
                      <a:pt x="56621" y="12382"/>
                      <a:pt x="56621" y="12382"/>
                    </a:cubicBezTo>
                    <a:cubicBezTo>
                      <a:pt x="56621" y="13335"/>
                      <a:pt x="55668" y="14288"/>
                      <a:pt x="54716" y="15240"/>
                    </a:cubicBezTo>
                    <a:cubicBezTo>
                      <a:pt x="53763" y="16193"/>
                      <a:pt x="46143" y="17145"/>
                      <a:pt x="46143" y="17145"/>
                    </a:cubicBezTo>
                    <a:lnTo>
                      <a:pt x="47096" y="20955"/>
                    </a:lnTo>
                    <a:cubicBezTo>
                      <a:pt x="47096" y="20955"/>
                      <a:pt x="46143" y="20955"/>
                      <a:pt x="47096" y="21907"/>
                    </a:cubicBezTo>
                    <a:cubicBezTo>
                      <a:pt x="48048" y="23813"/>
                      <a:pt x="49001" y="23813"/>
                      <a:pt x="48048" y="23813"/>
                    </a:cubicBezTo>
                    <a:cubicBezTo>
                      <a:pt x="48048" y="24765"/>
                      <a:pt x="43286" y="24765"/>
                      <a:pt x="43286" y="247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2DB7E8B0-CD28-4429-A5DC-62F8A4DCF859}"/>
                  </a:ext>
                </a:extLst>
              </p:cNvPr>
              <p:cNvSpPr/>
              <p:nvPr/>
            </p:nvSpPr>
            <p:spPr>
              <a:xfrm>
                <a:off x="7209128" y="3423014"/>
                <a:ext cx="121340" cy="68579"/>
              </a:xfrm>
              <a:custGeom>
                <a:avLst/>
                <a:gdLst>
                  <a:gd name="connsiteX0" fmla="*/ 70857 w 121340"/>
                  <a:gd name="connsiteY0" fmla="*/ 11430 h 68579"/>
                  <a:gd name="connsiteX1" fmla="*/ 68000 w 121340"/>
                  <a:gd name="connsiteY1" fmla="*/ 6667 h 68579"/>
                  <a:gd name="connsiteX2" fmla="*/ 65143 w 121340"/>
                  <a:gd name="connsiteY2" fmla="*/ 1905 h 68579"/>
                  <a:gd name="connsiteX3" fmla="*/ 60380 w 121340"/>
                  <a:gd name="connsiteY3" fmla="*/ 0 h 68579"/>
                  <a:gd name="connsiteX4" fmla="*/ 57523 w 121340"/>
                  <a:gd name="connsiteY4" fmla="*/ 952 h 68579"/>
                  <a:gd name="connsiteX5" fmla="*/ 49903 w 121340"/>
                  <a:gd name="connsiteY5" fmla="*/ 1905 h 68579"/>
                  <a:gd name="connsiteX6" fmla="*/ 44188 w 121340"/>
                  <a:gd name="connsiteY6" fmla="*/ 1905 h 68579"/>
                  <a:gd name="connsiteX7" fmla="*/ 39425 w 121340"/>
                  <a:gd name="connsiteY7" fmla="*/ 5715 h 68579"/>
                  <a:gd name="connsiteX8" fmla="*/ 37520 w 121340"/>
                  <a:gd name="connsiteY8" fmla="*/ 9525 h 68579"/>
                  <a:gd name="connsiteX9" fmla="*/ 31805 w 121340"/>
                  <a:gd name="connsiteY9" fmla="*/ 14288 h 68579"/>
                  <a:gd name="connsiteX10" fmla="*/ 28948 w 121340"/>
                  <a:gd name="connsiteY10" fmla="*/ 16192 h 68579"/>
                  <a:gd name="connsiteX11" fmla="*/ 27043 w 121340"/>
                  <a:gd name="connsiteY11" fmla="*/ 18098 h 68579"/>
                  <a:gd name="connsiteX12" fmla="*/ 27995 w 121340"/>
                  <a:gd name="connsiteY12" fmla="*/ 19050 h 68579"/>
                  <a:gd name="connsiteX13" fmla="*/ 24185 w 121340"/>
                  <a:gd name="connsiteY13" fmla="*/ 24765 h 68579"/>
                  <a:gd name="connsiteX14" fmla="*/ 19423 w 121340"/>
                  <a:gd name="connsiteY14" fmla="*/ 27623 h 68579"/>
                  <a:gd name="connsiteX15" fmla="*/ 8945 w 121340"/>
                  <a:gd name="connsiteY15" fmla="*/ 29527 h 68579"/>
                  <a:gd name="connsiteX16" fmla="*/ 4182 w 121340"/>
                  <a:gd name="connsiteY16" fmla="*/ 31432 h 68579"/>
                  <a:gd name="connsiteX17" fmla="*/ 1325 w 121340"/>
                  <a:gd name="connsiteY17" fmla="*/ 33338 h 68579"/>
                  <a:gd name="connsiteX18" fmla="*/ 3230 w 121340"/>
                  <a:gd name="connsiteY18" fmla="*/ 38100 h 68579"/>
                  <a:gd name="connsiteX19" fmla="*/ 2278 w 121340"/>
                  <a:gd name="connsiteY19" fmla="*/ 42863 h 68579"/>
                  <a:gd name="connsiteX20" fmla="*/ 1325 w 121340"/>
                  <a:gd name="connsiteY20" fmla="*/ 47625 h 68579"/>
                  <a:gd name="connsiteX21" fmla="*/ 12755 w 121340"/>
                  <a:gd name="connsiteY21" fmla="*/ 49530 h 68579"/>
                  <a:gd name="connsiteX22" fmla="*/ 20375 w 121340"/>
                  <a:gd name="connsiteY22" fmla="*/ 49530 h 68579"/>
                  <a:gd name="connsiteX23" fmla="*/ 27995 w 121340"/>
                  <a:gd name="connsiteY23" fmla="*/ 49530 h 68579"/>
                  <a:gd name="connsiteX24" fmla="*/ 29900 w 121340"/>
                  <a:gd name="connsiteY24" fmla="*/ 51435 h 68579"/>
                  <a:gd name="connsiteX25" fmla="*/ 34663 w 121340"/>
                  <a:gd name="connsiteY25" fmla="*/ 53340 h 68579"/>
                  <a:gd name="connsiteX26" fmla="*/ 42282 w 121340"/>
                  <a:gd name="connsiteY26" fmla="*/ 53340 h 68579"/>
                  <a:gd name="connsiteX27" fmla="*/ 47045 w 121340"/>
                  <a:gd name="connsiteY27" fmla="*/ 56198 h 68579"/>
                  <a:gd name="connsiteX28" fmla="*/ 47045 w 121340"/>
                  <a:gd name="connsiteY28" fmla="*/ 60007 h 68579"/>
                  <a:gd name="connsiteX29" fmla="*/ 47045 w 121340"/>
                  <a:gd name="connsiteY29" fmla="*/ 64770 h 68579"/>
                  <a:gd name="connsiteX30" fmla="*/ 53713 w 121340"/>
                  <a:gd name="connsiteY30" fmla="*/ 68580 h 68579"/>
                  <a:gd name="connsiteX31" fmla="*/ 57523 w 121340"/>
                  <a:gd name="connsiteY31" fmla="*/ 68580 h 68579"/>
                  <a:gd name="connsiteX32" fmla="*/ 62285 w 121340"/>
                  <a:gd name="connsiteY32" fmla="*/ 67627 h 68579"/>
                  <a:gd name="connsiteX33" fmla="*/ 71810 w 121340"/>
                  <a:gd name="connsiteY33" fmla="*/ 65723 h 68579"/>
                  <a:gd name="connsiteX34" fmla="*/ 74668 w 121340"/>
                  <a:gd name="connsiteY34" fmla="*/ 65723 h 68579"/>
                  <a:gd name="connsiteX35" fmla="*/ 75620 w 121340"/>
                  <a:gd name="connsiteY35" fmla="*/ 60007 h 68579"/>
                  <a:gd name="connsiteX36" fmla="*/ 76573 w 121340"/>
                  <a:gd name="connsiteY36" fmla="*/ 57150 h 68579"/>
                  <a:gd name="connsiteX37" fmla="*/ 81335 w 121340"/>
                  <a:gd name="connsiteY37" fmla="*/ 56198 h 68579"/>
                  <a:gd name="connsiteX38" fmla="*/ 88003 w 121340"/>
                  <a:gd name="connsiteY38" fmla="*/ 56198 h 68579"/>
                  <a:gd name="connsiteX39" fmla="*/ 96575 w 121340"/>
                  <a:gd name="connsiteY39" fmla="*/ 56198 h 68579"/>
                  <a:gd name="connsiteX40" fmla="*/ 98480 w 121340"/>
                  <a:gd name="connsiteY40" fmla="*/ 56198 h 68579"/>
                  <a:gd name="connsiteX41" fmla="*/ 104195 w 121340"/>
                  <a:gd name="connsiteY41" fmla="*/ 55245 h 68579"/>
                  <a:gd name="connsiteX42" fmla="*/ 109910 w 121340"/>
                  <a:gd name="connsiteY42" fmla="*/ 53340 h 68579"/>
                  <a:gd name="connsiteX43" fmla="*/ 114673 w 121340"/>
                  <a:gd name="connsiteY43" fmla="*/ 51435 h 68579"/>
                  <a:gd name="connsiteX44" fmla="*/ 120388 w 121340"/>
                  <a:gd name="connsiteY44" fmla="*/ 44767 h 68579"/>
                  <a:gd name="connsiteX45" fmla="*/ 121340 w 121340"/>
                  <a:gd name="connsiteY45" fmla="*/ 40957 h 68579"/>
                  <a:gd name="connsiteX46" fmla="*/ 116578 w 121340"/>
                  <a:gd name="connsiteY46" fmla="*/ 38100 h 68579"/>
                  <a:gd name="connsiteX47" fmla="*/ 108957 w 121340"/>
                  <a:gd name="connsiteY47" fmla="*/ 35242 h 68579"/>
                  <a:gd name="connsiteX48" fmla="*/ 108957 w 121340"/>
                  <a:gd name="connsiteY48" fmla="*/ 29527 h 68579"/>
                  <a:gd name="connsiteX49" fmla="*/ 106100 w 121340"/>
                  <a:gd name="connsiteY49" fmla="*/ 25717 h 68579"/>
                  <a:gd name="connsiteX50" fmla="*/ 101338 w 121340"/>
                  <a:gd name="connsiteY50" fmla="*/ 24765 h 68579"/>
                  <a:gd name="connsiteX51" fmla="*/ 90860 w 121340"/>
                  <a:gd name="connsiteY51" fmla="*/ 21907 h 68579"/>
                  <a:gd name="connsiteX52" fmla="*/ 89907 w 121340"/>
                  <a:gd name="connsiteY52" fmla="*/ 19050 h 68579"/>
                  <a:gd name="connsiteX53" fmla="*/ 82288 w 121340"/>
                  <a:gd name="connsiteY53" fmla="*/ 16192 h 68579"/>
                  <a:gd name="connsiteX54" fmla="*/ 76573 w 121340"/>
                  <a:gd name="connsiteY54" fmla="*/ 15240 h 68579"/>
                  <a:gd name="connsiteX55" fmla="*/ 70857 w 121340"/>
                  <a:gd name="connsiteY55" fmla="*/ 11430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1340" h="68579">
                    <a:moveTo>
                      <a:pt x="70857" y="11430"/>
                    </a:moveTo>
                    <a:lnTo>
                      <a:pt x="68000" y="6667"/>
                    </a:lnTo>
                    <a:lnTo>
                      <a:pt x="65143" y="1905"/>
                    </a:lnTo>
                    <a:lnTo>
                      <a:pt x="60380" y="0"/>
                    </a:lnTo>
                    <a:lnTo>
                      <a:pt x="57523" y="952"/>
                    </a:lnTo>
                    <a:lnTo>
                      <a:pt x="49903" y="1905"/>
                    </a:lnTo>
                    <a:lnTo>
                      <a:pt x="44188" y="1905"/>
                    </a:lnTo>
                    <a:cubicBezTo>
                      <a:pt x="44188" y="1905"/>
                      <a:pt x="39425" y="4763"/>
                      <a:pt x="39425" y="5715"/>
                    </a:cubicBezTo>
                    <a:cubicBezTo>
                      <a:pt x="40378" y="6667"/>
                      <a:pt x="37520" y="7620"/>
                      <a:pt x="37520" y="9525"/>
                    </a:cubicBezTo>
                    <a:cubicBezTo>
                      <a:pt x="36568" y="10477"/>
                      <a:pt x="31805" y="14288"/>
                      <a:pt x="31805" y="14288"/>
                    </a:cubicBezTo>
                    <a:lnTo>
                      <a:pt x="28948" y="16192"/>
                    </a:lnTo>
                    <a:cubicBezTo>
                      <a:pt x="28948" y="16192"/>
                      <a:pt x="27043" y="16192"/>
                      <a:pt x="27043" y="18098"/>
                    </a:cubicBezTo>
                    <a:cubicBezTo>
                      <a:pt x="27995" y="19050"/>
                      <a:pt x="27995" y="17145"/>
                      <a:pt x="27995" y="19050"/>
                    </a:cubicBezTo>
                    <a:cubicBezTo>
                      <a:pt x="27995" y="21907"/>
                      <a:pt x="24185" y="24765"/>
                      <a:pt x="24185" y="24765"/>
                    </a:cubicBezTo>
                    <a:lnTo>
                      <a:pt x="19423" y="27623"/>
                    </a:lnTo>
                    <a:lnTo>
                      <a:pt x="8945" y="29527"/>
                    </a:lnTo>
                    <a:lnTo>
                      <a:pt x="4182" y="31432"/>
                    </a:lnTo>
                    <a:lnTo>
                      <a:pt x="1325" y="33338"/>
                    </a:lnTo>
                    <a:cubicBezTo>
                      <a:pt x="3230" y="38100"/>
                      <a:pt x="3230" y="38100"/>
                      <a:pt x="3230" y="38100"/>
                    </a:cubicBezTo>
                    <a:cubicBezTo>
                      <a:pt x="3230" y="38100"/>
                      <a:pt x="1325" y="40957"/>
                      <a:pt x="2278" y="42863"/>
                    </a:cubicBezTo>
                    <a:cubicBezTo>
                      <a:pt x="3230" y="43815"/>
                      <a:pt x="-2485" y="46673"/>
                      <a:pt x="1325" y="47625"/>
                    </a:cubicBezTo>
                    <a:cubicBezTo>
                      <a:pt x="5135" y="48577"/>
                      <a:pt x="9898" y="48577"/>
                      <a:pt x="12755" y="49530"/>
                    </a:cubicBezTo>
                    <a:cubicBezTo>
                      <a:pt x="14660" y="50482"/>
                      <a:pt x="17518" y="48577"/>
                      <a:pt x="20375" y="49530"/>
                    </a:cubicBezTo>
                    <a:cubicBezTo>
                      <a:pt x="23232" y="50482"/>
                      <a:pt x="27995" y="49530"/>
                      <a:pt x="27995" y="49530"/>
                    </a:cubicBezTo>
                    <a:lnTo>
                      <a:pt x="29900" y="51435"/>
                    </a:lnTo>
                    <a:cubicBezTo>
                      <a:pt x="29900" y="51435"/>
                      <a:pt x="31805" y="53340"/>
                      <a:pt x="34663" y="53340"/>
                    </a:cubicBezTo>
                    <a:cubicBezTo>
                      <a:pt x="36568" y="53340"/>
                      <a:pt x="39425" y="53340"/>
                      <a:pt x="42282" y="53340"/>
                    </a:cubicBezTo>
                    <a:cubicBezTo>
                      <a:pt x="45140" y="54292"/>
                      <a:pt x="47045" y="54292"/>
                      <a:pt x="47045" y="56198"/>
                    </a:cubicBezTo>
                    <a:cubicBezTo>
                      <a:pt x="47998" y="58102"/>
                      <a:pt x="46093" y="58102"/>
                      <a:pt x="47045" y="60007"/>
                    </a:cubicBezTo>
                    <a:cubicBezTo>
                      <a:pt x="47998" y="61913"/>
                      <a:pt x="45140" y="62865"/>
                      <a:pt x="47045" y="64770"/>
                    </a:cubicBezTo>
                    <a:cubicBezTo>
                      <a:pt x="48950" y="66675"/>
                      <a:pt x="53713" y="68580"/>
                      <a:pt x="53713" y="68580"/>
                    </a:cubicBezTo>
                    <a:lnTo>
                      <a:pt x="57523" y="68580"/>
                    </a:lnTo>
                    <a:cubicBezTo>
                      <a:pt x="57523" y="68580"/>
                      <a:pt x="58475" y="68580"/>
                      <a:pt x="62285" y="67627"/>
                    </a:cubicBezTo>
                    <a:cubicBezTo>
                      <a:pt x="66095" y="67627"/>
                      <a:pt x="71810" y="65723"/>
                      <a:pt x="71810" y="65723"/>
                    </a:cubicBezTo>
                    <a:lnTo>
                      <a:pt x="74668" y="65723"/>
                    </a:lnTo>
                    <a:lnTo>
                      <a:pt x="75620" y="60007"/>
                    </a:lnTo>
                    <a:lnTo>
                      <a:pt x="76573" y="57150"/>
                    </a:lnTo>
                    <a:lnTo>
                      <a:pt x="81335" y="56198"/>
                    </a:lnTo>
                    <a:cubicBezTo>
                      <a:pt x="81335" y="56198"/>
                      <a:pt x="86098" y="56198"/>
                      <a:pt x="88003" y="56198"/>
                    </a:cubicBezTo>
                    <a:cubicBezTo>
                      <a:pt x="89907" y="57150"/>
                      <a:pt x="94670" y="56198"/>
                      <a:pt x="96575" y="56198"/>
                    </a:cubicBezTo>
                    <a:cubicBezTo>
                      <a:pt x="98480" y="56198"/>
                      <a:pt x="96575" y="56198"/>
                      <a:pt x="98480" y="56198"/>
                    </a:cubicBezTo>
                    <a:cubicBezTo>
                      <a:pt x="100385" y="55245"/>
                      <a:pt x="104195" y="55245"/>
                      <a:pt x="104195" y="55245"/>
                    </a:cubicBezTo>
                    <a:lnTo>
                      <a:pt x="109910" y="53340"/>
                    </a:lnTo>
                    <a:cubicBezTo>
                      <a:pt x="109910" y="53340"/>
                      <a:pt x="111815" y="52388"/>
                      <a:pt x="114673" y="51435"/>
                    </a:cubicBezTo>
                    <a:cubicBezTo>
                      <a:pt x="117530" y="51435"/>
                      <a:pt x="120388" y="44767"/>
                      <a:pt x="120388" y="44767"/>
                    </a:cubicBezTo>
                    <a:lnTo>
                      <a:pt x="121340" y="40957"/>
                    </a:lnTo>
                    <a:lnTo>
                      <a:pt x="116578" y="38100"/>
                    </a:lnTo>
                    <a:cubicBezTo>
                      <a:pt x="116578" y="38100"/>
                      <a:pt x="108957" y="36195"/>
                      <a:pt x="108957" y="35242"/>
                    </a:cubicBezTo>
                    <a:cubicBezTo>
                      <a:pt x="109910" y="34290"/>
                      <a:pt x="108957" y="29527"/>
                      <a:pt x="108957" y="29527"/>
                    </a:cubicBezTo>
                    <a:lnTo>
                      <a:pt x="106100" y="25717"/>
                    </a:lnTo>
                    <a:lnTo>
                      <a:pt x="101338" y="24765"/>
                    </a:lnTo>
                    <a:lnTo>
                      <a:pt x="90860" y="21907"/>
                    </a:lnTo>
                    <a:lnTo>
                      <a:pt x="89907" y="19050"/>
                    </a:lnTo>
                    <a:lnTo>
                      <a:pt x="82288" y="16192"/>
                    </a:lnTo>
                    <a:lnTo>
                      <a:pt x="76573" y="15240"/>
                    </a:lnTo>
                    <a:lnTo>
                      <a:pt x="70857"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E3D9C49A-18B1-439E-A993-B497820C20D9}"/>
                  </a:ext>
                </a:extLst>
              </p:cNvPr>
              <p:cNvSpPr/>
              <p:nvPr/>
            </p:nvSpPr>
            <p:spPr>
              <a:xfrm>
                <a:off x="7826721" y="3175364"/>
                <a:ext cx="181927" cy="61912"/>
              </a:xfrm>
              <a:custGeom>
                <a:avLst/>
                <a:gdLst>
                  <a:gd name="connsiteX0" fmla="*/ 152400 w 181927"/>
                  <a:gd name="connsiteY0" fmla="*/ 1905 h 61912"/>
                  <a:gd name="connsiteX1" fmla="*/ 140970 w 181927"/>
                  <a:gd name="connsiteY1" fmla="*/ 0 h 61912"/>
                  <a:gd name="connsiteX2" fmla="*/ 135255 w 181927"/>
                  <a:gd name="connsiteY2" fmla="*/ 0 h 61912"/>
                  <a:gd name="connsiteX3" fmla="*/ 126683 w 181927"/>
                  <a:gd name="connsiteY3" fmla="*/ 952 h 61912"/>
                  <a:gd name="connsiteX4" fmla="*/ 117158 w 181927"/>
                  <a:gd name="connsiteY4" fmla="*/ 3810 h 61912"/>
                  <a:gd name="connsiteX5" fmla="*/ 111443 w 181927"/>
                  <a:gd name="connsiteY5" fmla="*/ 4763 h 61912"/>
                  <a:gd name="connsiteX6" fmla="*/ 100965 w 181927"/>
                  <a:gd name="connsiteY6" fmla="*/ 5715 h 61912"/>
                  <a:gd name="connsiteX7" fmla="*/ 92393 w 181927"/>
                  <a:gd name="connsiteY7" fmla="*/ 5715 h 61912"/>
                  <a:gd name="connsiteX8" fmla="*/ 83820 w 181927"/>
                  <a:gd name="connsiteY8" fmla="*/ 6667 h 61912"/>
                  <a:gd name="connsiteX9" fmla="*/ 76200 w 181927"/>
                  <a:gd name="connsiteY9" fmla="*/ 7620 h 61912"/>
                  <a:gd name="connsiteX10" fmla="*/ 61913 w 181927"/>
                  <a:gd name="connsiteY10" fmla="*/ 7620 h 61912"/>
                  <a:gd name="connsiteX11" fmla="*/ 46673 w 181927"/>
                  <a:gd name="connsiteY11" fmla="*/ 5715 h 61912"/>
                  <a:gd name="connsiteX12" fmla="*/ 33338 w 181927"/>
                  <a:gd name="connsiteY12" fmla="*/ 2857 h 61912"/>
                  <a:gd name="connsiteX13" fmla="*/ 24765 w 181927"/>
                  <a:gd name="connsiteY13" fmla="*/ 952 h 61912"/>
                  <a:gd name="connsiteX14" fmla="*/ 14288 w 181927"/>
                  <a:gd name="connsiteY14" fmla="*/ 952 h 61912"/>
                  <a:gd name="connsiteX15" fmla="*/ 8573 w 181927"/>
                  <a:gd name="connsiteY15" fmla="*/ 1905 h 61912"/>
                  <a:gd name="connsiteX16" fmla="*/ 0 w 181927"/>
                  <a:gd name="connsiteY16" fmla="*/ 3810 h 61912"/>
                  <a:gd name="connsiteX17" fmla="*/ 953 w 181927"/>
                  <a:gd name="connsiteY17" fmla="*/ 10477 h 61912"/>
                  <a:gd name="connsiteX18" fmla="*/ 12383 w 181927"/>
                  <a:gd name="connsiteY18" fmla="*/ 12382 h 61912"/>
                  <a:gd name="connsiteX19" fmla="*/ 29528 w 181927"/>
                  <a:gd name="connsiteY19" fmla="*/ 21907 h 61912"/>
                  <a:gd name="connsiteX20" fmla="*/ 30480 w 181927"/>
                  <a:gd name="connsiteY20" fmla="*/ 23813 h 61912"/>
                  <a:gd name="connsiteX21" fmla="*/ 29528 w 181927"/>
                  <a:gd name="connsiteY21" fmla="*/ 29527 h 61912"/>
                  <a:gd name="connsiteX22" fmla="*/ 37148 w 181927"/>
                  <a:gd name="connsiteY22" fmla="*/ 34290 h 61912"/>
                  <a:gd name="connsiteX23" fmla="*/ 38100 w 181927"/>
                  <a:gd name="connsiteY23" fmla="*/ 36195 h 61912"/>
                  <a:gd name="connsiteX24" fmla="*/ 39053 w 181927"/>
                  <a:gd name="connsiteY24" fmla="*/ 41910 h 61912"/>
                  <a:gd name="connsiteX25" fmla="*/ 40005 w 181927"/>
                  <a:gd name="connsiteY25" fmla="*/ 45720 h 61912"/>
                  <a:gd name="connsiteX26" fmla="*/ 49530 w 181927"/>
                  <a:gd name="connsiteY26" fmla="*/ 48577 h 61912"/>
                  <a:gd name="connsiteX27" fmla="*/ 57150 w 181927"/>
                  <a:gd name="connsiteY27" fmla="*/ 49530 h 61912"/>
                  <a:gd name="connsiteX28" fmla="*/ 60960 w 181927"/>
                  <a:gd name="connsiteY28" fmla="*/ 54292 h 61912"/>
                  <a:gd name="connsiteX29" fmla="*/ 66675 w 181927"/>
                  <a:gd name="connsiteY29" fmla="*/ 57150 h 61912"/>
                  <a:gd name="connsiteX30" fmla="*/ 74295 w 181927"/>
                  <a:gd name="connsiteY30" fmla="*/ 60007 h 61912"/>
                  <a:gd name="connsiteX31" fmla="*/ 81915 w 181927"/>
                  <a:gd name="connsiteY31" fmla="*/ 61913 h 61912"/>
                  <a:gd name="connsiteX32" fmla="*/ 93345 w 181927"/>
                  <a:gd name="connsiteY32" fmla="*/ 59055 h 61912"/>
                  <a:gd name="connsiteX33" fmla="*/ 107633 w 181927"/>
                  <a:gd name="connsiteY33" fmla="*/ 59055 h 61912"/>
                  <a:gd name="connsiteX34" fmla="*/ 112395 w 181927"/>
                  <a:gd name="connsiteY34" fmla="*/ 56197 h 61912"/>
                  <a:gd name="connsiteX35" fmla="*/ 115253 w 181927"/>
                  <a:gd name="connsiteY35" fmla="*/ 50482 h 61912"/>
                  <a:gd name="connsiteX36" fmla="*/ 120968 w 181927"/>
                  <a:gd name="connsiteY36" fmla="*/ 47625 h 61912"/>
                  <a:gd name="connsiteX37" fmla="*/ 130493 w 181927"/>
                  <a:gd name="connsiteY37" fmla="*/ 45720 h 61912"/>
                  <a:gd name="connsiteX38" fmla="*/ 138113 w 181927"/>
                  <a:gd name="connsiteY38" fmla="*/ 44767 h 61912"/>
                  <a:gd name="connsiteX39" fmla="*/ 143828 w 181927"/>
                  <a:gd name="connsiteY39" fmla="*/ 40005 h 61912"/>
                  <a:gd name="connsiteX40" fmla="*/ 147638 w 181927"/>
                  <a:gd name="connsiteY40" fmla="*/ 36195 h 61912"/>
                  <a:gd name="connsiteX41" fmla="*/ 159068 w 181927"/>
                  <a:gd name="connsiteY41" fmla="*/ 34290 h 61912"/>
                  <a:gd name="connsiteX42" fmla="*/ 166688 w 181927"/>
                  <a:gd name="connsiteY42" fmla="*/ 35242 h 61912"/>
                  <a:gd name="connsiteX43" fmla="*/ 171450 w 181927"/>
                  <a:gd name="connsiteY43" fmla="*/ 35242 h 61912"/>
                  <a:gd name="connsiteX44" fmla="*/ 179070 w 181927"/>
                  <a:gd name="connsiteY44" fmla="*/ 32385 h 61912"/>
                  <a:gd name="connsiteX45" fmla="*/ 181928 w 181927"/>
                  <a:gd name="connsiteY45" fmla="*/ 23813 h 61912"/>
                  <a:gd name="connsiteX46" fmla="*/ 180975 w 181927"/>
                  <a:gd name="connsiteY46" fmla="*/ 20002 h 61912"/>
                  <a:gd name="connsiteX47" fmla="*/ 173355 w 181927"/>
                  <a:gd name="connsiteY47" fmla="*/ 17145 h 61912"/>
                  <a:gd name="connsiteX48" fmla="*/ 168593 w 181927"/>
                  <a:gd name="connsiteY48" fmla="*/ 15240 h 61912"/>
                  <a:gd name="connsiteX49" fmla="*/ 164783 w 181927"/>
                  <a:gd name="connsiteY49" fmla="*/ 12382 h 61912"/>
                  <a:gd name="connsiteX50" fmla="*/ 161925 w 181927"/>
                  <a:gd name="connsiteY50" fmla="*/ 10477 h 61912"/>
                  <a:gd name="connsiteX51" fmla="*/ 158115 w 181927"/>
                  <a:gd name="connsiteY51" fmla="*/ 10477 h 61912"/>
                  <a:gd name="connsiteX52" fmla="*/ 154305 w 181927"/>
                  <a:gd name="connsiteY52" fmla="*/ 7620 h 61912"/>
                  <a:gd name="connsiteX53" fmla="*/ 152400 w 181927"/>
                  <a:gd name="connsiteY53" fmla="*/ 1905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927" h="61912">
                    <a:moveTo>
                      <a:pt x="152400" y="1905"/>
                    </a:moveTo>
                    <a:lnTo>
                      <a:pt x="140970" y="0"/>
                    </a:lnTo>
                    <a:lnTo>
                      <a:pt x="135255" y="0"/>
                    </a:lnTo>
                    <a:lnTo>
                      <a:pt x="126683" y="952"/>
                    </a:lnTo>
                    <a:lnTo>
                      <a:pt x="117158" y="3810"/>
                    </a:lnTo>
                    <a:lnTo>
                      <a:pt x="111443" y="4763"/>
                    </a:lnTo>
                    <a:lnTo>
                      <a:pt x="100965" y="5715"/>
                    </a:lnTo>
                    <a:lnTo>
                      <a:pt x="92393" y="5715"/>
                    </a:lnTo>
                    <a:lnTo>
                      <a:pt x="83820" y="6667"/>
                    </a:lnTo>
                    <a:cubicBezTo>
                      <a:pt x="83820" y="6667"/>
                      <a:pt x="79058" y="6667"/>
                      <a:pt x="76200" y="7620"/>
                    </a:cubicBezTo>
                    <a:cubicBezTo>
                      <a:pt x="73343" y="8572"/>
                      <a:pt x="61913" y="7620"/>
                      <a:pt x="61913" y="7620"/>
                    </a:cubicBezTo>
                    <a:lnTo>
                      <a:pt x="46673" y="5715"/>
                    </a:lnTo>
                    <a:lnTo>
                      <a:pt x="33338" y="2857"/>
                    </a:lnTo>
                    <a:lnTo>
                      <a:pt x="24765" y="952"/>
                    </a:lnTo>
                    <a:lnTo>
                      <a:pt x="14288" y="952"/>
                    </a:lnTo>
                    <a:lnTo>
                      <a:pt x="8573" y="1905"/>
                    </a:lnTo>
                    <a:lnTo>
                      <a:pt x="0" y="3810"/>
                    </a:lnTo>
                    <a:lnTo>
                      <a:pt x="953" y="10477"/>
                    </a:lnTo>
                    <a:cubicBezTo>
                      <a:pt x="5715" y="12382"/>
                      <a:pt x="10478" y="12382"/>
                      <a:pt x="12383" y="12382"/>
                    </a:cubicBezTo>
                    <a:cubicBezTo>
                      <a:pt x="14288" y="13335"/>
                      <a:pt x="29528" y="21907"/>
                      <a:pt x="29528" y="21907"/>
                    </a:cubicBezTo>
                    <a:cubicBezTo>
                      <a:pt x="29528" y="21907"/>
                      <a:pt x="29528" y="21907"/>
                      <a:pt x="30480" y="23813"/>
                    </a:cubicBezTo>
                    <a:cubicBezTo>
                      <a:pt x="31433" y="25717"/>
                      <a:pt x="28575" y="27622"/>
                      <a:pt x="29528" y="29527"/>
                    </a:cubicBezTo>
                    <a:cubicBezTo>
                      <a:pt x="30480" y="31432"/>
                      <a:pt x="35243" y="32385"/>
                      <a:pt x="37148" y="34290"/>
                    </a:cubicBezTo>
                    <a:cubicBezTo>
                      <a:pt x="38100" y="36195"/>
                      <a:pt x="36195" y="32385"/>
                      <a:pt x="38100" y="36195"/>
                    </a:cubicBezTo>
                    <a:cubicBezTo>
                      <a:pt x="40958" y="40005"/>
                      <a:pt x="39053" y="38100"/>
                      <a:pt x="39053" y="41910"/>
                    </a:cubicBezTo>
                    <a:cubicBezTo>
                      <a:pt x="40005" y="45720"/>
                      <a:pt x="40005" y="45720"/>
                      <a:pt x="40005" y="45720"/>
                    </a:cubicBezTo>
                    <a:lnTo>
                      <a:pt x="49530" y="48577"/>
                    </a:lnTo>
                    <a:cubicBezTo>
                      <a:pt x="49530" y="48577"/>
                      <a:pt x="57150" y="46672"/>
                      <a:pt x="57150" y="49530"/>
                    </a:cubicBezTo>
                    <a:cubicBezTo>
                      <a:pt x="58103" y="51435"/>
                      <a:pt x="59055" y="52388"/>
                      <a:pt x="60960" y="54292"/>
                    </a:cubicBezTo>
                    <a:cubicBezTo>
                      <a:pt x="62865" y="56197"/>
                      <a:pt x="66675" y="57150"/>
                      <a:pt x="66675" y="57150"/>
                    </a:cubicBezTo>
                    <a:lnTo>
                      <a:pt x="74295" y="60007"/>
                    </a:lnTo>
                    <a:lnTo>
                      <a:pt x="81915" y="61913"/>
                    </a:lnTo>
                    <a:cubicBezTo>
                      <a:pt x="81915" y="61913"/>
                      <a:pt x="90488" y="58102"/>
                      <a:pt x="93345" y="59055"/>
                    </a:cubicBezTo>
                    <a:cubicBezTo>
                      <a:pt x="97155" y="60007"/>
                      <a:pt x="107633" y="59055"/>
                      <a:pt x="107633" y="59055"/>
                    </a:cubicBezTo>
                    <a:lnTo>
                      <a:pt x="112395" y="56197"/>
                    </a:lnTo>
                    <a:lnTo>
                      <a:pt x="115253" y="50482"/>
                    </a:lnTo>
                    <a:cubicBezTo>
                      <a:pt x="115253" y="50482"/>
                      <a:pt x="116205" y="48577"/>
                      <a:pt x="120968" y="47625"/>
                    </a:cubicBezTo>
                    <a:cubicBezTo>
                      <a:pt x="125730" y="46672"/>
                      <a:pt x="130493" y="45720"/>
                      <a:pt x="130493" y="45720"/>
                    </a:cubicBezTo>
                    <a:lnTo>
                      <a:pt x="138113" y="44767"/>
                    </a:lnTo>
                    <a:lnTo>
                      <a:pt x="143828" y="40005"/>
                    </a:lnTo>
                    <a:cubicBezTo>
                      <a:pt x="143828" y="40005"/>
                      <a:pt x="143828" y="36195"/>
                      <a:pt x="147638" y="36195"/>
                    </a:cubicBezTo>
                    <a:cubicBezTo>
                      <a:pt x="151448" y="36195"/>
                      <a:pt x="156210" y="33338"/>
                      <a:pt x="159068" y="34290"/>
                    </a:cubicBezTo>
                    <a:cubicBezTo>
                      <a:pt x="161925" y="35242"/>
                      <a:pt x="166688" y="35242"/>
                      <a:pt x="166688" y="35242"/>
                    </a:cubicBezTo>
                    <a:lnTo>
                      <a:pt x="171450" y="35242"/>
                    </a:lnTo>
                    <a:lnTo>
                      <a:pt x="179070" y="32385"/>
                    </a:lnTo>
                    <a:lnTo>
                      <a:pt x="181928" y="23813"/>
                    </a:lnTo>
                    <a:lnTo>
                      <a:pt x="180975" y="20002"/>
                    </a:lnTo>
                    <a:lnTo>
                      <a:pt x="173355" y="17145"/>
                    </a:lnTo>
                    <a:lnTo>
                      <a:pt x="168593" y="15240"/>
                    </a:lnTo>
                    <a:lnTo>
                      <a:pt x="164783" y="12382"/>
                    </a:lnTo>
                    <a:cubicBezTo>
                      <a:pt x="164783" y="12382"/>
                      <a:pt x="165735" y="10477"/>
                      <a:pt x="161925" y="10477"/>
                    </a:cubicBezTo>
                    <a:cubicBezTo>
                      <a:pt x="158115" y="10477"/>
                      <a:pt x="158115" y="10477"/>
                      <a:pt x="158115" y="10477"/>
                    </a:cubicBezTo>
                    <a:lnTo>
                      <a:pt x="154305" y="7620"/>
                    </a:lnTo>
                    <a:lnTo>
                      <a:pt x="152400"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393C9134-606D-4B60-A44B-ED5D23DE20DA}"/>
                  </a:ext>
                </a:extLst>
              </p:cNvPr>
              <p:cNvSpPr/>
              <p:nvPr/>
            </p:nvSpPr>
            <p:spPr>
              <a:xfrm>
                <a:off x="6775161" y="3774486"/>
                <a:ext cx="164782" cy="41909"/>
              </a:xfrm>
              <a:custGeom>
                <a:avLst/>
                <a:gdLst>
                  <a:gd name="connsiteX0" fmla="*/ 160973 w 164782"/>
                  <a:gd name="connsiteY0" fmla="*/ 40005 h 41909"/>
                  <a:gd name="connsiteX1" fmla="*/ 155258 w 164782"/>
                  <a:gd name="connsiteY1" fmla="*/ 40005 h 41909"/>
                  <a:gd name="connsiteX2" fmla="*/ 142875 w 164782"/>
                  <a:gd name="connsiteY2" fmla="*/ 41910 h 41909"/>
                  <a:gd name="connsiteX3" fmla="*/ 134303 w 164782"/>
                  <a:gd name="connsiteY3" fmla="*/ 40957 h 41909"/>
                  <a:gd name="connsiteX4" fmla="*/ 128588 w 164782"/>
                  <a:gd name="connsiteY4" fmla="*/ 38100 h 41909"/>
                  <a:gd name="connsiteX5" fmla="*/ 122873 w 164782"/>
                  <a:gd name="connsiteY5" fmla="*/ 35242 h 41909"/>
                  <a:gd name="connsiteX6" fmla="*/ 120015 w 164782"/>
                  <a:gd name="connsiteY6" fmla="*/ 32385 h 41909"/>
                  <a:gd name="connsiteX7" fmla="*/ 116205 w 164782"/>
                  <a:gd name="connsiteY7" fmla="*/ 30480 h 41909"/>
                  <a:gd name="connsiteX8" fmla="*/ 108585 w 164782"/>
                  <a:gd name="connsiteY8" fmla="*/ 28575 h 41909"/>
                  <a:gd name="connsiteX9" fmla="*/ 103823 w 164782"/>
                  <a:gd name="connsiteY9" fmla="*/ 27622 h 41909"/>
                  <a:gd name="connsiteX10" fmla="*/ 99060 w 164782"/>
                  <a:gd name="connsiteY10" fmla="*/ 25717 h 41909"/>
                  <a:gd name="connsiteX11" fmla="*/ 89535 w 164782"/>
                  <a:gd name="connsiteY11" fmla="*/ 23813 h 41909"/>
                  <a:gd name="connsiteX12" fmla="*/ 82868 w 164782"/>
                  <a:gd name="connsiteY12" fmla="*/ 22860 h 41909"/>
                  <a:gd name="connsiteX13" fmla="*/ 73343 w 164782"/>
                  <a:gd name="connsiteY13" fmla="*/ 19050 h 41909"/>
                  <a:gd name="connsiteX14" fmla="*/ 61913 w 164782"/>
                  <a:gd name="connsiteY14" fmla="*/ 16192 h 41909"/>
                  <a:gd name="connsiteX15" fmla="*/ 57150 w 164782"/>
                  <a:gd name="connsiteY15" fmla="*/ 15240 h 41909"/>
                  <a:gd name="connsiteX16" fmla="*/ 53340 w 164782"/>
                  <a:gd name="connsiteY16" fmla="*/ 15240 h 41909"/>
                  <a:gd name="connsiteX17" fmla="*/ 45720 w 164782"/>
                  <a:gd name="connsiteY17" fmla="*/ 15240 h 41909"/>
                  <a:gd name="connsiteX18" fmla="*/ 37148 w 164782"/>
                  <a:gd name="connsiteY18" fmla="*/ 16192 h 41909"/>
                  <a:gd name="connsiteX19" fmla="*/ 30480 w 164782"/>
                  <a:gd name="connsiteY19" fmla="*/ 16192 h 41909"/>
                  <a:gd name="connsiteX20" fmla="*/ 20003 w 164782"/>
                  <a:gd name="connsiteY20" fmla="*/ 16192 h 41909"/>
                  <a:gd name="connsiteX21" fmla="*/ 13335 w 164782"/>
                  <a:gd name="connsiteY21" fmla="*/ 15240 h 41909"/>
                  <a:gd name="connsiteX22" fmla="*/ 4763 w 164782"/>
                  <a:gd name="connsiteY22" fmla="*/ 14288 h 41909"/>
                  <a:gd name="connsiteX23" fmla="*/ 0 w 164782"/>
                  <a:gd name="connsiteY23" fmla="*/ 8572 h 41909"/>
                  <a:gd name="connsiteX24" fmla="*/ 0 w 164782"/>
                  <a:gd name="connsiteY24" fmla="*/ 4763 h 41909"/>
                  <a:gd name="connsiteX25" fmla="*/ 3810 w 164782"/>
                  <a:gd name="connsiteY25" fmla="*/ 3810 h 41909"/>
                  <a:gd name="connsiteX26" fmla="*/ 8573 w 164782"/>
                  <a:gd name="connsiteY26" fmla="*/ 3810 h 41909"/>
                  <a:gd name="connsiteX27" fmla="*/ 16193 w 164782"/>
                  <a:gd name="connsiteY27" fmla="*/ 952 h 41909"/>
                  <a:gd name="connsiteX28" fmla="*/ 20955 w 164782"/>
                  <a:gd name="connsiteY28" fmla="*/ 0 h 41909"/>
                  <a:gd name="connsiteX29" fmla="*/ 22860 w 164782"/>
                  <a:gd name="connsiteY29" fmla="*/ 0 h 41909"/>
                  <a:gd name="connsiteX30" fmla="*/ 32385 w 164782"/>
                  <a:gd name="connsiteY30" fmla="*/ 952 h 41909"/>
                  <a:gd name="connsiteX31" fmla="*/ 40958 w 164782"/>
                  <a:gd name="connsiteY31" fmla="*/ 1905 h 41909"/>
                  <a:gd name="connsiteX32" fmla="*/ 52388 w 164782"/>
                  <a:gd name="connsiteY32" fmla="*/ 952 h 41909"/>
                  <a:gd name="connsiteX33" fmla="*/ 59055 w 164782"/>
                  <a:gd name="connsiteY33" fmla="*/ 952 h 41909"/>
                  <a:gd name="connsiteX34" fmla="*/ 70485 w 164782"/>
                  <a:gd name="connsiteY34" fmla="*/ 1905 h 41909"/>
                  <a:gd name="connsiteX35" fmla="*/ 81915 w 164782"/>
                  <a:gd name="connsiteY35" fmla="*/ 2857 h 41909"/>
                  <a:gd name="connsiteX36" fmla="*/ 89535 w 164782"/>
                  <a:gd name="connsiteY36" fmla="*/ 5715 h 41909"/>
                  <a:gd name="connsiteX37" fmla="*/ 97155 w 164782"/>
                  <a:gd name="connsiteY37" fmla="*/ 7620 h 41909"/>
                  <a:gd name="connsiteX38" fmla="*/ 104775 w 164782"/>
                  <a:gd name="connsiteY38" fmla="*/ 7620 h 41909"/>
                  <a:gd name="connsiteX39" fmla="*/ 113348 w 164782"/>
                  <a:gd name="connsiteY39" fmla="*/ 9525 h 41909"/>
                  <a:gd name="connsiteX40" fmla="*/ 118110 w 164782"/>
                  <a:gd name="connsiteY40" fmla="*/ 13335 h 41909"/>
                  <a:gd name="connsiteX41" fmla="*/ 123825 w 164782"/>
                  <a:gd name="connsiteY41" fmla="*/ 16192 h 41909"/>
                  <a:gd name="connsiteX42" fmla="*/ 130493 w 164782"/>
                  <a:gd name="connsiteY42" fmla="*/ 20002 h 41909"/>
                  <a:gd name="connsiteX43" fmla="*/ 139065 w 164782"/>
                  <a:gd name="connsiteY43" fmla="*/ 21907 h 41909"/>
                  <a:gd name="connsiteX44" fmla="*/ 151448 w 164782"/>
                  <a:gd name="connsiteY44" fmla="*/ 22860 h 41909"/>
                  <a:gd name="connsiteX45" fmla="*/ 160020 w 164782"/>
                  <a:gd name="connsiteY45" fmla="*/ 23813 h 41909"/>
                  <a:gd name="connsiteX46" fmla="*/ 164783 w 164782"/>
                  <a:gd name="connsiteY46" fmla="*/ 27622 h 41909"/>
                  <a:gd name="connsiteX47" fmla="*/ 161925 w 164782"/>
                  <a:gd name="connsiteY47" fmla="*/ 33338 h 41909"/>
                  <a:gd name="connsiteX48" fmla="*/ 160973 w 164782"/>
                  <a:gd name="connsiteY48" fmla="*/ 40005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782" h="41909">
                    <a:moveTo>
                      <a:pt x="160973" y="40005"/>
                    </a:moveTo>
                    <a:cubicBezTo>
                      <a:pt x="160973" y="40005"/>
                      <a:pt x="158115" y="38100"/>
                      <a:pt x="155258" y="40005"/>
                    </a:cubicBezTo>
                    <a:cubicBezTo>
                      <a:pt x="152400" y="40957"/>
                      <a:pt x="142875" y="41910"/>
                      <a:pt x="142875" y="41910"/>
                    </a:cubicBezTo>
                    <a:lnTo>
                      <a:pt x="134303" y="40957"/>
                    </a:lnTo>
                    <a:lnTo>
                      <a:pt x="128588" y="38100"/>
                    </a:lnTo>
                    <a:lnTo>
                      <a:pt x="122873" y="35242"/>
                    </a:lnTo>
                    <a:lnTo>
                      <a:pt x="120015" y="32385"/>
                    </a:lnTo>
                    <a:lnTo>
                      <a:pt x="116205" y="30480"/>
                    </a:lnTo>
                    <a:lnTo>
                      <a:pt x="108585" y="28575"/>
                    </a:lnTo>
                    <a:lnTo>
                      <a:pt x="103823" y="27622"/>
                    </a:lnTo>
                    <a:lnTo>
                      <a:pt x="99060" y="25717"/>
                    </a:lnTo>
                    <a:lnTo>
                      <a:pt x="89535" y="23813"/>
                    </a:lnTo>
                    <a:lnTo>
                      <a:pt x="82868" y="22860"/>
                    </a:lnTo>
                    <a:lnTo>
                      <a:pt x="73343" y="19050"/>
                    </a:lnTo>
                    <a:lnTo>
                      <a:pt x="61913" y="16192"/>
                    </a:lnTo>
                    <a:lnTo>
                      <a:pt x="57150" y="15240"/>
                    </a:lnTo>
                    <a:lnTo>
                      <a:pt x="53340" y="15240"/>
                    </a:lnTo>
                    <a:cubicBezTo>
                      <a:pt x="53340" y="15240"/>
                      <a:pt x="47625" y="14288"/>
                      <a:pt x="45720" y="15240"/>
                    </a:cubicBezTo>
                    <a:cubicBezTo>
                      <a:pt x="43815" y="16192"/>
                      <a:pt x="37148" y="16192"/>
                      <a:pt x="37148" y="16192"/>
                    </a:cubicBezTo>
                    <a:cubicBezTo>
                      <a:pt x="37148" y="16192"/>
                      <a:pt x="37148" y="15240"/>
                      <a:pt x="30480" y="16192"/>
                    </a:cubicBezTo>
                    <a:cubicBezTo>
                      <a:pt x="23813" y="17145"/>
                      <a:pt x="20003" y="16192"/>
                      <a:pt x="20003" y="16192"/>
                    </a:cubicBezTo>
                    <a:lnTo>
                      <a:pt x="13335" y="15240"/>
                    </a:lnTo>
                    <a:lnTo>
                      <a:pt x="4763" y="14288"/>
                    </a:lnTo>
                    <a:lnTo>
                      <a:pt x="0" y="8572"/>
                    </a:lnTo>
                    <a:lnTo>
                      <a:pt x="0" y="4763"/>
                    </a:lnTo>
                    <a:cubicBezTo>
                      <a:pt x="3810" y="3810"/>
                      <a:pt x="-952" y="3810"/>
                      <a:pt x="3810" y="3810"/>
                    </a:cubicBezTo>
                    <a:cubicBezTo>
                      <a:pt x="8573" y="3810"/>
                      <a:pt x="8573" y="3810"/>
                      <a:pt x="8573" y="3810"/>
                    </a:cubicBezTo>
                    <a:lnTo>
                      <a:pt x="16193" y="952"/>
                    </a:lnTo>
                    <a:cubicBezTo>
                      <a:pt x="16193" y="952"/>
                      <a:pt x="18098" y="0"/>
                      <a:pt x="20955" y="0"/>
                    </a:cubicBezTo>
                    <a:cubicBezTo>
                      <a:pt x="22860" y="0"/>
                      <a:pt x="19050" y="0"/>
                      <a:pt x="22860" y="0"/>
                    </a:cubicBezTo>
                    <a:cubicBezTo>
                      <a:pt x="26670" y="0"/>
                      <a:pt x="32385" y="952"/>
                      <a:pt x="32385" y="952"/>
                    </a:cubicBezTo>
                    <a:cubicBezTo>
                      <a:pt x="32385" y="952"/>
                      <a:pt x="38100" y="1905"/>
                      <a:pt x="40958" y="1905"/>
                    </a:cubicBezTo>
                    <a:cubicBezTo>
                      <a:pt x="43815" y="1905"/>
                      <a:pt x="52388" y="952"/>
                      <a:pt x="52388" y="952"/>
                    </a:cubicBezTo>
                    <a:lnTo>
                      <a:pt x="59055" y="952"/>
                    </a:lnTo>
                    <a:lnTo>
                      <a:pt x="70485" y="1905"/>
                    </a:lnTo>
                    <a:cubicBezTo>
                      <a:pt x="70485" y="1905"/>
                      <a:pt x="80010" y="2857"/>
                      <a:pt x="81915" y="2857"/>
                    </a:cubicBezTo>
                    <a:cubicBezTo>
                      <a:pt x="83820" y="3810"/>
                      <a:pt x="89535" y="5715"/>
                      <a:pt x="89535" y="5715"/>
                    </a:cubicBezTo>
                    <a:lnTo>
                      <a:pt x="97155" y="7620"/>
                    </a:lnTo>
                    <a:cubicBezTo>
                      <a:pt x="97155" y="7620"/>
                      <a:pt x="102870" y="7620"/>
                      <a:pt x="104775" y="7620"/>
                    </a:cubicBezTo>
                    <a:cubicBezTo>
                      <a:pt x="106680" y="7620"/>
                      <a:pt x="113348" y="9525"/>
                      <a:pt x="113348" y="9525"/>
                    </a:cubicBezTo>
                    <a:cubicBezTo>
                      <a:pt x="113348" y="9525"/>
                      <a:pt x="116205" y="12382"/>
                      <a:pt x="118110" y="13335"/>
                    </a:cubicBezTo>
                    <a:cubicBezTo>
                      <a:pt x="120015" y="15240"/>
                      <a:pt x="122873" y="14288"/>
                      <a:pt x="123825" y="16192"/>
                    </a:cubicBezTo>
                    <a:cubicBezTo>
                      <a:pt x="124778" y="18097"/>
                      <a:pt x="130493" y="20002"/>
                      <a:pt x="130493" y="20002"/>
                    </a:cubicBezTo>
                    <a:lnTo>
                      <a:pt x="139065" y="21907"/>
                    </a:lnTo>
                    <a:cubicBezTo>
                      <a:pt x="139065" y="21907"/>
                      <a:pt x="149543" y="22860"/>
                      <a:pt x="151448" y="22860"/>
                    </a:cubicBezTo>
                    <a:cubicBezTo>
                      <a:pt x="153353" y="22860"/>
                      <a:pt x="158115" y="23813"/>
                      <a:pt x="160020" y="23813"/>
                    </a:cubicBezTo>
                    <a:cubicBezTo>
                      <a:pt x="161925" y="23813"/>
                      <a:pt x="164783" y="27622"/>
                      <a:pt x="164783" y="27622"/>
                    </a:cubicBezTo>
                    <a:cubicBezTo>
                      <a:pt x="163830" y="30480"/>
                      <a:pt x="161925" y="33338"/>
                      <a:pt x="161925" y="33338"/>
                    </a:cubicBezTo>
                    <a:lnTo>
                      <a:pt x="160973" y="400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063F222-C7A5-4E08-A7A9-18601E7CC4CD}"/>
                  </a:ext>
                </a:extLst>
              </p:cNvPr>
              <p:cNvSpPr/>
              <p:nvPr/>
            </p:nvSpPr>
            <p:spPr>
              <a:xfrm>
                <a:off x="6870411" y="3828779"/>
                <a:ext cx="50482" cy="15239"/>
              </a:xfrm>
              <a:custGeom>
                <a:avLst/>
                <a:gdLst>
                  <a:gd name="connsiteX0" fmla="*/ 40958 w 50482"/>
                  <a:gd name="connsiteY0" fmla="*/ 13335 h 15239"/>
                  <a:gd name="connsiteX1" fmla="*/ 32385 w 50482"/>
                  <a:gd name="connsiteY1" fmla="*/ 13335 h 15239"/>
                  <a:gd name="connsiteX2" fmla="*/ 26670 w 50482"/>
                  <a:gd name="connsiteY2" fmla="*/ 13335 h 15239"/>
                  <a:gd name="connsiteX3" fmla="*/ 20003 w 50482"/>
                  <a:gd name="connsiteY3" fmla="*/ 13335 h 15239"/>
                  <a:gd name="connsiteX4" fmla="*/ 15240 w 50482"/>
                  <a:gd name="connsiteY4" fmla="*/ 12383 h 15239"/>
                  <a:gd name="connsiteX5" fmla="*/ 12383 w 50482"/>
                  <a:gd name="connsiteY5" fmla="*/ 12383 h 15239"/>
                  <a:gd name="connsiteX6" fmla="*/ 7620 w 50482"/>
                  <a:gd name="connsiteY6" fmla="*/ 11430 h 15239"/>
                  <a:gd name="connsiteX7" fmla="*/ 4763 w 50482"/>
                  <a:gd name="connsiteY7" fmla="*/ 10477 h 15239"/>
                  <a:gd name="connsiteX8" fmla="*/ 953 w 50482"/>
                  <a:gd name="connsiteY8" fmla="*/ 7620 h 15239"/>
                  <a:gd name="connsiteX9" fmla="*/ 0 w 50482"/>
                  <a:gd name="connsiteY9" fmla="*/ 4763 h 15239"/>
                  <a:gd name="connsiteX10" fmla="*/ 1905 w 50482"/>
                  <a:gd name="connsiteY10" fmla="*/ 3810 h 15239"/>
                  <a:gd name="connsiteX11" fmla="*/ 6668 w 50482"/>
                  <a:gd name="connsiteY11" fmla="*/ 0 h 15239"/>
                  <a:gd name="connsiteX12" fmla="*/ 8573 w 50482"/>
                  <a:gd name="connsiteY12" fmla="*/ 0 h 15239"/>
                  <a:gd name="connsiteX13" fmla="*/ 14288 w 50482"/>
                  <a:gd name="connsiteY13" fmla="*/ 0 h 15239"/>
                  <a:gd name="connsiteX14" fmla="*/ 21908 w 50482"/>
                  <a:gd name="connsiteY14" fmla="*/ 0 h 15239"/>
                  <a:gd name="connsiteX15" fmla="*/ 26670 w 50482"/>
                  <a:gd name="connsiteY15" fmla="*/ 0 h 15239"/>
                  <a:gd name="connsiteX16" fmla="*/ 29528 w 50482"/>
                  <a:gd name="connsiteY16" fmla="*/ 0 h 15239"/>
                  <a:gd name="connsiteX17" fmla="*/ 33338 w 50482"/>
                  <a:gd name="connsiteY17" fmla="*/ 952 h 15239"/>
                  <a:gd name="connsiteX18" fmla="*/ 40005 w 50482"/>
                  <a:gd name="connsiteY18" fmla="*/ 1905 h 15239"/>
                  <a:gd name="connsiteX19" fmla="*/ 45720 w 50482"/>
                  <a:gd name="connsiteY19" fmla="*/ 3810 h 15239"/>
                  <a:gd name="connsiteX20" fmla="*/ 48578 w 50482"/>
                  <a:gd name="connsiteY20" fmla="*/ 6667 h 15239"/>
                  <a:gd name="connsiteX21" fmla="*/ 50483 w 50482"/>
                  <a:gd name="connsiteY21" fmla="*/ 10477 h 15239"/>
                  <a:gd name="connsiteX22" fmla="*/ 50483 w 50482"/>
                  <a:gd name="connsiteY22" fmla="*/ 12383 h 15239"/>
                  <a:gd name="connsiteX23" fmla="*/ 46673 w 50482"/>
                  <a:gd name="connsiteY23" fmla="*/ 15240 h 15239"/>
                  <a:gd name="connsiteX24" fmla="*/ 40958 w 50482"/>
                  <a:gd name="connsiteY24" fmla="*/ 13335 h 1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482" h="15239">
                    <a:moveTo>
                      <a:pt x="40958" y="13335"/>
                    </a:moveTo>
                    <a:lnTo>
                      <a:pt x="32385" y="13335"/>
                    </a:lnTo>
                    <a:lnTo>
                      <a:pt x="26670" y="13335"/>
                    </a:lnTo>
                    <a:lnTo>
                      <a:pt x="20003" y="13335"/>
                    </a:lnTo>
                    <a:lnTo>
                      <a:pt x="15240" y="12383"/>
                    </a:lnTo>
                    <a:cubicBezTo>
                      <a:pt x="15240" y="12383"/>
                      <a:pt x="13335" y="12383"/>
                      <a:pt x="12383" y="12383"/>
                    </a:cubicBezTo>
                    <a:cubicBezTo>
                      <a:pt x="10478" y="12383"/>
                      <a:pt x="7620" y="11430"/>
                      <a:pt x="7620" y="11430"/>
                    </a:cubicBezTo>
                    <a:lnTo>
                      <a:pt x="4763" y="10477"/>
                    </a:lnTo>
                    <a:lnTo>
                      <a:pt x="953" y="7620"/>
                    </a:lnTo>
                    <a:lnTo>
                      <a:pt x="0" y="4763"/>
                    </a:lnTo>
                    <a:lnTo>
                      <a:pt x="1905" y="3810"/>
                    </a:lnTo>
                    <a:cubicBezTo>
                      <a:pt x="4763" y="1905"/>
                      <a:pt x="4763" y="0"/>
                      <a:pt x="6668" y="0"/>
                    </a:cubicBezTo>
                    <a:cubicBezTo>
                      <a:pt x="8573" y="0"/>
                      <a:pt x="5715" y="0"/>
                      <a:pt x="8573" y="0"/>
                    </a:cubicBezTo>
                    <a:cubicBezTo>
                      <a:pt x="11430" y="0"/>
                      <a:pt x="14288" y="0"/>
                      <a:pt x="14288" y="0"/>
                    </a:cubicBezTo>
                    <a:cubicBezTo>
                      <a:pt x="14288" y="0"/>
                      <a:pt x="20003" y="0"/>
                      <a:pt x="21908" y="0"/>
                    </a:cubicBezTo>
                    <a:cubicBezTo>
                      <a:pt x="23813" y="0"/>
                      <a:pt x="26670" y="0"/>
                      <a:pt x="26670" y="0"/>
                    </a:cubicBezTo>
                    <a:lnTo>
                      <a:pt x="29528" y="0"/>
                    </a:lnTo>
                    <a:lnTo>
                      <a:pt x="33338" y="952"/>
                    </a:lnTo>
                    <a:cubicBezTo>
                      <a:pt x="33338" y="952"/>
                      <a:pt x="34290" y="0"/>
                      <a:pt x="40005" y="1905"/>
                    </a:cubicBezTo>
                    <a:cubicBezTo>
                      <a:pt x="45720" y="3810"/>
                      <a:pt x="45720" y="3810"/>
                      <a:pt x="45720" y="3810"/>
                    </a:cubicBezTo>
                    <a:cubicBezTo>
                      <a:pt x="45720" y="3810"/>
                      <a:pt x="47625" y="4763"/>
                      <a:pt x="48578" y="6667"/>
                    </a:cubicBezTo>
                    <a:cubicBezTo>
                      <a:pt x="49530" y="8573"/>
                      <a:pt x="50483" y="8573"/>
                      <a:pt x="50483" y="10477"/>
                    </a:cubicBezTo>
                    <a:cubicBezTo>
                      <a:pt x="50483" y="12383"/>
                      <a:pt x="50483" y="10477"/>
                      <a:pt x="50483" y="12383"/>
                    </a:cubicBezTo>
                    <a:cubicBezTo>
                      <a:pt x="50483" y="14288"/>
                      <a:pt x="46673" y="15240"/>
                      <a:pt x="46673" y="15240"/>
                    </a:cubicBezTo>
                    <a:lnTo>
                      <a:pt x="40958" y="133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4F9DC825-8998-4F4B-B85A-6A0818A49D54}"/>
                  </a:ext>
                </a:extLst>
              </p:cNvPr>
              <p:cNvSpPr/>
              <p:nvPr/>
            </p:nvSpPr>
            <p:spPr>
              <a:xfrm>
                <a:off x="6929466" y="3811210"/>
                <a:ext cx="125729" cy="30056"/>
              </a:xfrm>
              <a:custGeom>
                <a:avLst/>
                <a:gdLst>
                  <a:gd name="connsiteX0" fmla="*/ 12382 w 125729"/>
                  <a:gd name="connsiteY0" fmla="*/ 17568 h 30056"/>
                  <a:gd name="connsiteX1" fmla="*/ 4763 w 125729"/>
                  <a:gd name="connsiteY1" fmla="*/ 17568 h 30056"/>
                  <a:gd name="connsiteX2" fmla="*/ 0 w 125729"/>
                  <a:gd name="connsiteY2" fmla="*/ 18521 h 30056"/>
                  <a:gd name="connsiteX3" fmla="*/ 952 w 125729"/>
                  <a:gd name="connsiteY3" fmla="*/ 21378 h 30056"/>
                  <a:gd name="connsiteX4" fmla="*/ 1905 w 125729"/>
                  <a:gd name="connsiteY4" fmla="*/ 22331 h 30056"/>
                  <a:gd name="connsiteX5" fmla="*/ 4763 w 125729"/>
                  <a:gd name="connsiteY5" fmla="*/ 25188 h 30056"/>
                  <a:gd name="connsiteX6" fmla="*/ 5715 w 125729"/>
                  <a:gd name="connsiteY6" fmla="*/ 27093 h 30056"/>
                  <a:gd name="connsiteX7" fmla="*/ 18097 w 125729"/>
                  <a:gd name="connsiteY7" fmla="*/ 29951 h 30056"/>
                  <a:gd name="connsiteX8" fmla="*/ 23813 w 125729"/>
                  <a:gd name="connsiteY8" fmla="*/ 29951 h 30056"/>
                  <a:gd name="connsiteX9" fmla="*/ 28575 w 125729"/>
                  <a:gd name="connsiteY9" fmla="*/ 28046 h 30056"/>
                  <a:gd name="connsiteX10" fmla="*/ 33338 w 125729"/>
                  <a:gd name="connsiteY10" fmla="*/ 28046 h 30056"/>
                  <a:gd name="connsiteX11" fmla="*/ 39052 w 125729"/>
                  <a:gd name="connsiteY11" fmla="*/ 28998 h 30056"/>
                  <a:gd name="connsiteX12" fmla="*/ 51435 w 125729"/>
                  <a:gd name="connsiteY12" fmla="*/ 28998 h 30056"/>
                  <a:gd name="connsiteX13" fmla="*/ 57150 w 125729"/>
                  <a:gd name="connsiteY13" fmla="*/ 28998 h 30056"/>
                  <a:gd name="connsiteX14" fmla="*/ 64770 w 125729"/>
                  <a:gd name="connsiteY14" fmla="*/ 28998 h 30056"/>
                  <a:gd name="connsiteX15" fmla="*/ 78105 w 125729"/>
                  <a:gd name="connsiteY15" fmla="*/ 28046 h 30056"/>
                  <a:gd name="connsiteX16" fmla="*/ 87630 w 125729"/>
                  <a:gd name="connsiteY16" fmla="*/ 28998 h 30056"/>
                  <a:gd name="connsiteX17" fmla="*/ 95250 w 125729"/>
                  <a:gd name="connsiteY17" fmla="*/ 29951 h 30056"/>
                  <a:gd name="connsiteX18" fmla="*/ 100013 w 125729"/>
                  <a:gd name="connsiteY18" fmla="*/ 29951 h 30056"/>
                  <a:gd name="connsiteX19" fmla="*/ 107632 w 125729"/>
                  <a:gd name="connsiteY19" fmla="*/ 29951 h 30056"/>
                  <a:gd name="connsiteX20" fmla="*/ 116205 w 125729"/>
                  <a:gd name="connsiteY20" fmla="*/ 28998 h 30056"/>
                  <a:gd name="connsiteX21" fmla="*/ 121920 w 125729"/>
                  <a:gd name="connsiteY21" fmla="*/ 28046 h 30056"/>
                  <a:gd name="connsiteX22" fmla="*/ 124777 w 125729"/>
                  <a:gd name="connsiteY22" fmla="*/ 26141 h 30056"/>
                  <a:gd name="connsiteX23" fmla="*/ 125730 w 125729"/>
                  <a:gd name="connsiteY23" fmla="*/ 23283 h 30056"/>
                  <a:gd name="connsiteX24" fmla="*/ 122872 w 125729"/>
                  <a:gd name="connsiteY24" fmla="*/ 20426 h 30056"/>
                  <a:gd name="connsiteX25" fmla="*/ 116205 w 125729"/>
                  <a:gd name="connsiteY25" fmla="*/ 17568 h 30056"/>
                  <a:gd name="connsiteX26" fmla="*/ 111442 w 125729"/>
                  <a:gd name="connsiteY26" fmla="*/ 13758 h 30056"/>
                  <a:gd name="connsiteX27" fmla="*/ 110490 w 125729"/>
                  <a:gd name="connsiteY27" fmla="*/ 12806 h 30056"/>
                  <a:gd name="connsiteX28" fmla="*/ 102870 w 125729"/>
                  <a:gd name="connsiteY28" fmla="*/ 10901 h 30056"/>
                  <a:gd name="connsiteX29" fmla="*/ 98107 w 125729"/>
                  <a:gd name="connsiteY29" fmla="*/ 9948 h 30056"/>
                  <a:gd name="connsiteX30" fmla="*/ 91440 w 125729"/>
                  <a:gd name="connsiteY30" fmla="*/ 7091 h 30056"/>
                  <a:gd name="connsiteX31" fmla="*/ 86677 w 125729"/>
                  <a:gd name="connsiteY31" fmla="*/ 5186 h 30056"/>
                  <a:gd name="connsiteX32" fmla="*/ 76200 w 125729"/>
                  <a:gd name="connsiteY32" fmla="*/ 2328 h 30056"/>
                  <a:gd name="connsiteX33" fmla="*/ 63817 w 125729"/>
                  <a:gd name="connsiteY33" fmla="*/ 423 h 30056"/>
                  <a:gd name="connsiteX34" fmla="*/ 57150 w 125729"/>
                  <a:gd name="connsiteY34" fmla="*/ 423 h 30056"/>
                  <a:gd name="connsiteX35" fmla="*/ 48577 w 125729"/>
                  <a:gd name="connsiteY35" fmla="*/ 1376 h 30056"/>
                  <a:gd name="connsiteX36" fmla="*/ 42863 w 125729"/>
                  <a:gd name="connsiteY36" fmla="*/ 2328 h 30056"/>
                  <a:gd name="connsiteX37" fmla="*/ 35242 w 125729"/>
                  <a:gd name="connsiteY37" fmla="*/ 6138 h 30056"/>
                  <a:gd name="connsiteX38" fmla="*/ 31432 w 125729"/>
                  <a:gd name="connsiteY38" fmla="*/ 9948 h 30056"/>
                  <a:gd name="connsiteX39" fmla="*/ 27622 w 125729"/>
                  <a:gd name="connsiteY39" fmla="*/ 11853 h 30056"/>
                  <a:gd name="connsiteX40" fmla="*/ 23813 w 125729"/>
                  <a:gd name="connsiteY40" fmla="*/ 12806 h 30056"/>
                  <a:gd name="connsiteX41" fmla="*/ 20002 w 125729"/>
                  <a:gd name="connsiteY41" fmla="*/ 13758 h 30056"/>
                  <a:gd name="connsiteX42" fmla="*/ 12382 w 125729"/>
                  <a:gd name="connsiteY42" fmla="*/ 17568 h 3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729" h="30056">
                    <a:moveTo>
                      <a:pt x="12382" y="17568"/>
                    </a:moveTo>
                    <a:cubicBezTo>
                      <a:pt x="10477" y="17568"/>
                      <a:pt x="4763" y="17568"/>
                      <a:pt x="4763" y="17568"/>
                    </a:cubicBezTo>
                    <a:lnTo>
                      <a:pt x="0" y="18521"/>
                    </a:lnTo>
                    <a:cubicBezTo>
                      <a:pt x="0" y="18521"/>
                      <a:pt x="952" y="20426"/>
                      <a:pt x="952" y="21378"/>
                    </a:cubicBezTo>
                    <a:cubicBezTo>
                      <a:pt x="1905" y="22331"/>
                      <a:pt x="1905" y="22331"/>
                      <a:pt x="1905" y="22331"/>
                    </a:cubicBezTo>
                    <a:cubicBezTo>
                      <a:pt x="1905" y="22331"/>
                      <a:pt x="3810" y="23283"/>
                      <a:pt x="4763" y="25188"/>
                    </a:cubicBezTo>
                    <a:cubicBezTo>
                      <a:pt x="5715" y="27093"/>
                      <a:pt x="4763" y="23283"/>
                      <a:pt x="5715" y="27093"/>
                    </a:cubicBezTo>
                    <a:cubicBezTo>
                      <a:pt x="6667" y="30903"/>
                      <a:pt x="18097" y="29951"/>
                      <a:pt x="18097" y="29951"/>
                    </a:cubicBezTo>
                    <a:cubicBezTo>
                      <a:pt x="18097" y="29951"/>
                      <a:pt x="22860" y="29951"/>
                      <a:pt x="23813" y="29951"/>
                    </a:cubicBezTo>
                    <a:cubicBezTo>
                      <a:pt x="25717" y="29951"/>
                      <a:pt x="28575" y="28046"/>
                      <a:pt x="28575" y="28046"/>
                    </a:cubicBezTo>
                    <a:lnTo>
                      <a:pt x="33338" y="28046"/>
                    </a:lnTo>
                    <a:cubicBezTo>
                      <a:pt x="33338" y="28046"/>
                      <a:pt x="37147" y="28998"/>
                      <a:pt x="39052" y="28998"/>
                    </a:cubicBezTo>
                    <a:cubicBezTo>
                      <a:pt x="40957" y="28998"/>
                      <a:pt x="51435" y="28998"/>
                      <a:pt x="51435" y="28998"/>
                    </a:cubicBezTo>
                    <a:cubicBezTo>
                      <a:pt x="51435" y="28998"/>
                      <a:pt x="54292" y="28998"/>
                      <a:pt x="57150" y="28998"/>
                    </a:cubicBezTo>
                    <a:cubicBezTo>
                      <a:pt x="59055" y="28998"/>
                      <a:pt x="61913" y="28998"/>
                      <a:pt x="64770" y="28998"/>
                    </a:cubicBezTo>
                    <a:cubicBezTo>
                      <a:pt x="67627" y="28998"/>
                      <a:pt x="75247" y="28046"/>
                      <a:pt x="78105" y="28046"/>
                    </a:cubicBezTo>
                    <a:cubicBezTo>
                      <a:pt x="80963" y="28046"/>
                      <a:pt x="85725" y="28998"/>
                      <a:pt x="87630" y="28998"/>
                    </a:cubicBezTo>
                    <a:cubicBezTo>
                      <a:pt x="89535" y="28998"/>
                      <a:pt x="93345" y="28998"/>
                      <a:pt x="95250" y="29951"/>
                    </a:cubicBezTo>
                    <a:cubicBezTo>
                      <a:pt x="97155" y="29951"/>
                      <a:pt x="97155" y="29951"/>
                      <a:pt x="100013" y="29951"/>
                    </a:cubicBezTo>
                    <a:cubicBezTo>
                      <a:pt x="102870" y="29951"/>
                      <a:pt x="104775" y="29951"/>
                      <a:pt x="107632" y="29951"/>
                    </a:cubicBezTo>
                    <a:cubicBezTo>
                      <a:pt x="111442" y="29951"/>
                      <a:pt x="114300" y="29951"/>
                      <a:pt x="116205" y="28998"/>
                    </a:cubicBezTo>
                    <a:cubicBezTo>
                      <a:pt x="118110" y="28998"/>
                      <a:pt x="120967" y="28046"/>
                      <a:pt x="121920" y="28046"/>
                    </a:cubicBezTo>
                    <a:cubicBezTo>
                      <a:pt x="123825" y="28046"/>
                      <a:pt x="124777" y="27093"/>
                      <a:pt x="124777" y="26141"/>
                    </a:cubicBezTo>
                    <a:cubicBezTo>
                      <a:pt x="125730" y="25188"/>
                      <a:pt x="125730" y="23283"/>
                      <a:pt x="125730" y="23283"/>
                    </a:cubicBezTo>
                    <a:cubicBezTo>
                      <a:pt x="125730" y="23283"/>
                      <a:pt x="124777" y="21378"/>
                      <a:pt x="122872" y="20426"/>
                    </a:cubicBezTo>
                    <a:cubicBezTo>
                      <a:pt x="120967" y="19473"/>
                      <a:pt x="118110" y="18521"/>
                      <a:pt x="116205" y="17568"/>
                    </a:cubicBezTo>
                    <a:cubicBezTo>
                      <a:pt x="114300" y="16616"/>
                      <a:pt x="111442" y="13758"/>
                      <a:pt x="111442" y="13758"/>
                    </a:cubicBezTo>
                    <a:cubicBezTo>
                      <a:pt x="111442" y="13758"/>
                      <a:pt x="112395" y="12806"/>
                      <a:pt x="110490" y="12806"/>
                    </a:cubicBezTo>
                    <a:cubicBezTo>
                      <a:pt x="108585" y="12806"/>
                      <a:pt x="102870" y="10901"/>
                      <a:pt x="102870" y="10901"/>
                    </a:cubicBezTo>
                    <a:lnTo>
                      <a:pt x="98107" y="9948"/>
                    </a:lnTo>
                    <a:lnTo>
                      <a:pt x="91440" y="7091"/>
                    </a:lnTo>
                    <a:lnTo>
                      <a:pt x="86677" y="5186"/>
                    </a:lnTo>
                    <a:cubicBezTo>
                      <a:pt x="86677" y="5186"/>
                      <a:pt x="79057" y="2328"/>
                      <a:pt x="76200" y="2328"/>
                    </a:cubicBezTo>
                    <a:cubicBezTo>
                      <a:pt x="73342" y="2328"/>
                      <a:pt x="63817" y="423"/>
                      <a:pt x="63817" y="423"/>
                    </a:cubicBezTo>
                    <a:cubicBezTo>
                      <a:pt x="63817" y="423"/>
                      <a:pt x="60007" y="-529"/>
                      <a:pt x="57150" y="423"/>
                    </a:cubicBezTo>
                    <a:cubicBezTo>
                      <a:pt x="54292" y="1376"/>
                      <a:pt x="50482" y="1376"/>
                      <a:pt x="48577" y="1376"/>
                    </a:cubicBezTo>
                    <a:cubicBezTo>
                      <a:pt x="46672" y="2328"/>
                      <a:pt x="42863" y="2328"/>
                      <a:pt x="42863" y="2328"/>
                    </a:cubicBezTo>
                    <a:cubicBezTo>
                      <a:pt x="42863" y="2328"/>
                      <a:pt x="38100" y="3281"/>
                      <a:pt x="35242" y="6138"/>
                    </a:cubicBezTo>
                    <a:cubicBezTo>
                      <a:pt x="33338" y="8996"/>
                      <a:pt x="32385" y="8996"/>
                      <a:pt x="31432" y="9948"/>
                    </a:cubicBezTo>
                    <a:cubicBezTo>
                      <a:pt x="30480" y="10901"/>
                      <a:pt x="27622" y="11853"/>
                      <a:pt x="27622" y="11853"/>
                    </a:cubicBezTo>
                    <a:cubicBezTo>
                      <a:pt x="27622" y="11853"/>
                      <a:pt x="25717" y="11853"/>
                      <a:pt x="23813" y="12806"/>
                    </a:cubicBezTo>
                    <a:cubicBezTo>
                      <a:pt x="21907" y="13758"/>
                      <a:pt x="20002" y="13758"/>
                      <a:pt x="20002" y="13758"/>
                    </a:cubicBezTo>
                    <a:lnTo>
                      <a:pt x="12382" y="175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8C736CE1-3F6E-4F37-9738-9190604F1CDE}"/>
                  </a:ext>
                </a:extLst>
              </p:cNvPr>
              <p:cNvSpPr/>
              <p:nvPr/>
            </p:nvSpPr>
            <p:spPr>
              <a:xfrm>
                <a:off x="5443566" y="3186793"/>
                <a:ext cx="1904" cy="9525"/>
              </a:xfrm>
              <a:custGeom>
                <a:avLst/>
                <a:gdLst>
                  <a:gd name="connsiteX0" fmla="*/ 1905 w 1904"/>
                  <a:gd name="connsiteY0" fmla="*/ 0 h 9525"/>
                  <a:gd name="connsiteX1" fmla="*/ 0 w 1904"/>
                  <a:gd name="connsiteY1" fmla="*/ 0 h 9525"/>
                  <a:gd name="connsiteX2" fmla="*/ 1905 w 1904"/>
                  <a:gd name="connsiteY2" fmla="*/ 0 h 9525"/>
                </a:gdLst>
                <a:ahLst/>
                <a:cxnLst>
                  <a:cxn ang="0">
                    <a:pos x="connsiteX0" y="connsiteY0"/>
                  </a:cxn>
                  <a:cxn ang="0">
                    <a:pos x="connsiteX1" y="connsiteY1"/>
                  </a:cxn>
                  <a:cxn ang="0">
                    <a:pos x="connsiteX2" y="connsiteY2"/>
                  </a:cxn>
                </a:cxnLst>
                <a:rect l="l" t="t" r="r" b="b"/>
                <a:pathLst>
                  <a:path w="1904" h="9525">
                    <a:moveTo>
                      <a:pt x="1905" y="0"/>
                    </a:moveTo>
                    <a:cubicBezTo>
                      <a:pt x="1905" y="0"/>
                      <a:pt x="952" y="0"/>
                      <a:pt x="0" y="0"/>
                    </a:cubicBezTo>
                    <a:cubicBezTo>
                      <a:pt x="0" y="0"/>
                      <a:pt x="952" y="0"/>
                      <a:pt x="190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E0D96788-96AD-4645-9E4B-6AC4AF81199C}"/>
                  </a:ext>
                </a:extLst>
              </p:cNvPr>
              <p:cNvSpPr/>
              <p:nvPr/>
            </p:nvSpPr>
            <p:spPr>
              <a:xfrm>
                <a:off x="5337839" y="3029631"/>
                <a:ext cx="2242184" cy="1686775"/>
              </a:xfrm>
              <a:custGeom>
                <a:avLst/>
                <a:gdLst>
                  <a:gd name="connsiteX0" fmla="*/ 2242185 w 2242184"/>
                  <a:gd name="connsiteY0" fmla="*/ 1098233 h 1686775"/>
                  <a:gd name="connsiteX1" fmla="*/ 2238375 w 2242184"/>
                  <a:gd name="connsiteY1" fmla="*/ 1078230 h 1686775"/>
                  <a:gd name="connsiteX2" fmla="*/ 2238375 w 2242184"/>
                  <a:gd name="connsiteY2" fmla="*/ 1068705 h 1686775"/>
                  <a:gd name="connsiteX3" fmla="*/ 2238375 w 2242184"/>
                  <a:gd name="connsiteY3" fmla="*/ 1062990 h 1686775"/>
                  <a:gd name="connsiteX4" fmla="*/ 2227898 w 2242184"/>
                  <a:gd name="connsiteY4" fmla="*/ 1052513 h 1686775"/>
                  <a:gd name="connsiteX5" fmla="*/ 2212658 w 2242184"/>
                  <a:gd name="connsiteY5" fmla="*/ 1049655 h 1686775"/>
                  <a:gd name="connsiteX6" fmla="*/ 2188845 w 2242184"/>
                  <a:gd name="connsiteY6" fmla="*/ 1042035 h 1686775"/>
                  <a:gd name="connsiteX7" fmla="*/ 2180273 w 2242184"/>
                  <a:gd name="connsiteY7" fmla="*/ 1037273 h 1686775"/>
                  <a:gd name="connsiteX8" fmla="*/ 2165033 w 2242184"/>
                  <a:gd name="connsiteY8" fmla="*/ 1034415 h 1686775"/>
                  <a:gd name="connsiteX9" fmla="*/ 2153603 w 2242184"/>
                  <a:gd name="connsiteY9" fmla="*/ 1032510 h 1686775"/>
                  <a:gd name="connsiteX10" fmla="*/ 2118360 w 2242184"/>
                  <a:gd name="connsiteY10" fmla="*/ 1026795 h 1686775"/>
                  <a:gd name="connsiteX11" fmla="*/ 2109788 w 2242184"/>
                  <a:gd name="connsiteY11" fmla="*/ 1024890 h 1686775"/>
                  <a:gd name="connsiteX12" fmla="*/ 2087880 w 2242184"/>
                  <a:gd name="connsiteY12" fmla="*/ 1020127 h 1686775"/>
                  <a:gd name="connsiteX13" fmla="*/ 2070735 w 2242184"/>
                  <a:gd name="connsiteY13" fmla="*/ 1015365 h 1686775"/>
                  <a:gd name="connsiteX14" fmla="*/ 2059305 w 2242184"/>
                  <a:gd name="connsiteY14" fmla="*/ 1013460 h 1686775"/>
                  <a:gd name="connsiteX15" fmla="*/ 2045970 w 2242184"/>
                  <a:gd name="connsiteY15" fmla="*/ 1010602 h 1686775"/>
                  <a:gd name="connsiteX16" fmla="*/ 2037398 w 2242184"/>
                  <a:gd name="connsiteY16" fmla="*/ 1005840 h 1686775"/>
                  <a:gd name="connsiteX17" fmla="*/ 2022158 w 2242184"/>
                  <a:gd name="connsiteY17" fmla="*/ 992505 h 1686775"/>
                  <a:gd name="connsiteX18" fmla="*/ 2006918 w 2242184"/>
                  <a:gd name="connsiteY18" fmla="*/ 979170 h 1686775"/>
                  <a:gd name="connsiteX19" fmla="*/ 2000250 w 2242184"/>
                  <a:gd name="connsiteY19" fmla="*/ 970598 h 1686775"/>
                  <a:gd name="connsiteX20" fmla="*/ 1993583 w 2242184"/>
                  <a:gd name="connsiteY20" fmla="*/ 963930 h 1686775"/>
                  <a:gd name="connsiteX21" fmla="*/ 1969770 w 2242184"/>
                  <a:gd name="connsiteY21" fmla="*/ 950595 h 1686775"/>
                  <a:gd name="connsiteX22" fmla="*/ 1954530 w 2242184"/>
                  <a:gd name="connsiteY22" fmla="*/ 944880 h 1686775"/>
                  <a:gd name="connsiteX23" fmla="*/ 1937385 w 2242184"/>
                  <a:gd name="connsiteY23" fmla="*/ 939165 h 1686775"/>
                  <a:gd name="connsiteX24" fmla="*/ 1910715 w 2242184"/>
                  <a:gd name="connsiteY24" fmla="*/ 934402 h 1686775"/>
                  <a:gd name="connsiteX25" fmla="*/ 1902143 w 2242184"/>
                  <a:gd name="connsiteY25" fmla="*/ 934402 h 1686775"/>
                  <a:gd name="connsiteX26" fmla="*/ 1880235 w 2242184"/>
                  <a:gd name="connsiteY26" fmla="*/ 928688 h 1686775"/>
                  <a:gd name="connsiteX27" fmla="*/ 1866900 w 2242184"/>
                  <a:gd name="connsiteY27" fmla="*/ 922973 h 1686775"/>
                  <a:gd name="connsiteX28" fmla="*/ 1858328 w 2242184"/>
                  <a:gd name="connsiteY28" fmla="*/ 911543 h 1686775"/>
                  <a:gd name="connsiteX29" fmla="*/ 1841183 w 2242184"/>
                  <a:gd name="connsiteY29" fmla="*/ 902970 h 1686775"/>
                  <a:gd name="connsiteX30" fmla="*/ 1830705 w 2242184"/>
                  <a:gd name="connsiteY30" fmla="*/ 897255 h 1686775"/>
                  <a:gd name="connsiteX31" fmla="*/ 1804035 w 2242184"/>
                  <a:gd name="connsiteY31" fmla="*/ 889635 h 1686775"/>
                  <a:gd name="connsiteX32" fmla="*/ 1784033 w 2242184"/>
                  <a:gd name="connsiteY32" fmla="*/ 887730 h 1686775"/>
                  <a:gd name="connsiteX33" fmla="*/ 1740218 w 2242184"/>
                  <a:gd name="connsiteY33" fmla="*/ 887730 h 1686775"/>
                  <a:gd name="connsiteX34" fmla="*/ 1720215 w 2242184"/>
                  <a:gd name="connsiteY34" fmla="*/ 887730 h 1686775"/>
                  <a:gd name="connsiteX35" fmla="*/ 1706880 w 2242184"/>
                  <a:gd name="connsiteY35" fmla="*/ 887730 h 1686775"/>
                  <a:gd name="connsiteX36" fmla="*/ 1674495 w 2242184"/>
                  <a:gd name="connsiteY36" fmla="*/ 879158 h 1686775"/>
                  <a:gd name="connsiteX37" fmla="*/ 1652588 w 2242184"/>
                  <a:gd name="connsiteY37" fmla="*/ 880110 h 1686775"/>
                  <a:gd name="connsiteX38" fmla="*/ 1644015 w 2242184"/>
                  <a:gd name="connsiteY38" fmla="*/ 878205 h 1686775"/>
                  <a:gd name="connsiteX39" fmla="*/ 1622108 w 2242184"/>
                  <a:gd name="connsiteY39" fmla="*/ 878205 h 1686775"/>
                  <a:gd name="connsiteX40" fmla="*/ 1590675 w 2242184"/>
                  <a:gd name="connsiteY40" fmla="*/ 884873 h 1686775"/>
                  <a:gd name="connsiteX41" fmla="*/ 1572578 w 2242184"/>
                  <a:gd name="connsiteY41" fmla="*/ 896302 h 1686775"/>
                  <a:gd name="connsiteX42" fmla="*/ 1557338 w 2242184"/>
                  <a:gd name="connsiteY42" fmla="*/ 897255 h 1686775"/>
                  <a:gd name="connsiteX43" fmla="*/ 1524000 w 2242184"/>
                  <a:gd name="connsiteY43" fmla="*/ 900113 h 1686775"/>
                  <a:gd name="connsiteX44" fmla="*/ 1508760 w 2242184"/>
                  <a:gd name="connsiteY44" fmla="*/ 900113 h 1686775"/>
                  <a:gd name="connsiteX45" fmla="*/ 1500188 w 2242184"/>
                  <a:gd name="connsiteY45" fmla="*/ 900113 h 1686775"/>
                  <a:gd name="connsiteX46" fmla="*/ 1480185 w 2242184"/>
                  <a:gd name="connsiteY46" fmla="*/ 897255 h 1686775"/>
                  <a:gd name="connsiteX47" fmla="*/ 1466850 w 2242184"/>
                  <a:gd name="connsiteY47" fmla="*/ 894398 h 1686775"/>
                  <a:gd name="connsiteX48" fmla="*/ 1458278 w 2242184"/>
                  <a:gd name="connsiteY48" fmla="*/ 882015 h 1686775"/>
                  <a:gd name="connsiteX49" fmla="*/ 1458278 w 2242184"/>
                  <a:gd name="connsiteY49" fmla="*/ 875348 h 1686775"/>
                  <a:gd name="connsiteX50" fmla="*/ 1458278 w 2242184"/>
                  <a:gd name="connsiteY50" fmla="*/ 866775 h 1686775"/>
                  <a:gd name="connsiteX51" fmla="*/ 1456373 w 2242184"/>
                  <a:gd name="connsiteY51" fmla="*/ 855345 h 1686775"/>
                  <a:gd name="connsiteX52" fmla="*/ 1454468 w 2242184"/>
                  <a:gd name="connsiteY52" fmla="*/ 838200 h 1686775"/>
                  <a:gd name="connsiteX53" fmla="*/ 1445895 w 2242184"/>
                  <a:gd name="connsiteY53" fmla="*/ 832485 h 1686775"/>
                  <a:gd name="connsiteX54" fmla="*/ 1432560 w 2242184"/>
                  <a:gd name="connsiteY54" fmla="*/ 830580 h 1686775"/>
                  <a:gd name="connsiteX55" fmla="*/ 1423988 w 2242184"/>
                  <a:gd name="connsiteY55" fmla="*/ 828675 h 1686775"/>
                  <a:gd name="connsiteX56" fmla="*/ 1403985 w 2242184"/>
                  <a:gd name="connsiteY56" fmla="*/ 821055 h 1686775"/>
                  <a:gd name="connsiteX57" fmla="*/ 1392555 w 2242184"/>
                  <a:gd name="connsiteY57" fmla="*/ 821055 h 1686775"/>
                  <a:gd name="connsiteX58" fmla="*/ 1379220 w 2242184"/>
                  <a:gd name="connsiteY58" fmla="*/ 821055 h 1686775"/>
                  <a:gd name="connsiteX59" fmla="*/ 1367790 w 2242184"/>
                  <a:gd name="connsiteY59" fmla="*/ 821055 h 1686775"/>
                  <a:gd name="connsiteX60" fmla="*/ 1359218 w 2242184"/>
                  <a:gd name="connsiteY60" fmla="*/ 815340 h 1686775"/>
                  <a:gd name="connsiteX61" fmla="*/ 1370648 w 2242184"/>
                  <a:gd name="connsiteY61" fmla="*/ 811530 h 1686775"/>
                  <a:gd name="connsiteX62" fmla="*/ 1382078 w 2242184"/>
                  <a:gd name="connsiteY62" fmla="*/ 808673 h 1686775"/>
                  <a:gd name="connsiteX63" fmla="*/ 1386840 w 2242184"/>
                  <a:gd name="connsiteY63" fmla="*/ 802958 h 1686775"/>
                  <a:gd name="connsiteX64" fmla="*/ 1386840 w 2242184"/>
                  <a:gd name="connsiteY64" fmla="*/ 797243 h 1686775"/>
                  <a:gd name="connsiteX65" fmla="*/ 1384935 w 2242184"/>
                  <a:gd name="connsiteY65" fmla="*/ 784860 h 1686775"/>
                  <a:gd name="connsiteX66" fmla="*/ 1384935 w 2242184"/>
                  <a:gd name="connsiteY66" fmla="*/ 776288 h 1686775"/>
                  <a:gd name="connsiteX67" fmla="*/ 1391603 w 2242184"/>
                  <a:gd name="connsiteY67" fmla="*/ 767715 h 1686775"/>
                  <a:gd name="connsiteX68" fmla="*/ 1394460 w 2242184"/>
                  <a:gd name="connsiteY68" fmla="*/ 759143 h 1686775"/>
                  <a:gd name="connsiteX69" fmla="*/ 1377315 w 2242184"/>
                  <a:gd name="connsiteY69" fmla="*/ 754380 h 1686775"/>
                  <a:gd name="connsiteX70" fmla="*/ 1359218 w 2242184"/>
                  <a:gd name="connsiteY70" fmla="*/ 757238 h 1686775"/>
                  <a:gd name="connsiteX71" fmla="*/ 1361123 w 2242184"/>
                  <a:gd name="connsiteY71" fmla="*/ 761048 h 1686775"/>
                  <a:gd name="connsiteX72" fmla="*/ 1347788 w 2242184"/>
                  <a:gd name="connsiteY72" fmla="*/ 761048 h 1686775"/>
                  <a:gd name="connsiteX73" fmla="*/ 1332548 w 2242184"/>
                  <a:gd name="connsiteY73" fmla="*/ 763905 h 1686775"/>
                  <a:gd name="connsiteX74" fmla="*/ 1332548 w 2242184"/>
                  <a:gd name="connsiteY74" fmla="*/ 767715 h 1686775"/>
                  <a:gd name="connsiteX75" fmla="*/ 1319213 w 2242184"/>
                  <a:gd name="connsiteY75" fmla="*/ 777240 h 1686775"/>
                  <a:gd name="connsiteX76" fmla="*/ 1312545 w 2242184"/>
                  <a:gd name="connsiteY76" fmla="*/ 785813 h 1686775"/>
                  <a:gd name="connsiteX77" fmla="*/ 1299210 w 2242184"/>
                  <a:gd name="connsiteY77" fmla="*/ 788670 h 1686775"/>
                  <a:gd name="connsiteX78" fmla="*/ 1290638 w 2242184"/>
                  <a:gd name="connsiteY78" fmla="*/ 789623 h 1686775"/>
                  <a:gd name="connsiteX79" fmla="*/ 1279208 w 2242184"/>
                  <a:gd name="connsiteY79" fmla="*/ 790575 h 1686775"/>
                  <a:gd name="connsiteX80" fmla="*/ 1263968 w 2242184"/>
                  <a:gd name="connsiteY80" fmla="*/ 790575 h 1686775"/>
                  <a:gd name="connsiteX81" fmla="*/ 1253490 w 2242184"/>
                  <a:gd name="connsiteY81" fmla="*/ 784860 h 1686775"/>
                  <a:gd name="connsiteX82" fmla="*/ 1244918 w 2242184"/>
                  <a:gd name="connsiteY82" fmla="*/ 777240 h 1686775"/>
                  <a:gd name="connsiteX83" fmla="*/ 1236345 w 2242184"/>
                  <a:gd name="connsiteY83" fmla="*/ 771525 h 1686775"/>
                  <a:gd name="connsiteX84" fmla="*/ 1229678 w 2242184"/>
                  <a:gd name="connsiteY84" fmla="*/ 765810 h 1686775"/>
                  <a:gd name="connsiteX85" fmla="*/ 1225868 w 2242184"/>
                  <a:gd name="connsiteY85" fmla="*/ 757238 h 1686775"/>
                  <a:gd name="connsiteX86" fmla="*/ 1223963 w 2242184"/>
                  <a:gd name="connsiteY86" fmla="*/ 747713 h 1686775"/>
                  <a:gd name="connsiteX87" fmla="*/ 1223963 w 2242184"/>
                  <a:gd name="connsiteY87" fmla="*/ 733425 h 1686775"/>
                  <a:gd name="connsiteX88" fmla="*/ 1223963 w 2242184"/>
                  <a:gd name="connsiteY88" fmla="*/ 723900 h 1686775"/>
                  <a:gd name="connsiteX89" fmla="*/ 1217295 w 2242184"/>
                  <a:gd name="connsiteY89" fmla="*/ 715327 h 1686775"/>
                  <a:gd name="connsiteX90" fmla="*/ 1215390 w 2242184"/>
                  <a:gd name="connsiteY90" fmla="*/ 700088 h 1686775"/>
                  <a:gd name="connsiteX91" fmla="*/ 1217295 w 2242184"/>
                  <a:gd name="connsiteY91" fmla="*/ 694373 h 1686775"/>
                  <a:gd name="connsiteX92" fmla="*/ 1223963 w 2242184"/>
                  <a:gd name="connsiteY92" fmla="*/ 684848 h 1686775"/>
                  <a:gd name="connsiteX93" fmla="*/ 1238250 w 2242184"/>
                  <a:gd name="connsiteY93" fmla="*/ 675323 h 1686775"/>
                  <a:gd name="connsiteX94" fmla="*/ 1258253 w 2242184"/>
                  <a:gd name="connsiteY94" fmla="*/ 674370 h 1686775"/>
                  <a:gd name="connsiteX95" fmla="*/ 1271588 w 2242184"/>
                  <a:gd name="connsiteY95" fmla="*/ 673418 h 1686775"/>
                  <a:gd name="connsiteX96" fmla="*/ 1278255 w 2242184"/>
                  <a:gd name="connsiteY96" fmla="*/ 675323 h 1686775"/>
                  <a:gd name="connsiteX97" fmla="*/ 1291590 w 2242184"/>
                  <a:gd name="connsiteY97" fmla="*/ 675323 h 1686775"/>
                  <a:gd name="connsiteX98" fmla="*/ 1313498 w 2242184"/>
                  <a:gd name="connsiteY98" fmla="*/ 674370 h 1686775"/>
                  <a:gd name="connsiteX99" fmla="*/ 1322070 w 2242184"/>
                  <a:gd name="connsiteY99" fmla="*/ 677227 h 1686775"/>
                  <a:gd name="connsiteX100" fmla="*/ 1339215 w 2242184"/>
                  <a:gd name="connsiteY100" fmla="*/ 677227 h 1686775"/>
                  <a:gd name="connsiteX101" fmla="*/ 1347788 w 2242184"/>
                  <a:gd name="connsiteY101" fmla="*/ 676275 h 1686775"/>
                  <a:gd name="connsiteX102" fmla="*/ 1365885 w 2242184"/>
                  <a:gd name="connsiteY102" fmla="*/ 673418 h 1686775"/>
                  <a:gd name="connsiteX103" fmla="*/ 1377315 w 2242184"/>
                  <a:gd name="connsiteY103" fmla="*/ 672465 h 1686775"/>
                  <a:gd name="connsiteX104" fmla="*/ 1414463 w 2242184"/>
                  <a:gd name="connsiteY104" fmla="*/ 671513 h 1686775"/>
                  <a:gd name="connsiteX105" fmla="*/ 1436370 w 2242184"/>
                  <a:gd name="connsiteY105" fmla="*/ 674370 h 1686775"/>
                  <a:gd name="connsiteX106" fmla="*/ 1449705 w 2242184"/>
                  <a:gd name="connsiteY106" fmla="*/ 677227 h 1686775"/>
                  <a:gd name="connsiteX107" fmla="*/ 1458278 w 2242184"/>
                  <a:gd name="connsiteY107" fmla="*/ 679133 h 1686775"/>
                  <a:gd name="connsiteX108" fmla="*/ 1460183 w 2242184"/>
                  <a:gd name="connsiteY108" fmla="*/ 684848 h 1686775"/>
                  <a:gd name="connsiteX109" fmla="*/ 1463993 w 2242184"/>
                  <a:gd name="connsiteY109" fmla="*/ 701993 h 1686775"/>
                  <a:gd name="connsiteX110" fmla="*/ 1467803 w 2242184"/>
                  <a:gd name="connsiteY110" fmla="*/ 720090 h 1686775"/>
                  <a:gd name="connsiteX111" fmla="*/ 1474470 w 2242184"/>
                  <a:gd name="connsiteY111" fmla="*/ 724852 h 1686775"/>
                  <a:gd name="connsiteX112" fmla="*/ 1498283 w 2242184"/>
                  <a:gd name="connsiteY112" fmla="*/ 730568 h 1686775"/>
                  <a:gd name="connsiteX113" fmla="*/ 1506855 w 2242184"/>
                  <a:gd name="connsiteY113" fmla="*/ 727710 h 1686775"/>
                  <a:gd name="connsiteX114" fmla="*/ 1513523 w 2242184"/>
                  <a:gd name="connsiteY114" fmla="*/ 721043 h 1686775"/>
                  <a:gd name="connsiteX115" fmla="*/ 1516380 w 2242184"/>
                  <a:gd name="connsiteY115" fmla="*/ 708660 h 1686775"/>
                  <a:gd name="connsiteX116" fmla="*/ 1518285 w 2242184"/>
                  <a:gd name="connsiteY116" fmla="*/ 702945 h 1686775"/>
                  <a:gd name="connsiteX117" fmla="*/ 1509713 w 2242184"/>
                  <a:gd name="connsiteY117" fmla="*/ 682943 h 1686775"/>
                  <a:gd name="connsiteX118" fmla="*/ 1503045 w 2242184"/>
                  <a:gd name="connsiteY118" fmla="*/ 676275 h 1686775"/>
                  <a:gd name="connsiteX119" fmla="*/ 1501140 w 2242184"/>
                  <a:gd name="connsiteY119" fmla="*/ 667702 h 1686775"/>
                  <a:gd name="connsiteX120" fmla="*/ 1499235 w 2242184"/>
                  <a:gd name="connsiteY120" fmla="*/ 659130 h 1686775"/>
                  <a:gd name="connsiteX121" fmla="*/ 1497330 w 2242184"/>
                  <a:gd name="connsiteY121" fmla="*/ 641985 h 1686775"/>
                  <a:gd name="connsiteX122" fmla="*/ 1512570 w 2242184"/>
                  <a:gd name="connsiteY122" fmla="*/ 633413 h 1686775"/>
                  <a:gd name="connsiteX123" fmla="*/ 1521143 w 2242184"/>
                  <a:gd name="connsiteY123" fmla="*/ 633413 h 1686775"/>
                  <a:gd name="connsiteX124" fmla="*/ 1547813 w 2242184"/>
                  <a:gd name="connsiteY124" fmla="*/ 629602 h 1686775"/>
                  <a:gd name="connsiteX125" fmla="*/ 1556385 w 2242184"/>
                  <a:gd name="connsiteY125" fmla="*/ 625793 h 1686775"/>
                  <a:gd name="connsiteX126" fmla="*/ 1561148 w 2242184"/>
                  <a:gd name="connsiteY126" fmla="*/ 620077 h 1686775"/>
                  <a:gd name="connsiteX127" fmla="*/ 1583055 w 2242184"/>
                  <a:gd name="connsiteY127" fmla="*/ 605790 h 1686775"/>
                  <a:gd name="connsiteX128" fmla="*/ 1587818 w 2242184"/>
                  <a:gd name="connsiteY128" fmla="*/ 597218 h 1686775"/>
                  <a:gd name="connsiteX129" fmla="*/ 1587818 w 2242184"/>
                  <a:gd name="connsiteY129" fmla="*/ 591502 h 1686775"/>
                  <a:gd name="connsiteX130" fmla="*/ 1587818 w 2242184"/>
                  <a:gd name="connsiteY130" fmla="*/ 585788 h 1686775"/>
                  <a:gd name="connsiteX131" fmla="*/ 1581150 w 2242184"/>
                  <a:gd name="connsiteY131" fmla="*/ 574358 h 1686775"/>
                  <a:gd name="connsiteX132" fmla="*/ 1592580 w 2242184"/>
                  <a:gd name="connsiteY132" fmla="*/ 564833 h 1686775"/>
                  <a:gd name="connsiteX133" fmla="*/ 1604010 w 2242184"/>
                  <a:gd name="connsiteY133" fmla="*/ 564833 h 1686775"/>
                  <a:gd name="connsiteX134" fmla="*/ 1610678 w 2242184"/>
                  <a:gd name="connsiteY134" fmla="*/ 555308 h 1686775"/>
                  <a:gd name="connsiteX135" fmla="*/ 1622108 w 2242184"/>
                  <a:gd name="connsiteY135" fmla="*/ 549593 h 1686775"/>
                  <a:gd name="connsiteX136" fmla="*/ 1640205 w 2242184"/>
                  <a:gd name="connsiteY136" fmla="*/ 543877 h 1686775"/>
                  <a:gd name="connsiteX137" fmla="*/ 1653540 w 2242184"/>
                  <a:gd name="connsiteY137" fmla="*/ 538163 h 1686775"/>
                  <a:gd name="connsiteX138" fmla="*/ 1662113 w 2242184"/>
                  <a:gd name="connsiteY138" fmla="*/ 534352 h 1686775"/>
                  <a:gd name="connsiteX139" fmla="*/ 1677353 w 2242184"/>
                  <a:gd name="connsiteY139" fmla="*/ 524827 h 1686775"/>
                  <a:gd name="connsiteX140" fmla="*/ 1679258 w 2242184"/>
                  <a:gd name="connsiteY140" fmla="*/ 519112 h 1686775"/>
                  <a:gd name="connsiteX141" fmla="*/ 1679258 w 2242184"/>
                  <a:gd name="connsiteY141" fmla="*/ 507683 h 1686775"/>
                  <a:gd name="connsiteX142" fmla="*/ 1684020 w 2242184"/>
                  <a:gd name="connsiteY142" fmla="*/ 496252 h 1686775"/>
                  <a:gd name="connsiteX143" fmla="*/ 1688783 w 2242184"/>
                  <a:gd name="connsiteY143" fmla="*/ 490537 h 1686775"/>
                  <a:gd name="connsiteX144" fmla="*/ 1700213 w 2242184"/>
                  <a:gd name="connsiteY144" fmla="*/ 487680 h 1686775"/>
                  <a:gd name="connsiteX145" fmla="*/ 1708785 w 2242184"/>
                  <a:gd name="connsiteY145" fmla="*/ 487680 h 1686775"/>
                  <a:gd name="connsiteX146" fmla="*/ 1742123 w 2242184"/>
                  <a:gd name="connsiteY146" fmla="*/ 484823 h 1686775"/>
                  <a:gd name="connsiteX147" fmla="*/ 1760220 w 2242184"/>
                  <a:gd name="connsiteY147" fmla="*/ 479108 h 1686775"/>
                  <a:gd name="connsiteX148" fmla="*/ 1760220 w 2242184"/>
                  <a:gd name="connsiteY148" fmla="*/ 484823 h 1686775"/>
                  <a:gd name="connsiteX149" fmla="*/ 1768793 w 2242184"/>
                  <a:gd name="connsiteY149" fmla="*/ 494348 h 1686775"/>
                  <a:gd name="connsiteX150" fmla="*/ 1775460 w 2242184"/>
                  <a:gd name="connsiteY150" fmla="*/ 496252 h 1686775"/>
                  <a:gd name="connsiteX151" fmla="*/ 1784033 w 2242184"/>
                  <a:gd name="connsiteY151" fmla="*/ 492443 h 1686775"/>
                  <a:gd name="connsiteX152" fmla="*/ 1790700 w 2242184"/>
                  <a:gd name="connsiteY152" fmla="*/ 485775 h 1686775"/>
                  <a:gd name="connsiteX153" fmla="*/ 1799273 w 2242184"/>
                  <a:gd name="connsiteY153" fmla="*/ 484823 h 1686775"/>
                  <a:gd name="connsiteX154" fmla="*/ 1805940 w 2242184"/>
                  <a:gd name="connsiteY154" fmla="*/ 487680 h 1686775"/>
                  <a:gd name="connsiteX155" fmla="*/ 1817370 w 2242184"/>
                  <a:gd name="connsiteY155" fmla="*/ 486727 h 1686775"/>
                  <a:gd name="connsiteX156" fmla="*/ 1825943 w 2242184"/>
                  <a:gd name="connsiteY156" fmla="*/ 486727 h 1686775"/>
                  <a:gd name="connsiteX157" fmla="*/ 1841183 w 2242184"/>
                  <a:gd name="connsiteY157" fmla="*/ 481012 h 1686775"/>
                  <a:gd name="connsiteX158" fmla="*/ 1847850 w 2242184"/>
                  <a:gd name="connsiteY158" fmla="*/ 478155 h 1686775"/>
                  <a:gd name="connsiteX159" fmla="*/ 1854518 w 2242184"/>
                  <a:gd name="connsiteY159" fmla="*/ 472440 h 1686775"/>
                  <a:gd name="connsiteX160" fmla="*/ 1859280 w 2242184"/>
                  <a:gd name="connsiteY160" fmla="*/ 463868 h 1686775"/>
                  <a:gd name="connsiteX161" fmla="*/ 1852613 w 2242184"/>
                  <a:gd name="connsiteY161" fmla="*/ 461010 h 1686775"/>
                  <a:gd name="connsiteX162" fmla="*/ 1844040 w 2242184"/>
                  <a:gd name="connsiteY162" fmla="*/ 459105 h 1686775"/>
                  <a:gd name="connsiteX163" fmla="*/ 1830705 w 2242184"/>
                  <a:gd name="connsiteY163" fmla="*/ 460058 h 1686775"/>
                  <a:gd name="connsiteX164" fmla="*/ 1806893 w 2242184"/>
                  <a:gd name="connsiteY164" fmla="*/ 458152 h 1686775"/>
                  <a:gd name="connsiteX165" fmla="*/ 1793558 w 2242184"/>
                  <a:gd name="connsiteY165" fmla="*/ 455295 h 1686775"/>
                  <a:gd name="connsiteX166" fmla="*/ 1782128 w 2242184"/>
                  <a:gd name="connsiteY166" fmla="*/ 455295 h 1686775"/>
                  <a:gd name="connsiteX167" fmla="*/ 1773555 w 2242184"/>
                  <a:gd name="connsiteY167" fmla="*/ 450533 h 1686775"/>
                  <a:gd name="connsiteX168" fmla="*/ 1773555 w 2242184"/>
                  <a:gd name="connsiteY168" fmla="*/ 441960 h 1686775"/>
                  <a:gd name="connsiteX169" fmla="*/ 1773555 w 2242184"/>
                  <a:gd name="connsiteY169" fmla="*/ 435293 h 1686775"/>
                  <a:gd name="connsiteX170" fmla="*/ 1771650 w 2242184"/>
                  <a:gd name="connsiteY170" fmla="*/ 429577 h 1686775"/>
                  <a:gd name="connsiteX171" fmla="*/ 1756410 w 2242184"/>
                  <a:gd name="connsiteY171" fmla="*/ 416243 h 1686775"/>
                  <a:gd name="connsiteX172" fmla="*/ 1734503 w 2242184"/>
                  <a:gd name="connsiteY172" fmla="*/ 422910 h 1686775"/>
                  <a:gd name="connsiteX173" fmla="*/ 1723073 w 2242184"/>
                  <a:gd name="connsiteY173" fmla="*/ 425768 h 1686775"/>
                  <a:gd name="connsiteX174" fmla="*/ 1707833 w 2242184"/>
                  <a:gd name="connsiteY174" fmla="*/ 432435 h 1686775"/>
                  <a:gd name="connsiteX175" fmla="*/ 1699260 w 2242184"/>
                  <a:gd name="connsiteY175" fmla="*/ 432435 h 1686775"/>
                  <a:gd name="connsiteX176" fmla="*/ 1704023 w 2242184"/>
                  <a:gd name="connsiteY176" fmla="*/ 423862 h 1686775"/>
                  <a:gd name="connsiteX177" fmla="*/ 1719263 w 2242184"/>
                  <a:gd name="connsiteY177" fmla="*/ 414337 h 1686775"/>
                  <a:gd name="connsiteX178" fmla="*/ 1732598 w 2242184"/>
                  <a:gd name="connsiteY178" fmla="*/ 408623 h 1686775"/>
                  <a:gd name="connsiteX179" fmla="*/ 1745933 w 2242184"/>
                  <a:gd name="connsiteY179" fmla="*/ 407670 h 1686775"/>
                  <a:gd name="connsiteX180" fmla="*/ 1763078 w 2242184"/>
                  <a:gd name="connsiteY180" fmla="*/ 409575 h 1686775"/>
                  <a:gd name="connsiteX181" fmla="*/ 1778318 w 2242184"/>
                  <a:gd name="connsiteY181" fmla="*/ 409575 h 1686775"/>
                  <a:gd name="connsiteX182" fmla="*/ 1793558 w 2242184"/>
                  <a:gd name="connsiteY182" fmla="*/ 411480 h 1686775"/>
                  <a:gd name="connsiteX183" fmla="*/ 1798320 w 2242184"/>
                  <a:gd name="connsiteY183" fmla="*/ 417195 h 1686775"/>
                  <a:gd name="connsiteX184" fmla="*/ 1804988 w 2242184"/>
                  <a:gd name="connsiteY184" fmla="*/ 422910 h 1686775"/>
                  <a:gd name="connsiteX185" fmla="*/ 1818323 w 2242184"/>
                  <a:gd name="connsiteY185" fmla="*/ 425768 h 1686775"/>
                  <a:gd name="connsiteX186" fmla="*/ 1824990 w 2242184"/>
                  <a:gd name="connsiteY186" fmla="*/ 419100 h 1686775"/>
                  <a:gd name="connsiteX187" fmla="*/ 1836420 w 2242184"/>
                  <a:gd name="connsiteY187" fmla="*/ 415290 h 1686775"/>
                  <a:gd name="connsiteX188" fmla="*/ 1849755 w 2242184"/>
                  <a:gd name="connsiteY188" fmla="*/ 412433 h 1686775"/>
                  <a:gd name="connsiteX189" fmla="*/ 1861185 w 2242184"/>
                  <a:gd name="connsiteY189" fmla="*/ 414337 h 1686775"/>
                  <a:gd name="connsiteX190" fmla="*/ 1874520 w 2242184"/>
                  <a:gd name="connsiteY190" fmla="*/ 416243 h 1686775"/>
                  <a:gd name="connsiteX191" fmla="*/ 1883093 w 2242184"/>
                  <a:gd name="connsiteY191" fmla="*/ 407670 h 1686775"/>
                  <a:gd name="connsiteX192" fmla="*/ 1889760 w 2242184"/>
                  <a:gd name="connsiteY192" fmla="*/ 392430 h 1686775"/>
                  <a:gd name="connsiteX193" fmla="*/ 1901190 w 2242184"/>
                  <a:gd name="connsiteY193" fmla="*/ 386715 h 1686775"/>
                  <a:gd name="connsiteX194" fmla="*/ 1919288 w 2242184"/>
                  <a:gd name="connsiteY194" fmla="*/ 381000 h 1686775"/>
                  <a:gd name="connsiteX195" fmla="*/ 1925955 w 2242184"/>
                  <a:gd name="connsiteY195" fmla="*/ 371475 h 1686775"/>
                  <a:gd name="connsiteX196" fmla="*/ 1924050 w 2242184"/>
                  <a:gd name="connsiteY196" fmla="*/ 359093 h 1686775"/>
                  <a:gd name="connsiteX197" fmla="*/ 1920240 w 2242184"/>
                  <a:gd name="connsiteY197" fmla="*/ 352425 h 1686775"/>
                  <a:gd name="connsiteX198" fmla="*/ 1900238 w 2242184"/>
                  <a:gd name="connsiteY198" fmla="*/ 349568 h 1686775"/>
                  <a:gd name="connsiteX199" fmla="*/ 1891665 w 2242184"/>
                  <a:gd name="connsiteY199" fmla="*/ 340995 h 1686775"/>
                  <a:gd name="connsiteX200" fmla="*/ 1889760 w 2242184"/>
                  <a:gd name="connsiteY200" fmla="*/ 335280 h 1686775"/>
                  <a:gd name="connsiteX201" fmla="*/ 1876425 w 2242184"/>
                  <a:gd name="connsiteY201" fmla="*/ 332423 h 1686775"/>
                  <a:gd name="connsiteX202" fmla="*/ 1864995 w 2242184"/>
                  <a:gd name="connsiteY202" fmla="*/ 330518 h 1686775"/>
                  <a:gd name="connsiteX203" fmla="*/ 1854518 w 2242184"/>
                  <a:gd name="connsiteY203" fmla="*/ 319087 h 1686775"/>
                  <a:gd name="connsiteX204" fmla="*/ 1844040 w 2242184"/>
                  <a:gd name="connsiteY204" fmla="*/ 303848 h 1686775"/>
                  <a:gd name="connsiteX205" fmla="*/ 1837373 w 2242184"/>
                  <a:gd name="connsiteY205" fmla="*/ 291465 h 1686775"/>
                  <a:gd name="connsiteX206" fmla="*/ 1817370 w 2242184"/>
                  <a:gd name="connsiteY206" fmla="*/ 280987 h 1686775"/>
                  <a:gd name="connsiteX207" fmla="*/ 1810703 w 2242184"/>
                  <a:gd name="connsiteY207" fmla="*/ 273368 h 1686775"/>
                  <a:gd name="connsiteX208" fmla="*/ 1800225 w 2242184"/>
                  <a:gd name="connsiteY208" fmla="*/ 267653 h 1686775"/>
                  <a:gd name="connsiteX209" fmla="*/ 1786890 w 2242184"/>
                  <a:gd name="connsiteY209" fmla="*/ 257175 h 1686775"/>
                  <a:gd name="connsiteX210" fmla="*/ 1766888 w 2242184"/>
                  <a:gd name="connsiteY210" fmla="*/ 268605 h 1686775"/>
                  <a:gd name="connsiteX211" fmla="*/ 1753553 w 2242184"/>
                  <a:gd name="connsiteY211" fmla="*/ 275273 h 1686775"/>
                  <a:gd name="connsiteX212" fmla="*/ 1726883 w 2242184"/>
                  <a:gd name="connsiteY212" fmla="*/ 279083 h 1686775"/>
                  <a:gd name="connsiteX213" fmla="*/ 1715453 w 2242184"/>
                  <a:gd name="connsiteY213" fmla="*/ 276225 h 1686775"/>
                  <a:gd name="connsiteX214" fmla="*/ 1713548 w 2242184"/>
                  <a:gd name="connsiteY214" fmla="*/ 267653 h 1686775"/>
                  <a:gd name="connsiteX215" fmla="*/ 1711643 w 2242184"/>
                  <a:gd name="connsiteY215" fmla="*/ 258128 h 1686775"/>
                  <a:gd name="connsiteX216" fmla="*/ 1711643 w 2242184"/>
                  <a:gd name="connsiteY216" fmla="*/ 249555 h 1686775"/>
                  <a:gd name="connsiteX217" fmla="*/ 1709738 w 2242184"/>
                  <a:gd name="connsiteY217" fmla="*/ 242887 h 1686775"/>
                  <a:gd name="connsiteX218" fmla="*/ 1705928 w 2242184"/>
                  <a:gd name="connsiteY218" fmla="*/ 237173 h 1686775"/>
                  <a:gd name="connsiteX219" fmla="*/ 1690688 w 2242184"/>
                  <a:gd name="connsiteY219" fmla="*/ 234315 h 1686775"/>
                  <a:gd name="connsiteX220" fmla="*/ 1677353 w 2242184"/>
                  <a:gd name="connsiteY220" fmla="*/ 232410 h 1686775"/>
                  <a:gd name="connsiteX221" fmla="*/ 1665923 w 2242184"/>
                  <a:gd name="connsiteY221" fmla="*/ 232410 h 1686775"/>
                  <a:gd name="connsiteX222" fmla="*/ 1657350 w 2242184"/>
                  <a:gd name="connsiteY222" fmla="*/ 224790 h 1686775"/>
                  <a:gd name="connsiteX223" fmla="*/ 1647825 w 2242184"/>
                  <a:gd name="connsiteY223" fmla="*/ 218123 h 1686775"/>
                  <a:gd name="connsiteX224" fmla="*/ 1634490 w 2242184"/>
                  <a:gd name="connsiteY224" fmla="*/ 215265 h 1686775"/>
                  <a:gd name="connsiteX225" fmla="*/ 1617345 w 2242184"/>
                  <a:gd name="connsiteY225" fmla="*/ 215265 h 1686775"/>
                  <a:gd name="connsiteX226" fmla="*/ 1605915 w 2242184"/>
                  <a:gd name="connsiteY226" fmla="*/ 215265 h 1686775"/>
                  <a:gd name="connsiteX227" fmla="*/ 1584008 w 2242184"/>
                  <a:gd name="connsiteY227" fmla="*/ 215265 h 1686775"/>
                  <a:gd name="connsiteX228" fmla="*/ 1570673 w 2242184"/>
                  <a:gd name="connsiteY228" fmla="*/ 219075 h 1686775"/>
                  <a:gd name="connsiteX229" fmla="*/ 1559243 w 2242184"/>
                  <a:gd name="connsiteY229" fmla="*/ 242887 h 1686775"/>
                  <a:gd name="connsiteX230" fmla="*/ 1559243 w 2242184"/>
                  <a:gd name="connsiteY230" fmla="*/ 255270 h 1686775"/>
                  <a:gd name="connsiteX231" fmla="*/ 1559243 w 2242184"/>
                  <a:gd name="connsiteY231" fmla="*/ 261937 h 1686775"/>
                  <a:gd name="connsiteX232" fmla="*/ 1559243 w 2242184"/>
                  <a:gd name="connsiteY232" fmla="*/ 265748 h 1686775"/>
                  <a:gd name="connsiteX233" fmla="*/ 1563053 w 2242184"/>
                  <a:gd name="connsiteY233" fmla="*/ 280035 h 1686775"/>
                  <a:gd name="connsiteX234" fmla="*/ 1566863 w 2242184"/>
                  <a:gd name="connsiteY234" fmla="*/ 297180 h 1686775"/>
                  <a:gd name="connsiteX235" fmla="*/ 1564005 w 2242184"/>
                  <a:gd name="connsiteY235" fmla="*/ 320040 h 1686775"/>
                  <a:gd name="connsiteX236" fmla="*/ 1550670 w 2242184"/>
                  <a:gd name="connsiteY236" fmla="*/ 331470 h 1686775"/>
                  <a:gd name="connsiteX237" fmla="*/ 1542098 w 2242184"/>
                  <a:gd name="connsiteY237" fmla="*/ 331470 h 1686775"/>
                  <a:gd name="connsiteX238" fmla="*/ 1528763 w 2242184"/>
                  <a:gd name="connsiteY238" fmla="*/ 343853 h 1686775"/>
                  <a:gd name="connsiteX239" fmla="*/ 1535430 w 2242184"/>
                  <a:gd name="connsiteY239" fmla="*/ 359093 h 1686775"/>
                  <a:gd name="connsiteX240" fmla="*/ 1537335 w 2242184"/>
                  <a:gd name="connsiteY240" fmla="*/ 377190 h 1686775"/>
                  <a:gd name="connsiteX241" fmla="*/ 1544003 w 2242184"/>
                  <a:gd name="connsiteY241" fmla="*/ 382905 h 1686775"/>
                  <a:gd name="connsiteX242" fmla="*/ 1517333 w 2242184"/>
                  <a:gd name="connsiteY242" fmla="*/ 385762 h 1686775"/>
                  <a:gd name="connsiteX243" fmla="*/ 1510665 w 2242184"/>
                  <a:gd name="connsiteY243" fmla="*/ 380048 h 1686775"/>
                  <a:gd name="connsiteX244" fmla="*/ 1500188 w 2242184"/>
                  <a:gd name="connsiteY244" fmla="*/ 369570 h 1686775"/>
                  <a:gd name="connsiteX245" fmla="*/ 1496378 w 2242184"/>
                  <a:gd name="connsiteY245" fmla="*/ 358140 h 1686775"/>
                  <a:gd name="connsiteX246" fmla="*/ 1492568 w 2242184"/>
                  <a:gd name="connsiteY246" fmla="*/ 342900 h 1686775"/>
                  <a:gd name="connsiteX247" fmla="*/ 1490663 w 2242184"/>
                  <a:gd name="connsiteY247" fmla="*/ 328612 h 1686775"/>
                  <a:gd name="connsiteX248" fmla="*/ 1470660 w 2242184"/>
                  <a:gd name="connsiteY248" fmla="*/ 323850 h 1686775"/>
                  <a:gd name="connsiteX249" fmla="*/ 1450658 w 2242184"/>
                  <a:gd name="connsiteY249" fmla="*/ 320993 h 1686775"/>
                  <a:gd name="connsiteX250" fmla="*/ 1442085 w 2242184"/>
                  <a:gd name="connsiteY250" fmla="*/ 316230 h 1686775"/>
                  <a:gd name="connsiteX251" fmla="*/ 1437323 w 2242184"/>
                  <a:gd name="connsiteY251" fmla="*/ 310515 h 1686775"/>
                  <a:gd name="connsiteX252" fmla="*/ 1410653 w 2242184"/>
                  <a:gd name="connsiteY252" fmla="*/ 304800 h 1686775"/>
                  <a:gd name="connsiteX253" fmla="*/ 1390650 w 2242184"/>
                  <a:gd name="connsiteY253" fmla="*/ 303848 h 1686775"/>
                  <a:gd name="connsiteX254" fmla="*/ 1380173 w 2242184"/>
                  <a:gd name="connsiteY254" fmla="*/ 296228 h 1686775"/>
                  <a:gd name="connsiteX255" fmla="*/ 1366838 w 2242184"/>
                  <a:gd name="connsiteY255" fmla="*/ 294323 h 1686775"/>
                  <a:gd name="connsiteX256" fmla="*/ 1353503 w 2242184"/>
                  <a:gd name="connsiteY256" fmla="*/ 292418 h 1686775"/>
                  <a:gd name="connsiteX257" fmla="*/ 1336358 w 2242184"/>
                  <a:gd name="connsiteY257" fmla="*/ 289560 h 1686775"/>
                  <a:gd name="connsiteX258" fmla="*/ 1323023 w 2242184"/>
                  <a:gd name="connsiteY258" fmla="*/ 287655 h 1686775"/>
                  <a:gd name="connsiteX259" fmla="*/ 1312545 w 2242184"/>
                  <a:gd name="connsiteY259" fmla="*/ 279083 h 1686775"/>
                  <a:gd name="connsiteX260" fmla="*/ 1308735 w 2242184"/>
                  <a:gd name="connsiteY260" fmla="*/ 270510 h 1686775"/>
                  <a:gd name="connsiteX261" fmla="*/ 1291590 w 2242184"/>
                  <a:gd name="connsiteY261" fmla="*/ 264795 h 1686775"/>
                  <a:gd name="connsiteX262" fmla="*/ 1278255 w 2242184"/>
                  <a:gd name="connsiteY262" fmla="*/ 260033 h 1686775"/>
                  <a:gd name="connsiteX263" fmla="*/ 1263015 w 2242184"/>
                  <a:gd name="connsiteY263" fmla="*/ 255270 h 1686775"/>
                  <a:gd name="connsiteX264" fmla="*/ 1267778 w 2242184"/>
                  <a:gd name="connsiteY264" fmla="*/ 243840 h 1686775"/>
                  <a:gd name="connsiteX265" fmla="*/ 1279208 w 2242184"/>
                  <a:gd name="connsiteY265" fmla="*/ 234315 h 1686775"/>
                  <a:gd name="connsiteX266" fmla="*/ 1290638 w 2242184"/>
                  <a:gd name="connsiteY266" fmla="*/ 228600 h 1686775"/>
                  <a:gd name="connsiteX267" fmla="*/ 1292543 w 2242184"/>
                  <a:gd name="connsiteY267" fmla="*/ 222885 h 1686775"/>
                  <a:gd name="connsiteX268" fmla="*/ 1299210 w 2242184"/>
                  <a:gd name="connsiteY268" fmla="*/ 216217 h 1686775"/>
                  <a:gd name="connsiteX269" fmla="*/ 1301115 w 2242184"/>
                  <a:gd name="connsiteY269" fmla="*/ 210503 h 1686775"/>
                  <a:gd name="connsiteX270" fmla="*/ 1307783 w 2242184"/>
                  <a:gd name="connsiteY270" fmla="*/ 209550 h 1686775"/>
                  <a:gd name="connsiteX271" fmla="*/ 1319213 w 2242184"/>
                  <a:gd name="connsiteY271" fmla="*/ 200025 h 1686775"/>
                  <a:gd name="connsiteX272" fmla="*/ 1327785 w 2242184"/>
                  <a:gd name="connsiteY272" fmla="*/ 193358 h 1686775"/>
                  <a:gd name="connsiteX273" fmla="*/ 1334453 w 2242184"/>
                  <a:gd name="connsiteY273" fmla="*/ 192405 h 1686775"/>
                  <a:gd name="connsiteX274" fmla="*/ 1343025 w 2242184"/>
                  <a:gd name="connsiteY274" fmla="*/ 192405 h 1686775"/>
                  <a:gd name="connsiteX275" fmla="*/ 1361123 w 2242184"/>
                  <a:gd name="connsiteY275" fmla="*/ 185737 h 1686775"/>
                  <a:gd name="connsiteX276" fmla="*/ 1369695 w 2242184"/>
                  <a:gd name="connsiteY276" fmla="*/ 180023 h 1686775"/>
                  <a:gd name="connsiteX277" fmla="*/ 1398270 w 2242184"/>
                  <a:gd name="connsiteY277" fmla="*/ 164783 h 1686775"/>
                  <a:gd name="connsiteX278" fmla="*/ 1403033 w 2242184"/>
                  <a:gd name="connsiteY278" fmla="*/ 158115 h 1686775"/>
                  <a:gd name="connsiteX279" fmla="*/ 1405890 w 2242184"/>
                  <a:gd name="connsiteY279" fmla="*/ 151448 h 1686775"/>
                  <a:gd name="connsiteX280" fmla="*/ 1412558 w 2242184"/>
                  <a:gd name="connsiteY280" fmla="*/ 142875 h 1686775"/>
                  <a:gd name="connsiteX281" fmla="*/ 1425893 w 2242184"/>
                  <a:gd name="connsiteY281" fmla="*/ 140017 h 1686775"/>
                  <a:gd name="connsiteX282" fmla="*/ 1434465 w 2242184"/>
                  <a:gd name="connsiteY282" fmla="*/ 139065 h 1686775"/>
                  <a:gd name="connsiteX283" fmla="*/ 1461135 w 2242184"/>
                  <a:gd name="connsiteY283" fmla="*/ 139065 h 1686775"/>
                  <a:gd name="connsiteX284" fmla="*/ 1483043 w 2242184"/>
                  <a:gd name="connsiteY284" fmla="*/ 135255 h 1686775"/>
                  <a:gd name="connsiteX285" fmla="*/ 1487805 w 2242184"/>
                  <a:gd name="connsiteY285" fmla="*/ 128587 h 1686775"/>
                  <a:gd name="connsiteX286" fmla="*/ 1490663 w 2242184"/>
                  <a:gd name="connsiteY286" fmla="*/ 120015 h 1686775"/>
                  <a:gd name="connsiteX287" fmla="*/ 1497330 w 2242184"/>
                  <a:gd name="connsiteY287" fmla="*/ 111442 h 1686775"/>
                  <a:gd name="connsiteX288" fmla="*/ 1500188 w 2242184"/>
                  <a:gd name="connsiteY288" fmla="*/ 102870 h 1686775"/>
                  <a:gd name="connsiteX289" fmla="*/ 1500188 w 2242184"/>
                  <a:gd name="connsiteY289" fmla="*/ 91440 h 1686775"/>
                  <a:gd name="connsiteX290" fmla="*/ 1486853 w 2242184"/>
                  <a:gd name="connsiteY290" fmla="*/ 82867 h 1686775"/>
                  <a:gd name="connsiteX291" fmla="*/ 1478280 w 2242184"/>
                  <a:gd name="connsiteY291" fmla="*/ 78105 h 1686775"/>
                  <a:gd name="connsiteX292" fmla="*/ 1506855 w 2242184"/>
                  <a:gd name="connsiteY292" fmla="*/ 75248 h 1686775"/>
                  <a:gd name="connsiteX293" fmla="*/ 1513523 w 2242184"/>
                  <a:gd name="connsiteY293" fmla="*/ 77153 h 1686775"/>
                  <a:gd name="connsiteX294" fmla="*/ 1531620 w 2242184"/>
                  <a:gd name="connsiteY294" fmla="*/ 77153 h 1686775"/>
                  <a:gd name="connsiteX295" fmla="*/ 1544955 w 2242184"/>
                  <a:gd name="connsiteY295" fmla="*/ 77153 h 1686775"/>
                  <a:gd name="connsiteX296" fmla="*/ 1560195 w 2242184"/>
                  <a:gd name="connsiteY296" fmla="*/ 80010 h 1686775"/>
                  <a:gd name="connsiteX297" fmla="*/ 1584008 w 2242184"/>
                  <a:gd name="connsiteY297" fmla="*/ 84773 h 1686775"/>
                  <a:gd name="connsiteX298" fmla="*/ 1594485 w 2242184"/>
                  <a:gd name="connsiteY298" fmla="*/ 87630 h 1686775"/>
                  <a:gd name="connsiteX299" fmla="*/ 1603058 w 2242184"/>
                  <a:gd name="connsiteY299" fmla="*/ 90487 h 1686775"/>
                  <a:gd name="connsiteX300" fmla="*/ 1633538 w 2242184"/>
                  <a:gd name="connsiteY300" fmla="*/ 100965 h 1686775"/>
                  <a:gd name="connsiteX301" fmla="*/ 1642110 w 2242184"/>
                  <a:gd name="connsiteY301" fmla="*/ 105728 h 1686775"/>
                  <a:gd name="connsiteX302" fmla="*/ 1645920 w 2242184"/>
                  <a:gd name="connsiteY302" fmla="*/ 112395 h 1686775"/>
                  <a:gd name="connsiteX303" fmla="*/ 1647825 w 2242184"/>
                  <a:gd name="connsiteY303" fmla="*/ 118110 h 1686775"/>
                  <a:gd name="connsiteX304" fmla="*/ 1643063 w 2242184"/>
                  <a:gd name="connsiteY304" fmla="*/ 126683 h 1686775"/>
                  <a:gd name="connsiteX305" fmla="*/ 1643063 w 2242184"/>
                  <a:gd name="connsiteY305" fmla="*/ 130492 h 1686775"/>
                  <a:gd name="connsiteX306" fmla="*/ 1629728 w 2242184"/>
                  <a:gd name="connsiteY306" fmla="*/ 141923 h 1686775"/>
                  <a:gd name="connsiteX307" fmla="*/ 1624965 w 2242184"/>
                  <a:gd name="connsiteY307" fmla="*/ 151448 h 1686775"/>
                  <a:gd name="connsiteX308" fmla="*/ 1626870 w 2242184"/>
                  <a:gd name="connsiteY308" fmla="*/ 160973 h 1686775"/>
                  <a:gd name="connsiteX309" fmla="*/ 1637348 w 2242184"/>
                  <a:gd name="connsiteY309" fmla="*/ 169545 h 1686775"/>
                  <a:gd name="connsiteX310" fmla="*/ 1647825 w 2242184"/>
                  <a:gd name="connsiteY310" fmla="*/ 177165 h 1686775"/>
                  <a:gd name="connsiteX311" fmla="*/ 1654493 w 2242184"/>
                  <a:gd name="connsiteY311" fmla="*/ 182880 h 1686775"/>
                  <a:gd name="connsiteX312" fmla="*/ 1664970 w 2242184"/>
                  <a:gd name="connsiteY312" fmla="*/ 190500 h 1686775"/>
                  <a:gd name="connsiteX313" fmla="*/ 1680210 w 2242184"/>
                  <a:gd name="connsiteY313" fmla="*/ 196215 h 1686775"/>
                  <a:gd name="connsiteX314" fmla="*/ 1704023 w 2242184"/>
                  <a:gd name="connsiteY314" fmla="*/ 206692 h 1686775"/>
                  <a:gd name="connsiteX315" fmla="*/ 1710690 w 2242184"/>
                  <a:gd name="connsiteY315" fmla="*/ 209550 h 1686775"/>
                  <a:gd name="connsiteX316" fmla="*/ 1727835 w 2242184"/>
                  <a:gd name="connsiteY316" fmla="*/ 215265 h 1686775"/>
                  <a:gd name="connsiteX317" fmla="*/ 1736408 w 2242184"/>
                  <a:gd name="connsiteY317" fmla="*/ 218123 h 1686775"/>
                  <a:gd name="connsiteX318" fmla="*/ 1751648 w 2242184"/>
                  <a:gd name="connsiteY318" fmla="*/ 217170 h 1686775"/>
                  <a:gd name="connsiteX319" fmla="*/ 1762125 w 2242184"/>
                  <a:gd name="connsiteY319" fmla="*/ 218123 h 1686775"/>
                  <a:gd name="connsiteX320" fmla="*/ 1760220 w 2242184"/>
                  <a:gd name="connsiteY320" fmla="*/ 209550 h 1686775"/>
                  <a:gd name="connsiteX321" fmla="*/ 1771650 w 2242184"/>
                  <a:gd name="connsiteY321" fmla="*/ 209550 h 1686775"/>
                  <a:gd name="connsiteX322" fmla="*/ 1789748 w 2242184"/>
                  <a:gd name="connsiteY322" fmla="*/ 207645 h 1686775"/>
                  <a:gd name="connsiteX323" fmla="*/ 1792605 w 2242184"/>
                  <a:gd name="connsiteY323" fmla="*/ 203835 h 1686775"/>
                  <a:gd name="connsiteX324" fmla="*/ 1794510 w 2242184"/>
                  <a:gd name="connsiteY324" fmla="*/ 198120 h 1686775"/>
                  <a:gd name="connsiteX325" fmla="*/ 1789748 w 2242184"/>
                  <a:gd name="connsiteY325" fmla="*/ 192405 h 1686775"/>
                  <a:gd name="connsiteX326" fmla="*/ 1784985 w 2242184"/>
                  <a:gd name="connsiteY326" fmla="*/ 187642 h 1686775"/>
                  <a:gd name="connsiteX327" fmla="*/ 1778318 w 2242184"/>
                  <a:gd name="connsiteY327" fmla="*/ 178117 h 1686775"/>
                  <a:gd name="connsiteX328" fmla="*/ 1771650 w 2242184"/>
                  <a:gd name="connsiteY328" fmla="*/ 169545 h 1686775"/>
                  <a:gd name="connsiteX329" fmla="*/ 1755458 w 2242184"/>
                  <a:gd name="connsiteY329" fmla="*/ 163830 h 1686775"/>
                  <a:gd name="connsiteX330" fmla="*/ 1749743 w 2242184"/>
                  <a:gd name="connsiteY330" fmla="*/ 155258 h 1686775"/>
                  <a:gd name="connsiteX331" fmla="*/ 1751648 w 2242184"/>
                  <a:gd name="connsiteY331" fmla="*/ 148590 h 1686775"/>
                  <a:gd name="connsiteX332" fmla="*/ 1764983 w 2242184"/>
                  <a:gd name="connsiteY332" fmla="*/ 149542 h 1686775"/>
                  <a:gd name="connsiteX333" fmla="*/ 1772603 w 2242184"/>
                  <a:gd name="connsiteY333" fmla="*/ 155258 h 1686775"/>
                  <a:gd name="connsiteX334" fmla="*/ 1781175 w 2242184"/>
                  <a:gd name="connsiteY334" fmla="*/ 158115 h 1686775"/>
                  <a:gd name="connsiteX335" fmla="*/ 1786890 w 2242184"/>
                  <a:gd name="connsiteY335" fmla="*/ 161925 h 1686775"/>
                  <a:gd name="connsiteX336" fmla="*/ 1798320 w 2242184"/>
                  <a:gd name="connsiteY336" fmla="*/ 164783 h 1686775"/>
                  <a:gd name="connsiteX337" fmla="*/ 1806893 w 2242184"/>
                  <a:gd name="connsiteY337" fmla="*/ 165735 h 1686775"/>
                  <a:gd name="connsiteX338" fmla="*/ 1814513 w 2242184"/>
                  <a:gd name="connsiteY338" fmla="*/ 160973 h 1686775"/>
                  <a:gd name="connsiteX339" fmla="*/ 1820228 w 2242184"/>
                  <a:gd name="connsiteY339" fmla="*/ 156210 h 1686775"/>
                  <a:gd name="connsiteX340" fmla="*/ 1834515 w 2242184"/>
                  <a:gd name="connsiteY340" fmla="*/ 156210 h 1686775"/>
                  <a:gd name="connsiteX341" fmla="*/ 1839278 w 2242184"/>
                  <a:gd name="connsiteY341" fmla="*/ 156210 h 1686775"/>
                  <a:gd name="connsiteX342" fmla="*/ 1846898 w 2242184"/>
                  <a:gd name="connsiteY342" fmla="*/ 150495 h 1686775"/>
                  <a:gd name="connsiteX343" fmla="*/ 1852613 w 2242184"/>
                  <a:gd name="connsiteY343" fmla="*/ 145733 h 1686775"/>
                  <a:gd name="connsiteX344" fmla="*/ 1854518 w 2242184"/>
                  <a:gd name="connsiteY344" fmla="*/ 140017 h 1686775"/>
                  <a:gd name="connsiteX345" fmla="*/ 1856423 w 2242184"/>
                  <a:gd name="connsiteY345" fmla="*/ 134303 h 1686775"/>
                  <a:gd name="connsiteX346" fmla="*/ 1856423 w 2242184"/>
                  <a:gd name="connsiteY346" fmla="*/ 130492 h 1686775"/>
                  <a:gd name="connsiteX347" fmla="*/ 1848803 w 2242184"/>
                  <a:gd name="connsiteY347" fmla="*/ 126683 h 1686775"/>
                  <a:gd name="connsiteX348" fmla="*/ 1837373 w 2242184"/>
                  <a:gd name="connsiteY348" fmla="*/ 123825 h 1686775"/>
                  <a:gd name="connsiteX349" fmla="*/ 1820228 w 2242184"/>
                  <a:gd name="connsiteY349" fmla="*/ 119062 h 1686775"/>
                  <a:gd name="connsiteX350" fmla="*/ 1805940 w 2242184"/>
                  <a:gd name="connsiteY350" fmla="*/ 111442 h 1686775"/>
                  <a:gd name="connsiteX351" fmla="*/ 1800225 w 2242184"/>
                  <a:gd name="connsiteY351" fmla="*/ 112395 h 1686775"/>
                  <a:gd name="connsiteX352" fmla="*/ 1788795 w 2242184"/>
                  <a:gd name="connsiteY352" fmla="*/ 111442 h 1686775"/>
                  <a:gd name="connsiteX353" fmla="*/ 1778318 w 2242184"/>
                  <a:gd name="connsiteY353" fmla="*/ 105728 h 1686775"/>
                  <a:gd name="connsiteX354" fmla="*/ 1772603 w 2242184"/>
                  <a:gd name="connsiteY354" fmla="*/ 101917 h 1686775"/>
                  <a:gd name="connsiteX355" fmla="*/ 1762125 w 2242184"/>
                  <a:gd name="connsiteY355" fmla="*/ 100965 h 1686775"/>
                  <a:gd name="connsiteX356" fmla="*/ 1750695 w 2242184"/>
                  <a:gd name="connsiteY356" fmla="*/ 96203 h 1686775"/>
                  <a:gd name="connsiteX357" fmla="*/ 1752600 w 2242184"/>
                  <a:gd name="connsiteY357" fmla="*/ 85725 h 1686775"/>
                  <a:gd name="connsiteX358" fmla="*/ 1751648 w 2242184"/>
                  <a:gd name="connsiteY358" fmla="*/ 79058 h 1686775"/>
                  <a:gd name="connsiteX359" fmla="*/ 1751648 w 2242184"/>
                  <a:gd name="connsiteY359" fmla="*/ 75248 h 1686775"/>
                  <a:gd name="connsiteX360" fmla="*/ 1745933 w 2242184"/>
                  <a:gd name="connsiteY360" fmla="*/ 67628 h 1686775"/>
                  <a:gd name="connsiteX361" fmla="*/ 1737360 w 2242184"/>
                  <a:gd name="connsiteY361" fmla="*/ 63817 h 1686775"/>
                  <a:gd name="connsiteX362" fmla="*/ 1725930 w 2242184"/>
                  <a:gd name="connsiteY362" fmla="*/ 62865 h 1686775"/>
                  <a:gd name="connsiteX363" fmla="*/ 1708785 w 2242184"/>
                  <a:gd name="connsiteY363" fmla="*/ 54292 h 1686775"/>
                  <a:gd name="connsiteX364" fmla="*/ 1700213 w 2242184"/>
                  <a:gd name="connsiteY364" fmla="*/ 51435 h 1686775"/>
                  <a:gd name="connsiteX365" fmla="*/ 1676400 w 2242184"/>
                  <a:gd name="connsiteY365" fmla="*/ 46672 h 1686775"/>
                  <a:gd name="connsiteX366" fmla="*/ 1664970 w 2242184"/>
                  <a:gd name="connsiteY366" fmla="*/ 43815 h 1686775"/>
                  <a:gd name="connsiteX367" fmla="*/ 1650683 w 2242184"/>
                  <a:gd name="connsiteY367" fmla="*/ 42863 h 1686775"/>
                  <a:gd name="connsiteX368" fmla="*/ 1628775 w 2242184"/>
                  <a:gd name="connsiteY368" fmla="*/ 31432 h 1686775"/>
                  <a:gd name="connsiteX369" fmla="*/ 1612583 w 2242184"/>
                  <a:gd name="connsiteY369" fmla="*/ 22860 h 1686775"/>
                  <a:gd name="connsiteX370" fmla="*/ 1604010 w 2242184"/>
                  <a:gd name="connsiteY370" fmla="*/ 14288 h 1686775"/>
                  <a:gd name="connsiteX371" fmla="*/ 1590675 w 2242184"/>
                  <a:gd name="connsiteY371" fmla="*/ 15240 h 1686775"/>
                  <a:gd name="connsiteX372" fmla="*/ 1583055 w 2242184"/>
                  <a:gd name="connsiteY372" fmla="*/ 13335 h 1686775"/>
                  <a:gd name="connsiteX373" fmla="*/ 1561148 w 2242184"/>
                  <a:gd name="connsiteY373" fmla="*/ 17145 h 1686775"/>
                  <a:gd name="connsiteX374" fmla="*/ 1553528 w 2242184"/>
                  <a:gd name="connsiteY374" fmla="*/ 25717 h 1686775"/>
                  <a:gd name="connsiteX375" fmla="*/ 1544955 w 2242184"/>
                  <a:gd name="connsiteY375" fmla="*/ 24765 h 1686775"/>
                  <a:gd name="connsiteX376" fmla="*/ 1534478 w 2242184"/>
                  <a:gd name="connsiteY376" fmla="*/ 18097 h 1686775"/>
                  <a:gd name="connsiteX377" fmla="*/ 1524000 w 2242184"/>
                  <a:gd name="connsiteY377" fmla="*/ 11430 h 1686775"/>
                  <a:gd name="connsiteX378" fmla="*/ 1503998 w 2242184"/>
                  <a:gd name="connsiteY378" fmla="*/ 4763 h 1686775"/>
                  <a:gd name="connsiteX379" fmla="*/ 1495425 w 2242184"/>
                  <a:gd name="connsiteY379" fmla="*/ 1905 h 1686775"/>
                  <a:gd name="connsiteX380" fmla="*/ 1474470 w 2242184"/>
                  <a:gd name="connsiteY380" fmla="*/ 1905 h 1686775"/>
                  <a:gd name="connsiteX381" fmla="*/ 1468755 w 2242184"/>
                  <a:gd name="connsiteY381" fmla="*/ 1905 h 1686775"/>
                  <a:gd name="connsiteX382" fmla="*/ 1463993 w 2242184"/>
                  <a:gd name="connsiteY382" fmla="*/ 5715 h 1686775"/>
                  <a:gd name="connsiteX383" fmla="*/ 1458278 w 2242184"/>
                  <a:gd name="connsiteY383" fmla="*/ 8572 h 1686775"/>
                  <a:gd name="connsiteX384" fmla="*/ 1449705 w 2242184"/>
                  <a:gd name="connsiteY384" fmla="*/ 11430 h 1686775"/>
                  <a:gd name="connsiteX385" fmla="*/ 1444943 w 2242184"/>
                  <a:gd name="connsiteY385" fmla="*/ 17145 h 1686775"/>
                  <a:gd name="connsiteX386" fmla="*/ 1442085 w 2242184"/>
                  <a:gd name="connsiteY386" fmla="*/ 24765 h 1686775"/>
                  <a:gd name="connsiteX387" fmla="*/ 1443038 w 2242184"/>
                  <a:gd name="connsiteY387" fmla="*/ 28575 h 1686775"/>
                  <a:gd name="connsiteX388" fmla="*/ 1434465 w 2242184"/>
                  <a:gd name="connsiteY388" fmla="*/ 33338 h 1686775"/>
                  <a:gd name="connsiteX389" fmla="*/ 1425893 w 2242184"/>
                  <a:gd name="connsiteY389" fmla="*/ 31432 h 1686775"/>
                  <a:gd name="connsiteX390" fmla="*/ 1423035 w 2242184"/>
                  <a:gd name="connsiteY390" fmla="*/ 23813 h 1686775"/>
                  <a:gd name="connsiteX391" fmla="*/ 1425893 w 2242184"/>
                  <a:gd name="connsiteY391" fmla="*/ 19050 h 1686775"/>
                  <a:gd name="connsiteX392" fmla="*/ 1430655 w 2242184"/>
                  <a:gd name="connsiteY392" fmla="*/ 13335 h 1686775"/>
                  <a:gd name="connsiteX393" fmla="*/ 1432560 w 2242184"/>
                  <a:gd name="connsiteY393" fmla="*/ 7620 h 1686775"/>
                  <a:gd name="connsiteX394" fmla="*/ 1432560 w 2242184"/>
                  <a:gd name="connsiteY394" fmla="*/ 3810 h 1686775"/>
                  <a:gd name="connsiteX395" fmla="*/ 1415415 w 2242184"/>
                  <a:gd name="connsiteY395" fmla="*/ 953 h 1686775"/>
                  <a:gd name="connsiteX396" fmla="*/ 1402080 w 2242184"/>
                  <a:gd name="connsiteY396" fmla="*/ 0 h 1686775"/>
                  <a:gd name="connsiteX397" fmla="*/ 1380173 w 2242184"/>
                  <a:gd name="connsiteY397" fmla="*/ 6667 h 1686775"/>
                  <a:gd name="connsiteX398" fmla="*/ 1369695 w 2242184"/>
                  <a:gd name="connsiteY398" fmla="*/ 15240 h 1686775"/>
                  <a:gd name="connsiteX399" fmla="*/ 1369695 w 2242184"/>
                  <a:gd name="connsiteY399" fmla="*/ 18097 h 1686775"/>
                  <a:gd name="connsiteX400" fmla="*/ 1366838 w 2242184"/>
                  <a:gd name="connsiteY400" fmla="*/ 30480 h 1686775"/>
                  <a:gd name="connsiteX401" fmla="*/ 1366838 w 2242184"/>
                  <a:gd name="connsiteY401" fmla="*/ 40957 h 1686775"/>
                  <a:gd name="connsiteX402" fmla="*/ 1374458 w 2242184"/>
                  <a:gd name="connsiteY402" fmla="*/ 48578 h 1686775"/>
                  <a:gd name="connsiteX403" fmla="*/ 1382078 w 2242184"/>
                  <a:gd name="connsiteY403" fmla="*/ 55245 h 1686775"/>
                  <a:gd name="connsiteX404" fmla="*/ 1390650 w 2242184"/>
                  <a:gd name="connsiteY404" fmla="*/ 60960 h 1686775"/>
                  <a:gd name="connsiteX405" fmla="*/ 1407795 w 2242184"/>
                  <a:gd name="connsiteY405" fmla="*/ 65723 h 1686775"/>
                  <a:gd name="connsiteX406" fmla="*/ 1415415 w 2242184"/>
                  <a:gd name="connsiteY406" fmla="*/ 69533 h 1686775"/>
                  <a:gd name="connsiteX407" fmla="*/ 1418273 w 2242184"/>
                  <a:gd name="connsiteY407" fmla="*/ 72390 h 1686775"/>
                  <a:gd name="connsiteX408" fmla="*/ 1432560 w 2242184"/>
                  <a:gd name="connsiteY408" fmla="*/ 76200 h 1686775"/>
                  <a:gd name="connsiteX409" fmla="*/ 1443990 w 2242184"/>
                  <a:gd name="connsiteY409" fmla="*/ 80962 h 1686775"/>
                  <a:gd name="connsiteX410" fmla="*/ 1446848 w 2242184"/>
                  <a:gd name="connsiteY410" fmla="*/ 87630 h 1686775"/>
                  <a:gd name="connsiteX411" fmla="*/ 1441133 w 2242184"/>
                  <a:gd name="connsiteY411" fmla="*/ 95250 h 1686775"/>
                  <a:gd name="connsiteX412" fmla="*/ 1441133 w 2242184"/>
                  <a:gd name="connsiteY412" fmla="*/ 98108 h 1686775"/>
                  <a:gd name="connsiteX413" fmla="*/ 1429703 w 2242184"/>
                  <a:gd name="connsiteY413" fmla="*/ 104775 h 1686775"/>
                  <a:gd name="connsiteX414" fmla="*/ 1419225 w 2242184"/>
                  <a:gd name="connsiteY414" fmla="*/ 110490 h 1686775"/>
                  <a:gd name="connsiteX415" fmla="*/ 1417320 w 2242184"/>
                  <a:gd name="connsiteY415" fmla="*/ 116205 h 1686775"/>
                  <a:gd name="connsiteX416" fmla="*/ 1403033 w 2242184"/>
                  <a:gd name="connsiteY416" fmla="*/ 120015 h 1686775"/>
                  <a:gd name="connsiteX417" fmla="*/ 1397318 w 2242184"/>
                  <a:gd name="connsiteY417" fmla="*/ 116205 h 1686775"/>
                  <a:gd name="connsiteX418" fmla="*/ 1397318 w 2242184"/>
                  <a:gd name="connsiteY418" fmla="*/ 107633 h 1686775"/>
                  <a:gd name="connsiteX419" fmla="*/ 1397318 w 2242184"/>
                  <a:gd name="connsiteY419" fmla="*/ 101917 h 1686775"/>
                  <a:gd name="connsiteX420" fmla="*/ 1396365 w 2242184"/>
                  <a:gd name="connsiteY420" fmla="*/ 95250 h 1686775"/>
                  <a:gd name="connsiteX421" fmla="*/ 1393508 w 2242184"/>
                  <a:gd name="connsiteY421" fmla="*/ 90487 h 1686775"/>
                  <a:gd name="connsiteX422" fmla="*/ 1384935 w 2242184"/>
                  <a:gd name="connsiteY422" fmla="*/ 88583 h 1686775"/>
                  <a:gd name="connsiteX423" fmla="*/ 1376363 w 2242184"/>
                  <a:gd name="connsiteY423" fmla="*/ 88583 h 1686775"/>
                  <a:gd name="connsiteX424" fmla="*/ 1364933 w 2242184"/>
                  <a:gd name="connsiteY424" fmla="*/ 88583 h 1686775"/>
                  <a:gd name="connsiteX425" fmla="*/ 1354455 w 2242184"/>
                  <a:gd name="connsiteY425" fmla="*/ 84773 h 1686775"/>
                  <a:gd name="connsiteX426" fmla="*/ 1354455 w 2242184"/>
                  <a:gd name="connsiteY426" fmla="*/ 81915 h 1686775"/>
                  <a:gd name="connsiteX427" fmla="*/ 1341120 w 2242184"/>
                  <a:gd name="connsiteY427" fmla="*/ 76200 h 1686775"/>
                  <a:gd name="connsiteX428" fmla="*/ 1324928 w 2242184"/>
                  <a:gd name="connsiteY428" fmla="*/ 74295 h 1686775"/>
                  <a:gd name="connsiteX429" fmla="*/ 1319213 w 2242184"/>
                  <a:gd name="connsiteY429" fmla="*/ 73342 h 1686775"/>
                  <a:gd name="connsiteX430" fmla="*/ 1318260 w 2242184"/>
                  <a:gd name="connsiteY430" fmla="*/ 60960 h 1686775"/>
                  <a:gd name="connsiteX431" fmla="*/ 1315403 w 2242184"/>
                  <a:gd name="connsiteY431" fmla="*/ 53340 h 1686775"/>
                  <a:gd name="connsiteX432" fmla="*/ 1309688 w 2242184"/>
                  <a:gd name="connsiteY432" fmla="*/ 45720 h 1686775"/>
                  <a:gd name="connsiteX433" fmla="*/ 1304925 w 2242184"/>
                  <a:gd name="connsiteY433" fmla="*/ 41910 h 1686775"/>
                  <a:gd name="connsiteX434" fmla="*/ 1299210 w 2242184"/>
                  <a:gd name="connsiteY434" fmla="*/ 40005 h 1686775"/>
                  <a:gd name="connsiteX435" fmla="*/ 1274445 w 2242184"/>
                  <a:gd name="connsiteY435" fmla="*/ 35242 h 1686775"/>
                  <a:gd name="connsiteX436" fmla="*/ 1266825 w 2242184"/>
                  <a:gd name="connsiteY436" fmla="*/ 39053 h 1686775"/>
                  <a:gd name="connsiteX437" fmla="*/ 1259205 w 2242184"/>
                  <a:gd name="connsiteY437" fmla="*/ 44767 h 1686775"/>
                  <a:gd name="connsiteX438" fmla="*/ 1247775 w 2242184"/>
                  <a:gd name="connsiteY438" fmla="*/ 48578 h 1686775"/>
                  <a:gd name="connsiteX439" fmla="*/ 1247775 w 2242184"/>
                  <a:gd name="connsiteY439" fmla="*/ 56197 h 1686775"/>
                  <a:gd name="connsiteX440" fmla="*/ 1253490 w 2242184"/>
                  <a:gd name="connsiteY440" fmla="*/ 66675 h 1686775"/>
                  <a:gd name="connsiteX441" fmla="*/ 1258253 w 2242184"/>
                  <a:gd name="connsiteY441" fmla="*/ 72390 h 1686775"/>
                  <a:gd name="connsiteX442" fmla="*/ 1263968 w 2242184"/>
                  <a:gd name="connsiteY442" fmla="*/ 77153 h 1686775"/>
                  <a:gd name="connsiteX443" fmla="*/ 1272540 w 2242184"/>
                  <a:gd name="connsiteY443" fmla="*/ 80962 h 1686775"/>
                  <a:gd name="connsiteX444" fmla="*/ 1280160 w 2242184"/>
                  <a:gd name="connsiteY444" fmla="*/ 83820 h 1686775"/>
                  <a:gd name="connsiteX445" fmla="*/ 1287780 w 2242184"/>
                  <a:gd name="connsiteY445" fmla="*/ 89535 h 1686775"/>
                  <a:gd name="connsiteX446" fmla="*/ 1291590 w 2242184"/>
                  <a:gd name="connsiteY446" fmla="*/ 97155 h 1686775"/>
                  <a:gd name="connsiteX447" fmla="*/ 1285875 w 2242184"/>
                  <a:gd name="connsiteY447" fmla="*/ 108585 h 1686775"/>
                  <a:gd name="connsiteX448" fmla="*/ 1271588 w 2242184"/>
                  <a:gd name="connsiteY448" fmla="*/ 109537 h 1686775"/>
                  <a:gd name="connsiteX449" fmla="*/ 1255395 w 2242184"/>
                  <a:gd name="connsiteY449" fmla="*/ 109537 h 1686775"/>
                  <a:gd name="connsiteX450" fmla="*/ 1249680 w 2242184"/>
                  <a:gd name="connsiteY450" fmla="*/ 101917 h 1686775"/>
                  <a:gd name="connsiteX451" fmla="*/ 1251585 w 2242184"/>
                  <a:gd name="connsiteY451" fmla="*/ 94298 h 1686775"/>
                  <a:gd name="connsiteX452" fmla="*/ 1254443 w 2242184"/>
                  <a:gd name="connsiteY452" fmla="*/ 89535 h 1686775"/>
                  <a:gd name="connsiteX453" fmla="*/ 1243965 w 2242184"/>
                  <a:gd name="connsiteY453" fmla="*/ 81915 h 1686775"/>
                  <a:gd name="connsiteX454" fmla="*/ 1230630 w 2242184"/>
                  <a:gd name="connsiteY454" fmla="*/ 79058 h 1686775"/>
                  <a:gd name="connsiteX455" fmla="*/ 1203008 w 2242184"/>
                  <a:gd name="connsiteY455" fmla="*/ 78105 h 1686775"/>
                  <a:gd name="connsiteX456" fmla="*/ 1203008 w 2242184"/>
                  <a:gd name="connsiteY456" fmla="*/ 84773 h 1686775"/>
                  <a:gd name="connsiteX457" fmla="*/ 1214438 w 2242184"/>
                  <a:gd name="connsiteY457" fmla="*/ 90487 h 1686775"/>
                  <a:gd name="connsiteX458" fmla="*/ 1221105 w 2242184"/>
                  <a:gd name="connsiteY458" fmla="*/ 100965 h 1686775"/>
                  <a:gd name="connsiteX459" fmla="*/ 1212533 w 2242184"/>
                  <a:gd name="connsiteY459" fmla="*/ 103823 h 1686775"/>
                  <a:gd name="connsiteX460" fmla="*/ 1190625 w 2242184"/>
                  <a:gd name="connsiteY460" fmla="*/ 105728 h 1686775"/>
                  <a:gd name="connsiteX461" fmla="*/ 1163003 w 2242184"/>
                  <a:gd name="connsiteY461" fmla="*/ 107633 h 1686775"/>
                  <a:gd name="connsiteX462" fmla="*/ 1130618 w 2242184"/>
                  <a:gd name="connsiteY462" fmla="*/ 108585 h 1686775"/>
                  <a:gd name="connsiteX463" fmla="*/ 1111568 w 2242184"/>
                  <a:gd name="connsiteY463" fmla="*/ 109537 h 1686775"/>
                  <a:gd name="connsiteX464" fmla="*/ 1084898 w 2242184"/>
                  <a:gd name="connsiteY464" fmla="*/ 110490 h 1686775"/>
                  <a:gd name="connsiteX465" fmla="*/ 1076325 w 2242184"/>
                  <a:gd name="connsiteY465" fmla="*/ 110490 h 1686775"/>
                  <a:gd name="connsiteX466" fmla="*/ 1054418 w 2242184"/>
                  <a:gd name="connsiteY466" fmla="*/ 106680 h 1686775"/>
                  <a:gd name="connsiteX467" fmla="*/ 1051560 w 2242184"/>
                  <a:gd name="connsiteY467" fmla="*/ 112395 h 1686775"/>
                  <a:gd name="connsiteX468" fmla="*/ 1041083 w 2242184"/>
                  <a:gd name="connsiteY468" fmla="*/ 118110 h 1686775"/>
                  <a:gd name="connsiteX469" fmla="*/ 1032510 w 2242184"/>
                  <a:gd name="connsiteY469" fmla="*/ 116205 h 1686775"/>
                  <a:gd name="connsiteX470" fmla="*/ 1024890 w 2242184"/>
                  <a:gd name="connsiteY470" fmla="*/ 116205 h 1686775"/>
                  <a:gd name="connsiteX471" fmla="*/ 1013460 w 2242184"/>
                  <a:gd name="connsiteY471" fmla="*/ 114300 h 1686775"/>
                  <a:gd name="connsiteX472" fmla="*/ 1008698 w 2242184"/>
                  <a:gd name="connsiteY472" fmla="*/ 115253 h 1686775"/>
                  <a:gd name="connsiteX473" fmla="*/ 975360 w 2242184"/>
                  <a:gd name="connsiteY473" fmla="*/ 113348 h 1686775"/>
                  <a:gd name="connsiteX474" fmla="*/ 942975 w 2242184"/>
                  <a:gd name="connsiteY474" fmla="*/ 104775 h 1686775"/>
                  <a:gd name="connsiteX475" fmla="*/ 935355 w 2242184"/>
                  <a:gd name="connsiteY475" fmla="*/ 101917 h 1686775"/>
                  <a:gd name="connsiteX476" fmla="*/ 929640 w 2242184"/>
                  <a:gd name="connsiteY476" fmla="*/ 99060 h 1686775"/>
                  <a:gd name="connsiteX477" fmla="*/ 921068 w 2242184"/>
                  <a:gd name="connsiteY477" fmla="*/ 92392 h 1686775"/>
                  <a:gd name="connsiteX478" fmla="*/ 918210 w 2242184"/>
                  <a:gd name="connsiteY478" fmla="*/ 86678 h 1686775"/>
                  <a:gd name="connsiteX479" fmla="*/ 910590 w 2242184"/>
                  <a:gd name="connsiteY479" fmla="*/ 85725 h 1686775"/>
                  <a:gd name="connsiteX480" fmla="*/ 896303 w 2242184"/>
                  <a:gd name="connsiteY480" fmla="*/ 84773 h 1686775"/>
                  <a:gd name="connsiteX481" fmla="*/ 884873 w 2242184"/>
                  <a:gd name="connsiteY481" fmla="*/ 84773 h 1686775"/>
                  <a:gd name="connsiteX482" fmla="*/ 868680 w 2242184"/>
                  <a:gd name="connsiteY482" fmla="*/ 84773 h 1686775"/>
                  <a:gd name="connsiteX483" fmla="*/ 857250 w 2242184"/>
                  <a:gd name="connsiteY483" fmla="*/ 81915 h 1686775"/>
                  <a:gd name="connsiteX484" fmla="*/ 849630 w 2242184"/>
                  <a:gd name="connsiteY484" fmla="*/ 80010 h 1686775"/>
                  <a:gd name="connsiteX485" fmla="*/ 836295 w 2242184"/>
                  <a:gd name="connsiteY485" fmla="*/ 73342 h 1686775"/>
                  <a:gd name="connsiteX486" fmla="*/ 825818 w 2242184"/>
                  <a:gd name="connsiteY486" fmla="*/ 70485 h 1686775"/>
                  <a:gd name="connsiteX487" fmla="*/ 815340 w 2242184"/>
                  <a:gd name="connsiteY487" fmla="*/ 70485 h 1686775"/>
                  <a:gd name="connsiteX488" fmla="*/ 803910 w 2242184"/>
                  <a:gd name="connsiteY488" fmla="*/ 70485 h 1686775"/>
                  <a:gd name="connsiteX489" fmla="*/ 792480 w 2242184"/>
                  <a:gd name="connsiteY489" fmla="*/ 70485 h 1686775"/>
                  <a:gd name="connsiteX490" fmla="*/ 786765 w 2242184"/>
                  <a:gd name="connsiteY490" fmla="*/ 71437 h 1686775"/>
                  <a:gd name="connsiteX491" fmla="*/ 770573 w 2242184"/>
                  <a:gd name="connsiteY491" fmla="*/ 72390 h 1686775"/>
                  <a:gd name="connsiteX492" fmla="*/ 754380 w 2242184"/>
                  <a:gd name="connsiteY492" fmla="*/ 72390 h 1686775"/>
                  <a:gd name="connsiteX493" fmla="*/ 731520 w 2242184"/>
                  <a:gd name="connsiteY493" fmla="*/ 63817 h 1686775"/>
                  <a:gd name="connsiteX494" fmla="*/ 714375 w 2242184"/>
                  <a:gd name="connsiteY494" fmla="*/ 59055 h 1686775"/>
                  <a:gd name="connsiteX495" fmla="*/ 703898 w 2242184"/>
                  <a:gd name="connsiteY495" fmla="*/ 59055 h 1686775"/>
                  <a:gd name="connsiteX496" fmla="*/ 679133 w 2242184"/>
                  <a:gd name="connsiteY496" fmla="*/ 61913 h 1686775"/>
                  <a:gd name="connsiteX497" fmla="*/ 673418 w 2242184"/>
                  <a:gd name="connsiteY497" fmla="*/ 62865 h 1686775"/>
                  <a:gd name="connsiteX498" fmla="*/ 665798 w 2242184"/>
                  <a:gd name="connsiteY498" fmla="*/ 64770 h 1686775"/>
                  <a:gd name="connsiteX499" fmla="*/ 655320 w 2242184"/>
                  <a:gd name="connsiteY499" fmla="*/ 67628 h 1686775"/>
                  <a:gd name="connsiteX500" fmla="*/ 641033 w 2242184"/>
                  <a:gd name="connsiteY500" fmla="*/ 68580 h 1686775"/>
                  <a:gd name="connsiteX501" fmla="*/ 635318 w 2242184"/>
                  <a:gd name="connsiteY501" fmla="*/ 67628 h 1686775"/>
                  <a:gd name="connsiteX502" fmla="*/ 624840 w 2242184"/>
                  <a:gd name="connsiteY502" fmla="*/ 67628 h 1686775"/>
                  <a:gd name="connsiteX503" fmla="*/ 617220 w 2242184"/>
                  <a:gd name="connsiteY503" fmla="*/ 70485 h 1686775"/>
                  <a:gd name="connsiteX504" fmla="*/ 608648 w 2242184"/>
                  <a:gd name="connsiteY504" fmla="*/ 74295 h 1686775"/>
                  <a:gd name="connsiteX505" fmla="*/ 598170 w 2242184"/>
                  <a:gd name="connsiteY505" fmla="*/ 77153 h 1686775"/>
                  <a:gd name="connsiteX506" fmla="*/ 583883 w 2242184"/>
                  <a:gd name="connsiteY506" fmla="*/ 74295 h 1686775"/>
                  <a:gd name="connsiteX507" fmla="*/ 567690 w 2242184"/>
                  <a:gd name="connsiteY507" fmla="*/ 75248 h 1686775"/>
                  <a:gd name="connsiteX508" fmla="*/ 554355 w 2242184"/>
                  <a:gd name="connsiteY508" fmla="*/ 78105 h 1686775"/>
                  <a:gd name="connsiteX509" fmla="*/ 535305 w 2242184"/>
                  <a:gd name="connsiteY509" fmla="*/ 80962 h 1686775"/>
                  <a:gd name="connsiteX510" fmla="*/ 524828 w 2242184"/>
                  <a:gd name="connsiteY510" fmla="*/ 80010 h 1686775"/>
                  <a:gd name="connsiteX511" fmla="*/ 513398 w 2242184"/>
                  <a:gd name="connsiteY511" fmla="*/ 76200 h 1686775"/>
                  <a:gd name="connsiteX512" fmla="*/ 502920 w 2242184"/>
                  <a:gd name="connsiteY512" fmla="*/ 73342 h 1686775"/>
                  <a:gd name="connsiteX513" fmla="*/ 495300 w 2242184"/>
                  <a:gd name="connsiteY513" fmla="*/ 69533 h 1686775"/>
                  <a:gd name="connsiteX514" fmla="*/ 481965 w 2242184"/>
                  <a:gd name="connsiteY514" fmla="*/ 65723 h 1686775"/>
                  <a:gd name="connsiteX515" fmla="*/ 451485 w 2242184"/>
                  <a:gd name="connsiteY515" fmla="*/ 62865 h 1686775"/>
                  <a:gd name="connsiteX516" fmla="*/ 437198 w 2242184"/>
                  <a:gd name="connsiteY516" fmla="*/ 62865 h 1686775"/>
                  <a:gd name="connsiteX517" fmla="*/ 406718 w 2242184"/>
                  <a:gd name="connsiteY517" fmla="*/ 61913 h 1686775"/>
                  <a:gd name="connsiteX518" fmla="*/ 385763 w 2242184"/>
                  <a:gd name="connsiteY518" fmla="*/ 60960 h 1686775"/>
                  <a:gd name="connsiteX519" fmla="*/ 364808 w 2242184"/>
                  <a:gd name="connsiteY519" fmla="*/ 59055 h 1686775"/>
                  <a:gd name="connsiteX520" fmla="*/ 352425 w 2242184"/>
                  <a:gd name="connsiteY520" fmla="*/ 55245 h 1686775"/>
                  <a:gd name="connsiteX521" fmla="*/ 339090 w 2242184"/>
                  <a:gd name="connsiteY521" fmla="*/ 55245 h 1686775"/>
                  <a:gd name="connsiteX522" fmla="*/ 317183 w 2242184"/>
                  <a:gd name="connsiteY522" fmla="*/ 54292 h 1686775"/>
                  <a:gd name="connsiteX523" fmla="*/ 290513 w 2242184"/>
                  <a:gd name="connsiteY523" fmla="*/ 51435 h 1686775"/>
                  <a:gd name="connsiteX524" fmla="*/ 279083 w 2242184"/>
                  <a:gd name="connsiteY524" fmla="*/ 46672 h 1686775"/>
                  <a:gd name="connsiteX525" fmla="*/ 261938 w 2242184"/>
                  <a:gd name="connsiteY525" fmla="*/ 44767 h 1686775"/>
                  <a:gd name="connsiteX526" fmla="*/ 251460 w 2242184"/>
                  <a:gd name="connsiteY526" fmla="*/ 44767 h 1686775"/>
                  <a:gd name="connsiteX527" fmla="*/ 237173 w 2242184"/>
                  <a:gd name="connsiteY527" fmla="*/ 40005 h 1686775"/>
                  <a:gd name="connsiteX528" fmla="*/ 226695 w 2242184"/>
                  <a:gd name="connsiteY528" fmla="*/ 36195 h 1686775"/>
                  <a:gd name="connsiteX529" fmla="*/ 191453 w 2242184"/>
                  <a:gd name="connsiteY529" fmla="*/ 35242 h 1686775"/>
                  <a:gd name="connsiteX530" fmla="*/ 166688 w 2242184"/>
                  <a:gd name="connsiteY530" fmla="*/ 38100 h 1686775"/>
                  <a:gd name="connsiteX531" fmla="*/ 153353 w 2242184"/>
                  <a:gd name="connsiteY531" fmla="*/ 43815 h 1686775"/>
                  <a:gd name="connsiteX532" fmla="*/ 145733 w 2242184"/>
                  <a:gd name="connsiteY532" fmla="*/ 46672 h 1686775"/>
                  <a:gd name="connsiteX533" fmla="*/ 123825 w 2242184"/>
                  <a:gd name="connsiteY533" fmla="*/ 48578 h 1686775"/>
                  <a:gd name="connsiteX534" fmla="*/ 113348 w 2242184"/>
                  <a:gd name="connsiteY534" fmla="*/ 53340 h 1686775"/>
                  <a:gd name="connsiteX535" fmla="*/ 104775 w 2242184"/>
                  <a:gd name="connsiteY535" fmla="*/ 60960 h 1686775"/>
                  <a:gd name="connsiteX536" fmla="*/ 97155 w 2242184"/>
                  <a:gd name="connsiteY536" fmla="*/ 61913 h 1686775"/>
                  <a:gd name="connsiteX537" fmla="*/ 97155 w 2242184"/>
                  <a:gd name="connsiteY537" fmla="*/ 65723 h 1686775"/>
                  <a:gd name="connsiteX538" fmla="*/ 80963 w 2242184"/>
                  <a:gd name="connsiteY538" fmla="*/ 76200 h 1686775"/>
                  <a:gd name="connsiteX539" fmla="*/ 64770 w 2242184"/>
                  <a:gd name="connsiteY539" fmla="*/ 80962 h 1686775"/>
                  <a:gd name="connsiteX540" fmla="*/ 59055 w 2242184"/>
                  <a:gd name="connsiteY540" fmla="*/ 84773 h 1686775"/>
                  <a:gd name="connsiteX541" fmla="*/ 62865 w 2242184"/>
                  <a:gd name="connsiteY541" fmla="*/ 89535 h 1686775"/>
                  <a:gd name="connsiteX542" fmla="*/ 62865 w 2242184"/>
                  <a:gd name="connsiteY542" fmla="*/ 94298 h 1686775"/>
                  <a:gd name="connsiteX543" fmla="*/ 74295 w 2242184"/>
                  <a:gd name="connsiteY543" fmla="*/ 99060 h 1686775"/>
                  <a:gd name="connsiteX544" fmla="*/ 91440 w 2242184"/>
                  <a:gd name="connsiteY544" fmla="*/ 107633 h 1686775"/>
                  <a:gd name="connsiteX545" fmla="*/ 96203 w 2242184"/>
                  <a:gd name="connsiteY545" fmla="*/ 110490 h 1686775"/>
                  <a:gd name="connsiteX546" fmla="*/ 113348 w 2242184"/>
                  <a:gd name="connsiteY546" fmla="*/ 120015 h 1686775"/>
                  <a:gd name="connsiteX547" fmla="*/ 116205 w 2242184"/>
                  <a:gd name="connsiteY547" fmla="*/ 122873 h 1686775"/>
                  <a:gd name="connsiteX548" fmla="*/ 104775 w 2242184"/>
                  <a:gd name="connsiteY548" fmla="*/ 125730 h 1686775"/>
                  <a:gd name="connsiteX549" fmla="*/ 91440 w 2242184"/>
                  <a:gd name="connsiteY549" fmla="*/ 126683 h 1686775"/>
                  <a:gd name="connsiteX550" fmla="*/ 78105 w 2242184"/>
                  <a:gd name="connsiteY550" fmla="*/ 125730 h 1686775"/>
                  <a:gd name="connsiteX551" fmla="*/ 59055 w 2242184"/>
                  <a:gd name="connsiteY551" fmla="*/ 125730 h 1686775"/>
                  <a:gd name="connsiteX552" fmla="*/ 48578 w 2242184"/>
                  <a:gd name="connsiteY552" fmla="*/ 127635 h 1686775"/>
                  <a:gd name="connsiteX553" fmla="*/ 21908 w 2242184"/>
                  <a:gd name="connsiteY553" fmla="*/ 129540 h 1686775"/>
                  <a:gd name="connsiteX554" fmla="*/ 20003 w 2242184"/>
                  <a:gd name="connsiteY554" fmla="*/ 136208 h 1686775"/>
                  <a:gd name="connsiteX555" fmla="*/ 22860 w 2242184"/>
                  <a:gd name="connsiteY555" fmla="*/ 147637 h 1686775"/>
                  <a:gd name="connsiteX556" fmla="*/ 33338 w 2242184"/>
                  <a:gd name="connsiteY556" fmla="*/ 157162 h 1686775"/>
                  <a:gd name="connsiteX557" fmla="*/ 38100 w 2242184"/>
                  <a:gd name="connsiteY557" fmla="*/ 159067 h 1686775"/>
                  <a:gd name="connsiteX558" fmla="*/ 56198 w 2242184"/>
                  <a:gd name="connsiteY558" fmla="*/ 159067 h 1686775"/>
                  <a:gd name="connsiteX559" fmla="*/ 67628 w 2242184"/>
                  <a:gd name="connsiteY559" fmla="*/ 159067 h 1686775"/>
                  <a:gd name="connsiteX560" fmla="*/ 81915 w 2242184"/>
                  <a:gd name="connsiteY560" fmla="*/ 157162 h 1686775"/>
                  <a:gd name="connsiteX561" fmla="*/ 90488 w 2242184"/>
                  <a:gd name="connsiteY561" fmla="*/ 156210 h 1686775"/>
                  <a:gd name="connsiteX562" fmla="*/ 101918 w 2242184"/>
                  <a:gd name="connsiteY562" fmla="*/ 156210 h 1686775"/>
                  <a:gd name="connsiteX563" fmla="*/ 106680 w 2242184"/>
                  <a:gd name="connsiteY563" fmla="*/ 157162 h 1686775"/>
                  <a:gd name="connsiteX564" fmla="*/ 128588 w 2242184"/>
                  <a:gd name="connsiteY564" fmla="*/ 160973 h 1686775"/>
                  <a:gd name="connsiteX565" fmla="*/ 131445 w 2242184"/>
                  <a:gd name="connsiteY565" fmla="*/ 164783 h 1686775"/>
                  <a:gd name="connsiteX566" fmla="*/ 129540 w 2242184"/>
                  <a:gd name="connsiteY566" fmla="*/ 170498 h 1686775"/>
                  <a:gd name="connsiteX567" fmla="*/ 130493 w 2242184"/>
                  <a:gd name="connsiteY567" fmla="*/ 175260 h 1686775"/>
                  <a:gd name="connsiteX568" fmla="*/ 114300 w 2242184"/>
                  <a:gd name="connsiteY568" fmla="*/ 178117 h 1686775"/>
                  <a:gd name="connsiteX569" fmla="*/ 100965 w 2242184"/>
                  <a:gd name="connsiteY569" fmla="*/ 179070 h 1686775"/>
                  <a:gd name="connsiteX570" fmla="*/ 85725 w 2242184"/>
                  <a:gd name="connsiteY570" fmla="*/ 184785 h 1686775"/>
                  <a:gd name="connsiteX571" fmla="*/ 71438 w 2242184"/>
                  <a:gd name="connsiteY571" fmla="*/ 184785 h 1686775"/>
                  <a:gd name="connsiteX572" fmla="*/ 60960 w 2242184"/>
                  <a:gd name="connsiteY572" fmla="*/ 188595 h 1686775"/>
                  <a:gd name="connsiteX573" fmla="*/ 52388 w 2242184"/>
                  <a:gd name="connsiteY573" fmla="*/ 194310 h 1686775"/>
                  <a:gd name="connsiteX574" fmla="*/ 53340 w 2242184"/>
                  <a:gd name="connsiteY574" fmla="*/ 197167 h 1686775"/>
                  <a:gd name="connsiteX575" fmla="*/ 45720 w 2242184"/>
                  <a:gd name="connsiteY575" fmla="*/ 203835 h 1686775"/>
                  <a:gd name="connsiteX576" fmla="*/ 42863 w 2242184"/>
                  <a:gd name="connsiteY576" fmla="*/ 208598 h 1686775"/>
                  <a:gd name="connsiteX577" fmla="*/ 40958 w 2242184"/>
                  <a:gd name="connsiteY577" fmla="*/ 216217 h 1686775"/>
                  <a:gd name="connsiteX578" fmla="*/ 49530 w 2242184"/>
                  <a:gd name="connsiteY578" fmla="*/ 221933 h 1686775"/>
                  <a:gd name="connsiteX579" fmla="*/ 57150 w 2242184"/>
                  <a:gd name="connsiteY579" fmla="*/ 227648 h 1686775"/>
                  <a:gd name="connsiteX580" fmla="*/ 70485 w 2242184"/>
                  <a:gd name="connsiteY580" fmla="*/ 231458 h 1686775"/>
                  <a:gd name="connsiteX581" fmla="*/ 83820 w 2242184"/>
                  <a:gd name="connsiteY581" fmla="*/ 237173 h 1686775"/>
                  <a:gd name="connsiteX582" fmla="*/ 90488 w 2242184"/>
                  <a:gd name="connsiteY582" fmla="*/ 242887 h 1686775"/>
                  <a:gd name="connsiteX583" fmla="*/ 100965 w 2242184"/>
                  <a:gd name="connsiteY583" fmla="*/ 245745 h 1686775"/>
                  <a:gd name="connsiteX584" fmla="*/ 112395 w 2242184"/>
                  <a:gd name="connsiteY584" fmla="*/ 247650 h 1686775"/>
                  <a:gd name="connsiteX585" fmla="*/ 125730 w 2242184"/>
                  <a:gd name="connsiteY585" fmla="*/ 255270 h 1686775"/>
                  <a:gd name="connsiteX586" fmla="*/ 137160 w 2242184"/>
                  <a:gd name="connsiteY586" fmla="*/ 255270 h 1686775"/>
                  <a:gd name="connsiteX587" fmla="*/ 152400 w 2242184"/>
                  <a:gd name="connsiteY587" fmla="*/ 257175 h 1686775"/>
                  <a:gd name="connsiteX588" fmla="*/ 159068 w 2242184"/>
                  <a:gd name="connsiteY588" fmla="*/ 260033 h 1686775"/>
                  <a:gd name="connsiteX589" fmla="*/ 172403 w 2242184"/>
                  <a:gd name="connsiteY589" fmla="*/ 261937 h 1686775"/>
                  <a:gd name="connsiteX590" fmla="*/ 182880 w 2242184"/>
                  <a:gd name="connsiteY590" fmla="*/ 264795 h 1686775"/>
                  <a:gd name="connsiteX591" fmla="*/ 184785 w 2242184"/>
                  <a:gd name="connsiteY591" fmla="*/ 270510 h 1686775"/>
                  <a:gd name="connsiteX592" fmla="*/ 180023 w 2242184"/>
                  <a:gd name="connsiteY592" fmla="*/ 277178 h 1686775"/>
                  <a:gd name="connsiteX593" fmla="*/ 161925 w 2242184"/>
                  <a:gd name="connsiteY593" fmla="*/ 284798 h 1686775"/>
                  <a:gd name="connsiteX594" fmla="*/ 148590 w 2242184"/>
                  <a:gd name="connsiteY594" fmla="*/ 290512 h 1686775"/>
                  <a:gd name="connsiteX595" fmla="*/ 135255 w 2242184"/>
                  <a:gd name="connsiteY595" fmla="*/ 296228 h 1686775"/>
                  <a:gd name="connsiteX596" fmla="*/ 123825 w 2242184"/>
                  <a:gd name="connsiteY596" fmla="*/ 300037 h 1686775"/>
                  <a:gd name="connsiteX597" fmla="*/ 110490 w 2242184"/>
                  <a:gd name="connsiteY597" fmla="*/ 303848 h 1686775"/>
                  <a:gd name="connsiteX598" fmla="*/ 99060 w 2242184"/>
                  <a:gd name="connsiteY598" fmla="*/ 307658 h 1686775"/>
                  <a:gd name="connsiteX599" fmla="*/ 79058 w 2242184"/>
                  <a:gd name="connsiteY599" fmla="*/ 310515 h 1686775"/>
                  <a:gd name="connsiteX600" fmla="*/ 63818 w 2242184"/>
                  <a:gd name="connsiteY600" fmla="*/ 314325 h 1686775"/>
                  <a:gd name="connsiteX601" fmla="*/ 50483 w 2242184"/>
                  <a:gd name="connsiteY601" fmla="*/ 315278 h 1686775"/>
                  <a:gd name="connsiteX602" fmla="*/ 38100 w 2242184"/>
                  <a:gd name="connsiteY602" fmla="*/ 320040 h 1686775"/>
                  <a:gd name="connsiteX603" fmla="*/ 18098 w 2242184"/>
                  <a:gd name="connsiteY603" fmla="*/ 322898 h 1686775"/>
                  <a:gd name="connsiteX604" fmla="*/ 0 w 2242184"/>
                  <a:gd name="connsiteY604" fmla="*/ 322898 h 1686775"/>
                  <a:gd name="connsiteX605" fmla="*/ 0 w 2242184"/>
                  <a:gd name="connsiteY605" fmla="*/ 328612 h 1686775"/>
                  <a:gd name="connsiteX606" fmla="*/ 15240 w 2242184"/>
                  <a:gd name="connsiteY606" fmla="*/ 330518 h 1686775"/>
                  <a:gd name="connsiteX607" fmla="*/ 37148 w 2242184"/>
                  <a:gd name="connsiteY607" fmla="*/ 327660 h 1686775"/>
                  <a:gd name="connsiteX608" fmla="*/ 57150 w 2242184"/>
                  <a:gd name="connsiteY608" fmla="*/ 324803 h 1686775"/>
                  <a:gd name="connsiteX609" fmla="*/ 81915 w 2242184"/>
                  <a:gd name="connsiteY609" fmla="*/ 320993 h 1686775"/>
                  <a:gd name="connsiteX610" fmla="*/ 100013 w 2242184"/>
                  <a:gd name="connsiteY610" fmla="*/ 318135 h 1686775"/>
                  <a:gd name="connsiteX611" fmla="*/ 120015 w 2242184"/>
                  <a:gd name="connsiteY611" fmla="*/ 315278 h 1686775"/>
                  <a:gd name="connsiteX612" fmla="*/ 138113 w 2242184"/>
                  <a:gd name="connsiteY612" fmla="*/ 312420 h 1686775"/>
                  <a:gd name="connsiteX613" fmla="*/ 164783 w 2242184"/>
                  <a:gd name="connsiteY613" fmla="*/ 306705 h 1686775"/>
                  <a:gd name="connsiteX614" fmla="*/ 176213 w 2242184"/>
                  <a:gd name="connsiteY614" fmla="*/ 300037 h 1686775"/>
                  <a:gd name="connsiteX615" fmla="*/ 189548 w 2242184"/>
                  <a:gd name="connsiteY615" fmla="*/ 294323 h 1686775"/>
                  <a:gd name="connsiteX616" fmla="*/ 200978 w 2242184"/>
                  <a:gd name="connsiteY616" fmla="*/ 288608 h 1686775"/>
                  <a:gd name="connsiteX617" fmla="*/ 212408 w 2242184"/>
                  <a:gd name="connsiteY617" fmla="*/ 280035 h 1686775"/>
                  <a:gd name="connsiteX618" fmla="*/ 227648 w 2242184"/>
                  <a:gd name="connsiteY618" fmla="*/ 270510 h 1686775"/>
                  <a:gd name="connsiteX619" fmla="*/ 236220 w 2242184"/>
                  <a:gd name="connsiteY619" fmla="*/ 261937 h 1686775"/>
                  <a:gd name="connsiteX620" fmla="*/ 249555 w 2242184"/>
                  <a:gd name="connsiteY620" fmla="*/ 255270 h 1686775"/>
                  <a:gd name="connsiteX621" fmla="*/ 258128 w 2242184"/>
                  <a:gd name="connsiteY621" fmla="*/ 249555 h 1686775"/>
                  <a:gd name="connsiteX622" fmla="*/ 269558 w 2242184"/>
                  <a:gd name="connsiteY622" fmla="*/ 240983 h 1686775"/>
                  <a:gd name="connsiteX623" fmla="*/ 276225 w 2242184"/>
                  <a:gd name="connsiteY623" fmla="*/ 235267 h 1686775"/>
                  <a:gd name="connsiteX624" fmla="*/ 278130 w 2242184"/>
                  <a:gd name="connsiteY624" fmla="*/ 229553 h 1686775"/>
                  <a:gd name="connsiteX625" fmla="*/ 291465 w 2242184"/>
                  <a:gd name="connsiteY625" fmla="*/ 226695 h 1686775"/>
                  <a:gd name="connsiteX626" fmla="*/ 298133 w 2242184"/>
                  <a:gd name="connsiteY626" fmla="*/ 232410 h 1686775"/>
                  <a:gd name="connsiteX627" fmla="*/ 293370 w 2242184"/>
                  <a:gd name="connsiteY627" fmla="*/ 238125 h 1686775"/>
                  <a:gd name="connsiteX628" fmla="*/ 303848 w 2242184"/>
                  <a:gd name="connsiteY628" fmla="*/ 242887 h 1686775"/>
                  <a:gd name="connsiteX629" fmla="*/ 319088 w 2242184"/>
                  <a:gd name="connsiteY629" fmla="*/ 234315 h 1686775"/>
                  <a:gd name="connsiteX630" fmla="*/ 325755 w 2242184"/>
                  <a:gd name="connsiteY630" fmla="*/ 231458 h 1686775"/>
                  <a:gd name="connsiteX631" fmla="*/ 345758 w 2242184"/>
                  <a:gd name="connsiteY631" fmla="*/ 233362 h 1686775"/>
                  <a:gd name="connsiteX632" fmla="*/ 357188 w 2242184"/>
                  <a:gd name="connsiteY632" fmla="*/ 227648 h 1686775"/>
                  <a:gd name="connsiteX633" fmla="*/ 367665 w 2242184"/>
                  <a:gd name="connsiteY633" fmla="*/ 229553 h 1686775"/>
                  <a:gd name="connsiteX634" fmla="*/ 381000 w 2242184"/>
                  <a:gd name="connsiteY634" fmla="*/ 229553 h 1686775"/>
                  <a:gd name="connsiteX635" fmla="*/ 396240 w 2242184"/>
                  <a:gd name="connsiteY635" fmla="*/ 232410 h 1686775"/>
                  <a:gd name="connsiteX636" fmla="*/ 416243 w 2242184"/>
                  <a:gd name="connsiteY636" fmla="*/ 238125 h 1686775"/>
                  <a:gd name="connsiteX637" fmla="*/ 440055 w 2242184"/>
                  <a:gd name="connsiteY637" fmla="*/ 240030 h 1686775"/>
                  <a:gd name="connsiteX638" fmla="*/ 453390 w 2242184"/>
                  <a:gd name="connsiteY638" fmla="*/ 240030 h 1686775"/>
                  <a:gd name="connsiteX639" fmla="*/ 468630 w 2242184"/>
                  <a:gd name="connsiteY639" fmla="*/ 244792 h 1686775"/>
                  <a:gd name="connsiteX640" fmla="*/ 477203 w 2242184"/>
                  <a:gd name="connsiteY640" fmla="*/ 244792 h 1686775"/>
                  <a:gd name="connsiteX641" fmla="*/ 499110 w 2242184"/>
                  <a:gd name="connsiteY641" fmla="*/ 247650 h 1686775"/>
                  <a:gd name="connsiteX642" fmla="*/ 509588 w 2242184"/>
                  <a:gd name="connsiteY642" fmla="*/ 252412 h 1686775"/>
                  <a:gd name="connsiteX643" fmla="*/ 526733 w 2242184"/>
                  <a:gd name="connsiteY643" fmla="*/ 260985 h 1686775"/>
                  <a:gd name="connsiteX644" fmla="*/ 533400 w 2242184"/>
                  <a:gd name="connsiteY644" fmla="*/ 263843 h 1686775"/>
                  <a:gd name="connsiteX645" fmla="*/ 543878 w 2242184"/>
                  <a:gd name="connsiteY645" fmla="*/ 268605 h 1686775"/>
                  <a:gd name="connsiteX646" fmla="*/ 559118 w 2242184"/>
                  <a:gd name="connsiteY646" fmla="*/ 276225 h 1686775"/>
                  <a:gd name="connsiteX647" fmla="*/ 565785 w 2242184"/>
                  <a:gd name="connsiteY647" fmla="*/ 278130 h 1686775"/>
                  <a:gd name="connsiteX648" fmla="*/ 579120 w 2242184"/>
                  <a:gd name="connsiteY648" fmla="*/ 285750 h 1686775"/>
                  <a:gd name="connsiteX649" fmla="*/ 592455 w 2242184"/>
                  <a:gd name="connsiteY649" fmla="*/ 294323 h 1686775"/>
                  <a:gd name="connsiteX650" fmla="*/ 599123 w 2242184"/>
                  <a:gd name="connsiteY650" fmla="*/ 303848 h 1686775"/>
                  <a:gd name="connsiteX651" fmla="*/ 612458 w 2242184"/>
                  <a:gd name="connsiteY651" fmla="*/ 312420 h 1686775"/>
                  <a:gd name="connsiteX652" fmla="*/ 629603 w 2242184"/>
                  <a:gd name="connsiteY652" fmla="*/ 322898 h 1686775"/>
                  <a:gd name="connsiteX653" fmla="*/ 640080 w 2242184"/>
                  <a:gd name="connsiteY653" fmla="*/ 328612 h 1686775"/>
                  <a:gd name="connsiteX654" fmla="*/ 655320 w 2242184"/>
                  <a:gd name="connsiteY654" fmla="*/ 336233 h 1686775"/>
                  <a:gd name="connsiteX655" fmla="*/ 659130 w 2242184"/>
                  <a:gd name="connsiteY655" fmla="*/ 342900 h 1686775"/>
                  <a:gd name="connsiteX656" fmla="*/ 667703 w 2242184"/>
                  <a:gd name="connsiteY656" fmla="*/ 348615 h 1686775"/>
                  <a:gd name="connsiteX657" fmla="*/ 681038 w 2242184"/>
                  <a:gd name="connsiteY657" fmla="*/ 353378 h 1686775"/>
                  <a:gd name="connsiteX658" fmla="*/ 689610 w 2242184"/>
                  <a:gd name="connsiteY658" fmla="*/ 359093 h 1686775"/>
                  <a:gd name="connsiteX659" fmla="*/ 696278 w 2242184"/>
                  <a:gd name="connsiteY659" fmla="*/ 367665 h 1686775"/>
                  <a:gd name="connsiteX660" fmla="*/ 698183 w 2242184"/>
                  <a:gd name="connsiteY660" fmla="*/ 371475 h 1686775"/>
                  <a:gd name="connsiteX661" fmla="*/ 721995 w 2242184"/>
                  <a:gd name="connsiteY661" fmla="*/ 380048 h 1686775"/>
                  <a:gd name="connsiteX662" fmla="*/ 730568 w 2242184"/>
                  <a:gd name="connsiteY662" fmla="*/ 384810 h 1686775"/>
                  <a:gd name="connsiteX663" fmla="*/ 739140 w 2242184"/>
                  <a:gd name="connsiteY663" fmla="*/ 389573 h 1686775"/>
                  <a:gd name="connsiteX664" fmla="*/ 761048 w 2242184"/>
                  <a:gd name="connsiteY664" fmla="*/ 395287 h 1686775"/>
                  <a:gd name="connsiteX665" fmla="*/ 778193 w 2242184"/>
                  <a:gd name="connsiteY665" fmla="*/ 402908 h 1686775"/>
                  <a:gd name="connsiteX666" fmla="*/ 778193 w 2242184"/>
                  <a:gd name="connsiteY666" fmla="*/ 406718 h 1686775"/>
                  <a:gd name="connsiteX667" fmla="*/ 782003 w 2242184"/>
                  <a:gd name="connsiteY667" fmla="*/ 416243 h 1686775"/>
                  <a:gd name="connsiteX668" fmla="*/ 773430 w 2242184"/>
                  <a:gd name="connsiteY668" fmla="*/ 420052 h 1686775"/>
                  <a:gd name="connsiteX669" fmla="*/ 762000 w 2242184"/>
                  <a:gd name="connsiteY669" fmla="*/ 420052 h 1686775"/>
                  <a:gd name="connsiteX670" fmla="*/ 755333 w 2242184"/>
                  <a:gd name="connsiteY670" fmla="*/ 413385 h 1686775"/>
                  <a:gd name="connsiteX671" fmla="*/ 746760 w 2242184"/>
                  <a:gd name="connsiteY671" fmla="*/ 406718 h 1686775"/>
                  <a:gd name="connsiteX672" fmla="*/ 738188 w 2242184"/>
                  <a:gd name="connsiteY672" fmla="*/ 403860 h 1686775"/>
                  <a:gd name="connsiteX673" fmla="*/ 729615 w 2242184"/>
                  <a:gd name="connsiteY673" fmla="*/ 399098 h 1686775"/>
                  <a:gd name="connsiteX674" fmla="*/ 705803 w 2242184"/>
                  <a:gd name="connsiteY674" fmla="*/ 391477 h 1686775"/>
                  <a:gd name="connsiteX675" fmla="*/ 699135 w 2242184"/>
                  <a:gd name="connsiteY675" fmla="*/ 392430 h 1686775"/>
                  <a:gd name="connsiteX676" fmla="*/ 707708 w 2242184"/>
                  <a:gd name="connsiteY676" fmla="*/ 402908 h 1686775"/>
                  <a:gd name="connsiteX677" fmla="*/ 722948 w 2242184"/>
                  <a:gd name="connsiteY677" fmla="*/ 411480 h 1686775"/>
                  <a:gd name="connsiteX678" fmla="*/ 736283 w 2242184"/>
                  <a:gd name="connsiteY678" fmla="*/ 419100 h 1686775"/>
                  <a:gd name="connsiteX679" fmla="*/ 742950 w 2242184"/>
                  <a:gd name="connsiteY679" fmla="*/ 427673 h 1686775"/>
                  <a:gd name="connsiteX680" fmla="*/ 742950 w 2242184"/>
                  <a:gd name="connsiteY680" fmla="*/ 431483 h 1686775"/>
                  <a:gd name="connsiteX681" fmla="*/ 744855 w 2242184"/>
                  <a:gd name="connsiteY681" fmla="*/ 445770 h 1686775"/>
                  <a:gd name="connsiteX682" fmla="*/ 752475 w 2242184"/>
                  <a:gd name="connsiteY682" fmla="*/ 456248 h 1686775"/>
                  <a:gd name="connsiteX683" fmla="*/ 747713 w 2242184"/>
                  <a:gd name="connsiteY683" fmla="*/ 487680 h 1686775"/>
                  <a:gd name="connsiteX684" fmla="*/ 751523 w 2242184"/>
                  <a:gd name="connsiteY684" fmla="*/ 500062 h 1686775"/>
                  <a:gd name="connsiteX685" fmla="*/ 751523 w 2242184"/>
                  <a:gd name="connsiteY685" fmla="*/ 506730 h 1686775"/>
                  <a:gd name="connsiteX686" fmla="*/ 758190 w 2242184"/>
                  <a:gd name="connsiteY686" fmla="*/ 521970 h 1686775"/>
                  <a:gd name="connsiteX687" fmla="*/ 764858 w 2242184"/>
                  <a:gd name="connsiteY687" fmla="*/ 536258 h 1686775"/>
                  <a:gd name="connsiteX688" fmla="*/ 768668 w 2242184"/>
                  <a:gd name="connsiteY688" fmla="*/ 542925 h 1686775"/>
                  <a:gd name="connsiteX689" fmla="*/ 775335 w 2242184"/>
                  <a:gd name="connsiteY689" fmla="*/ 551498 h 1686775"/>
                  <a:gd name="connsiteX690" fmla="*/ 785813 w 2242184"/>
                  <a:gd name="connsiteY690" fmla="*/ 559118 h 1686775"/>
                  <a:gd name="connsiteX691" fmla="*/ 794385 w 2242184"/>
                  <a:gd name="connsiteY691" fmla="*/ 568643 h 1686775"/>
                  <a:gd name="connsiteX692" fmla="*/ 801053 w 2242184"/>
                  <a:gd name="connsiteY692" fmla="*/ 580073 h 1686775"/>
                  <a:gd name="connsiteX693" fmla="*/ 804863 w 2242184"/>
                  <a:gd name="connsiteY693" fmla="*/ 585788 h 1686775"/>
                  <a:gd name="connsiteX694" fmla="*/ 808673 w 2242184"/>
                  <a:gd name="connsiteY694" fmla="*/ 592455 h 1686775"/>
                  <a:gd name="connsiteX695" fmla="*/ 815340 w 2242184"/>
                  <a:gd name="connsiteY695" fmla="*/ 599123 h 1686775"/>
                  <a:gd name="connsiteX696" fmla="*/ 825818 w 2242184"/>
                  <a:gd name="connsiteY696" fmla="*/ 601980 h 1686775"/>
                  <a:gd name="connsiteX697" fmla="*/ 832485 w 2242184"/>
                  <a:gd name="connsiteY697" fmla="*/ 606743 h 1686775"/>
                  <a:gd name="connsiteX698" fmla="*/ 843915 w 2242184"/>
                  <a:gd name="connsiteY698" fmla="*/ 609600 h 1686775"/>
                  <a:gd name="connsiteX699" fmla="*/ 852488 w 2242184"/>
                  <a:gd name="connsiteY699" fmla="*/ 612458 h 1686775"/>
                  <a:gd name="connsiteX700" fmla="*/ 859155 w 2242184"/>
                  <a:gd name="connsiteY700" fmla="*/ 618173 h 1686775"/>
                  <a:gd name="connsiteX701" fmla="*/ 879158 w 2242184"/>
                  <a:gd name="connsiteY701" fmla="*/ 631508 h 1686775"/>
                  <a:gd name="connsiteX702" fmla="*/ 885825 w 2242184"/>
                  <a:gd name="connsiteY702" fmla="*/ 643890 h 1686775"/>
                  <a:gd name="connsiteX703" fmla="*/ 889635 w 2242184"/>
                  <a:gd name="connsiteY703" fmla="*/ 650558 h 1686775"/>
                  <a:gd name="connsiteX704" fmla="*/ 902018 w 2242184"/>
                  <a:gd name="connsiteY704" fmla="*/ 665798 h 1686775"/>
                  <a:gd name="connsiteX705" fmla="*/ 903923 w 2242184"/>
                  <a:gd name="connsiteY705" fmla="*/ 671513 h 1686775"/>
                  <a:gd name="connsiteX706" fmla="*/ 917258 w 2242184"/>
                  <a:gd name="connsiteY706" fmla="*/ 685800 h 1686775"/>
                  <a:gd name="connsiteX707" fmla="*/ 923925 w 2242184"/>
                  <a:gd name="connsiteY707" fmla="*/ 701040 h 1686775"/>
                  <a:gd name="connsiteX708" fmla="*/ 945833 w 2242184"/>
                  <a:gd name="connsiteY708" fmla="*/ 711518 h 1686775"/>
                  <a:gd name="connsiteX709" fmla="*/ 956310 w 2242184"/>
                  <a:gd name="connsiteY709" fmla="*/ 717233 h 1686775"/>
                  <a:gd name="connsiteX710" fmla="*/ 969645 w 2242184"/>
                  <a:gd name="connsiteY710" fmla="*/ 725805 h 1686775"/>
                  <a:gd name="connsiteX711" fmla="*/ 980123 w 2242184"/>
                  <a:gd name="connsiteY711" fmla="*/ 731520 h 1686775"/>
                  <a:gd name="connsiteX712" fmla="*/ 993458 w 2242184"/>
                  <a:gd name="connsiteY712" fmla="*/ 731520 h 1686775"/>
                  <a:gd name="connsiteX713" fmla="*/ 990600 w 2242184"/>
                  <a:gd name="connsiteY713" fmla="*/ 722948 h 1686775"/>
                  <a:gd name="connsiteX714" fmla="*/ 982028 w 2242184"/>
                  <a:gd name="connsiteY714" fmla="*/ 717233 h 1686775"/>
                  <a:gd name="connsiteX715" fmla="*/ 968693 w 2242184"/>
                  <a:gd name="connsiteY715" fmla="*/ 706755 h 1686775"/>
                  <a:gd name="connsiteX716" fmla="*/ 960120 w 2242184"/>
                  <a:gd name="connsiteY716" fmla="*/ 698183 h 1686775"/>
                  <a:gd name="connsiteX717" fmla="*/ 953453 w 2242184"/>
                  <a:gd name="connsiteY717" fmla="*/ 692468 h 1686775"/>
                  <a:gd name="connsiteX718" fmla="*/ 949643 w 2242184"/>
                  <a:gd name="connsiteY718" fmla="*/ 686752 h 1686775"/>
                  <a:gd name="connsiteX719" fmla="*/ 945833 w 2242184"/>
                  <a:gd name="connsiteY719" fmla="*/ 678180 h 1686775"/>
                  <a:gd name="connsiteX720" fmla="*/ 939165 w 2242184"/>
                  <a:gd name="connsiteY720" fmla="*/ 672465 h 1686775"/>
                  <a:gd name="connsiteX721" fmla="*/ 935355 w 2242184"/>
                  <a:gd name="connsiteY721" fmla="*/ 663893 h 1686775"/>
                  <a:gd name="connsiteX722" fmla="*/ 923925 w 2242184"/>
                  <a:gd name="connsiteY722" fmla="*/ 655320 h 1686775"/>
                  <a:gd name="connsiteX723" fmla="*/ 923925 w 2242184"/>
                  <a:gd name="connsiteY723" fmla="*/ 648652 h 1686775"/>
                  <a:gd name="connsiteX724" fmla="*/ 935355 w 2242184"/>
                  <a:gd name="connsiteY724" fmla="*/ 645795 h 1686775"/>
                  <a:gd name="connsiteX725" fmla="*/ 943928 w 2242184"/>
                  <a:gd name="connsiteY725" fmla="*/ 651510 h 1686775"/>
                  <a:gd name="connsiteX726" fmla="*/ 962978 w 2242184"/>
                  <a:gd name="connsiteY726" fmla="*/ 677227 h 1686775"/>
                  <a:gd name="connsiteX727" fmla="*/ 980123 w 2242184"/>
                  <a:gd name="connsiteY727" fmla="*/ 690563 h 1686775"/>
                  <a:gd name="connsiteX728" fmla="*/ 997268 w 2242184"/>
                  <a:gd name="connsiteY728" fmla="*/ 701040 h 1686775"/>
                  <a:gd name="connsiteX729" fmla="*/ 1012508 w 2242184"/>
                  <a:gd name="connsiteY729" fmla="*/ 712470 h 1686775"/>
                  <a:gd name="connsiteX730" fmla="*/ 1019175 w 2242184"/>
                  <a:gd name="connsiteY730" fmla="*/ 719138 h 1686775"/>
                  <a:gd name="connsiteX731" fmla="*/ 1034415 w 2242184"/>
                  <a:gd name="connsiteY731" fmla="*/ 733425 h 1686775"/>
                  <a:gd name="connsiteX732" fmla="*/ 1044893 w 2242184"/>
                  <a:gd name="connsiteY732" fmla="*/ 739140 h 1686775"/>
                  <a:gd name="connsiteX733" fmla="*/ 1048703 w 2242184"/>
                  <a:gd name="connsiteY733" fmla="*/ 745808 h 1686775"/>
                  <a:gd name="connsiteX734" fmla="*/ 1055370 w 2242184"/>
                  <a:gd name="connsiteY734" fmla="*/ 750570 h 1686775"/>
                  <a:gd name="connsiteX735" fmla="*/ 1062038 w 2242184"/>
                  <a:gd name="connsiteY735" fmla="*/ 756285 h 1686775"/>
                  <a:gd name="connsiteX736" fmla="*/ 1068705 w 2242184"/>
                  <a:gd name="connsiteY736" fmla="*/ 761048 h 1686775"/>
                  <a:gd name="connsiteX737" fmla="*/ 1072515 w 2242184"/>
                  <a:gd name="connsiteY737" fmla="*/ 766763 h 1686775"/>
                  <a:gd name="connsiteX738" fmla="*/ 1070610 w 2242184"/>
                  <a:gd name="connsiteY738" fmla="*/ 772477 h 1686775"/>
                  <a:gd name="connsiteX739" fmla="*/ 1074420 w 2242184"/>
                  <a:gd name="connsiteY739" fmla="*/ 779145 h 1686775"/>
                  <a:gd name="connsiteX740" fmla="*/ 1081088 w 2242184"/>
                  <a:gd name="connsiteY740" fmla="*/ 783908 h 1686775"/>
                  <a:gd name="connsiteX741" fmla="*/ 1094423 w 2242184"/>
                  <a:gd name="connsiteY741" fmla="*/ 789623 h 1686775"/>
                  <a:gd name="connsiteX742" fmla="*/ 1101090 w 2242184"/>
                  <a:gd name="connsiteY742" fmla="*/ 792480 h 1686775"/>
                  <a:gd name="connsiteX743" fmla="*/ 1116330 w 2242184"/>
                  <a:gd name="connsiteY743" fmla="*/ 798195 h 1686775"/>
                  <a:gd name="connsiteX744" fmla="*/ 1121093 w 2242184"/>
                  <a:gd name="connsiteY744" fmla="*/ 802005 h 1686775"/>
                  <a:gd name="connsiteX745" fmla="*/ 1125855 w 2242184"/>
                  <a:gd name="connsiteY745" fmla="*/ 805815 h 1686775"/>
                  <a:gd name="connsiteX746" fmla="*/ 1129665 w 2242184"/>
                  <a:gd name="connsiteY746" fmla="*/ 808673 h 1686775"/>
                  <a:gd name="connsiteX747" fmla="*/ 1151573 w 2242184"/>
                  <a:gd name="connsiteY747" fmla="*/ 820102 h 1686775"/>
                  <a:gd name="connsiteX748" fmla="*/ 1168718 w 2242184"/>
                  <a:gd name="connsiteY748" fmla="*/ 827723 h 1686775"/>
                  <a:gd name="connsiteX749" fmla="*/ 1180148 w 2242184"/>
                  <a:gd name="connsiteY749" fmla="*/ 827723 h 1686775"/>
                  <a:gd name="connsiteX750" fmla="*/ 1193483 w 2242184"/>
                  <a:gd name="connsiteY750" fmla="*/ 827723 h 1686775"/>
                  <a:gd name="connsiteX751" fmla="*/ 1213485 w 2242184"/>
                  <a:gd name="connsiteY751" fmla="*/ 827723 h 1686775"/>
                  <a:gd name="connsiteX752" fmla="*/ 1235393 w 2242184"/>
                  <a:gd name="connsiteY752" fmla="*/ 827723 h 1686775"/>
                  <a:gd name="connsiteX753" fmla="*/ 1250633 w 2242184"/>
                  <a:gd name="connsiteY753" fmla="*/ 826770 h 1686775"/>
                  <a:gd name="connsiteX754" fmla="*/ 1272540 w 2242184"/>
                  <a:gd name="connsiteY754" fmla="*/ 826770 h 1686775"/>
                  <a:gd name="connsiteX755" fmla="*/ 1279208 w 2242184"/>
                  <a:gd name="connsiteY755" fmla="*/ 829627 h 1686775"/>
                  <a:gd name="connsiteX756" fmla="*/ 1290638 w 2242184"/>
                  <a:gd name="connsiteY756" fmla="*/ 829627 h 1686775"/>
                  <a:gd name="connsiteX757" fmla="*/ 1297305 w 2242184"/>
                  <a:gd name="connsiteY757" fmla="*/ 831533 h 1686775"/>
                  <a:gd name="connsiteX758" fmla="*/ 1302068 w 2242184"/>
                  <a:gd name="connsiteY758" fmla="*/ 837248 h 1686775"/>
                  <a:gd name="connsiteX759" fmla="*/ 1323975 w 2242184"/>
                  <a:gd name="connsiteY759" fmla="*/ 853440 h 1686775"/>
                  <a:gd name="connsiteX760" fmla="*/ 1341120 w 2242184"/>
                  <a:gd name="connsiteY760" fmla="*/ 853440 h 1686775"/>
                  <a:gd name="connsiteX761" fmla="*/ 1354455 w 2242184"/>
                  <a:gd name="connsiteY761" fmla="*/ 855345 h 1686775"/>
                  <a:gd name="connsiteX762" fmla="*/ 1369695 w 2242184"/>
                  <a:gd name="connsiteY762" fmla="*/ 863918 h 1686775"/>
                  <a:gd name="connsiteX763" fmla="*/ 1383030 w 2242184"/>
                  <a:gd name="connsiteY763" fmla="*/ 869633 h 1686775"/>
                  <a:gd name="connsiteX764" fmla="*/ 1391603 w 2242184"/>
                  <a:gd name="connsiteY764" fmla="*/ 875348 h 1686775"/>
                  <a:gd name="connsiteX765" fmla="*/ 1402080 w 2242184"/>
                  <a:gd name="connsiteY765" fmla="*/ 885825 h 1686775"/>
                  <a:gd name="connsiteX766" fmla="*/ 1410653 w 2242184"/>
                  <a:gd name="connsiteY766" fmla="*/ 891540 h 1686775"/>
                  <a:gd name="connsiteX767" fmla="*/ 1423988 w 2242184"/>
                  <a:gd name="connsiteY767" fmla="*/ 900113 h 1686775"/>
                  <a:gd name="connsiteX768" fmla="*/ 1435418 w 2242184"/>
                  <a:gd name="connsiteY768" fmla="*/ 902970 h 1686775"/>
                  <a:gd name="connsiteX769" fmla="*/ 1437323 w 2242184"/>
                  <a:gd name="connsiteY769" fmla="*/ 909638 h 1686775"/>
                  <a:gd name="connsiteX770" fmla="*/ 1437323 w 2242184"/>
                  <a:gd name="connsiteY770" fmla="*/ 913448 h 1686775"/>
                  <a:gd name="connsiteX771" fmla="*/ 1450658 w 2242184"/>
                  <a:gd name="connsiteY771" fmla="*/ 921068 h 1686775"/>
                  <a:gd name="connsiteX772" fmla="*/ 1459230 w 2242184"/>
                  <a:gd name="connsiteY772" fmla="*/ 923925 h 1686775"/>
                  <a:gd name="connsiteX773" fmla="*/ 1481138 w 2242184"/>
                  <a:gd name="connsiteY773" fmla="*/ 923925 h 1686775"/>
                  <a:gd name="connsiteX774" fmla="*/ 1489710 w 2242184"/>
                  <a:gd name="connsiteY774" fmla="*/ 923925 h 1686775"/>
                  <a:gd name="connsiteX775" fmla="*/ 1498283 w 2242184"/>
                  <a:gd name="connsiteY775" fmla="*/ 922973 h 1686775"/>
                  <a:gd name="connsiteX776" fmla="*/ 1506855 w 2242184"/>
                  <a:gd name="connsiteY776" fmla="*/ 922973 h 1686775"/>
                  <a:gd name="connsiteX777" fmla="*/ 1520190 w 2242184"/>
                  <a:gd name="connsiteY777" fmla="*/ 922973 h 1686775"/>
                  <a:gd name="connsiteX778" fmla="*/ 1533525 w 2242184"/>
                  <a:gd name="connsiteY778" fmla="*/ 922973 h 1686775"/>
                  <a:gd name="connsiteX779" fmla="*/ 1550670 w 2242184"/>
                  <a:gd name="connsiteY779" fmla="*/ 922973 h 1686775"/>
                  <a:gd name="connsiteX780" fmla="*/ 1547813 w 2242184"/>
                  <a:gd name="connsiteY780" fmla="*/ 938213 h 1686775"/>
                  <a:gd name="connsiteX781" fmla="*/ 1547813 w 2242184"/>
                  <a:gd name="connsiteY781" fmla="*/ 955358 h 1686775"/>
                  <a:gd name="connsiteX782" fmla="*/ 1544955 w 2242184"/>
                  <a:gd name="connsiteY782" fmla="*/ 964883 h 1686775"/>
                  <a:gd name="connsiteX783" fmla="*/ 1546860 w 2242184"/>
                  <a:gd name="connsiteY783" fmla="*/ 968693 h 1686775"/>
                  <a:gd name="connsiteX784" fmla="*/ 1542098 w 2242184"/>
                  <a:gd name="connsiteY784" fmla="*/ 975360 h 1686775"/>
                  <a:gd name="connsiteX785" fmla="*/ 1528763 w 2242184"/>
                  <a:gd name="connsiteY785" fmla="*/ 984885 h 1686775"/>
                  <a:gd name="connsiteX786" fmla="*/ 1508760 w 2242184"/>
                  <a:gd name="connsiteY786" fmla="*/ 994410 h 1686775"/>
                  <a:gd name="connsiteX787" fmla="*/ 1508760 w 2242184"/>
                  <a:gd name="connsiteY787" fmla="*/ 998220 h 1686775"/>
                  <a:gd name="connsiteX788" fmla="*/ 1495425 w 2242184"/>
                  <a:gd name="connsiteY788" fmla="*/ 1007745 h 1686775"/>
                  <a:gd name="connsiteX789" fmla="*/ 1482090 w 2242184"/>
                  <a:gd name="connsiteY789" fmla="*/ 1016318 h 1686775"/>
                  <a:gd name="connsiteX790" fmla="*/ 1479233 w 2242184"/>
                  <a:gd name="connsiteY790" fmla="*/ 1031557 h 1686775"/>
                  <a:gd name="connsiteX791" fmla="*/ 1485900 w 2242184"/>
                  <a:gd name="connsiteY791" fmla="*/ 1043940 h 1686775"/>
                  <a:gd name="connsiteX792" fmla="*/ 1483043 w 2242184"/>
                  <a:gd name="connsiteY792" fmla="*/ 1055370 h 1686775"/>
                  <a:gd name="connsiteX793" fmla="*/ 1483043 w 2242184"/>
                  <a:gd name="connsiteY793" fmla="*/ 1061085 h 1686775"/>
                  <a:gd name="connsiteX794" fmla="*/ 1483043 w 2242184"/>
                  <a:gd name="connsiteY794" fmla="*/ 1075373 h 1686775"/>
                  <a:gd name="connsiteX795" fmla="*/ 1484948 w 2242184"/>
                  <a:gd name="connsiteY795" fmla="*/ 1079183 h 1686775"/>
                  <a:gd name="connsiteX796" fmla="*/ 1495425 w 2242184"/>
                  <a:gd name="connsiteY796" fmla="*/ 1083945 h 1686775"/>
                  <a:gd name="connsiteX797" fmla="*/ 1508760 w 2242184"/>
                  <a:gd name="connsiteY797" fmla="*/ 1091565 h 1686775"/>
                  <a:gd name="connsiteX798" fmla="*/ 1515428 w 2242184"/>
                  <a:gd name="connsiteY798" fmla="*/ 1103948 h 1686775"/>
                  <a:gd name="connsiteX799" fmla="*/ 1524000 w 2242184"/>
                  <a:gd name="connsiteY799" fmla="*/ 1118235 h 1686775"/>
                  <a:gd name="connsiteX800" fmla="*/ 1547813 w 2242184"/>
                  <a:gd name="connsiteY800" fmla="*/ 1141095 h 1686775"/>
                  <a:gd name="connsiteX801" fmla="*/ 1554480 w 2242184"/>
                  <a:gd name="connsiteY801" fmla="*/ 1146810 h 1686775"/>
                  <a:gd name="connsiteX802" fmla="*/ 1556385 w 2242184"/>
                  <a:gd name="connsiteY802" fmla="*/ 1150620 h 1686775"/>
                  <a:gd name="connsiteX803" fmla="*/ 1571625 w 2242184"/>
                  <a:gd name="connsiteY803" fmla="*/ 1162050 h 1686775"/>
                  <a:gd name="connsiteX804" fmla="*/ 1586865 w 2242184"/>
                  <a:gd name="connsiteY804" fmla="*/ 1173480 h 1686775"/>
                  <a:gd name="connsiteX805" fmla="*/ 1600200 w 2242184"/>
                  <a:gd name="connsiteY805" fmla="*/ 1181100 h 1686775"/>
                  <a:gd name="connsiteX806" fmla="*/ 1608773 w 2242184"/>
                  <a:gd name="connsiteY806" fmla="*/ 1183958 h 1686775"/>
                  <a:gd name="connsiteX807" fmla="*/ 1624013 w 2242184"/>
                  <a:gd name="connsiteY807" fmla="*/ 1191578 h 1686775"/>
                  <a:gd name="connsiteX808" fmla="*/ 1634490 w 2242184"/>
                  <a:gd name="connsiteY808" fmla="*/ 1197293 h 1686775"/>
                  <a:gd name="connsiteX809" fmla="*/ 1651635 w 2242184"/>
                  <a:gd name="connsiteY809" fmla="*/ 1204913 h 1686775"/>
                  <a:gd name="connsiteX810" fmla="*/ 1655445 w 2242184"/>
                  <a:gd name="connsiteY810" fmla="*/ 1210628 h 1686775"/>
                  <a:gd name="connsiteX811" fmla="*/ 1659255 w 2242184"/>
                  <a:gd name="connsiteY811" fmla="*/ 1216343 h 1686775"/>
                  <a:gd name="connsiteX812" fmla="*/ 1659255 w 2242184"/>
                  <a:gd name="connsiteY812" fmla="*/ 1218248 h 1686775"/>
                  <a:gd name="connsiteX813" fmla="*/ 1659255 w 2242184"/>
                  <a:gd name="connsiteY813" fmla="*/ 1218248 h 1686775"/>
                  <a:gd name="connsiteX814" fmla="*/ 1659255 w 2242184"/>
                  <a:gd name="connsiteY814" fmla="*/ 1221105 h 1686775"/>
                  <a:gd name="connsiteX815" fmla="*/ 1663065 w 2242184"/>
                  <a:gd name="connsiteY815" fmla="*/ 1259205 h 1686775"/>
                  <a:gd name="connsiteX816" fmla="*/ 1664970 w 2242184"/>
                  <a:gd name="connsiteY816" fmla="*/ 1273493 h 1686775"/>
                  <a:gd name="connsiteX817" fmla="*/ 1664970 w 2242184"/>
                  <a:gd name="connsiteY817" fmla="*/ 1293495 h 1686775"/>
                  <a:gd name="connsiteX818" fmla="*/ 1664970 w 2242184"/>
                  <a:gd name="connsiteY818" fmla="*/ 1299210 h 1686775"/>
                  <a:gd name="connsiteX819" fmla="*/ 1664970 w 2242184"/>
                  <a:gd name="connsiteY819" fmla="*/ 1313498 h 1686775"/>
                  <a:gd name="connsiteX820" fmla="*/ 1666875 w 2242184"/>
                  <a:gd name="connsiteY820" fmla="*/ 1317308 h 1686775"/>
                  <a:gd name="connsiteX821" fmla="*/ 1657350 w 2242184"/>
                  <a:gd name="connsiteY821" fmla="*/ 1332548 h 1686775"/>
                  <a:gd name="connsiteX822" fmla="*/ 1655445 w 2242184"/>
                  <a:gd name="connsiteY822" fmla="*/ 1336358 h 1686775"/>
                  <a:gd name="connsiteX823" fmla="*/ 1646873 w 2242184"/>
                  <a:gd name="connsiteY823" fmla="*/ 1345883 h 1686775"/>
                  <a:gd name="connsiteX824" fmla="*/ 1642110 w 2242184"/>
                  <a:gd name="connsiteY824" fmla="*/ 1351598 h 1686775"/>
                  <a:gd name="connsiteX825" fmla="*/ 1639253 w 2242184"/>
                  <a:gd name="connsiteY825" fmla="*/ 1360170 h 1686775"/>
                  <a:gd name="connsiteX826" fmla="*/ 1637348 w 2242184"/>
                  <a:gd name="connsiteY826" fmla="*/ 1365885 h 1686775"/>
                  <a:gd name="connsiteX827" fmla="*/ 1644015 w 2242184"/>
                  <a:gd name="connsiteY827" fmla="*/ 1375410 h 1686775"/>
                  <a:gd name="connsiteX828" fmla="*/ 1644015 w 2242184"/>
                  <a:gd name="connsiteY828" fmla="*/ 1383983 h 1686775"/>
                  <a:gd name="connsiteX829" fmla="*/ 1644015 w 2242184"/>
                  <a:gd name="connsiteY829" fmla="*/ 1387793 h 1686775"/>
                  <a:gd name="connsiteX830" fmla="*/ 1635443 w 2242184"/>
                  <a:gd name="connsiteY830" fmla="*/ 1391603 h 1686775"/>
                  <a:gd name="connsiteX831" fmla="*/ 1633538 w 2242184"/>
                  <a:gd name="connsiteY831" fmla="*/ 1395413 h 1686775"/>
                  <a:gd name="connsiteX832" fmla="*/ 1628775 w 2242184"/>
                  <a:gd name="connsiteY832" fmla="*/ 1402080 h 1686775"/>
                  <a:gd name="connsiteX833" fmla="*/ 1622108 w 2242184"/>
                  <a:gd name="connsiteY833" fmla="*/ 1407795 h 1686775"/>
                  <a:gd name="connsiteX834" fmla="*/ 1612583 w 2242184"/>
                  <a:gd name="connsiteY834" fmla="*/ 1427798 h 1686775"/>
                  <a:gd name="connsiteX835" fmla="*/ 1614488 w 2242184"/>
                  <a:gd name="connsiteY835" fmla="*/ 1448753 h 1686775"/>
                  <a:gd name="connsiteX836" fmla="*/ 1616393 w 2242184"/>
                  <a:gd name="connsiteY836" fmla="*/ 1468755 h 1686775"/>
                  <a:gd name="connsiteX837" fmla="*/ 1613535 w 2242184"/>
                  <a:gd name="connsiteY837" fmla="*/ 1480185 h 1686775"/>
                  <a:gd name="connsiteX838" fmla="*/ 1602105 w 2242184"/>
                  <a:gd name="connsiteY838" fmla="*/ 1486853 h 1686775"/>
                  <a:gd name="connsiteX839" fmla="*/ 1593533 w 2242184"/>
                  <a:gd name="connsiteY839" fmla="*/ 1490663 h 1686775"/>
                  <a:gd name="connsiteX840" fmla="*/ 1588770 w 2242184"/>
                  <a:gd name="connsiteY840" fmla="*/ 1497330 h 1686775"/>
                  <a:gd name="connsiteX841" fmla="*/ 1597343 w 2242184"/>
                  <a:gd name="connsiteY841" fmla="*/ 1503045 h 1686775"/>
                  <a:gd name="connsiteX842" fmla="*/ 1599248 w 2242184"/>
                  <a:gd name="connsiteY842" fmla="*/ 1523048 h 1686775"/>
                  <a:gd name="connsiteX843" fmla="*/ 1601153 w 2242184"/>
                  <a:gd name="connsiteY843" fmla="*/ 1529715 h 1686775"/>
                  <a:gd name="connsiteX844" fmla="*/ 1601153 w 2242184"/>
                  <a:gd name="connsiteY844" fmla="*/ 1535430 h 1686775"/>
                  <a:gd name="connsiteX845" fmla="*/ 1585913 w 2242184"/>
                  <a:gd name="connsiteY845" fmla="*/ 1542098 h 1686775"/>
                  <a:gd name="connsiteX846" fmla="*/ 1574483 w 2242184"/>
                  <a:gd name="connsiteY846" fmla="*/ 1564958 h 1686775"/>
                  <a:gd name="connsiteX847" fmla="*/ 1578293 w 2242184"/>
                  <a:gd name="connsiteY847" fmla="*/ 1573530 h 1686775"/>
                  <a:gd name="connsiteX848" fmla="*/ 1584960 w 2242184"/>
                  <a:gd name="connsiteY848" fmla="*/ 1583055 h 1686775"/>
                  <a:gd name="connsiteX849" fmla="*/ 1584960 w 2242184"/>
                  <a:gd name="connsiteY849" fmla="*/ 1586865 h 1686775"/>
                  <a:gd name="connsiteX850" fmla="*/ 1586865 w 2242184"/>
                  <a:gd name="connsiteY850" fmla="*/ 1593533 h 1686775"/>
                  <a:gd name="connsiteX851" fmla="*/ 1586865 w 2242184"/>
                  <a:gd name="connsiteY851" fmla="*/ 1602105 h 1686775"/>
                  <a:gd name="connsiteX852" fmla="*/ 1586865 w 2242184"/>
                  <a:gd name="connsiteY852" fmla="*/ 1614488 h 1686775"/>
                  <a:gd name="connsiteX853" fmla="*/ 1586865 w 2242184"/>
                  <a:gd name="connsiteY853" fmla="*/ 1618298 h 1686775"/>
                  <a:gd name="connsiteX854" fmla="*/ 1600200 w 2242184"/>
                  <a:gd name="connsiteY854" fmla="*/ 1632585 h 1686775"/>
                  <a:gd name="connsiteX855" fmla="*/ 1610678 w 2242184"/>
                  <a:gd name="connsiteY855" fmla="*/ 1642110 h 1686775"/>
                  <a:gd name="connsiteX856" fmla="*/ 1607820 w 2242184"/>
                  <a:gd name="connsiteY856" fmla="*/ 1656398 h 1686775"/>
                  <a:gd name="connsiteX857" fmla="*/ 1611630 w 2242184"/>
                  <a:gd name="connsiteY857" fmla="*/ 1662113 h 1686775"/>
                  <a:gd name="connsiteX858" fmla="*/ 1615440 w 2242184"/>
                  <a:gd name="connsiteY858" fmla="*/ 1668780 h 1686775"/>
                  <a:gd name="connsiteX859" fmla="*/ 1637348 w 2242184"/>
                  <a:gd name="connsiteY859" fmla="*/ 1679258 h 1686775"/>
                  <a:gd name="connsiteX860" fmla="*/ 1652588 w 2242184"/>
                  <a:gd name="connsiteY860" fmla="*/ 1682115 h 1686775"/>
                  <a:gd name="connsiteX861" fmla="*/ 1661160 w 2242184"/>
                  <a:gd name="connsiteY861" fmla="*/ 1682115 h 1686775"/>
                  <a:gd name="connsiteX862" fmla="*/ 1689735 w 2242184"/>
                  <a:gd name="connsiteY862" fmla="*/ 1684973 h 1686775"/>
                  <a:gd name="connsiteX863" fmla="*/ 1711643 w 2242184"/>
                  <a:gd name="connsiteY863" fmla="*/ 1684973 h 1686775"/>
                  <a:gd name="connsiteX864" fmla="*/ 1718310 w 2242184"/>
                  <a:gd name="connsiteY864" fmla="*/ 1682115 h 1686775"/>
                  <a:gd name="connsiteX865" fmla="*/ 1726883 w 2242184"/>
                  <a:gd name="connsiteY865" fmla="*/ 1676400 h 1686775"/>
                  <a:gd name="connsiteX866" fmla="*/ 1728788 w 2242184"/>
                  <a:gd name="connsiteY866" fmla="*/ 1670685 h 1686775"/>
                  <a:gd name="connsiteX867" fmla="*/ 1713548 w 2242184"/>
                  <a:gd name="connsiteY867" fmla="*/ 1667828 h 1686775"/>
                  <a:gd name="connsiteX868" fmla="*/ 1700213 w 2242184"/>
                  <a:gd name="connsiteY868" fmla="*/ 1662113 h 1686775"/>
                  <a:gd name="connsiteX869" fmla="*/ 1683068 w 2242184"/>
                  <a:gd name="connsiteY869" fmla="*/ 1644968 h 1686775"/>
                  <a:gd name="connsiteX870" fmla="*/ 1681163 w 2242184"/>
                  <a:gd name="connsiteY870" fmla="*/ 1633538 h 1686775"/>
                  <a:gd name="connsiteX871" fmla="*/ 1684020 w 2242184"/>
                  <a:gd name="connsiteY871" fmla="*/ 1619250 h 1686775"/>
                  <a:gd name="connsiteX872" fmla="*/ 1690688 w 2242184"/>
                  <a:gd name="connsiteY872" fmla="*/ 1609725 h 1686775"/>
                  <a:gd name="connsiteX873" fmla="*/ 1702118 w 2242184"/>
                  <a:gd name="connsiteY873" fmla="*/ 1597343 h 1686775"/>
                  <a:gd name="connsiteX874" fmla="*/ 1710690 w 2242184"/>
                  <a:gd name="connsiteY874" fmla="*/ 1591628 h 1686775"/>
                  <a:gd name="connsiteX875" fmla="*/ 1725930 w 2242184"/>
                  <a:gd name="connsiteY875" fmla="*/ 1585913 h 1686775"/>
                  <a:gd name="connsiteX876" fmla="*/ 1734503 w 2242184"/>
                  <a:gd name="connsiteY876" fmla="*/ 1579245 h 1686775"/>
                  <a:gd name="connsiteX877" fmla="*/ 1734503 w 2242184"/>
                  <a:gd name="connsiteY877" fmla="*/ 1573530 h 1686775"/>
                  <a:gd name="connsiteX878" fmla="*/ 1734503 w 2242184"/>
                  <a:gd name="connsiteY878" fmla="*/ 1567815 h 1686775"/>
                  <a:gd name="connsiteX879" fmla="*/ 1727835 w 2242184"/>
                  <a:gd name="connsiteY879" fmla="*/ 1562100 h 1686775"/>
                  <a:gd name="connsiteX880" fmla="*/ 1725930 w 2242184"/>
                  <a:gd name="connsiteY880" fmla="*/ 1552575 h 1686775"/>
                  <a:gd name="connsiteX881" fmla="*/ 1725930 w 2242184"/>
                  <a:gd name="connsiteY881" fmla="*/ 1545908 h 1686775"/>
                  <a:gd name="connsiteX882" fmla="*/ 1727835 w 2242184"/>
                  <a:gd name="connsiteY882" fmla="*/ 1540193 h 1686775"/>
                  <a:gd name="connsiteX883" fmla="*/ 1745933 w 2242184"/>
                  <a:gd name="connsiteY883" fmla="*/ 1528763 h 1686775"/>
                  <a:gd name="connsiteX884" fmla="*/ 1752600 w 2242184"/>
                  <a:gd name="connsiteY884" fmla="*/ 1523048 h 1686775"/>
                  <a:gd name="connsiteX885" fmla="*/ 1757363 w 2242184"/>
                  <a:gd name="connsiteY885" fmla="*/ 1511618 h 1686775"/>
                  <a:gd name="connsiteX886" fmla="*/ 1759268 w 2242184"/>
                  <a:gd name="connsiteY886" fmla="*/ 1504950 h 1686775"/>
                  <a:gd name="connsiteX887" fmla="*/ 1764030 w 2242184"/>
                  <a:gd name="connsiteY887" fmla="*/ 1499235 h 1686775"/>
                  <a:gd name="connsiteX888" fmla="*/ 1768793 w 2242184"/>
                  <a:gd name="connsiteY888" fmla="*/ 1490663 h 1686775"/>
                  <a:gd name="connsiteX889" fmla="*/ 1770698 w 2242184"/>
                  <a:gd name="connsiteY889" fmla="*/ 1484948 h 1686775"/>
                  <a:gd name="connsiteX890" fmla="*/ 1779270 w 2242184"/>
                  <a:gd name="connsiteY890" fmla="*/ 1482090 h 1686775"/>
                  <a:gd name="connsiteX891" fmla="*/ 1787843 w 2242184"/>
                  <a:gd name="connsiteY891" fmla="*/ 1479233 h 1686775"/>
                  <a:gd name="connsiteX892" fmla="*/ 1796415 w 2242184"/>
                  <a:gd name="connsiteY892" fmla="*/ 1470660 h 1686775"/>
                  <a:gd name="connsiteX893" fmla="*/ 1803083 w 2242184"/>
                  <a:gd name="connsiteY893" fmla="*/ 1466850 h 1686775"/>
                  <a:gd name="connsiteX894" fmla="*/ 1807845 w 2242184"/>
                  <a:gd name="connsiteY894" fmla="*/ 1460183 h 1686775"/>
                  <a:gd name="connsiteX895" fmla="*/ 1823085 w 2242184"/>
                  <a:gd name="connsiteY895" fmla="*/ 1460183 h 1686775"/>
                  <a:gd name="connsiteX896" fmla="*/ 1841183 w 2242184"/>
                  <a:gd name="connsiteY896" fmla="*/ 1459230 h 1686775"/>
                  <a:gd name="connsiteX897" fmla="*/ 1847850 w 2242184"/>
                  <a:gd name="connsiteY897" fmla="*/ 1458278 h 1686775"/>
                  <a:gd name="connsiteX898" fmla="*/ 1861185 w 2242184"/>
                  <a:gd name="connsiteY898" fmla="*/ 1452563 h 1686775"/>
                  <a:gd name="connsiteX899" fmla="*/ 1883093 w 2242184"/>
                  <a:gd name="connsiteY899" fmla="*/ 1445895 h 1686775"/>
                  <a:gd name="connsiteX900" fmla="*/ 1892618 w 2242184"/>
                  <a:gd name="connsiteY900" fmla="*/ 1434465 h 1686775"/>
                  <a:gd name="connsiteX901" fmla="*/ 1892618 w 2242184"/>
                  <a:gd name="connsiteY901" fmla="*/ 1422083 h 1686775"/>
                  <a:gd name="connsiteX902" fmla="*/ 1901190 w 2242184"/>
                  <a:gd name="connsiteY902" fmla="*/ 1413510 h 1686775"/>
                  <a:gd name="connsiteX903" fmla="*/ 1905953 w 2242184"/>
                  <a:gd name="connsiteY903" fmla="*/ 1407795 h 1686775"/>
                  <a:gd name="connsiteX904" fmla="*/ 1919288 w 2242184"/>
                  <a:gd name="connsiteY904" fmla="*/ 1406843 h 1686775"/>
                  <a:gd name="connsiteX905" fmla="*/ 1927860 w 2242184"/>
                  <a:gd name="connsiteY905" fmla="*/ 1408748 h 1686775"/>
                  <a:gd name="connsiteX906" fmla="*/ 1943100 w 2242184"/>
                  <a:gd name="connsiteY906" fmla="*/ 1403033 h 1686775"/>
                  <a:gd name="connsiteX907" fmla="*/ 1951673 w 2242184"/>
                  <a:gd name="connsiteY907" fmla="*/ 1397318 h 1686775"/>
                  <a:gd name="connsiteX908" fmla="*/ 1965008 w 2242184"/>
                  <a:gd name="connsiteY908" fmla="*/ 1387793 h 1686775"/>
                  <a:gd name="connsiteX909" fmla="*/ 1980248 w 2242184"/>
                  <a:gd name="connsiteY909" fmla="*/ 1376363 h 1686775"/>
                  <a:gd name="connsiteX910" fmla="*/ 1980248 w 2242184"/>
                  <a:gd name="connsiteY910" fmla="*/ 1370648 h 1686775"/>
                  <a:gd name="connsiteX911" fmla="*/ 1991678 w 2242184"/>
                  <a:gd name="connsiteY911" fmla="*/ 1358265 h 1686775"/>
                  <a:gd name="connsiteX912" fmla="*/ 2003108 w 2242184"/>
                  <a:gd name="connsiteY912" fmla="*/ 1349693 h 1686775"/>
                  <a:gd name="connsiteX913" fmla="*/ 2021205 w 2242184"/>
                  <a:gd name="connsiteY913" fmla="*/ 1343978 h 1686775"/>
                  <a:gd name="connsiteX914" fmla="*/ 2032635 w 2242184"/>
                  <a:gd name="connsiteY914" fmla="*/ 1334453 h 1686775"/>
                  <a:gd name="connsiteX915" fmla="*/ 2034540 w 2242184"/>
                  <a:gd name="connsiteY915" fmla="*/ 1327785 h 1686775"/>
                  <a:gd name="connsiteX916" fmla="*/ 2034540 w 2242184"/>
                  <a:gd name="connsiteY916" fmla="*/ 1319213 h 1686775"/>
                  <a:gd name="connsiteX917" fmla="*/ 2045970 w 2242184"/>
                  <a:gd name="connsiteY917" fmla="*/ 1306830 h 1686775"/>
                  <a:gd name="connsiteX918" fmla="*/ 2047875 w 2242184"/>
                  <a:gd name="connsiteY918" fmla="*/ 1301115 h 1686775"/>
                  <a:gd name="connsiteX919" fmla="*/ 2054543 w 2242184"/>
                  <a:gd name="connsiteY919" fmla="*/ 1294448 h 1686775"/>
                  <a:gd name="connsiteX920" fmla="*/ 2061210 w 2242184"/>
                  <a:gd name="connsiteY920" fmla="*/ 1293495 h 1686775"/>
                  <a:gd name="connsiteX921" fmla="*/ 2069783 w 2242184"/>
                  <a:gd name="connsiteY921" fmla="*/ 1284923 h 1686775"/>
                  <a:gd name="connsiteX922" fmla="*/ 2076450 w 2242184"/>
                  <a:gd name="connsiteY922" fmla="*/ 1283970 h 1686775"/>
                  <a:gd name="connsiteX923" fmla="*/ 2096453 w 2242184"/>
                  <a:gd name="connsiteY923" fmla="*/ 1274445 h 1686775"/>
                  <a:gd name="connsiteX924" fmla="*/ 2121218 w 2242184"/>
                  <a:gd name="connsiteY924" fmla="*/ 1270635 h 1686775"/>
                  <a:gd name="connsiteX925" fmla="*/ 2132648 w 2242184"/>
                  <a:gd name="connsiteY925" fmla="*/ 1266825 h 1686775"/>
                  <a:gd name="connsiteX926" fmla="*/ 2152650 w 2242184"/>
                  <a:gd name="connsiteY926" fmla="*/ 1261110 h 1686775"/>
                  <a:gd name="connsiteX927" fmla="*/ 2174558 w 2242184"/>
                  <a:gd name="connsiteY927" fmla="*/ 1252538 h 1686775"/>
                  <a:gd name="connsiteX928" fmla="*/ 2181225 w 2242184"/>
                  <a:gd name="connsiteY928" fmla="*/ 1245870 h 1686775"/>
                  <a:gd name="connsiteX929" fmla="*/ 2187893 w 2242184"/>
                  <a:gd name="connsiteY929" fmla="*/ 1236345 h 1686775"/>
                  <a:gd name="connsiteX930" fmla="*/ 2201228 w 2242184"/>
                  <a:gd name="connsiteY930" fmla="*/ 1224915 h 1686775"/>
                  <a:gd name="connsiteX931" fmla="*/ 2204085 w 2242184"/>
                  <a:gd name="connsiteY931" fmla="*/ 1203960 h 1686775"/>
                  <a:gd name="connsiteX932" fmla="*/ 2206943 w 2242184"/>
                  <a:gd name="connsiteY932" fmla="*/ 1194435 h 1686775"/>
                  <a:gd name="connsiteX933" fmla="*/ 2216468 w 2242184"/>
                  <a:gd name="connsiteY933" fmla="*/ 1182053 h 1686775"/>
                  <a:gd name="connsiteX934" fmla="*/ 2216468 w 2242184"/>
                  <a:gd name="connsiteY934" fmla="*/ 1172528 h 1686775"/>
                  <a:gd name="connsiteX935" fmla="*/ 2214563 w 2242184"/>
                  <a:gd name="connsiteY935" fmla="*/ 1165860 h 1686775"/>
                  <a:gd name="connsiteX936" fmla="*/ 2214563 w 2242184"/>
                  <a:gd name="connsiteY936" fmla="*/ 1160145 h 1686775"/>
                  <a:gd name="connsiteX937" fmla="*/ 2225993 w 2242184"/>
                  <a:gd name="connsiteY937" fmla="*/ 1151573 h 1686775"/>
                  <a:gd name="connsiteX938" fmla="*/ 2237423 w 2242184"/>
                  <a:gd name="connsiteY938" fmla="*/ 1127760 h 1686775"/>
                  <a:gd name="connsiteX939" fmla="*/ 2235518 w 2242184"/>
                  <a:gd name="connsiteY939" fmla="*/ 1113473 h 1686775"/>
                  <a:gd name="connsiteX940" fmla="*/ 2242185 w 2242184"/>
                  <a:gd name="connsiteY940" fmla="*/ 1098233 h 1686775"/>
                  <a:gd name="connsiteX941" fmla="*/ 1526858 w 2242184"/>
                  <a:gd name="connsiteY941" fmla="*/ 497205 h 1686775"/>
                  <a:gd name="connsiteX942" fmla="*/ 1528763 w 2242184"/>
                  <a:gd name="connsiteY942" fmla="*/ 494348 h 1686775"/>
                  <a:gd name="connsiteX943" fmla="*/ 1531620 w 2242184"/>
                  <a:gd name="connsiteY943" fmla="*/ 491490 h 1686775"/>
                  <a:gd name="connsiteX944" fmla="*/ 1540193 w 2242184"/>
                  <a:gd name="connsiteY944" fmla="*/ 491490 h 1686775"/>
                  <a:gd name="connsiteX945" fmla="*/ 1545908 w 2242184"/>
                  <a:gd name="connsiteY945" fmla="*/ 490537 h 1686775"/>
                  <a:gd name="connsiteX946" fmla="*/ 1553528 w 2242184"/>
                  <a:gd name="connsiteY946" fmla="*/ 490537 h 1686775"/>
                  <a:gd name="connsiteX947" fmla="*/ 1561148 w 2242184"/>
                  <a:gd name="connsiteY947" fmla="*/ 490537 h 1686775"/>
                  <a:gd name="connsiteX948" fmla="*/ 1576388 w 2242184"/>
                  <a:gd name="connsiteY948" fmla="*/ 489585 h 1686775"/>
                  <a:gd name="connsiteX949" fmla="*/ 1578293 w 2242184"/>
                  <a:gd name="connsiteY949" fmla="*/ 493395 h 1686775"/>
                  <a:gd name="connsiteX950" fmla="*/ 1578293 w 2242184"/>
                  <a:gd name="connsiteY950" fmla="*/ 494348 h 1686775"/>
                  <a:gd name="connsiteX951" fmla="*/ 1576388 w 2242184"/>
                  <a:gd name="connsiteY951" fmla="*/ 497205 h 1686775"/>
                  <a:gd name="connsiteX952" fmla="*/ 1571625 w 2242184"/>
                  <a:gd name="connsiteY952" fmla="*/ 498158 h 1686775"/>
                  <a:gd name="connsiteX953" fmla="*/ 1564005 w 2242184"/>
                  <a:gd name="connsiteY953" fmla="*/ 499110 h 1686775"/>
                  <a:gd name="connsiteX954" fmla="*/ 1557338 w 2242184"/>
                  <a:gd name="connsiteY954" fmla="*/ 500062 h 1686775"/>
                  <a:gd name="connsiteX955" fmla="*/ 1550670 w 2242184"/>
                  <a:gd name="connsiteY955" fmla="*/ 501015 h 1686775"/>
                  <a:gd name="connsiteX956" fmla="*/ 1539240 w 2242184"/>
                  <a:gd name="connsiteY956" fmla="*/ 501968 h 1686775"/>
                  <a:gd name="connsiteX957" fmla="*/ 1534478 w 2242184"/>
                  <a:gd name="connsiteY957" fmla="*/ 502920 h 1686775"/>
                  <a:gd name="connsiteX958" fmla="*/ 1528763 w 2242184"/>
                  <a:gd name="connsiteY958" fmla="*/ 503873 h 1686775"/>
                  <a:gd name="connsiteX959" fmla="*/ 1521143 w 2242184"/>
                  <a:gd name="connsiteY959" fmla="*/ 508635 h 1686775"/>
                  <a:gd name="connsiteX960" fmla="*/ 1510665 w 2242184"/>
                  <a:gd name="connsiteY960" fmla="*/ 514350 h 1686775"/>
                  <a:gd name="connsiteX961" fmla="*/ 1501140 w 2242184"/>
                  <a:gd name="connsiteY961" fmla="*/ 515302 h 1686775"/>
                  <a:gd name="connsiteX962" fmla="*/ 1495425 w 2242184"/>
                  <a:gd name="connsiteY962" fmla="*/ 516255 h 1686775"/>
                  <a:gd name="connsiteX963" fmla="*/ 1495425 w 2242184"/>
                  <a:gd name="connsiteY963" fmla="*/ 516255 h 1686775"/>
                  <a:gd name="connsiteX964" fmla="*/ 1495425 w 2242184"/>
                  <a:gd name="connsiteY964" fmla="*/ 516255 h 1686775"/>
                  <a:gd name="connsiteX965" fmla="*/ 1483995 w 2242184"/>
                  <a:gd name="connsiteY965" fmla="*/ 518160 h 1686775"/>
                  <a:gd name="connsiteX966" fmla="*/ 1474470 w 2242184"/>
                  <a:gd name="connsiteY966" fmla="*/ 516255 h 1686775"/>
                  <a:gd name="connsiteX967" fmla="*/ 1467803 w 2242184"/>
                  <a:gd name="connsiteY967" fmla="*/ 514350 h 1686775"/>
                  <a:gd name="connsiteX968" fmla="*/ 1467803 w 2242184"/>
                  <a:gd name="connsiteY968" fmla="*/ 510540 h 1686775"/>
                  <a:gd name="connsiteX969" fmla="*/ 1471613 w 2242184"/>
                  <a:gd name="connsiteY969" fmla="*/ 503873 h 1686775"/>
                  <a:gd name="connsiteX970" fmla="*/ 1477328 w 2242184"/>
                  <a:gd name="connsiteY970" fmla="*/ 502920 h 1686775"/>
                  <a:gd name="connsiteX971" fmla="*/ 1488758 w 2242184"/>
                  <a:gd name="connsiteY971" fmla="*/ 502920 h 1686775"/>
                  <a:gd name="connsiteX972" fmla="*/ 1491615 w 2242184"/>
                  <a:gd name="connsiteY972" fmla="*/ 502920 h 1686775"/>
                  <a:gd name="connsiteX973" fmla="*/ 1502093 w 2242184"/>
                  <a:gd name="connsiteY973" fmla="*/ 502920 h 1686775"/>
                  <a:gd name="connsiteX974" fmla="*/ 1509713 w 2242184"/>
                  <a:gd name="connsiteY974" fmla="*/ 501968 h 1686775"/>
                  <a:gd name="connsiteX975" fmla="*/ 1518285 w 2242184"/>
                  <a:gd name="connsiteY975" fmla="*/ 501015 h 1686775"/>
                  <a:gd name="connsiteX976" fmla="*/ 1524000 w 2242184"/>
                  <a:gd name="connsiteY976" fmla="*/ 498158 h 1686775"/>
                  <a:gd name="connsiteX977" fmla="*/ 1526858 w 2242184"/>
                  <a:gd name="connsiteY977" fmla="*/ 497205 h 1686775"/>
                  <a:gd name="connsiteX978" fmla="*/ 1446848 w 2242184"/>
                  <a:gd name="connsiteY978" fmla="*/ 462915 h 1686775"/>
                  <a:gd name="connsiteX979" fmla="*/ 1453515 w 2242184"/>
                  <a:gd name="connsiteY979" fmla="*/ 462915 h 1686775"/>
                  <a:gd name="connsiteX980" fmla="*/ 1463993 w 2242184"/>
                  <a:gd name="connsiteY980" fmla="*/ 462915 h 1686775"/>
                  <a:gd name="connsiteX981" fmla="*/ 1468755 w 2242184"/>
                  <a:gd name="connsiteY981" fmla="*/ 461962 h 1686775"/>
                  <a:gd name="connsiteX982" fmla="*/ 1479233 w 2242184"/>
                  <a:gd name="connsiteY982" fmla="*/ 461010 h 1686775"/>
                  <a:gd name="connsiteX983" fmla="*/ 1490663 w 2242184"/>
                  <a:gd name="connsiteY983" fmla="*/ 460058 h 1686775"/>
                  <a:gd name="connsiteX984" fmla="*/ 1502093 w 2242184"/>
                  <a:gd name="connsiteY984" fmla="*/ 461010 h 1686775"/>
                  <a:gd name="connsiteX985" fmla="*/ 1513523 w 2242184"/>
                  <a:gd name="connsiteY985" fmla="*/ 461010 h 1686775"/>
                  <a:gd name="connsiteX986" fmla="*/ 1515428 w 2242184"/>
                  <a:gd name="connsiteY986" fmla="*/ 466725 h 1686775"/>
                  <a:gd name="connsiteX987" fmla="*/ 1518285 w 2242184"/>
                  <a:gd name="connsiteY987" fmla="*/ 466725 h 1686775"/>
                  <a:gd name="connsiteX988" fmla="*/ 1521143 w 2242184"/>
                  <a:gd name="connsiteY988" fmla="*/ 467677 h 1686775"/>
                  <a:gd name="connsiteX989" fmla="*/ 1520190 w 2242184"/>
                  <a:gd name="connsiteY989" fmla="*/ 469583 h 1686775"/>
                  <a:gd name="connsiteX990" fmla="*/ 1515428 w 2242184"/>
                  <a:gd name="connsiteY990" fmla="*/ 472440 h 1686775"/>
                  <a:gd name="connsiteX991" fmla="*/ 1511618 w 2242184"/>
                  <a:gd name="connsiteY991" fmla="*/ 473393 h 1686775"/>
                  <a:gd name="connsiteX992" fmla="*/ 1504950 w 2242184"/>
                  <a:gd name="connsiteY992" fmla="*/ 473393 h 1686775"/>
                  <a:gd name="connsiteX993" fmla="*/ 1498283 w 2242184"/>
                  <a:gd name="connsiteY993" fmla="*/ 473393 h 1686775"/>
                  <a:gd name="connsiteX994" fmla="*/ 1495425 w 2242184"/>
                  <a:gd name="connsiteY994" fmla="*/ 474345 h 1686775"/>
                  <a:gd name="connsiteX995" fmla="*/ 1493520 w 2242184"/>
                  <a:gd name="connsiteY995" fmla="*/ 478155 h 1686775"/>
                  <a:gd name="connsiteX996" fmla="*/ 1492568 w 2242184"/>
                  <a:gd name="connsiteY996" fmla="*/ 485775 h 1686775"/>
                  <a:gd name="connsiteX997" fmla="*/ 1483043 w 2242184"/>
                  <a:gd name="connsiteY997" fmla="*/ 488633 h 1686775"/>
                  <a:gd name="connsiteX998" fmla="*/ 1477328 w 2242184"/>
                  <a:gd name="connsiteY998" fmla="*/ 488633 h 1686775"/>
                  <a:gd name="connsiteX999" fmla="*/ 1471613 w 2242184"/>
                  <a:gd name="connsiteY999" fmla="*/ 484823 h 1686775"/>
                  <a:gd name="connsiteX1000" fmla="*/ 1464945 w 2242184"/>
                  <a:gd name="connsiteY1000" fmla="*/ 482918 h 1686775"/>
                  <a:gd name="connsiteX1001" fmla="*/ 1460183 w 2242184"/>
                  <a:gd name="connsiteY1001" fmla="*/ 478155 h 1686775"/>
                  <a:gd name="connsiteX1002" fmla="*/ 1460183 w 2242184"/>
                  <a:gd name="connsiteY1002" fmla="*/ 476250 h 1686775"/>
                  <a:gd name="connsiteX1003" fmla="*/ 1457325 w 2242184"/>
                  <a:gd name="connsiteY1003" fmla="*/ 473393 h 1686775"/>
                  <a:gd name="connsiteX1004" fmla="*/ 1450658 w 2242184"/>
                  <a:gd name="connsiteY1004" fmla="*/ 469583 h 1686775"/>
                  <a:gd name="connsiteX1005" fmla="*/ 1444943 w 2242184"/>
                  <a:gd name="connsiteY1005" fmla="*/ 469583 h 1686775"/>
                  <a:gd name="connsiteX1006" fmla="*/ 1436370 w 2242184"/>
                  <a:gd name="connsiteY1006" fmla="*/ 469583 h 1686775"/>
                  <a:gd name="connsiteX1007" fmla="*/ 1431608 w 2242184"/>
                  <a:gd name="connsiteY1007" fmla="*/ 469583 h 1686775"/>
                  <a:gd name="connsiteX1008" fmla="*/ 1425893 w 2242184"/>
                  <a:gd name="connsiteY1008" fmla="*/ 472440 h 1686775"/>
                  <a:gd name="connsiteX1009" fmla="*/ 1421130 w 2242184"/>
                  <a:gd name="connsiteY1009" fmla="*/ 474345 h 1686775"/>
                  <a:gd name="connsiteX1010" fmla="*/ 1416368 w 2242184"/>
                  <a:gd name="connsiteY1010" fmla="*/ 478155 h 1686775"/>
                  <a:gd name="connsiteX1011" fmla="*/ 1415415 w 2242184"/>
                  <a:gd name="connsiteY1011" fmla="*/ 480060 h 1686775"/>
                  <a:gd name="connsiteX1012" fmla="*/ 1414463 w 2242184"/>
                  <a:gd name="connsiteY1012" fmla="*/ 484823 h 1686775"/>
                  <a:gd name="connsiteX1013" fmla="*/ 1410653 w 2242184"/>
                  <a:gd name="connsiteY1013" fmla="*/ 486727 h 1686775"/>
                  <a:gd name="connsiteX1014" fmla="*/ 1409700 w 2242184"/>
                  <a:gd name="connsiteY1014" fmla="*/ 492443 h 1686775"/>
                  <a:gd name="connsiteX1015" fmla="*/ 1407795 w 2242184"/>
                  <a:gd name="connsiteY1015" fmla="*/ 499110 h 1686775"/>
                  <a:gd name="connsiteX1016" fmla="*/ 1406843 w 2242184"/>
                  <a:gd name="connsiteY1016" fmla="*/ 502920 h 1686775"/>
                  <a:gd name="connsiteX1017" fmla="*/ 1405890 w 2242184"/>
                  <a:gd name="connsiteY1017" fmla="*/ 504825 h 1686775"/>
                  <a:gd name="connsiteX1018" fmla="*/ 1400175 w 2242184"/>
                  <a:gd name="connsiteY1018" fmla="*/ 504825 h 1686775"/>
                  <a:gd name="connsiteX1019" fmla="*/ 1396365 w 2242184"/>
                  <a:gd name="connsiteY1019" fmla="*/ 504825 h 1686775"/>
                  <a:gd name="connsiteX1020" fmla="*/ 1391603 w 2242184"/>
                  <a:gd name="connsiteY1020" fmla="*/ 502920 h 1686775"/>
                  <a:gd name="connsiteX1021" fmla="*/ 1388745 w 2242184"/>
                  <a:gd name="connsiteY1021" fmla="*/ 500062 h 1686775"/>
                  <a:gd name="connsiteX1022" fmla="*/ 1389698 w 2242184"/>
                  <a:gd name="connsiteY1022" fmla="*/ 493395 h 1686775"/>
                  <a:gd name="connsiteX1023" fmla="*/ 1387793 w 2242184"/>
                  <a:gd name="connsiteY1023" fmla="*/ 486727 h 1686775"/>
                  <a:gd name="connsiteX1024" fmla="*/ 1387793 w 2242184"/>
                  <a:gd name="connsiteY1024" fmla="*/ 483870 h 1686775"/>
                  <a:gd name="connsiteX1025" fmla="*/ 1387793 w 2242184"/>
                  <a:gd name="connsiteY1025" fmla="*/ 477202 h 1686775"/>
                  <a:gd name="connsiteX1026" fmla="*/ 1391603 w 2242184"/>
                  <a:gd name="connsiteY1026" fmla="*/ 473393 h 1686775"/>
                  <a:gd name="connsiteX1027" fmla="*/ 1395413 w 2242184"/>
                  <a:gd name="connsiteY1027" fmla="*/ 469583 h 1686775"/>
                  <a:gd name="connsiteX1028" fmla="*/ 1403985 w 2242184"/>
                  <a:gd name="connsiteY1028" fmla="*/ 467677 h 1686775"/>
                  <a:gd name="connsiteX1029" fmla="*/ 1413510 w 2242184"/>
                  <a:gd name="connsiteY1029" fmla="*/ 464820 h 1686775"/>
                  <a:gd name="connsiteX1030" fmla="*/ 1414463 w 2242184"/>
                  <a:gd name="connsiteY1030" fmla="*/ 462915 h 1686775"/>
                  <a:gd name="connsiteX1031" fmla="*/ 1422083 w 2242184"/>
                  <a:gd name="connsiteY1031" fmla="*/ 460058 h 1686775"/>
                  <a:gd name="connsiteX1032" fmla="*/ 1423988 w 2242184"/>
                  <a:gd name="connsiteY1032" fmla="*/ 460058 h 1686775"/>
                  <a:gd name="connsiteX1033" fmla="*/ 1429703 w 2242184"/>
                  <a:gd name="connsiteY1033" fmla="*/ 460058 h 1686775"/>
                  <a:gd name="connsiteX1034" fmla="*/ 1434465 w 2242184"/>
                  <a:gd name="connsiteY1034" fmla="*/ 460058 h 1686775"/>
                  <a:gd name="connsiteX1035" fmla="*/ 1446848 w 2242184"/>
                  <a:gd name="connsiteY1035" fmla="*/ 462915 h 1686775"/>
                  <a:gd name="connsiteX1036" fmla="*/ 1322070 w 2242184"/>
                  <a:gd name="connsiteY1036" fmla="*/ 445770 h 1686775"/>
                  <a:gd name="connsiteX1037" fmla="*/ 1324928 w 2242184"/>
                  <a:gd name="connsiteY1037" fmla="*/ 443865 h 1686775"/>
                  <a:gd name="connsiteX1038" fmla="*/ 1329690 w 2242184"/>
                  <a:gd name="connsiteY1038" fmla="*/ 441960 h 1686775"/>
                  <a:gd name="connsiteX1039" fmla="*/ 1333500 w 2242184"/>
                  <a:gd name="connsiteY1039" fmla="*/ 439102 h 1686775"/>
                  <a:gd name="connsiteX1040" fmla="*/ 1334453 w 2242184"/>
                  <a:gd name="connsiteY1040" fmla="*/ 437198 h 1686775"/>
                  <a:gd name="connsiteX1041" fmla="*/ 1338263 w 2242184"/>
                  <a:gd name="connsiteY1041" fmla="*/ 436245 h 1686775"/>
                  <a:gd name="connsiteX1042" fmla="*/ 1348740 w 2242184"/>
                  <a:gd name="connsiteY1042" fmla="*/ 432435 h 1686775"/>
                  <a:gd name="connsiteX1043" fmla="*/ 1353503 w 2242184"/>
                  <a:gd name="connsiteY1043" fmla="*/ 429577 h 1686775"/>
                  <a:gd name="connsiteX1044" fmla="*/ 1355408 w 2242184"/>
                  <a:gd name="connsiteY1044" fmla="*/ 428625 h 1686775"/>
                  <a:gd name="connsiteX1045" fmla="*/ 1357313 w 2242184"/>
                  <a:gd name="connsiteY1045" fmla="*/ 428625 h 1686775"/>
                  <a:gd name="connsiteX1046" fmla="*/ 1363980 w 2242184"/>
                  <a:gd name="connsiteY1046" fmla="*/ 428625 h 1686775"/>
                  <a:gd name="connsiteX1047" fmla="*/ 1366838 w 2242184"/>
                  <a:gd name="connsiteY1047" fmla="*/ 428625 h 1686775"/>
                  <a:gd name="connsiteX1048" fmla="*/ 1376363 w 2242184"/>
                  <a:gd name="connsiteY1048" fmla="*/ 427673 h 1686775"/>
                  <a:gd name="connsiteX1049" fmla="*/ 1381125 w 2242184"/>
                  <a:gd name="connsiteY1049" fmla="*/ 425768 h 1686775"/>
                  <a:gd name="connsiteX1050" fmla="*/ 1384935 w 2242184"/>
                  <a:gd name="connsiteY1050" fmla="*/ 424815 h 1686775"/>
                  <a:gd name="connsiteX1051" fmla="*/ 1387793 w 2242184"/>
                  <a:gd name="connsiteY1051" fmla="*/ 423862 h 1686775"/>
                  <a:gd name="connsiteX1052" fmla="*/ 1392555 w 2242184"/>
                  <a:gd name="connsiteY1052" fmla="*/ 424815 h 1686775"/>
                  <a:gd name="connsiteX1053" fmla="*/ 1397318 w 2242184"/>
                  <a:gd name="connsiteY1053" fmla="*/ 425768 h 1686775"/>
                  <a:gd name="connsiteX1054" fmla="*/ 1403033 w 2242184"/>
                  <a:gd name="connsiteY1054" fmla="*/ 428625 h 1686775"/>
                  <a:gd name="connsiteX1055" fmla="*/ 1408748 w 2242184"/>
                  <a:gd name="connsiteY1055" fmla="*/ 431483 h 1686775"/>
                  <a:gd name="connsiteX1056" fmla="*/ 1411605 w 2242184"/>
                  <a:gd name="connsiteY1056" fmla="*/ 433387 h 1686775"/>
                  <a:gd name="connsiteX1057" fmla="*/ 1418273 w 2242184"/>
                  <a:gd name="connsiteY1057" fmla="*/ 435293 h 1686775"/>
                  <a:gd name="connsiteX1058" fmla="*/ 1421130 w 2242184"/>
                  <a:gd name="connsiteY1058" fmla="*/ 436245 h 1686775"/>
                  <a:gd name="connsiteX1059" fmla="*/ 1423035 w 2242184"/>
                  <a:gd name="connsiteY1059" fmla="*/ 437198 h 1686775"/>
                  <a:gd name="connsiteX1060" fmla="*/ 1424940 w 2242184"/>
                  <a:gd name="connsiteY1060" fmla="*/ 439102 h 1686775"/>
                  <a:gd name="connsiteX1061" fmla="*/ 1425893 w 2242184"/>
                  <a:gd name="connsiteY1061" fmla="*/ 440055 h 1686775"/>
                  <a:gd name="connsiteX1062" fmla="*/ 1432560 w 2242184"/>
                  <a:gd name="connsiteY1062" fmla="*/ 446723 h 1686775"/>
                  <a:gd name="connsiteX1063" fmla="*/ 1429703 w 2242184"/>
                  <a:gd name="connsiteY1063" fmla="*/ 446723 h 1686775"/>
                  <a:gd name="connsiteX1064" fmla="*/ 1411605 w 2242184"/>
                  <a:gd name="connsiteY1064" fmla="*/ 447675 h 1686775"/>
                  <a:gd name="connsiteX1065" fmla="*/ 1404938 w 2242184"/>
                  <a:gd name="connsiteY1065" fmla="*/ 447675 h 1686775"/>
                  <a:gd name="connsiteX1066" fmla="*/ 1399223 w 2242184"/>
                  <a:gd name="connsiteY1066" fmla="*/ 447675 h 1686775"/>
                  <a:gd name="connsiteX1067" fmla="*/ 1393508 w 2242184"/>
                  <a:gd name="connsiteY1067" fmla="*/ 447675 h 1686775"/>
                  <a:gd name="connsiteX1068" fmla="*/ 1388745 w 2242184"/>
                  <a:gd name="connsiteY1068" fmla="*/ 447675 h 1686775"/>
                  <a:gd name="connsiteX1069" fmla="*/ 1381125 w 2242184"/>
                  <a:gd name="connsiteY1069" fmla="*/ 447675 h 1686775"/>
                  <a:gd name="connsiteX1070" fmla="*/ 1373505 w 2242184"/>
                  <a:gd name="connsiteY1070" fmla="*/ 449580 h 1686775"/>
                  <a:gd name="connsiteX1071" fmla="*/ 1360170 w 2242184"/>
                  <a:gd name="connsiteY1071" fmla="*/ 449580 h 1686775"/>
                  <a:gd name="connsiteX1072" fmla="*/ 1354455 w 2242184"/>
                  <a:gd name="connsiteY1072" fmla="*/ 449580 h 1686775"/>
                  <a:gd name="connsiteX1073" fmla="*/ 1342073 w 2242184"/>
                  <a:gd name="connsiteY1073" fmla="*/ 452437 h 1686775"/>
                  <a:gd name="connsiteX1074" fmla="*/ 1339215 w 2242184"/>
                  <a:gd name="connsiteY1074" fmla="*/ 453390 h 1686775"/>
                  <a:gd name="connsiteX1075" fmla="*/ 1331595 w 2242184"/>
                  <a:gd name="connsiteY1075" fmla="*/ 455295 h 1686775"/>
                  <a:gd name="connsiteX1076" fmla="*/ 1325880 w 2242184"/>
                  <a:gd name="connsiteY1076" fmla="*/ 455295 h 1686775"/>
                  <a:gd name="connsiteX1077" fmla="*/ 1322070 w 2242184"/>
                  <a:gd name="connsiteY1077" fmla="*/ 455295 h 1686775"/>
                  <a:gd name="connsiteX1078" fmla="*/ 1320165 w 2242184"/>
                  <a:gd name="connsiteY1078" fmla="*/ 452437 h 1686775"/>
                  <a:gd name="connsiteX1079" fmla="*/ 1320165 w 2242184"/>
                  <a:gd name="connsiteY1079" fmla="*/ 449580 h 1686775"/>
                  <a:gd name="connsiteX1080" fmla="*/ 1322070 w 2242184"/>
                  <a:gd name="connsiteY1080" fmla="*/ 445770 h 1686775"/>
                  <a:gd name="connsiteX1081" fmla="*/ 1762125 w 2242184"/>
                  <a:gd name="connsiteY1081" fmla="*/ 147637 h 1686775"/>
                  <a:gd name="connsiteX1082" fmla="*/ 1762125 w 2242184"/>
                  <a:gd name="connsiteY1082" fmla="*/ 147637 h 1686775"/>
                  <a:gd name="connsiteX1083" fmla="*/ 1762125 w 2242184"/>
                  <a:gd name="connsiteY1083" fmla="*/ 147637 h 1686775"/>
                  <a:gd name="connsiteX1084" fmla="*/ 870585 w 2242184"/>
                  <a:gd name="connsiteY1084" fmla="*/ 141923 h 1686775"/>
                  <a:gd name="connsiteX1085" fmla="*/ 862965 w 2242184"/>
                  <a:gd name="connsiteY1085" fmla="*/ 145733 h 1686775"/>
                  <a:gd name="connsiteX1086" fmla="*/ 854393 w 2242184"/>
                  <a:gd name="connsiteY1086" fmla="*/ 146685 h 1686775"/>
                  <a:gd name="connsiteX1087" fmla="*/ 851535 w 2242184"/>
                  <a:gd name="connsiteY1087" fmla="*/ 146685 h 1686775"/>
                  <a:gd name="connsiteX1088" fmla="*/ 844868 w 2242184"/>
                  <a:gd name="connsiteY1088" fmla="*/ 146685 h 1686775"/>
                  <a:gd name="connsiteX1089" fmla="*/ 840105 w 2242184"/>
                  <a:gd name="connsiteY1089" fmla="*/ 147637 h 1686775"/>
                  <a:gd name="connsiteX1090" fmla="*/ 834390 w 2242184"/>
                  <a:gd name="connsiteY1090" fmla="*/ 149542 h 1686775"/>
                  <a:gd name="connsiteX1091" fmla="*/ 829628 w 2242184"/>
                  <a:gd name="connsiteY1091" fmla="*/ 147637 h 1686775"/>
                  <a:gd name="connsiteX1092" fmla="*/ 826770 w 2242184"/>
                  <a:gd name="connsiteY1092" fmla="*/ 145733 h 1686775"/>
                  <a:gd name="connsiteX1093" fmla="*/ 819150 w 2242184"/>
                  <a:gd name="connsiteY1093" fmla="*/ 144780 h 1686775"/>
                  <a:gd name="connsiteX1094" fmla="*/ 811530 w 2242184"/>
                  <a:gd name="connsiteY1094" fmla="*/ 144780 h 1686775"/>
                  <a:gd name="connsiteX1095" fmla="*/ 804863 w 2242184"/>
                  <a:gd name="connsiteY1095" fmla="*/ 144780 h 1686775"/>
                  <a:gd name="connsiteX1096" fmla="*/ 800100 w 2242184"/>
                  <a:gd name="connsiteY1096" fmla="*/ 142875 h 1686775"/>
                  <a:gd name="connsiteX1097" fmla="*/ 788670 w 2242184"/>
                  <a:gd name="connsiteY1097" fmla="*/ 142875 h 1686775"/>
                  <a:gd name="connsiteX1098" fmla="*/ 784860 w 2242184"/>
                  <a:gd name="connsiteY1098" fmla="*/ 142875 h 1686775"/>
                  <a:gd name="connsiteX1099" fmla="*/ 776288 w 2242184"/>
                  <a:gd name="connsiteY1099" fmla="*/ 141923 h 1686775"/>
                  <a:gd name="connsiteX1100" fmla="*/ 764858 w 2242184"/>
                  <a:gd name="connsiteY1100" fmla="*/ 140970 h 1686775"/>
                  <a:gd name="connsiteX1101" fmla="*/ 756285 w 2242184"/>
                  <a:gd name="connsiteY1101" fmla="*/ 140017 h 1686775"/>
                  <a:gd name="connsiteX1102" fmla="*/ 750570 w 2242184"/>
                  <a:gd name="connsiteY1102" fmla="*/ 135255 h 1686775"/>
                  <a:gd name="connsiteX1103" fmla="*/ 751523 w 2242184"/>
                  <a:gd name="connsiteY1103" fmla="*/ 133350 h 1686775"/>
                  <a:gd name="connsiteX1104" fmla="*/ 754380 w 2242184"/>
                  <a:gd name="connsiteY1104" fmla="*/ 131445 h 1686775"/>
                  <a:gd name="connsiteX1105" fmla="*/ 760095 w 2242184"/>
                  <a:gd name="connsiteY1105" fmla="*/ 131445 h 1686775"/>
                  <a:gd name="connsiteX1106" fmla="*/ 771525 w 2242184"/>
                  <a:gd name="connsiteY1106" fmla="*/ 131445 h 1686775"/>
                  <a:gd name="connsiteX1107" fmla="*/ 776288 w 2242184"/>
                  <a:gd name="connsiteY1107" fmla="*/ 131445 h 1686775"/>
                  <a:gd name="connsiteX1108" fmla="*/ 783908 w 2242184"/>
                  <a:gd name="connsiteY1108" fmla="*/ 131445 h 1686775"/>
                  <a:gd name="connsiteX1109" fmla="*/ 792480 w 2242184"/>
                  <a:gd name="connsiteY1109" fmla="*/ 129540 h 1686775"/>
                  <a:gd name="connsiteX1110" fmla="*/ 794385 w 2242184"/>
                  <a:gd name="connsiteY1110" fmla="*/ 129540 h 1686775"/>
                  <a:gd name="connsiteX1111" fmla="*/ 793433 w 2242184"/>
                  <a:gd name="connsiteY1111" fmla="*/ 129540 h 1686775"/>
                  <a:gd name="connsiteX1112" fmla="*/ 793433 w 2242184"/>
                  <a:gd name="connsiteY1112" fmla="*/ 129540 h 1686775"/>
                  <a:gd name="connsiteX1113" fmla="*/ 792480 w 2242184"/>
                  <a:gd name="connsiteY1113" fmla="*/ 129540 h 1686775"/>
                  <a:gd name="connsiteX1114" fmla="*/ 793433 w 2242184"/>
                  <a:gd name="connsiteY1114" fmla="*/ 129540 h 1686775"/>
                  <a:gd name="connsiteX1115" fmla="*/ 793433 w 2242184"/>
                  <a:gd name="connsiteY1115" fmla="*/ 129540 h 1686775"/>
                  <a:gd name="connsiteX1116" fmla="*/ 794385 w 2242184"/>
                  <a:gd name="connsiteY1116" fmla="*/ 129540 h 1686775"/>
                  <a:gd name="connsiteX1117" fmla="*/ 802958 w 2242184"/>
                  <a:gd name="connsiteY1117" fmla="*/ 128587 h 1686775"/>
                  <a:gd name="connsiteX1118" fmla="*/ 805815 w 2242184"/>
                  <a:gd name="connsiteY1118" fmla="*/ 128587 h 1686775"/>
                  <a:gd name="connsiteX1119" fmla="*/ 815340 w 2242184"/>
                  <a:gd name="connsiteY1119" fmla="*/ 128587 h 1686775"/>
                  <a:gd name="connsiteX1120" fmla="*/ 822008 w 2242184"/>
                  <a:gd name="connsiteY1120" fmla="*/ 128587 h 1686775"/>
                  <a:gd name="connsiteX1121" fmla="*/ 827723 w 2242184"/>
                  <a:gd name="connsiteY1121" fmla="*/ 129540 h 1686775"/>
                  <a:gd name="connsiteX1122" fmla="*/ 832485 w 2242184"/>
                  <a:gd name="connsiteY1122" fmla="*/ 130492 h 1686775"/>
                  <a:gd name="connsiteX1123" fmla="*/ 832485 w 2242184"/>
                  <a:gd name="connsiteY1123" fmla="*/ 131445 h 1686775"/>
                  <a:gd name="connsiteX1124" fmla="*/ 840105 w 2242184"/>
                  <a:gd name="connsiteY1124" fmla="*/ 135255 h 1686775"/>
                  <a:gd name="connsiteX1125" fmla="*/ 842963 w 2242184"/>
                  <a:gd name="connsiteY1125" fmla="*/ 136208 h 1686775"/>
                  <a:gd name="connsiteX1126" fmla="*/ 852488 w 2242184"/>
                  <a:gd name="connsiteY1126" fmla="*/ 131445 h 1686775"/>
                  <a:gd name="connsiteX1127" fmla="*/ 857250 w 2242184"/>
                  <a:gd name="connsiteY1127" fmla="*/ 132398 h 1686775"/>
                  <a:gd name="connsiteX1128" fmla="*/ 862013 w 2242184"/>
                  <a:gd name="connsiteY1128" fmla="*/ 131445 h 1686775"/>
                  <a:gd name="connsiteX1129" fmla="*/ 869633 w 2242184"/>
                  <a:gd name="connsiteY1129" fmla="*/ 132398 h 1686775"/>
                  <a:gd name="connsiteX1130" fmla="*/ 872490 w 2242184"/>
                  <a:gd name="connsiteY1130" fmla="*/ 134303 h 1686775"/>
                  <a:gd name="connsiteX1131" fmla="*/ 873443 w 2242184"/>
                  <a:gd name="connsiteY1131" fmla="*/ 136208 h 1686775"/>
                  <a:gd name="connsiteX1132" fmla="*/ 870585 w 2242184"/>
                  <a:gd name="connsiteY1132" fmla="*/ 141923 h 1686775"/>
                  <a:gd name="connsiteX1133" fmla="*/ 1010603 w 2242184"/>
                  <a:gd name="connsiteY1133" fmla="*/ 202883 h 1686775"/>
                  <a:gd name="connsiteX1134" fmla="*/ 1005840 w 2242184"/>
                  <a:gd name="connsiteY1134" fmla="*/ 204787 h 1686775"/>
                  <a:gd name="connsiteX1135" fmla="*/ 1000125 w 2242184"/>
                  <a:gd name="connsiteY1135" fmla="*/ 206692 h 1686775"/>
                  <a:gd name="connsiteX1136" fmla="*/ 992505 w 2242184"/>
                  <a:gd name="connsiteY1136" fmla="*/ 206692 h 1686775"/>
                  <a:gd name="connsiteX1137" fmla="*/ 984885 w 2242184"/>
                  <a:gd name="connsiteY1137" fmla="*/ 207645 h 1686775"/>
                  <a:gd name="connsiteX1138" fmla="*/ 977265 w 2242184"/>
                  <a:gd name="connsiteY1138" fmla="*/ 209550 h 1686775"/>
                  <a:gd name="connsiteX1139" fmla="*/ 969645 w 2242184"/>
                  <a:gd name="connsiteY1139" fmla="*/ 212408 h 1686775"/>
                  <a:gd name="connsiteX1140" fmla="*/ 963930 w 2242184"/>
                  <a:gd name="connsiteY1140" fmla="*/ 213360 h 1686775"/>
                  <a:gd name="connsiteX1141" fmla="*/ 961073 w 2242184"/>
                  <a:gd name="connsiteY1141" fmla="*/ 217170 h 1686775"/>
                  <a:gd name="connsiteX1142" fmla="*/ 953453 w 2242184"/>
                  <a:gd name="connsiteY1142" fmla="*/ 219075 h 1686775"/>
                  <a:gd name="connsiteX1143" fmla="*/ 943928 w 2242184"/>
                  <a:gd name="connsiteY1143" fmla="*/ 220980 h 1686775"/>
                  <a:gd name="connsiteX1144" fmla="*/ 935355 w 2242184"/>
                  <a:gd name="connsiteY1144" fmla="*/ 220980 h 1686775"/>
                  <a:gd name="connsiteX1145" fmla="*/ 925830 w 2242184"/>
                  <a:gd name="connsiteY1145" fmla="*/ 220980 h 1686775"/>
                  <a:gd name="connsiteX1146" fmla="*/ 917258 w 2242184"/>
                  <a:gd name="connsiteY1146" fmla="*/ 220980 h 1686775"/>
                  <a:gd name="connsiteX1147" fmla="*/ 910590 w 2242184"/>
                  <a:gd name="connsiteY1147" fmla="*/ 221933 h 1686775"/>
                  <a:gd name="connsiteX1148" fmla="*/ 903923 w 2242184"/>
                  <a:gd name="connsiteY1148" fmla="*/ 224790 h 1686775"/>
                  <a:gd name="connsiteX1149" fmla="*/ 895350 w 2242184"/>
                  <a:gd name="connsiteY1149" fmla="*/ 226695 h 1686775"/>
                  <a:gd name="connsiteX1150" fmla="*/ 887730 w 2242184"/>
                  <a:gd name="connsiteY1150" fmla="*/ 227648 h 1686775"/>
                  <a:gd name="connsiteX1151" fmla="*/ 886778 w 2242184"/>
                  <a:gd name="connsiteY1151" fmla="*/ 221933 h 1686775"/>
                  <a:gd name="connsiteX1152" fmla="*/ 887730 w 2242184"/>
                  <a:gd name="connsiteY1152" fmla="*/ 220980 h 1686775"/>
                  <a:gd name="connsiteX1153" fmla="*/ 892493 w 2242184"/>
                  <a:gd name="connsiteY1153" fmla="*/ 220028 h 1686775"/>
                  <a:gd name="connsiteX1154" fmla="*/ 895350 w 2242184"/>
                  <a:gd name="connsiteY1154" fmla="*/ 219075 h 1686775"/>
                  <a:gd name="connsiteX1155" fmla="*/ 902018 w 2242184"/>
                  <a:gd name="connsiteY1155" fmla="*/ 216217 h 1686775"/>
                  <a:gd name="connsiteX1156" fmla="*/ 910590 w 2242184"/>
                  <a:gd name="connsiteY1156" fmla="*/ 214312 h 1686775"/>
                  <a:gd name="connsiteX1157" fmla="*/ 918210 w 2242184"/>
                  <a:gd name="connsiteY1157" fmla="*/ 211455 h 1686775"/>
                  <a:gd name="connsiteX1158" fmla="*/ 922020 w 2242184"/>
                  <a:gd name="connsiteY1158" fmla="*/ 206692 h 1686775"/>
                  <a:gd name="connsiteX1159" fmla="*/ 928688 w 2242184"/>
                  <a:gd name="connsiteY1159" fmla="*/ 206692 h 1686775"/>
                  <a:gd name="connsiteX1160" fmla="*/ 931545 w 2242184"/>
                  <a:gd name="connsiteY1160" fmla="*/ 206692 h 1686775"/>
                  <a:gd name="connsiteX1161" fmla="*/ 942975 w 2242184"/>
                  <a:gd name="connsiteY1161" fmla="*/ 205740 h 1686775"/>
                  <a:gd name="connsiteX1162" fmla="*/ 949643 w 2242184"/>
                  <a:gd name="connsiteY1162" fmla="*/ 206692 h 1686775"/>
                  <a:gd name="connsiteX1163" fmla="*/ 956310 w 2242184"/>
                  <a:gd name="connsiteY1163" fmla="*/ 206692 h 1686775"/>
                  <a:gd name="connsiteX1164" fmla="*/ 965835 w 2242184"/>
                  <a:gd name="connsiteY1164" fmla="*/ 204787 h 1686775"/>
                  <a:gd name="connsiteX1165" fmla="*/ 971550 w 2242184"/>
                  <a:gd name="connsiteY1165" fmla="*/ 201930 h 1686775"/>
                  <a:gd name="connsiteX1166" fmla="*/ 977265 w 2242184"/>
                  <a:gd name="connsiteY1166" fmla="*/ 199073 h 1686775"/>
                  <a:gd name="connsiteX1167" fmla="*/ 982028 w 2242184"/>
                  <a:gd name="connsiteY1167" fmla="*/ 197167 h 1686775"/>
                  <a:gd name="connsiteX1168" fmla="*/ 986790 w 2242184"/>
                  <a:gd name="connsiteY1168" fmla="*/ 196215 h 1686775"/>
                  <a:gd name="connsiteX1169" fmla="*/ 997268 w 2242184"/>
                  <a:gd name="connsiteY1169" fmla="*/ 195262 h 1686775"/>
                  <a:gd name="connsiteX1170" fmla="*/ 1002030 w 2242184"/>
                  <a:gd name="connsiteY1170" fmla="*/ 193358 h 1686775"/>
                  <a:gd name="connsiteX1171" fmla="*/ 1013460 w 2242184"/>
                  <a:gd name="connsiteY1171" fmla="*/ 192405 h 1686775"/>
                  <a:gd name="connsiteX1172" fmla="*/ 1015365 w 2242184"/>
                  <a:gd name="connsiteY1172" fmla="*/ 194310 h 1686775"/>
                  <a:gd name="connsiteX1173" fmla="*/ 1010603 w 2242184"/>
                  <a:gd name="connsiteY1173" fmla="*/ 202883 h 1686775"/>
                  <a:gd name="connsiteX1174" fmla="*/ 1220153 w 2242184"/>
                  <a:gd name="connsiteY1174" fmla="*/ 380048 h 1686775"/>
                  <a:gd name="connsiteX1175" fmla="*/ 1218248 w 2242184"/>
                  <a:gd name="connsiteY1175" fmla="*/ 374333 h 1686775"/>
                  <a:gd name="connsiteX1176" fmla="*/ 1212533 w 2242184"/>
                  <a:gd name="connsiteY1176" fmla="*/ 371475 h 1686775"/>
                  <a:gd name="connsiteX1177" fmla="*/ 1210628 w 2242184"/>
                  <a:gd name="connsiteY1177" fmla="*/ 369570 h 1686775"/>
                  <a:gd name="connsiteX1178" fmla="*/ 1210628 w 2242184"/>
                  <a:gd name="connsiteY1178" fmla="*/ 367665 h 1686775"/>
                  <a:gd name="connsiteX1179" fmla="*/ 1208723 w 2242184"/>
                  <a:gd name="connsiteY1179" fmla="*/ 364808 h 1686775"/>
                  <a:gd name="connsiteX1180" fmla="*/ 1203960 w 2242184"/>
                  <a:gd name="connsiteY1180" fmla="*/ 362903 h 1686775"/>
                  <a:gd name="connsiteX1181" fmla="*/ 1200150 w 2242184"/>
                  <a:gd name="connsiteY1181" fmla="*/ 362903 h 1686775"/>
                  <a:gd name="connsiteX1182" fmla="*/ 1193483 w 2242184"/>
                  <a:gd name="connsiteY1182" fmla="*/ 360998 h 1686775"/>
                  <a:gd name="connsiteX1183" fmla="*/ 1188720 w 2242184"/>
                  <a:gd name="connsiteY1183" fmla="*/ 358140 h 1686775"/>
                  <a:gd name="connsiteX1184" fmla="*/ 1185863 w 2242184"/>
                  <a:gd name="connsiteY1184" fmla="*/ 355283 h 1686775"/>
                  <a:gd name="connsiteX1185" fmla="*/ 1184910 w 2242184"/>
                  <a:gd name="connsiteY1185" fmla="*/ 353378 h 1686775"/>
                  <a:gd name="connsiteX1186" fmla="*/ 1185863 w 2242184"/>
                  <a:gd name="connsiteY1186" fmla="*/ 351473 h 1686775"/>
                  <a:gd name="connsiteX1187" fmla="*/ 1187768 w 2242184"/>
                  <a:gd name="connsiteY1187" fmla="*/ 347662 h 1686775"/>
                  <a:gd name="connsiteX1188" fmla="*/ 1190625 w 2242184"/>
                  <a:gd name="connsiteY1188" fmla="*/ 346710 h 1686775"/>
                  <a:gd name="connsiteX1189" fmla="*/ 1196340 w 2242184"/>
                  <a:gd name="connsiteY1189" fmla="*/ 345758 h 1686775"/>
                  <a:gd name="connsiteX1190" fmla="*/ 1200150 w 2242184"/>
                  <a:gd name="connsiteY1190" fmla="*/ 345758 h 1686775"/>
                  <a:gd name="connsiteX1191" fmla="*/ 1203960 w 2242184"/>
                  <a:gd name="connsiteY1191" fmla="*/ 345758 h 1686775"/>
                  <a:gd name="connsiteX1192" fmla="*/ 1207770 w 2242184"/>
                  <a:gd name="connsiteY1192" fmla="*/ 343853 h 1686775"/>
                  <a:gd name="connsiteX1193" fmla="*/ 1213485 w 2242184"/>
                  <a:gd name="connsiteY1193" fmla="*/ 343853 h 1686775"/>
                  <a:gd name="connsiteX1194" fmla="*/ 1218248 w 2242184"/>
                  <a:gd name="connsiteY1194" fmla="*/ 343853 h 1686775"/>
                  <a:gd name="connsiteX1195" fmla="*/ 1221105 w 2242184"/>
                  <a:gd name="connsiteY1195" fmla="*/ 344805 h 1686775"/>
                  <a:gd name="connsiteX1196" fmla="*/ 1225868 w 2242184"/>
                  <a:gd name="connsiteY1196" fmla="*/ 348615 h 1686775"/>
                  <a:gd name="connsiteX1197" fmla="*/ 1226820 w 2242184"/>
                  <a:gd name="connsiteY1197" fmla="*/ 350520 h 1686775"/>
                  <a:gd name="connsiteX1198" fmla="*/ 1227773 w 2242184"/>
                  <a:gd name="connsiteY1198" fmla="*/ 352425 h 1686775"/>
                  <a:gd name="connsiteX1199" fmla="*/ 1226820 w 2242184"/>
                  <a:gd name="connsiteY1199" fmla="*/ 356235 h 1686775"/>
                  <a:gd name="connsiteX1200" fmla="*/ 1226820 w 2242184"/>
                  <a:gd name="connsiteY1200" fmla="*/ 359093 h 1686775"/>
                  <a:gd name="connsiteX1201" fmla="*/ 1232535 w 2242184"/>
                  <a:gd name="connsiteY1201" fmla="*/ 362903 h 1686775"/>
                  <a:gd name="connsiteX1202" fmla="*/ 1239203 w 2242184"/>
                  <a:gd name="connsiteY1202" fmla="*/ 364808 h 1686775"/>
                  <a:gd name="connsiteX1203" fmla="*/ 1244918 w 2242184"/>
                  <a:gd name="connsiteY1203" fmla="*/ 368618 h 1686775"/>
                  <a:gd name="connsiteX1204" fmla="*/ 1245870 w 2242184"/>
                  <a:gd name="connsiteY1204" fmla="*/ 372427 h 1686775"/>
                  <a:gd name="connsiteX1205" fmla="*/ 1246823 w 2242184"/>
                  <a:gd name="connsiteY1205" fmla="*/ 375285 h 1686775"/>
                  <a:gd name="connsiteX1206" fmla="*/ 1249680 w 2242184"/>
                  <a:gd name="connsiteY1206" fmla="*/ 378143 h 1686775"/>
                  <a:gd name="connsiteX1207" fmla="*/ 1250633 w 2242184"/>
                  <a:gd name="connsiteY1207" fmla="*/ 380048 h 1686775"/>
                  <a:gd name="connsiteX1208" fmla="*/ 1249680 w 2242184"/>
                  <a:gd name="connsiteY1208" fmla="*/ 384810 h 1686775"/>
                  <a:gd name="connsiteX1209" fmla="*/ 1247775 w 2242184"/>
                  <a:gd name="connsiteY1209" fmla="*/ 389573 h 1686775"/>
                  <a:gd name="connsiteX1210" fmla="*/ 1244918 w 2242184"/>
                  <a:gd name="connsiteY1210" fmla="*/ 392430 h 1686775"/>
                  <a:gd name="connsiteX1211" fmla="*/ 1237298 w 2242184"/>
                  <a:gd name="connsiteY1211" fmla="*/ 392430 h 1686775"/>
                  <a:gd name="connsiteX1212" fmla="*/ 1231583 w 2242184"/>
                  <a:gd name="connsiteY1212" fmla="*/ 392430 h 1686775"/>
                  <a:gd name="connsiteX1213" fmla="*/ 1225868 w 2242184"/>
                  <a:gd name="connsiteY1213" fmla="*/ 390525 h 1686775"/>
                  <a:gd name="connsiteX1214" fmla="*/ 1220153 w 2242184"/>
                  <a:gd name="connsiteY1214" fmla="*/ 380048 h 16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Lst>
                <a:rect l="l" t="t" r="r" b="b"/>
                <a:pathLst>
                  <a:path w="2242184" h="1686775">
                    <a:moveTo>
                      <a:pt x="2242185" y="1098233"/>
                    </a:moveTo>
                    <a:lnTo>
                      <a:pt x="2238375" y="1078230"/>
                    </a:lnTo>
                    <a:lnTo>
                      <a:pt x="2238375" y="1068705"/>
                    </a:lnTo>
                    <a:lnTo>
                      <a:pt x="2238375" y="1062990"/>
                    </a:lnTo>
                    <a:lnTo>
                      <a:pt x="2227898" y="1052513"/>
                    </a:lnTo>
                    <a:lnTo>
                      <a:pt x="2212658" y="1049655"/>
                    </a:lnTo>
                    <a:lnTo>
                      <a:pt x="2188845" y="1042035"/>
                    </a:lnTo>
                    <a:lnTo>
                      <a:pt x="2180273" y="1037273"/>
                    </a:lnTo>
                    <a:lnTo>
                      <a:pt x="2165033" y="1034415"/>
                    </a:lnTo>
                    <a:lnTo>
                      <a:pt x="2153603" y="1032510"/>
                    </a:lnTo>
                    <a:lnTo>
                      <a:pt x="2118360" y="1026795"/>
                    </a:lnTo>
                    <a:lnTo>
                      <a:pt x="2109788" y="1024890"/>
                    </a:lnTo>
                    <a:lnTo>
                      <a:pt x="2087880" y="1020127"/>
                    </a:lnTo>
                    <a:lnTo>
                      <a:pt x="2070735" y="1015365"/>
                    </a:lnTo>
                    <a:lnTo>
                      <a:pt x="2059305" y="1013460"/>
                    </a:lnTo>
                    <a:lnTo>
                      <a:pt x="2045970" y="1010602"/>
                    </a:lnTo>
                    <a:cubicBezTo>
                      <a:pt x="2045970" y="1010602"/>
                      <a:pt x="2044065" y="1011555"/>
                      <a:pt x="2037398" y="1005840"/>
                    </a:cubicBezTo>
                    <a:cubicBezTo>
                      <a:pt x="2030730" y="1000125"/>
                      <a:pt x="2022158" y="992505"/>
                      <a:pt x="2022158" y="992505"/>
                    </a:cubicBezTo>
                    <a:lnTo>
                      <a:pt x="2006918" y="979170"/>
                    </a:lnTo>
                    <a:lnTo>
                      <a:pt x="2000250" y="970598"/>
                    </a:lnTo>
                    <a:lnTo>
                      <a:pt x="1993583" y="963930"/>
                    </a:lnTo>
                    <a:lnTo>
                      <a:pt x="1969770" y="950595"/>
                    </a:lnTo>
                    <a:lnTo>
                      <a:pt x="1954530" y="944880"/>
                    </a:lnTo>
                    <a:lnTo>
                      <a:pt x="1937385" y="939165"/>
                    </a:lnTo>
                    <a:lnTo>
                      <a:pt x="1910715" y="934402"/>
                    </a:lnTo>
                    <a:cubicBezTo>
                      <a:pt x="1910715" y="934402"/>
                      <a:pt x="1910715" y="937260"/>
                      <a:pt x="1902143" y="934402"/>
                    </a:cubicBezTo>
                    <a:cubicBezTo>
                      <a:pt x="1893570" y="931545"/>
                      <a:pt x="1880235" y="928688"/>
                      <a:pt x="1880235" y="928688"/>
                    </a:cubicBezTo>
                    <a:lnTo>
                      <a:pt x="1866900" y="922973"/>
                    </a:lnTo>
                    <a:lnTo>
                      <a:pt x="1858328" y="911543"/>
                    </a:lnTo>
                    <a:lnTo>
                      <a:pt x="1841183" y="902970"/>
                    </a:lnTo>
                    <a:lnTo>
                      <a:pt x="1830705" y="897255"/>
                    </a:lnTo>
                    <a:lnTo>
                      <a:pt x="1804035" y="889635"/>
                    </a:lnTo>
                    <a:lnTo>
                      <a:pt x="1784033" y="887730"/>
                    </a:lnTo>
                    <a:lnTo>
                      <a:pt x="1740218" y="887730"/>
                    </a:lnTo>
                    <a:lnTo>
                      <a:pt x="1720215" y="887730"/>
                    </a:lnTo>
                    <a:lnTo>
                      <a:pt x="1706880" y="887730"/>
                    </a:lnTo>
                    <a:lnTo>
                      <a:pt x="1674495" y="879158"/>
                    </a:lnTo>
                    <a:lnTo>
                      <a:pt x="1652588" y="880110"/>
                    </a:lnTo>
                    <a:lnTo>
                      <a:pt x="1644015" y="878205"/>
                    </a:lnTo>
                    <a:cubicBezTo>
                      <a:pt x="1644015" y="878205"/>
                      <a:pt x="1630680" y="873443"/>
                      <a:pt x="1622108" y="878205"/>
                    </a:cubicBezTo>
                    <a:cubicBezTo>
                      <a:pt x="1613535" y="882015"/>
                      <a:pt x="1590675" y="884873"/>
                      <a:pt x="1590675" y="884873"/>
                    </a:cubicBezTo>
                    <a:cubicBezTo>
                      <a:pt x="1587818" y="893445"/>
                      <a:pt x="1572578" y="896302"/>
                      <a:pt x="1572578" y="896302"/>
                    </a:cubicBezTo>
                    <a:lnTo>
                      <a:pt x="1557338" y="897255"/>
                    </a:lnTo>
                    <a:lnTo>
                      <a:pt x="1524000" y="900113"/>
                    </a:lnTo>
                    <a:lnTo>
                      <a:pt x="1508760" y="900113"/>
                    </a:lnTo>
                    <a:lnTo>
                      <a:pt x="1500188" y="900113"/>
                    </a:lnTo>
                    <a:lnTo>
                      <a:pt x="1480185" y="897255"/>
                    </a:lnTo>
                    <a:lnTo>
                      <a:pt x="1466850" y="894398"/>
                    </a:lnTo>
                    <a:lnTo>
                      <a:pt x="1458278" y="882015"/>
                    </a:lnTo>
                    <a:lnTo>
                      <a:pt x="1458278" y="875348"/>
                    </a:lnTo>
                    <a:lnTo>
                      <a:pt x="1458278" y="866775"/>
                    </a:lnTo>
                    <a:lnTo>
                      <a:pt x="1456373" y="855345"/>
                    </a:lnTo>
                    <a:lnTo>
                      <a:pt x="1454468" y="838200"/>
                    </a:lnTo>
                    <a:lnTo>
                      <a:pt x="1445895" y="832485"/>
                    </a:lnTo>
                    <a:lnTo>
                      <a:pt x="1432560" y="830580"/>
                    </a:lnTo>
                    <a:lnTo>
                      <a:pt x="1423988" y="828675"/>
                    </a:lnTo>
                    <a:lnTo>
                      <a:pt x="1403985" y="821055"/>
                    </a:lnTo>
                    <a:lnTo>
                      <a:pt x="1392555" y="821055"/>
                    </a:lnTo>
                    <a:lnTo>
                      <a:pt x="1379220" y="821055"/>
                    </a:lnTo>
                    <a:lnTo>
                      <a:pt x="1367790" y="821055"/>
                    </a:lnTo>
                    <a:lnTo>
                      <a:pt x="1359218" y="815340"/>
                    </a:lnTo>
                    <a:lnTo>
                      <a:pt x="1370648" y="811530"/>
                    </a:lnTo>
                    <a:lnTo>
                      <a:pt x="1382078" y="808673"/>
                    </a:lnTo>
                    <a:lnTo>
                      <a:pt x="1386840" y="802958"/>
                    </a:lnTo>
                    <a:lnTo>
                      <a:pt x="1386840" y="797243"/>
                    </a:lnTo>
                    <a:lnTo>
                      <a:pt x="1384935" y="784860"/>
                    </a:lnTo>
                    <a:lnTo>
                      <a:pt x="1384935" y="776288"/>
                    </a:lnTo>
                    <a:lnTo>
                      <a:pt x="1391603" y="767715"/>
                    </a:lnTo>
                    <a:lnTo>
                      <a:pt x="1394460" y="759143"/>
                    </a:lnTo>
                    <a:cubicBezTo>
                      <a:pt x="1394460" y="759143"/>
                      <a:pt x="1385888" y="751523"/>
                      <a:pt x="1377315" y="754380"/>
                    </a:cubicBezTo>
                    <a:cubicBezTo>
                      <a:pt x="1368743" y="757238"/>
                      <a:pt x="1357313" y="752475"/>
                      <a:pt x="1359218" y="757238"/>
                    </a:cubicBezTo>
                    <a:cubicBezTo>
                      <a:pt x="1361123" y="761048"/>
                      <a:pt x="1361123" y="761048"/>
                      <a:pt x="1361123" y="761048"/>
                    </a:cubicBezTo>
                    <a:lnTo>
                      <a:pt x="1347788" y="761048"/>
                    </a:lnTo>
                    <a:cubicBezTo>
                      <a:pt x="1347788" y="761048"/>
                      <a:pt x="1332548" y="759143"/>
                      <a:pt x="1332548" y="763905"/>
                    </a:cubicBezTo>
                    <a:cubicBezTo>
                      <a:pt x="1332548" y="767715"/>
                      <a:pt x="1334453" y="761048"/>
                      <a:pt x="1332548" y="767715"/>
                    </a:cubicBezTo>
                    <a:cubicBezTo>
                      <a:pt x="1330643" y="774383"/>
                      <a:pt x="1317308" y="771525"/>
                      <a:pt x="1319213" y="777240"/>
                    </a:cubicBezTo>
                    <a:cubicBezTo>
                      <a:pt x="1321118" y="782955"/>
                      <a:pt x="1312545" y="785813"/>
                      <a:pt x="1312545" y="785813"/>
                    </a:cubicBezTo>
                    <a:lnTo>
                      <a:pt x="1299210" y="788670"/>
                    </a:lnTo>
                    <a:lnTo>
                      <a:pt x="1290638" y="789623"/>
                    </a:lnTo>
                    <a:cubicBezTo>
                      <a:pt x="1290638" y="789623"/>
                      <a:pt x="1285875" y="790575"/>
                      <a:pt x="1279208" y="790575"/>
                    </a:cubicBezTo>
                    <a:cubicBezTo>
                      <a:pt x="1272540" y="790575"/>
                      <a:pt x="1263968" y="790575"/>
                      <a:pt x="1263968" y="790575"/>
                    </a:cubicBezTo>
                    <a:lnTo>
                      <a:pt x="1253490" y="784860"/>
                    </a:lnTo>
                    <a:lnTo>
                      <a:pt x="1244918" y="777240"/>
                    </a:lnTo>
                    <a:lnTo>
                      <a:pt x="1236345" y="771525"/>
                    </a:lnTo>
                    <a:lnTo>
                      <a:pt x="1229678" y="765810"/>
                    </a:lnTo>
                    <a:lnTo>
                      <a:pt x="1225868" y="757238"/>
                    </a:lnTo>
                    <a:cubicBezTo>
                      <a:pt x="1225868" y="757238"/>
                      <a:pt x="1223963" y="751523"/>
                      <a:pt x="1223963" y="747713"/>
                    </a:cubicBezTo>
                    <a:cubicBezTo>
                      <a:pt x="1223963" y="743902"/>
                      <a:pt x="1223963" y="733425"/>
                      <a:pt x="1223963" y="733425"/>
                    </a:cubicBezTo>
                    <a:lnTo>
                      <a:pt x="1223963" y="723900"/>
                    </a:lnTo>
                    <a:lnTo>
                      <a:pt x="1217295" y="715327"/>
                    </a:lnTo>
                    <a:lnTo>
                      <a:pt x="1215390" y="700088"/>
                    </a:lnTo>
                    <a:lnTo>
                      <a:pt x="1217295" y="694373"/>
                    </a:lnTo>
                    <a:lnTo>
                      <a:pt x="1223963" y="684848"/>
                    </a:lnTo>
                    <a:lnTo>
                      <a:pt x="1238250" y="675323"/>
                    </a:lnTo>
                    <a:lnTo>
                      <a:pt x="1258253" y="674370"/>
                    </a:lnTo>
                    <a:cubicBezTo>
                      <a:pt x="1258253" y="674370"/>
                      <a:pt x="1264920" y="671513"/>
                      <a:pt x="1271588" y="673418"/>
                    </a:cubicBezTo>
                    <a:cubicBezTo>
                      <a:pt x="1278255" y="675323"/>
                      <a:pt x="1264920" y="674370"/>
                      <a:pt x="1278255" y="675323"/>
                    </a:cubicBezTo>
                    <a:cubicBezTo>
                      <a:pt x="1291590" y="675323"/>
                      <a:pt x="1278255" y="675323"/>
                      <a:pt x="1291590" y="675323"/>
                    </a:cubicBezTo>
                    <a:cubicBezTo>
                      <a:pt x="1304925" y="675323"/>
                      <a:pt x="1304925" y="671513"/>
                      <a:pt x="1313498" y="674370"/>
                    </a:cubicBezTo>
                    <a:cubicBezTo>
                      <a:pt x="1322070" y="677227"/>
                      <a:pt x="1304925" y="677227"/>
                      <a:pt x="1322070" y="677227"/>
                    </a:cubicBezTo>
                    <a:cubicBezTo>
                      <a:pt x="1339215" y="677227"/>
                      <a:pt x="1330643" y="679133"/>
                      <a:pt x="1339215" y="677227"/>
                    </a:cubicBezTo>
                    <a:cubicBezTo>
                      <a:pt x="1347788" y="676275"/>
                      <a:pt x="1347788" y="676275"/>
                      <a:pt x="1347788" y="676275"/>
                    </a:cubicBezTo>
                    <a:lnTo>
                      <a:pt x="1365885" y="673418"/>
                    </a:lnTo>
                    <a:cubicBezTo>
                      <a:pt x="1365885" y="673418"/>
                      <a:pt x="1370648" y="672465"/>
                      <a:pt x="1377315" y="672465"/>
                    </a:cubicBezTo>
                    <a:cubicBezTo>
                      <a:pt x="1383983" y="672465"/>
                      <a:pt x="1414463" y="671513"/>
                      <a:pt x="1414463" y="671513"/>
                    </a:cubicBezTo>
                    <a:lnTo>
                      <a:pt x="1436370" y="674370"/>
                    </a:lnTo>
                    <a:lnTo>
                      <a:pt x="1449705" y="677227"/>
                    </a:lnTo>
                    <a:cubicBezTo>
                      <a:pt x="1449705" y="677227"/>
                      <a:pt x="1456373" y="673418"/>
                      <a:pt x="1458278" y="679133"/>
                    </a:cubicBezTo>
                    <a:cubicBezTo>
                      <a:pt x="1460183" y="684848"/>
                      <a:pt x="1460183" y="684848"/>
                      <a:pt x="1460183" y="684848"/>
                    </a:cubicBezTo>
                    <a:cubicBezTo>
                      <a:pt x="1463993" y="701993"/>
                      <a:pt x="1463993" y="701993"/>
                      <a:pt x="1463993" y="701993"/>
                    </a:cubicBezTo>
                    <a:cubicBezTo>
                      <a:pt x="1463993" y="701993"/>
                      <a:pt x="1461135" y="716280"/>
                      <a:pt x="1467803" y="720090"/>
                    </a:cubicBezTo>
                    <a:cubicBezTo>
                      <a:pt x="1474470" y="724852"/>
                      <a:pt x="1474470" y="724852"/>
                      <a:pt x="1474470" y="724852"/>
                    </a:cubicBezTo>
                    <a:lnTo>
                      <a:pt x="1498283" y="730568"/>
                    </a:lnTo>
                    <a:lnTo>
                      <a:pt x="1506855" y="727710"/>
                    </a:lnTo>
                    <a:lnTo>
                      <a:pt x="1513523" y="721043"/>
                    </a:lnTo>
                    <a:lnTo>
                      <a:pt x="1516380" y="708660"/>
                    </a:lnTo>
                    <a:lnTo>
                      <a:pt x="1518285" y="702945"/>
                    </a:lnTo>
                    <a:lnTo>
                      <a:pt x="1509713" y="682943"/>
                    </a:lnTo>
                    <a:lnTo>
                      <a:pt x="1503045" y="676275"/>
                    </a:lnTo>
                    <a:lnTo>
                      <a:pt x="1501140" y="667702"/>
                    </a:lnTo>
                    <a:lnTo>
                      <a:pt x="1499235" y="659130"/>
                    </a:lnTo>
                    <a:lnTo>
                      <a:pt x="1497330" y="641985"/>
                    </a:lnTo>
                    <a:lnTo>
                      <a:pt x="1512570" y="633413"/>
                    </a:lnTo>
                    <a:lnTo>
                      <a:pt x="1521143" y="633413"/>
                    </a:lnTo>
                    <a:lnTo>
                      <a:pt x="1547813" y="629602"/>
                    </a:lnTo>
                    <a:lnTo>
                      <a:pt x="1556385" y="625793"/>
                    </a:lnTo>
                    <a:lnTo>
                      <a:pt x="1561148" y="620077"/>
                    </a:lnTo>
                    <a:lnTo>
                      <a:pt x="1583055" y="605790"/>
                    </a:lnTo>
                    <a:lnTo>
                      <a:pt x="1587818" y="597218"/>
                    </a:lnTo>
                    <a:lnTo>
                      <a:pt x="1587818" y="591502"/>
                    </a:lnTo>
                    <a:lnTo>
                      <a:pt x="1587818" y="585788"/>
                    </a:lnTo>
                    <a:lnTo>
                      <a:pt x="1581150" y="574358"/>
                    </a:lnTo>
                    <a:lnTo>
                      <a:pt x="1592580" y="564833"/>
                    </a:lnTo>
                    <a:lnTo>
                      <a:pt x="1604010" y="564833"/>
                    </a:lnTo>
                    <a:cubicBezTo>
                      <a:pt x="1604010" y="564833"/>
                      <a:pt x="1604010" y="555308"/>
                      <a:pt x="1610678" y="555308"/>
                    </a:cubicBezTo>
                    <a:cubicBezTo>
                      <a:pt x="1617345" y="555308"/>
                      <a:pt x="1615440" y="549593"/>
                      <a:pt x="1622108" y="549593"/>
                    </a:cubicBezTo>
                    <a:cubicBezTo>
                      <a:pt x="1628775" y="549593"/>
                      <a:pt x="1640205" y="543877"/>
                      <a:pt x="1640205" y="543877"/>
                    </a:cubicBezTo>
                    <a:lnTo>
                      <a:pt x="1653540" y="538163"/>
                    </a:lnTo>
                    <a:lnTo>
                      <a:pt x="1662113" y="534352"/>
                    </a:lnTo>
                    <a:lnTo>
                      <a:pt x="1677353" y="524827"/>
                    </a:lnTo>
                    <a:lnTo>
                      <a:pt x="1679258" y="519112"/>
                    </a:lnTo>
                    <a:lnTo>
                      <a:pt x="1679258" y="507683"/>
                    </a:lnTo>
                    <a:lnTo>
                      <a:pt x="1684020" y="496252"/>
                    </a:lnTo>
                    <a:lnTo>
                      <a:pt x="1688783" y="490537"/>
                    </a:lnTo>
                    <a:cubicBezTo>
                      <a:pt x="1688783" y="490537"/>
                      <a:pt x="1690688" y="487680"/>
                      <a:pt x="1700213" y="487680"/>
                    </a:cubicBezTo>
                    <a:cubicBezTo>
                      <a:pt x="1708785" y="487680"/>
                      <a:pt x="1708785" y="487680"/>
                      <a:pt x="1708785" y="487680"/>
                    </a:cubicBezTo>
                    <a:lnTo>
                      <a:pt x="1742123" y="484823"/>
                    </a:lnTo>
                    <a:lnTo>
                      <a:pt x="1760220" y="479108"/>
                    </a:lnTo>
                    <a:cubicBezTo>
                      <a:pt x="1760220" y="479108"/>
                      <a:pt x="1758315" y="480060"/>
                      <a:pt x="1760220" y="484823"/>
                    </a:cubicBezTo>
                    <a:cubicBezTo>
                      <a:pt x="1762125" y="488633"/>
                      <a:pt x="1762125" y="493395"/>
                      <a:pt x="1768793" y="494348"/>
                    </a:cubicBezTo>
                    <a:cubicBezTo>
                      <a:pt x="1775460" y="496252"/>
                      <a:pt x="1775460" y="496252"/>
                      <a:pt x="1775460" y="496252"/>
                    </a:cubicBezTo>
                    <a:lnTo>
                      <a:pt x="1784033" y="492443"/>
                    </a:lnTo>
                    <a:lnTo>
                      <a:pt x="1790700" y="485775"/>
                    </a:lnTo>
                    <a:cubicBezTo>
                      <a:pt x="1790700" y="485775"/>
                      <a:pt x="1792605" y="481965"/>
                      <a:pt x="1799273" y="484823"/>
                    </a:cubicBezTo>
                    <a:cubicBezTo>
                      <a:pt x="1805940" y="487680"/>
                      <a:pt x="1805940" y="487680"/>
                      <a:pt x="1805940" y="487680"/>
                    </a:cubicBezTo>
                    <a:lnTo>
                      <a:pt x="1817370" y="486727"/>
                    </a:lnTo>
                    <a:cubicBezTo>
                      <a:pt x="1817370" y="486727"/>
                      <a:pt x="1819275" y="486727"/>
                      <a:pt x="1825943" y="486727"/>
                    </a:cubicBezTo>
                    <a:cubicBezTo>
                      <a:pt x="1832610" y="486727"/>
                      <a:pt x="1834515" y="483870"/>
                      <a:pt x="1841183" y="481012"/>
                    </a:cubicBezTo>
                    <a:cubicBezTo>
                      <a:pt x="1847850" y="478155"/>
                      <a:pt x="1841183" y="483870"/>
                      <a:pt x="1847850" y="478155"/>
                    </a:cubicBezTo>
                    <a:cubicBezTo>
                      <a:pt x="1854518" y="472440"/>
                      <a:pt x="1854518" y="472440"/>
                      <a:pt x="1854518" y="472440"/>
                    </a:cubicBezTo>
                    <a:lnTo>
                      <a:pt x="1859280" y="463868"/>
                    </a:lnTo>
                    <a:cubicBezTo>
                      <a:pt x="1852613" y="461010"/>
                      <a:pt x="1861185" y="462915"/>
                      <a:pt x="1852613" y="461010"/>
                    </a:cubicBezTo>
                    <a:cubicBezTo>
                      <a:pt x="1844040" y="459105"/>
                      <a:pt x="1844040" y="459105"/>
                      <a:pt x="1844040" y="459105"/>
                    </a:cubicBezTo>
                    <a:lnTo>
                      <a:pt x="1830705" y="460058"/>
                    </a:lnTo>
                    <a:lnTo>
                      <a:pt x="1806893" y="458152"/>
                    </a:lnTo>
                    <a:lnTo>
                      <a:pt x="1793558" y="455295"/>
                    </a:lnTo>
                    <a:lnTo>
                      <a:pt x="1782128" y="455295"/>
                    </a:lnTo>
                    <a:lnTo>
                      <a:pt x="1773555" y="450533"/>
                    </a:lnTo>
                    <a:lnTo>
                      <a:pt x="1773555" y="441960"/>
                    </a:lnTo>
                    <a:lnTo>
                      <a:pt x="1773555" y="435293"/>
                    </a:lnTo>
                    <a:lnTo>
                      <a:pt x="1771650" y="429577"/>
                    </a:lnTo>
                    <a:lnTo>
                      <a:pt x="1756410" y="416243"/>
                    </a:lnTo>
                    <a:lnTo>
                      <a:pt x="1734503" y="422910"/>
                    </a:lnTo>
                    <a:lnTo>
                      <a:pt x="1723073" y="425768"/>
                    </a:lnTo>
                    <a:lnTo>
                      <a:pt x="1707833" y="432435"/>
                    </a:lnTo>
                    <a:lnTo>
                      <a:pt x="1699260" y="432435"/>
                    </a:lnTo>
                    <a:lnTo>
                      <a:pt x="1704023" y="423862"/>
                    </a:lnTo>
                    <a:lnTo>
                      <a:pt x="1719263" y="414337"/>
                    </a:lnTo>
                    <a:lnTo>
                      <a:pt x="1732598" y="408623"/>
                    </a:lnTo>
                    <a:cubicBezTo>
                      <a:pt x="1732598" y="408623"/>
                      <a:pt x="1737360" y="405765"/>
                      <a:pt x="1745933" y="407670"/>
                    </a:cubicBezTo>
                    <a:cubicBezTo>
                      <a:pt x="1754505" y="409575"/>
                      <a:pt x="1763078" y="409575"/>
                      <a:pt x="1763078" y="409575"/>
                    </a:cubicBezTo>
                    <a:cubicBezTo>
                      <a:pt x="1763078" y="409575"/>
                      <a:pt x="1771650" y="408623"/>
                      <a:pt x="1778318" y="409575"/>
                    </a:cubicBezTo>
                    <a:cubicBezTo>
                      <a:pt x="1784985" y="411480"/>
                      <a:pt x="1789748" y="405765"/>
                      <a:pt x="1793558" y="411480"/>
                    </a:cubicBezTo>
                    <a:cubicBezTo>
                      <a:pt x="1798320" y="417195"/>
                      <a:pt x="1791653" y="411480"/>
                      <a:pt x="1798320" y="417195"/>
                    </a:cubicBezTo>
                    <a:cubicBezTo>
                      <a:pt x="1804988" y="422910"/>
                      <a:pt x="1804988" y="422910"/>
                      <a:pt x="1804988" y="422910"/>
                    </a:cubicBezTo>
                    <a:lnTo>
                      <a:pt x="1818323" y="425768"/>
                    </a:lnTo>
                    <a:lnTo>
                      <a:pt x="1824990" y="419100"/>
                    </a:lnTo>
                    <a:lnTo>
                      <a:pt x="1836420" y="415290"/>
                    </a:lnTo>
                    <a:lnTo>
                      <a:pt x="1849755" y="412433"/>
                    </a:lnTo>
                    <a:cubicBezTo>
                      <a:pt x="1849755" y="412433"/>
                      <a:pt x="1850708" y="412433"/>
                      <a:pt x="1861185" y="414337"/>
                    </a:cubicBezTo>
                    <a:cubicBezTo>
                      <a:pt x="1874520" y="416243"/>
                      <a:pt x="1874520" y="416243"/>
                      <a:pt x="1874520" y="416243"/>
                    </a:cubicBezTo>
                    <a:lnTo>
                      <a:pt x="1883093" y="407670"/>
                    </a:lnTo>
                    <a:cubicBezTo>
                      <a:pt x="1896428" y="401002"/>
                      <a:pt x="1889760" y="392430"/>
                      <a:pt x="1889760" y="392430"/>
                    </a:cubicBezTo>
                    <a:cubicBezTo>
                      <a:pt x="1889760" y="392430"/>
                      <a:pt x="1889760" y="386715"/>
                      <a:pt x="1901190" y="386715"/>
                    </a:cubicBezTo>
                    <a:cubicBezTo>
                      <a:pt x="1912620" y="386715"/>
                      <a:pt x="1919288" y="381000"/>
                      <a:pt x="1919288" y="381000"/>
                    </a:cubicBezTo>
                    <a:lnTo>
                      <a:pt x="1925955" y="371475"/>
                    </a:lnTo>
                    <a:lnTo>
                      <a:pt x="1924050" y="359093"/>
                    </a:lnTo>
                    <a:lnTo>
                      <a:pt x="1920240" y="352425"/>
                    </a:lnTo>
                    <a:lnTo>
                      <a:pt x="1900238" y="349568"/>
                    </a:lnTo>
                    <a:lnTo>
                      <a:pt x="1891665" y="340995"/>
                    </a:lnTo>
                    <a:lnTo>
                      <a:pt x="1889760" y="335280"/>
                    </a:lnTo>
                    <a:lnTo>
                      <a:pt x="1876425" y="332423"/>
                    </a:lnTo>
                    <a:lnTo>
                      <a:pt x="1864995" y="330518"/>
                    </a:lnTo>
                    <a:lnTo>
                      <a:pt x="1854518" y="319087"/>
                    </a:lnTo>
                    <a:lnTo>
                      <a:pt x="1844040" y="303848"/>
                    </a:lnTo>
                    <a:lnTo>
                      <a:pt x="1837373" y="291465"/>
                    </a:lnTo>
                    <a:lnTo>
                      <a:pt x="1817370" y="280987"/>
                    </a:lnTo>
                    <a:lnTo>
                      <a:pt x="1810703" y="273368"/>
                    </a:lnTo>
                    <a:lnTo>
                      <a:pt x="1800225" y="267653"/>
                    </a:lnTo>
                    <a:lnTo>
                      <a:pt x="1786890" y="257175"/>
                    </a:lnTo>
                    <a:lnTo>
                      <a:pt x="1766888" y="268605"/>
                    </a:lnTo>
                    <a:lnTo>
                      <a:pt x="1753553" y="275273"/>
                    </a:lnTo>
                    <a:lnTo>
                      <a:pt x="1726883" y="279083"/>
                    </a:lnTo>
                    <a:lnTo>
                      <a:pt x="1715453" y="276225"/>
                    </a:lnTo>
                    <a:cubicBezTo>
                      <a:pt x="1715453" y="276225"/>
                      <a:pt x="1715453" y="272415"/>
                      <a:pt x="1713548" y="267653"/>
                    </a:cubicBezTo>
                    <a:cubicBezTo>
                      <a:pt x="1711643" y="263843"/>
                      <a:pt x="1711643" y="258128"/>
                      <a:pt x="1711643" y="258128"/>
                    </a:cubicBezTo>
                    <a:lnTo>
                      <a:pt x="1711643" y="249555"/>
                    </a:lnTo>
                    <a:lnTo>
                      <a:pt x="1709738" y="242887"/>
                    </a:lnTo>
                    <a:lnTo>
                      <a:pt x="1705928" y="237173"/>
                    </a:lnTo>
                    <a:cubicBezTo>
                      <a:pt x="1690688" y="234315"/>
                      <a:pt x="1690688" y="234315"/>
                      <a:pt x="1690688" y="234315"/>
                    </a:cubicBezTo>
                    <a:lnTo>
                      <a:pt x="1677353" y="232410"/>
                    </a:lnTo>
                    <a:lnTo>
                      <a:pt x="1665923" y="232410"/>
                    </a:lnTo>
                    <a:lnTo>
                      <a:pt x="1657350" y="224790"/>
                    </a:lnTo>
                    <a:lnTo>
                      <a:pt x="1647825" y="218123"/>
                    </a:lnTo>
                    <a:lnTo>
                      <a:pt x="1634490" y="215265"/>
                    </a:lnTo>
                    <a:lnTo>
                      <a:pt x="1617345" y="215265"/>
                    </a:lnTo>
                    <a:lnTo>
                      <a:pt x="1605915" y="215265"/>
                    </a:lnTo>
                    <a:lnTo>
                      <a:pt x="1584008" y="215265"/>
                    </a:lnTo>
                    <a:lnTo>
                      <a:pt x="1570673" y="219075"/>
                    </a:lnTo>
                    <a:lnTo>
                      <a:pt x="1559243" y="242887"/>
                    </a:lnTo>
                    <a:cubicBezTo>
                      <a:pt x="1559243" y="242887"/>
                      <a:pt x="1559243" y="248603"/>
                      <a:pt x="1559243" y="255270"/>
                    </a:cubicBezTo>
                    <a:cubicBezTo>
                      <a:pt x="1559243" y="261937"/>
                      <a:pt x="1559243" y="258128"/>
                      <a:pt x="1559243" y="261937"/>
                    </a:cubicBezTo>
                    <a:cubicBezTo>
                      <a:pt x="1559243" y="265748"/>
                      <a:pt x="1559243" y="265748"/>
                      <a:pt x="1559243" y="265748"/>
                    </a:cubicBezTo>
                    <a:lnTo>
                      <a:pt x="1563053" y="280035"/>
                    </a:lnTo>
                    <a:cubicBezTo>
                      <a:pt x="1563053" y="280035"/>
                      <a:pt x="1566863" y="291465"/>
                      <a:pt x="1566863" y="297180"/>
                    </a:cubicBezTo>
                    <a:cubicBezTo>
                      <a:pt x="1566863" y="302895"/>
                      <a:pt x="1564005" y="320040"/>
                      <a:pt x="1564005" y="320040"/>
                    </a:cubicBezTo>
                    <a:lnTo>
                      <a:pt x="1550670" y="331470"/>
                    </a:lnTo>
                    <a:lnTo>
                      <a:pt x="1542098" y="331470"/>
                    </a:lnTo>
                    <a:cubicBezTo>
                      <a:pt x="1535430" y="338137"/>
                      <a:pt x="1528763" y="343853"/>
                      <a:pt x="1528763" y="343853"/>
                    </a:cubicBezTo>
                    <a:lnTo>
                      <a:pt x="1535430" y="359093"/>
                    </a:lnTo>
                    <a:cubicBezTo>
                      <a:pt x="1535430" y="359093"/>
                      <a:pt x="1530668" y="371475"/>
                      <a:pt x="1537335" y="377190"/>
                    </a:cubicBezTo>
                    <a:cubicBezTo>
                      <a:pt x="1544003" y="382905"/>
                      <a:pt x="1557338" y="379095"/>
                      <a:pt x="1544003" y="382905"/>
                    </a:cubicBezTo>
                    <a:cubicBezTo>
                      <a:pt x="1530668" y="386715"/>
                      <a:pt x="1517333" y="385762"/>
                      <a:pt x="1517333" y="385762"/>
                    </a:cubicBezTo>
                    <a:lnTo>
                      <a:pt x="1510665" y="380048"/>
                    </a:lnTo>
                    <a:lnTo>
                      <a:pt x="1500188" y="369570"/>
                    </a:lnTo>
                    <a:lnTo>
                      <a:pt x="1496378" y="358140"/>
                    </a:lnTo>
                    <a:lnTo>
                      <a:pt x="1492568" y="342900"/>
                    </a:lnTo>
                    <a:lnTo>
                      <a:pt x="1490663" y="328612"/>
                    </a:lnTo>
                    <a:lnTo>
                      <a:pt x="1470660" y="323850"/>
                    </a:lnTo>
                    <a:lnTo>
                      <a:pt x="1450658" y="320993"/>
                    </a:lnTo>
                    <a:lnTo>
                      <a:pt x="1442085" y="316230"/>
                    </a:lnTo>
                    <a:lnTo>
                      <a:pt x="1437323" y="310515"/>
                    </a:lnTo>
                    <a:lnTo>
                      <a:pt x="1410653" y="304800"/>
                    </a:lnTo>
                    <a:lnTo>
                      <a:pt x="1390650" y="303848"/>
                    </a:lnTo>
                    <a:lnTo>
                      <a:pt x="1380173" y="296228"/>
                    </a:lnTo>
                    <a:lnTo>
                      <a:pt x="1366838" y="294323"/>
                    </a:lnTo>
                    <a:cubicBezTo>
                      <a:pt x="1366838" y="294323"/>
                      <a:pt x="1360170" y="291465"/>
                      <a:pt x="1353503" y="292418"/>
                    </a:cubicBezTo>
                    <a:cubicBezTo>
                      <a:pt x="1346835" y="293370"/>
                      <a:pt x="1336358" y="289560"/>
                      <a:pt x="1336358" y="289560"/>
                    </a:cubicBezTo>
                    <a:lnTo>
                      <a:pt x="1323023" y="287655"/>
                    </a:lnTo>
                    <a:lnTo>
                      <a:pt x="1312545" y="279083"/>
                    </a:lnTo>
                    <a:lnTo>
                      <a:pt x="1308735" y="270510"/>
                    </a:lnTo>
                    <a:lnTo>
                      <a:pt x="1291590" y="264795"/>
                    </a:lnTo>
                    <a:lnTo>
                      <a:pt x="1278255" y="260033"/>
                    </a:lnTo>
                    <a:lnTo>
                      <a:pt x="1263015" y="255270"/>
                    </a:lnTo>
                    <a:cubicBezTo>
                      <a:pt x="1263015" y="255270"/>
                      <a:pt x="1259205" y="245745"/>
                      <a:pt x="1267778" y="243840"/>
                    </a:cubicBezTo>
                    <a:cubicBezTo>
                      <a:pt x="1276350" y="242887"/>
                      <a:pt x="1279208" y="234315"/>
                      <a:pt x="1279208" y="234315"/>
                    </a:cubicBezTo>
                    <a:lnTo>
                      <a:pt x="1290638" y="228600"/>
                    </a:lnTo>
                    <a:lnTo>
                      <a:pt x="1292543" y="222885"/>
                    </a:lnTo>
                    <a:lnTo>
                      <a:pt x="1299210" y="216217"/>
                    </a:lnTo>
                    <a:cubicBezTo>
                      <a:pt x="1299210" y="216217"/>
                      <a:pt x="1294448" y="211455"/>
                      <a:pt x="1301115" y="210503"/>
                    </a:cubicBezTo>
                    <a:cubicBezTo>
                      <a:pt x="1307783" y="209550"/>
                      <a:pt x="1301115" y="213360"/>
                      <a:pt x="1307783" y="209550"/>
                    </a:cubicBezTo>
                    <a:cubicBezTo>
                      <a:pt x="1314450" y="205740"/>
                      <a:pt x="1312545" y="200025"/>
                      <a:pt x="1319213" y="200025"/>
                    </a:cubicBezTo>
                    <a:cubicBezTo>
                      <a:pt x="1325880" y="200025"/>
                      <a:pt x="1321118" y="194310"/>
                      <a:pt x="1327785" y="193358"/>
                    </a:cubicBezTo>
                    <a:cubicBezTo>
                      <a:pt x="1334453" y="192405"/>
                      <a:pt x="1325880" y="191453"/>
                      <a:pt x="1334453" y="192405"/>
                    </a:cubicBezTo>
                    <a:cubicBezTo>
                      <a:pt x="1343025" y="192405"/>
                      <a:pt x="1343025" y="192405"/>
                      <a:pt x="1343025" y="192405"/>
                    </a:cubicBezTo>
                    <a:lnTo>
                      <a:pt x="1361123" y="185737"/>
                    </a:lnTo>
                    <a:cubicBezTo>
                      <a:pt x="1361123" y="185737"/>
                      <a:pt x="1361123" y="180023"/>
                      <a:pt x="1369695" y="180023"/>
                    </a:cubicBezTo>
                    <a:cubicBezTo>
                      <a:pt x="1378268" y="180023"/>
                      <a:pt x="1391603" y="162878"/>
                      <a:pt x="1398270" y="164783"/>
                    </a:cubicBezTo>
                    <a:cubicBezTo>
                      <a:pt x="1404938" y="166687"/>
                      <a:pt x="1403033" y="158115"/>
                      <a:pt x="1403033" y="158115"/>
                    </a:cubicBezTo>
                    <a:lnTo>
                      <a:pt x="1405890" y="151448"/>
                    </a:lnTo>
                    <a:lnTo>
                      <a:pt x="1412558" y="142875"/>
                    </a:lnTo>
                    <a:cubicBezTo>
                      <a:pt x="1425893" y="140017"/>
                      <a:pt x="1425893" y="140017"/>
                      <a:pt x="1425893" y="140017"/>
                    </a:cubicBezTo>
                    <a:lnTo>
                      <a:pt x="1434465" y="139065"/>
                    </a:lnTo>
                    <a:lnTo>
                      <a:pt x="1461135" y="139065"/>
                    </a:lnTo>
                    <a:lnTo>
                      <a:pt x="1483043" y="135255"/>
                    </a:lnTo>
                    <a:lnTo>
                      <a:pt x="1487805" y="128587"/>
                    </a:lnTo>
                    <a:lnTo>
                      <a:pt x="1490663" y="120015"/>
                    </a:lnTo>
                    <a:lnTo>
                      <a:pt x="1497330" y="111442"/>
                    </a:lnTo>
                    <a:lnTo>
                      <a:pt x="1500188" y="102870"/>
                    </a:lnTo>
                    <a:lnTo>
                      <a:pt x="1500188" y="91440"/>
                    </a:lnTo>
                    <a:lnTo>
                      <a:pt x="1486853" y="82867"/>
                    </a:lnTo>
                    <a:lnTo>
                      <a:pt x="1478280" y="78105"/>
                    </a:lnTo>
                    <a:cubicBezTo>
                      <a:pt x="1478280" y="78105"/>
                      <a:pt x="1500188" y="74295"/>
                      <a:pt x="1506855" y="75248"/>
                    </a:cubicBezTo>
                    <a:cubicBezTo>
                      <a:pt x="1513523" y="77153"/>
                      <a:pt x="1495425" y="76200"/>
                      <a:pt x="1513523" y="77153"/>
                    </a:cubicBezTo>
                    <a:cubicBezTo>
                      <a:pt x="1531620" y="77153"/>
                      <a:pt x="1518285" y="77153"/>
                      <a:pt x="1531620" y="77153"/>
                    </a:cubicBezTo>
                    <a:cubicBezTo>
                      <a:pt x="1544955" y="77153"/>
                      <a:pt x="1544955" y="77153"/>
                      <a:pt x="1544955" y="77153"/>
                    </a:cubicBezTo>
                    <a:lnTo>
                      <a:pt x="1560195" y="80010"/>
                    </a:lnTo>
                    <a:lnTo>
                      <a:pt x="1584008" y="84773"/>
                    </a:lnTo>
                    <a:lnTo>
                      <a:pt x="1594485" y="87630"/>
                    </a:lnTo>
                    <a:lnTo>
                      <a:pt x="1603058" y="90487"/>
                    </a:lnTo>
                    <a:lnTo>
                      <a:pt x="1633538" y="100965"/>
                    </a:lnTo>
                    <a:lnTo>
                      <a:pt x="1642110" y="105728"/>
                    </a:lnTo>
                    <a:lnTo>
                      <a:pt x="1645920" y="112395"/>
                    </a:lnTo>
                    <a:lnTo>
                      <a:pt x="1647825" y="118110"/>
                    </a:lnTo>
                    <a:cubicBezTo>
                      <a:pt x="1647825" y="118110"/>
                      <a:pt x="1643063" y="121920"/>
                      <a:pt x="1643063" y="126683"/>
                    </a:cubicBezTo>
                    <a:cubicBezTo>
                      <a:pt x="1643063" y="130492"/>
                      <a:pt x="1656398" y="120015"/>
                      <a:pt x="1643063" y="130492"/>
                    </a:cubicBezTo>
                    <a:cubicBezTo>
                      <a:pt x="1629728" y="141923"/>
                      <a:pt x="1629728" y="141923"/>
                      <a:pt x="1629728" y="141923"/>
                    </a:cubicBezTo>
                    <a:cubicBezTo>
                      <a:pt x="1629728" y="141923"/>
                      <a:pt x="1621155" y="147637"/>
                      <a:pt x="1624965" y="151448"/>
                    </a:cubicBezTo>
                    <a:cubicBezTo>
                      <a:pt x="1629728" y="156210"/>
                      <a:pt x="1626870" y="160973"/>
                      <a:pt x="1626870" y="160973"/>
                    </a:cubicBezTo>
                    <a:lnTo>
                      <a:pt x="1637348" y="169545"/>
                    </a:lnTo>
                    <a:cubicBezTo>
                      <a:pt x="1637348" y="169545"/>
                      <a:pt x="1642110" y="171450"/>
                      <a:pt x="1647825" y="177165"/>
                    </a:cubicBezTo>
                    <a:cubicBezTo>
                      <a:pt x="1654493" y="182880"/>
                      <a:pt x="1643063" y="175260"/>
                      <a:pt x="1654493" y="182880"/>
                    </a:cubicBezTo>
                    <a:cubicBezTo>
                      <a:pt x="1664970" y="190500"/>
                      <a:pt x="1664970" y="190500"/>
                      <a:pt x="1664970" y="190500"/>
                    </a:cubicBezTo>
                    <a:lnTo>
                      <a:pt x="1680210" y="196215"/>
                    </a:lnTo>
                    <a:cubicBezTo>
                      <a:pt x="1680210" y="196215"/>
                      <a:pt x="1697355" y="203835"/>
                      <a:pt x="1704023" y="206692"/>
                    </a:cubicBezTo>
                    <a:cubicBezTo>
                      <a:pt x="1710690" y="209550"/>
                      <a:pt x="1710690" y="209550"/>
                      <a:pt x="1710690" y="209550"/>
                    </a:cubicBezTo>
                    <a:cubicBezTo>
                      <a:pt x="1710690" y="209550"/>
                      <a:pt x="1719263" y="212408"/>
                      <a:pt x="1727835" y="215265"/>
                    </a:cubicBezTo>
                    <a:cubicBezTo>
                      <a:pt x="1736408" y="218123"/>
                      <a:pt x="1736408" y="218123"/>
                      <a:pt x="1736408" y="218123"/>
                    </a:cubicBezTo>
                    <a:cubicBezTo>
                      <a:pt x="1736408" y="218123"/>
                      <a:pt x="1743075" y="215265"/>
                      <a:pt x="1751648" y="217170"/>
                    </a:cubicBezTo>
                    <a:cubicBezTo>
                      <a:pt x="1762125" y="218123"/>
                      <a:pt x="1762125" y="218123"/>
                      <a:pt x="1762125" y="218123"/>
                    </a:cubicBezTo>
                    <a:lnTo>
                      <a:pt x="1760220" y="209550"/>
                    </a:lnTo>
                    <a:lnTo>
                      <a:pt x="1771650" y="209550"/>
                    </a:lnTo>
                    <a:lnTo>
                      <a:pt x="1789748" y="207645"/>
                    </a:lnTo>
                    <a:lnTo>
                      <a:pt x="1792605" y="203835"/>
                    </a:lnTo>
                    <a:lnTo>
                      <a:pt x="1794510" y="198120"/>
                    </a:lnTo>
                    <a:lnTo>
                      <a:pt x="1789748" y="192405"/>
                    </a:lnTo>
                    <a:lnTo>
                      <a:pt x="1784985" y="187642"/>
                    </a:lnTo>
                    <a:lnTo>
                      <a:pt x="1778318" y="178117"/>
                    </a:lnTo>
                    <a:lnTo>
                      <a:pt x="1771650" y="169545"/>
                    </a:lnTo>
                    <a:lnTo>
                      <a:pt x="1755458" y="163830"/>
                    </a:lnTo>
                    <a:lnTo>
                      <a:pt x="1749743" y="155258"/>
                    </a:lnTo>
                    <a:lnTo>
                      <a:pt x="1751648" y="148590"/>
                    </a:lnTo>
                    <a:cubicBezTo>
                      <a:pt x="1764983" y="149542"/>
                      <a:pt x="1764983" y="149542"/>
                      <a:pt x="1764983" y="149542"/>
                    </a:cubicBezTo>
                    <a:cubicBezTo>
                      <a:pt x="1772603" y="155258"/>
                      <a:pt x="1763078" y="152400"/>
                      <a:pt x="1772603" y="155258"/>
                    </a:cubicBezTo>
                    <a:cubicBezTo>
                      <a:pt x="1781175" y="158115"/>
                      <a:pt x="1781175" y="158115"/>
                      <a:pt x="1781175" y="158115"/>
                    </a:cubicBezTo>
                    <a:cubicBezTo>
                      <a:pt x="1781175" y="158115"/>
                      <a:pt x="1781175" y="160020"/>
                      <a:pt x="1786890" y="161925"/>
                    </a:cubicBezTo>
                    <a:cubicBezTo>
                      <a:pt x="1792605" y="163830"/>
                      <a:pt x="1798320" y="164783"/>
                      <a:pt x="1798320" y="164783"/>
                    </a:cubicBezTo>
                    <a:cubicBezTo>
                      <a:pt x="1798320" y="164783"/>
                      <a:pt x="1803083" y="165735"/>
                      <a:pt x="1806893" y="165735"/>
                    </a:cubicBezTo>
                    <a:cubicBezTo>
                      <a:pt x="1811655" y="165735"/>
                      <a:pt x="1814513" y="160973"/>
                      <a:pt x="1814513" y="160973"/>
                    </a:cubicBezTo>
                    <a:cubicBezTo>
                      <a:pt x="1814513" y="160973"/>
                      <a:pt x="1816418" y="156210"/>
                      <a:pt x="1820228" y="156210"/>
                    </a:cubicBezTo>
                    <a:cubicBezTo>
                      <a:pt x="1824990" y="156210"/>
                      <a:pt x="1830705" y="156210"/>
                      <a:pt x="1834515" y="156210"/>
                    </a:cubicBezTo>
                    <a:cubicBezTo>
                      <a:pt x="1839278" y="156210"/>
                      <a:pt x="1839278" y="156210"/>
                      <a:pt x="1839278" y="156210"/>
                    </a:cubicBezTo>
                    <a:cubicBezTo>
                      <a:pt x="1839278" y="156210"/>
                      <a:pt x="1841183" y="151448"/>
                      <a:pt x="1846898" y="150495"/>
                    </a:cubicBezTo>
                    <a:cubicBezTo>
                      <a:pt x="1852613" y="149542"/>
                      <a:pt x="1852613" y="145733"/>
                      <a:pt x="1852613" y="145733"/>
                    </a:cubicBezTo>
                    <a:lnTo>
                      <a:pt x="1854518" y="140017"/>
                    </a:lnTo>
                    <a:lnTo>
                      <a:pt x="1856423" y="134303"/>
                    </a:lnTo>
                    <a:lnTo>
                      <a:pt x="1856423" y="130492"/>
                    </a:lnTo>
                    <a:cubicBezTo>
                      <a:pt x="1856423" y="130492"/>
                      <a:pt x="1855470" y="128587"/>
                      <a:pt x="1848803" y="126683"/>
                    </a:cubicBezTo>
                    <a:cubicBezTo>
                      <a:pt x="1843088" y="124778"/>
                      <a:pt x="1837373" y="123825"/>
                      <a:pt x="1837373" y="123825"/>
                    </a:cubicBezTo>
                    <a:lnTo>
                      <a:pt x="1820228" y="119062"/>
                    </a:lnTo>
                    <a:lnTo>
                      <a:pt x="1805940" y="111442"/>
                    </a:lnTo>
                    <a:lnTo>
                      <a:pt x="1800225" y="112395"/>
                    </a:lnTo>
                    <a:lnTo>
                      <a:pt x="1788795" y="111442"/>
                    </a:lnTo>
                    <a:lnTo>
                      <a:pt x="1778318" y="105728"/>
                    </a:lnTo>
                    <a:lnTo>
                      <a:pt x="1772603" y="101917"/>
                    </a:lnTo>
                    <a:lnTo>
                      <a:pt x="1762125" y="100965"/>
                    </a:lnTo>
                    <a:lnTo>
                      <a:pt x="1750695" y="96203"/>
                    </a:lnTo>
                    <a:cubicBezTo>
                      <a:pt x="1752600" y="90487"/>
                      <a:pt x="1752600" y="85725"/>
                      <a:pt x="1752600" y="85725"/>
                    </a:cubicBezTo>
                    <a:lnTo>
                      <a:pt x="1751648" y="79058"/>
                    </a:lnTo>
                    <a:lnTo>
                      <a:pt x="1751648" y="75248"/>
                    </a:lnTo>
                    <a:lnTo>
                      <a:pt x="1745933" y="67628"/>
                    </a:lnTo>
                    <a:lnTo>
                      <a:pt x="1737360" y="63817"/>
                    </a:lnTo>
                    <a:lnTo>
                      <a:pt x="1725930" y="62865"/>
                    </a:lnTo>
                    <a:lnTo>
                      <a:pt x="1708785" y="54292"/>
                    </a:lnTo>
                    <a:lnTo>
                      <a:pt x="1700213" y="51435"/>
                    </a:lnTo>
                    <a:lnTo>
                      <a:pt x="1676400" y="46672"/>
                    </a:lnTo>
                    <a:lnTo>
                      <a:pt x="1664970" y="43815"/>
                    </a:lnTo>
                    <a:lnTo>
                      <a:pt x="1650683" y="42863"/>
                    </a:lnTo>
                    <a:lnTo>
                      <a:pt x="1628775" y="31432"/>
                    </a:lnTo>
                    <a:lnTo>
                      <a:pt x="1612583" y="22860"/>
                    </a:lnTo>
                    <a:lnTo>
                      <a:pt x="1604010" y="14288"/>
                    </a:lnTo>
                    <a:lnTo>
                      <a:pt x="1590675" y="15240"/>
                    </a:lnTo>
                    <a:lnTo>
                      <a:pt x="1583055" y="13335"/>
                    </a:lnTo>
                    <a:lnTo>
                      <a:pt x="1561148" y="17145"/>
                    </a:lnTo>
                    <a:cubicBezTo>
                      <a:pt x="1562100" y="22860"/>
                      <a:pt x="1553528" y="25717"/>
                      <a:pt x="1553528" y="25717"/>
                    </a:cubicBezTo>
                    <a:lnTo>
                      <a:pt x="1544955" y="24765"/>
                    </a:lnTo>
                    <a:lnTo>
                      <a:pt x="1534478" y="18097"/>
                    </a:lnTo>
                    <a:lnTo>
                      <a:pt x="1524000" y="11430"/>
                    </a:lnTo>
                    <a:lnTo>
                      <a:pt x="1503998" y="4763"/>
                    </a:lnTo>
                    <a:lnTo>
                      <a:pt x="1495425" y="1905"/>
                    </a:lnTo>
                    <a:lnTo>
                      <a:pt x="1474470" y="1905"/>
                    </a:lnTo>
                    <a:lnTo>
                      <a:pt x="1468755" y="1905"/>
                    </a:lnTo>
                    <a:lnTo>
                      <a:pt x="1463993" y="5715"/>
                    </a:lnTo>
                    <a:cubicBezTo>
                      <a:pt x="1463993" y="5715"/>
                      <a:pt x="1458278" y="5715"/>
                      <a:pt x="1458278" y="8572"/>
                    </a:cubicBezTo>
                    <a:cubicBezTo>
                      <a:pt x="1458278" y="11430"/>
                      <a:pt x="1449705" y="11430"/>
                      <a:pt x="1449705" y="11430"/>
                    </a:cubicBezTo>
                    <a:cubicBezTo>
                      <a:pt x="1449705" y="11430"/>
                      <a:pt x="1444943" y="13335"/>
                      <a:pt x="1444943" y="17145"/>
                    </a:cubicBezTo>
                    <a:cubicBezTo>
                      <a:pt x="1444943" y="20955"/>
                      <a:pt x="1440180" y="20955"/>
                      <a:pt x="1442085" y="24765"/>
                    </a:cubicBezTo>
                    <a:cubicBezTo>
                      <a:pt x="1443038" y="28575"/>
                      <a:pt x="1446848" y="24765"/>
                      <a:pt x="1443038" y="28575"/>
                    </a:cubicBezTo>
                    <a:cubicBezTo>
                      <a:pt x="1440180" y="32385"/>
                      <a:pt x="1434465" y="33338"/>
                      <a:pt x="1434465" y="33338"/>
                    </a:cubicBezTo>
                    <a:lnTo>
                      <a:pt x="1425893" y="31432"/>
                    </a:lnTo>
                    <a:lnTo>
                      <a:pt x="1423035" y="23813"/>
                    </a:lnTo>
                    <a:cubicBezTo>
                      <a:pt x="1423035" y="23813"/>
                      <a:pt x="1422083" y="20003"/>
                      <a:pt x="1425893" y="19050"/>
                    </a:cubicBezTo>
                    <a:cubicBezTo>
                      <a:pt x="1430655" y="18097"/>
                      <a:pt x="1430655" y="13335"/>
                      <a:pt x="1430655" y="13335"/>
                    </a:cubicBezTo>
                    <a:lnTo>
                      <a:pt x="1432560" y="7620"/>
                    </a:lnTo>
                    <a:lnTo>
                      <a:pt x="1432560" y="3810"/>
                    </a:lnTo>
                    <a:cubicBezTo>
                      <a:pt x="1421130" y="953"/>
                      <a:pt x="1415415" y="953"/>
                      <a:pt x="1415415" y="953"/>
                    </a:cubicBezTo>
                    <a:lnTo>
                      <a:pt x="1402080" y="0"/>
                    </a:lnTo>
                    <a:cubicBezTo>
                      <a:pt x="1399223" y="2857"/>
                      <a:pt x="1380173" y="6667"/>
                      <a:pt x="1380173" y="6667"/>
                    </a:cubicBezTo>
                    <a:cubicBezTo>
                      <a:pt x="1377315" y="10478"/>
                      <a:pt x="1369695" y="12382"/>
                      <a:pt x="1369695" y="15240"/>
                    </a:cubicBezTo>
                    <a:cubicBezTo>
                      <a:pt x="1369695" y="18097"/>
                      <a:pt x="1371600" y="12382"/>
                      <a:pt x="1369695" y="18097"/>
                    </a:cubicBezTo>
                    <a:cubicBezTo>
                      <a:pt x="1367790" y="23813"/>
                      <a:pt x="1364933" y="25717"/>
                      <a:pt x="1366838" y="30480"/>
                    </a:cubicBezTo>
                    <a:cubicBezTo>
                      <a:pt x="1367790" y="35242"/>
                      <a:pt x="1362075" y="37147"/>
                      <a:pt x="1366838" y="40957"/>
                    </a:cubicBezTo>
                    <a:cubicBezTo>
                      <a:pt x="1371600" y="44767"/>
                      <a:pt x="1374458" y="48578"/>
                      <a:pt x="1374458" y="48578"/>
                    </a:cubicBezTo>
                    <a:lnTo>
                      <a:pt x="1382078" y="55245"/>
                    </a:lnTo>
                    <a:cubicBezTo>
                      <a:pt x="1382078" y="55245"/>
                      <a:pt x="1380173" y="57150"/>
                      <a:pt x="1390650" y="60960"/>
                    </a:cubicBezTo>
                    <a:cubicBezTo>
                      <a:pt x="1401128" y="64770"/>
                      <a:pt x="1401128" y="61913"/>
                      <a:pt x="1407795" y="65723"/>
                    </a:cubicBezTo>
                    <a:cubicBezTo>
                      <a:pt x="1415415" y="69533"/>
                      <a:pt x="1412558" y="66675"/>
                      <a:pt x="1415415" y="69533"/>
                    </a:cubicBezTo>
                    <a:cubicBezTo>
                      <a:pt x="1418273" y="72390"/>
                      <a:pt x="1403985" y="68580"/>
                      <a:pt x="1418273" y="72390"/>
                    </a:cubicBezTo>
                    <a:cubicBezTo>
                      <a:pt x="1432560" y="76200"/>
                      <a:pt x="1421130" y="71437"/>
                      <a:pt x="1432560" y="76200"/>
                    </a:cubicBezTo>
                    <a:cubicBezTo>
                      <a:pt x="1443990" y="80962"/>
                      <a:pt x="1441133" y="78105"/>
                      <a:pt x="1443990" y="80962"/>
                    </a:cubicBezTo>
                    <a:cubicBezTo>
                      <a:pt x="1446848" y="83820"/>
                      <a:pt x="1446848" y="81915"/>
                      <a:pt x="1446848" y="87630"/>
                    </a:cubicBezTo>
                    <a:cubicBezTo>
                      <a:pt x="1446848" y="93345"/>
                      <a:pt x="1441133" y="92392"/>
                      <a:pt x="1441133" y="95250"/>
                    </a:cubicBezTo>
                    <a:cubicBezTo>
                      <a:pt x="1441133" y="98108"/>
                      <a:pt x="1441133" y="98108"/>
                      <a:pt x="1441133" y="98108"/>
                    </a:cubicBezTo>
                    <a:lnTo>
                      <a:pt x="1429703" y="104775"/>
                    </a:lnTo>
                    <a:lnTo>
                      <a:pt x="1419225" y="110490"/>
                    </a:lnTo>
                    <a:cubicBezTo>
                      <a:pt x="1417320" y="116205"/>
                      <a:pt x="1417320" y="116205"/>
                      <a:pt x="1417320" y="116205"/>
                    </a:cubicBezTo>
                    <a:lnTo>
                      <a:pt x="1403033" y="120015"/>
                    </a:lnTo>
                    <a:cubicBezTo>
                      <a:pt x="1403033" y="120015"/>
                      <a:pt x="1397318" y="120015"/>
                      <a:pt x="1397318" y="116205"/>
                    </a:cubicBezTo>
                    <a:cubicBezTo>
                      <a:pt x="1397318" y="112395"/>
                      <a:pt x="1397318" y="107633"/>
                      <a:pt x="1397318" y="107633"/>
                    </a:cubicBezTo>
                    <a:lnTo>
                      <a:pt x="1397318" y="101917"/>
                    </a:lnTo>
                    <a:lnTo>
                      <a:pt x="1396365" y="95250"/>
                    </a:lnTo>
                    <a:lnTo>
                      <a:pt x="1393508" y="90487"/>
                    </a:lnTo>
                    <a:lnTo>
                      <a:pt x="1384935" y="88583"/>
                    </a:lnTo>
                    <a:lnTo>
                      <a:pt x="1376363" y="88583"/>
                    </a:lnTo>
                    <a:lnTo>
                      <a:pt x="1364933" y="88583"/>
                    </a:lnTo>
                    <a:cubicBezTo>
                      <a:pt x="1364933" y="88583"/>
                      <a:pt x="1354455" y="87630"/>
                      <a:pt x="1354455" y="84773"/>
                    </a:cubicBezTo>
                    <a:cubicBezTo>
                      <a:pt x="1354455" y="81915"/>
                      <a:pt x="1354455" y="81915"/>
                      <a:pt x="1354455" y="81915"/>
                    </a:cubicBezTo>
                    <a:lnTo>
                      <a:pt x="1341120" y="76200"/>
                    </a:lnTo>
                    <a:lnTo>
                      <a:pt x="1324928" y="74295"/>
                    </a:lnTo>
                    <a:lnTo>
                      <a:pt x="1319213" y="73342"/>
                    </a:lnTo>
                    <a:lnTo>
                      <a:pt x="1318260" y="60960"/>
                    </a:lnTo>
                    <a:lnTo>
                      <a:pt x="1315403" y="53340"/>
                    </a:lnTo>
                    <a:lnTo>
                      <a:pt x="1309688" y="45720"/>
                    </a:lnTo>
                    <a:lnTo>
                      <a:pt x="1304925" y="41910"/>
                    </a:lnTo>
                    <a:lnTo>
                      <a:pt x="1299210" y="40005"/>
                    </a:lnTo>
                    <a:lnTo>
                      <a:pt x="1274445" y="35242"/>
                    </a:lnTo>
                    <a:cubicBezTo>
                      <a:pt x="1274445" y="35242"/>
                      <a:pt x="1266825" y="35242"/>
                      <a:pt x="1266825" y="39053"/>
                    </a:cubicBezTo>
                    <a:cubicBezTo>
                      <a:pt x="1266825" y="42863"/>
                      <a:pt x="1259205" y="44767"/>
                      <a:pt x="1259205" y="44767"/>
                    </a:cubicBezTo>
                    <a:cubicBezTo>
                      <a:pt x="1259205" y="44767"/>
                      <a:pt x="1245870" y="44767"/>
                      <a:pt x="1247775" y="48578"/>
                    </a:cubicBezTo>
                    <a:cubicBezTo>
                      <a:pt x="1248728" y="52388"/>
                      <a:pt x="1243013" y="49530"/>
                      <a:pt x="1247775" y="56197"/>
                    </a:cubicBezTo>
                    <a:cubicBezTo>
                      <a:pt x="1251585" y="62865"/>
                      <a:pt x="1248728" y="60960"/>
                      <a:pt x="1253490" y="66675"/>
                    </a:cubicBezTo>
                    <a:cubicBezTo>
                      <a:pt x="1258253" y="72390"/>
                      <a:pt x="1251585" y="67628"/>
                      <a:pt x="1258253" y="72390"/>
                    </a:cubicBezTo>
                    <a:cubicBezTo>
                      <a:pt x="1263968" y="77153"/>
                      <a:pt x="1255395" y="73342"/>
                      <a:pt x="1263968" y="77153"/>
                    </a:cubicBezTo>
                    <a:cubicBezTo>
                      <a:pt x="1272540" y="80962"/>
                      <a:pt x="1265873" y="78105"/>
                      <a:pt x="1272540" y="80962"/>
                    </a:cubicBezTo>
                    <a:cubicBezTo>
                      <a:pt x="1280160" y="83820"/>
                      <a:pt x="1280160" y="83820"/>
                      <a:pt x="1280160" y="83820"/>
                    </a:cubicBezTo>
                    <a:cubicBezTo>
                      <a:pt x="1280160" y="83820"/>
                      <a:pt x="1284923" y="85725"/>
                      <a:pt x="1287780" y="89535"/>
                    </a:cubicBezTo>
                    <a:cubicBezTo>
                      <a:pt x="1290638" y="93345"/>
                      <a:pt x="1292543" y="93345"/>
                      <a:pt x="1291590" y="97155"/>
                    </a:cubicBezTo>
                    <a:cubicBezTo>
                      <a:pt x="1291590" y="100965"/>
                      <a:pt x="1285875" y="108585"/>
                      <a:pt x="1285875" y="108585"/>
                    </a:cubicBezTo>
                    <a:cubicBezTo>
                      <a:pt x="1285875" y="108585"/>
                      <a:pt x="1278255" y="108585"/>
                      <a:pt x="1271588" y="109537"/>
                    </a:cubicBezTo>
                    <a:cubicBezTo>
                      <a:pt x="1263968" y="110490"/>
                      <a:pt x="1255395" y="109537"/>
                      <a:pt x="1255395" y="109537"/>
                    </a:cubicBezTo>
                    <a:lnTo>
                      <a:pt x="1249680" y="101917"/>
                    </a:lnTo>
                    <a:lnTo>
                      <a:pt x="1251585" y="94298"/>
                    </a:lnTo>
                    <a:lnTo>
                      <a:pt x="1254443" y="89535"/>
                    </a:lnTo>
                    <a:lnTo>
                      <a:pt x="1243965" y="81915"/>
                    </a:lnTo>
                    <a:lnTo>
                      <a:pt x="1230630" y="79058"/>
                    </a:lnTo>
                    <a:lnTo>
                      <a:pt x="1203008" y="78105"/>
                    </a:lnTo>
                    <a:lnTo>
                      <a:pt x="1203008" y="84773"/>
                    </a:lnTo>
                    <a:lnTo>
                      <a:pt x="1214438" y="90487"/>
                    </a:lnTo>
                    <a:cubicBezTo>
                      <a:pt x="1223010" y="96203"/>
                      <a:pt x="1220153" y="97155"/>
                      <a:pt x="1221105" y="100965"/>
                    </a:cubicBezTo>
                    <a:cubicBezTo>
                      <a:pt x="1222058" y="104775"/>
                      <a:pt x="1212533" y="103823"/>
                      <a:pt x="1212533" y="103823"/>
                    </a:cubicBezTo>
                    <a:lnTo>
                      <a:pt x="1190625" y="105728"/>
                    </a:lnTo>
                    <a:lnTo>
                      <a:pt x="1163003" y="107633"/>
                    </a:lnTo>
                    <a:lnTo>
                      <a:pt x="1130618" y="108585"/>
                    </a:lnTo>
                    <a:cubicBezTo>
                      <a:pt x="1130618" y="108585"/>
                      <a:pt x="1119188" y="107633"/>
                      <a:pt x="1111568" y="109537"/>
                    </a:cubicBezTo>
                    <a:cubicBezTo>
                      <a:pt x="1103948" y="111442"/>
                      <a:pt x="1084898" y="110490"/>
                      <a:pt x="1084898" y="110490"/>
                    </a:cubicBezTo>
                    <a:lnTo>
                      <a:pt x="1076325" y="110490"/>
                    </a:lnTo>
                    <a:lnTo>
                      <a:pt x="1054418" y="106680"/>
                    </a:lnTo>
                    <a:lnTo>
                      <a:pt x="1051560" y="112395"/>
                    </a:lnTo>
                    <a:cubicBezTo>
                      <a:pt x="1060133" y="118110"/>
                      <a:pt x="1041083" y="118110"/>
                      <a:pt x="1041083" y="118110"/>
                    </a:cubicBezTo>
                    <a:lnTo>
                      <a:pt x="1032510" y="116205"/>
                    </a:lnTo>
                    <a:lnTo>
                      <a:pt x="1024890" y="116205"/>
                    </a:lnTo>
                    <a:cubicBezTo>
                      <a:pt x="1024890" y="116205"/>
                      <a:pt x="1017270" y="113348"/>
                      <a:pt x="1013460" y="114300"/>
                    </a:cubicBezTo>
                    <a:cubicBezTo>
                      <a:pt x="1008698" y="115253"/>
                      <a:pt x="1008698" y="115253"/>
                      <a:pt x="1008698" y="115253"/>
                    </a:cubicBezTo>
                    <a:lnTo>
                      <a:pt x="975360" y="113348"/>
                    </a:lnTo>
                    <a:lnTo>
                      <a:pt x="942975" y="104775"/>
                    </a:lnTo>
                    <a:lnTo>
                      <a:pt x="935355" y="101917"/>
                    </a:lnTo>
                    <a:lnTo>
                      <a:pt x="929640" y="99060"/>
                    </a:lnTo>
                    <a:lnTo>
                      <a:pt x="921068" y="92392"/>
                    </a:lnTo>
                    <a:lnTo>
                      <a:pt x="918210" y="86678"/>
                    </a:lnTo>
                    <a:lnTo>
                      <a:pt x="910590" y="85725"/>
                    </a:lnTo>
                    <a:lnTo>
                      <a:pt x="896303" y="84773"/>
                    </a:lnTo>
                    <a:cubicBezTo>
                      <a:pt x="896303" y="84773"/>
                      <a:pt x="888683" y="83820"/>
                      <a:pt x="884873" y="84773"/>
                    </a:cubicBezTo>
                    <a:cubicBezTo>
                      <a:pt x="880110" y="85725"/>
                      <a:pt x="873443" y="85725"/>
                      <a:pt x="868680" y="84773"/>
                    </a:cubicBezTo>
                    <a:cubicBezTo>
                      <a:pt x="863918" y="83820"/>
                      <a:pt x="857250" y="81915"/>
                      <a:pt x="857250" y="81915"/>
                    </a:cubicBezTo>
                    <a:lnTo>
                      <a:pt x="849630" y="80010"/>
                    </a:lnTo>
                    <a:lnTo>
                      <a:pt x="836295" y="73342"/>
                    </a:lnTo>
                    <a:lnTo>
                      <a:pt x="825818" y="70485"/>
                    </a:lnTo>
                    <a:lnTo>
                      <a:pt x="815340" y="70485"/>
                    </a:lnTo>
                    <a:lnTo>
                      <a:pt x="803910" y="70485"/>
                    </a:lnTo>
                    <a:lnTo>
                      <a:pt x="792480" y="70485"/>
                    </a:lnTo>
                    <a:cubicBezTo>
                      <a:pt x="792480" y="70485"/>
                      <a:pt x="792480" y="70485"/>
                      <a:pt x="786765" y="71437"/>
                    </a:cubicBezTo>
                    <a:cubicBezTo>
                      <a:pt x="781050" y="72390"/>
                      <a:pt x="770573" y="72390"/>
                      <a:pt x="770573" y="72390"/>
                    </a:cubicBezTo>
                    <a:lnTo>
                      <a:pt x="754380" y="72390"/>
                    </a:lnTo>
                    <a:lnTo>
                      <a:pt x="731520" y="63817"/>
                    </a:lnTo>
                    <a:lnTo>
                      <a:pt x="714375" y="59055"/>
                    </a:lnTo>
                    <a:lnTo>
                      <a:pt x="703898" y="59055"/>
                    </a:lnTo>
                    <a:lnTo>
                      <a:pt x="679133" y="61913"/>
                    </a:lnTo>
                    <a:lnTo>
                      <a:pt x="673418" y="62865"/>
                    </a:lnTo>
                    <a:cubicBezTo>
                      <a:pt x="673418" y="62865"/>
                      <a:pt x="665798" y="61913"/>
                      <a:pt x="665798" y="64770"/>
                    </a:cubicBezTo>
                    <a:cubicBezTo>
                      <a:pt x="665798" y="67628"/>
                      <a:pt x="655320" y="67628"/>
                      <a:pt x="655320" y="67628"/>
                    </a:cubicBezTo>
                    <a:lnTo>
                      <a:pt x="641033" y="68580"/>
                    </a:lnTo>
                    <a:lnTo>
                      <a:pt x="635318" y="67628"/>
                    </a:lnTo>
                    <a:lnTo>
                      <a:pt x="624840" y="67628"/>
                    </a:lnTo>
                    <a:lnTo>
                      <a:pt x="617220" y="70485"/>
                    </a:lnTo>
                    <a:cubicBezTo>
                      <a:pt x="617220" y="70485"/>
                      <a:pt x="608648" y="71437"/>
                      <a:pt x="608648" y="74295"/>
                    </a:cubicBezTo>
                    <a:cubicBezTo>
                      <a:pt x="608648" y="77153"/>
                      <a:pt x="598170" y="77153"/>
                      <a:pt x="598170" y="77153"/>
                    </a:cubicBezTo>
                    <a:lnTo>
                      <a:pt x="583883" y="74295"/>
                    </a:lnTo>
                    <a:lnTo>
                      <a:pt x="567690" y="75248"/>
                    </a:lnTo>
                    <a:lnTo>
                      <a:pt x="554355" y="78105"/>
                    </a:lnTo>
                    <a:lnTo>
                      <a:pt x="535305" y="80962"/>
                    </a:lnTo>
                    <a:lnTo>
                      <a:pt x="524828" y="80010"/>
                    </a:lnTo>
                    <a:lnTo>
                      <a:pt x="513398" y="76200"/>
                    </a:lnTo>
                    <a:lnTo>
                      <a:pt x="502920" y="73342"/>
                    </a:lnTo>
                    <a:lnTo>
                      <a:pt x="495300" y="69533"/>
                    </a:lnTo>
                    <a:lnTo>
                      <a:pt x="481965" y="65723"/>
                    </a:lnTo>
                    <a:lnTo>
                      <a:pt x="451485" y="62865"/>
                    </a:lnTo>
                    <a:lnTo>
                      <a:pt x="437198" y="62865"/>
                    </a:lnTo>
                    <a:lnTo>
                      <a:pt x="406718" y="61913"/>
                    </a:lnTo>
                    <a:lnTo>
                      <a:pt x="385763" y="60960"/>
                    </a:lnTo>
                    <a:lnTo>
                      <a:pt x="364808" y="59055"/>
                    </a:lnTo>
                    <a:lnTo>
                      <a:pt x="352425" y="55245"/>
                    </a:lnTo>
                    <a:lnTo>
                      <a:pt x="339090" y="55245"/>
                    </a:lnTo>
                    <a:lnTo>
                      <a:pt x="317183" y="54292"/>
                    </a:lnTo>
                    <a:lnTo>
                      <a:pt x="290513" y="51435"/>
                    </a:lnTo>
                    <a:lnTo>
                      <a:pt x="279083" y="46672"/>
                    </a:lnTo>
                    <a:lnTo>
                      <a:pt x="261938" y="44767"/>
                    </a:lnTo>
                    <a:lnTo>
                      <a:pt x="251460" y="44767"/>
                    </a:lnTo>
                    <a:lnTo>
                      <a:pt x="237173" y="40005"/>
                    </a:lnTo>
                    <a:cubicBezTo>
                      <a:pt x="237173" y="40005"/>
                      <a:pt x="251460" y="38100"/>
                      <a:pt x="226695" y="36195"/>
                    </a:cubicBezTo>
                    <a:cubicBezTo>
                      <a:pt x="201930" y="34290"/>
                      <a:pt x="207645" y="32385"/>
                      <a:pt x="191453" y="35242"/>
                    </a:cubicBezTo>
                    <a:cubicBezTo>
                      <a:pt x="175260" y="38100"/>
                      <a:pt x="164783" y="35242"/>
                      <a:pt x="166688" y="38100"/>
                    </a:cubicBezTo>
                    <a:cubicBezTo>
                      <a:pt x="167640" y="40957"/>
                      <a:pt x="153353" y="43815"/>
                      <a:pt x="153353" y="43815"/>
                    </a:cubicBezTo>
                    <a:lnTo>
                      <a:pt x="145733" y="46672"/>
                    </a:lnTo>
                    <a:cubicBezTo>
                      <a:pt x="145733" y="46672"/>
                      <a:pt x="121920" y="45720"/>
                      <a:pt x="123825" y="48578"/>
                    </a:cubicBezTo>
                    <a:cubicBezTo>
                      <a:pt x="124778" y="51435"/>
                      <a:pt x="113348" y="53340"/>
                      <a:pt x="113348" y="53340"/>
                    </a:cubicBezTo>
                    <a:lnTo>
                      <a:pt x="104775" y="60960"/>
                    </a:lnTo>
                    <a:cubicBezTo>
                      <a:pt x="104775" y="60960"/>
                      <a:pt x="97155" y="58103"/>
                      <a:pt x="97155" y="61913"/>
                    </a:cubicBezTo>
                    <a:cubicBezTo>
                      <a:pt x="97155" y="65723"/>
                      <a:pt x="107633" y="57150"/>
                      <a:pt x="97155" y="65723"/>
                    </a:cubicBezTo>
                    <a:cubicBezTo>
                      <a:pt x="86678" y="74295"/>
                      <a:pt x="80963" y="76200"/>
                      <a:pt x="80963" y="76200"/>
                    </a:cubicBezTo>
                    <a:lnTo>
                      <a:pt x="64770" y="80962"/>
                    </a:lnTo>
                    <a:cubicBezTo>
                      <a:pt x="64770" y="80962"/>
                      <a:pt x="54293" y="80010"/>
                      <a:pt x="59055" y="84773"/>
                    </a:cubicBezTo>
                    <a:cubicBezTo>
                      <a:pt x="62865" y="89535"/>
                      <a:pt x="61913" y="82867"/>
                      <a:pt x="62865" y="89535"/>
                    </a:cubicBezTo>
                    <a:cubicBezTo>
                      <a:pt x="62865" y="94298"/>
                      <a:pt x="51435" y="88583"/>
                      <a:pt x="62865" y="94298"/>
                    </a:cubicBezTo>
                    <a:cubicBezTo>
                      <a:pt x="74295" y="99060"/>
                      <a:pt x="64770" y="94298"/>
                      <a:pt x="74295" y="99060"/>
                    </a:cubicBezTo>
                    <a:cubicBezTo>
                      <a:pt x="84773" y="103823"/>
                      <a:pt x="87630" y="104775"/>
                      <a:pt x="91440" y="107633"/>
                    </a:cubicBezTo>
                    <a:cubicBezTo>
                      <a:pt x="96203" y="110490"/>
                      <a:pt x="94298" y="104775"/>
                      <a:pt x="96203" y="110490"/>
                    </a:cubicBezTo>
                    <a:cubicBezTo>
                      <a:pt x="97155" y="116205"/>
                      <a:pt x="110490" y="117158"/>
                      <a:pt x="113348" y="120015"/>
                    </a:cubicBezTo>
                    <a:cubicBezTo>
                      <a:pt x="116205" y="122873"/>
                      <a:pt x="116205" y="122873"/>
                      <a:pt x="116205" y="122873"/>
                    </a:cubicBezTo>
                    <a:cubicBezTo>
                      <a:pt x="116205" y="122873"/>
                      <a:pt x="108585" y="123825"/>
                      <a:pt x="104775" y="125730"/>
                    </a:cubicBezTo>
                    <a:cubicBezTo>
                      <a:pt x="100013" y="127635"/>
                      <a:pt x="91440" y="126683"/>
                      <a:pt x="91440" y="126683"/>
                    </a:cubicBezTo>
                    <a:lnTo>
                      <a:pt x="78105" y="125730"/>
                    </a:lnTo>
                    <a:lnTo>
                      <a:pt x="59055" y="125730"/>
                    </a:lnTo>
                    <a:cubicBezTo>
                      <a:pt x="59055" y="125730"/>
                      <a:pt x="53340" y="126683"/>
                      <a:pt x="48578" y="127635"/>
                    </a:cubicBezTo>
                    <a:cubicBezTo>
                      <a:pt x="43815" y="128587"/>
                      <a:pt x="21908" y="129540"/>
                      <a:pt x="21908" y="129540"/>
                    </a:cubicBezTo>
                    <a:cubicBezTo>
                      <a:pt x="20003" y="136208"/>
                      <a:pt x="19050" y="129540"/>
                      <a:pt x="20003" y="136208"/>
                    </a:cubicBezTo>
                    <a:cubicBezTo>
                      <a:pt x="22860" y="141923"/>
                      <a:pt x="14288" y="141923"/>
                      <a:pt x="22860" y="147637"/>
                    </a:cubicBezTo>
                    <a:cubicBezTo>
                      <a:pt x="31433" y="153353"/>
                      <a:pt x="26670" y="155258"/>
                      <a:pt x="33338" y="157162"/>
                    </a:cubicBezTo>
                    <a:cubicBezTo>
                      <a:pt x="38100" y="159067"/>
                      <a:pt x="31433" y="158115"/>
                      <a:pt x="38100" y="159067"/>
                    </a:cubicBezTo>
                    <a:cubicBezTo>
                      <a:pt x="45720" y="160020"/>
                      <a:pt x="51435" y="158115"/>
                      <a:pt x="56198" y="159067"/>
                    </a:cubicBezTo>
                    <a:cubicBezTo>
                      <a:pt x="60960" y="160020"/>
                      <a:pt x="67628" y="159067"/>
                      <a:pt x="67628" y="159067"/>
                    </a:cubicBezTo>
                    <a:lnTo>
                      <a:pt x="81915" y="157162"/>
                    </a:lnTo>
                    <a:lnTo>
                      <a:pt x="90488" y="156210"/>
                    </a:lnTo>
                    <a:cubicBezTo>
                      <a:pt x="90488" y="156210"/>
                      <a:pt x="98108" y="155258"/>
                      <a:pt x="101918" y="156210"/>
                    </a:cubicBezTo>
                    <a:cubicBezTo>
                      <a:pt x="106680" y="157162"/>
                      <a:pt x="106680" y="157162"/>
                      <a:pt x="106680" y="157162"/>
                    </a:cubicBezTo>
                    <a:cubicBezTo>
                      <a:pt x="115253" y="158115"/>
                      <a:pt x="128588" y="160973"/>
                      <a:pt x="128588" y="160973"/>
                    </a:cubicBezTo>
                    <a:lnTo>
                      <a:pt x="131445" y="164783"/>
                    </a:lnTo>
                    <a:cubicBezTo>
                      <a:pt x="131445" y="164783"/>
                      <a:pt x="128588" y="165735"/>
                      <a:pt x="129540" y="170498"/>
                    </a:cubicBezTo>
                    <a:cubicBezTo>
                      <a:pt x="130493" y="175260"/>
                      <a:pt x="130493" y="175260"/>
                      <a:pt x="130493" y="175260"/>
                    </a:cubicBezTo>
                    <a:lnTo>
                      <a:pt x="114300" y="178117"/>
                    </a:lnTo>
                    <a:lnTo>
                      <a:pt x="100965" y="179070"/>
                    </a:lnTo>
                    <a:lnTo>
                      <a:pt x="85725" y="184785"/>
                    </a:lnTo>
                    <a:lnTo>
                      <a:pt x="71438" y="184785"/>
                    </a:lnTo>
                    <a:lnTo>
                      <a:pt x="60960" y="188595"/>
                    </a:lnTo>
                    <a:cubicBezTo>
                      <a:pt x="60960" y="188595"/>
                      <a:pt x="50483" y="191453"/>
                      <a:pt x="52388" y="194310"/>
                    </a:cubicBezTo>
                    <a:cubicBezTo>
                      <a:pt x="53340" y="197167"/>
                      <a:pt x="53340" y="197167"/>
                      <a:pt x="53340" y="197167"/>
                    </a:cubicBezTo>
                    <a:lnTo>
                      <a:pt x="45720" y="203835"/>
                    </a:lnTo>
                    <a:cubicBezTo>
                      <a:pt x="42863" y="208598"/>
                      <a:pt x="42863" y="208598"/>
                      <a:pt x="42863" y="208598"/>
                    </a:cubicBezTo>
                    <a:lnTo>
                      <a:pt x="40958" y="216217"/>
                    </a:lnTo>
                    <a:lnTo>
                      <a:pt x="49530" y="221933"/>
                    </a:lnTo>
                    <a:cubicBezTo>
                      <a:pt x="57150" y="227648"/>
                      <a:pt x="57150" y="227648"/>
                      <a:pt x="57150" y="227648"/>
                    </a:cubicBezTo>
                    <a:lnTo>
                      <a:pt x="70485" y="231458"/>
                    </a:lnTo>
                    <a:lnTo>
                      <a:pt x="83820" y="237173"/>
                    </a:lnTo>
                    <a:lnTo>
                      <a:pt x="90488" y="242887"/>
                    </a:lnTo>
                    <a:cubicBezTo>
                      <a:pt x="100965" y="245745"/>
                      <a:pt x="90488" y="244792"/>
                      <a:pt x="100965" y="245745"/>
                    </a:cubicBezTo>
                    <a:cubicBezTo>
                      <a:pt x="112395" y="247650"/>
                      <a:pt x="112395" y="247650"/>
                      <a:pt x="112395" y="247650"/>
                    </a:cubicBezTo>
                    <a:lnTo>
                      <a:pt x="125730" y="255270"/>
                    </a:lnTo>
                    <a:lnTo>
                      <a:pt x="137160" y="255270"/>
                    </a:lnTo>
                    <a:cubicBezTo>
                      <a:pt x="137160" y="255270"/>
                      <a:pt x="145733" y="254317"/>
                      <a:pt x="152400" y="257175"/>
                    </a:cubicBezTo>
                    <a:cubicBezTo>
                      <a:pt x="159068" y="260033"/>
                      <a:pt x="159068" y="260033"/>
                      <a:pt x="159068" y="260033"/>
                    </a:cubicBezTo>
                    <a:lnTo>
                      <a:pt x="172403" y="261937"/>
                    </a:lnTo>
                    <a:lnTo>
                      <a:pt x="182880" y="264795"/>
                    </a:lnTo>
                    <a:cubicBezTo>
                      <a:pt x="184785" y="270510"/>
                      <a:pt x="184785" y="270510"/>
                      <a:pt x="184785" y="270510"/>
                    </a:cubicBezTo>
                    <a:cubicBezTo>
                      <a:pt x="184785" y="270510"/>
                      <a:pt x="182880" y="273368"/>
                      <a:pt x="180023" y="277178"/>
                    </a:cubicBezTo>
                    <a:cubicBezTo>
                      <a:pt x="177165" y="280987"/>
                      <a:pt x="161925" y="284798"/>
                      <a:pt x="161925" y="284798"/>
                    </a:cubicBezTo>
                    <a:lnTo>
                      <a:pt x="148590" y="290512"/>
                    </a:lnTo>
                    <a:lnTo>
                      <a:pt x="135255" y="296228"/>
                    </a:lnTo>
                    <a:lnTo>
                      <a:pt x="123825" y="300037"/>
                    </a:lnTo>
                    <a:lnTo>
                      <a:pt x="110490" y="303848"/>
                    </a:lnTo>
                    <a:lnTo>
                      <a:pt x="99060" y="307658"/>
                    </a:lnTo>
                    <a:lnTo>
                      <a:pt x="79058" y="310515"/>
                    </a:lnTo>
                    <a:lnTo>
                      <a:pt x="63818" y="314325"/>
                    </a:lnTo>
                    <a:lnTo>
                      <a:pt x="50483" y="315278"/>
                    </a:lnTo>
                    <a:lnTo>
                      <a:pt x="38100" y="320040"/>
                    </a:lnTo>
                    <a:lnTo>
                      <a:pt x="18098" y="322898"/>
                    </a:lnTo>
                    <a:lnTo>
                      <a:pt x="0" y="322898"/>
                    </a:lnTo>
                    <a:lnTo>
                      <a:pt x="0" y="328612"/>
                    </a:lnTo>
                    <a:cubicBezTo>
                      <a:pt x="0" y="328612"/>
                      <a:pt x="8573" y="330518"/>
                      <a:pt x="15240" y="330518"/>
                    </a:cubicBezTo>
                    <a:cubicBezTo>
                      <a:pt x="21908" y="330518"/>
                      <a:pt x="28575" y="327660"/>
                      <a:pt x="37148" y="327660"/>
                    </a:cubicBezTo>
                    <a:cubicBezTo>
                      <a:pt x="45720" y="327660"/>
                      <a:pt x="50483" y="324803"/>
                      <a:pt x="57150" y="324803"/>
                    </a:cubicBezTo>
                    <a:cubicBezTo>
                      <a:pt x="63818" y="324803"/>
                      <a:pt x="72390" y="321945"/>
                      <a:pt x="81915" y="320993"/>
                    </a:cubicBezTo>
                    <a:cubicBezTo>
                      <a:pt x="90488" y="320040"/>
                      <a:pt x="93345" y="318135"/>
                      <a:pt x="100013" y="318135"/>
                    </a:cubicBezTo>
                    <a:cubicBezTo>
                      <a:pt x="106680" y="318135"/>
                      <a:pt x="120015" y="315278"/>
                      <a:pt x="120015" y="315278"/>
                    </a:cubicBezTo>
                    <a:lnTo>
                      <a:pt x="138113" y="312420"/>
                    </a:lnTo>
                    <a:lnTo>
                      <a:pt x="164783" y="306705"/>
                    </a:lnTo>
                    <a:cubicBezTo>
                      <a:pt x="164783" y="306705"/>
                      <a:pt x="169545" y="300037"/>
                      <a:pt x="176213" y="300037"/>
                    </a:cubicBezTo>
                    <a:cubicBezTo>
                      <a:pt x="182880" y="300037"/>
                      <a:pt x="189548" y="294323"/>
                      <a:pt x="189548" y="294323"/>
                    </a:cubicBezTo>
                    <a:lnTo>
                      <a:pt x="200978" y="288608"/>
                    </a:lnTo>
                    <a:lnTo>
                      <a:pt x="212408" y="280035"/>
                    </a:lnTo>
                    <a:lnTo>
                      <a:pt x="227648" y="270510"/>
                    </a:lnTo>
                    <a:lnTo>
                      <a:pt x="236220" y="261937"/>
                    </a:lnTo>
                    <a:lnTo>
                      <a:pt x="249555" y="255270"/>
                    </a:lnTo>
                    <a:lnTo>
                      <a:pt x="258128" y="249555"/>
                    </a:lnTo>
                    <a:lnTo>
                      <a:pt x="269558" y="240983"/>
                    </a:lnTo>
                    <a:lnTo>
                      <a:pt x="276225" y="235267"/>
                    </a:lnTo>
                    <a:lnTo>
                      <a:pt x="278130" y="229553"/>
                    </a:lnTo>
                    <a:lnTo>
                      <a:pt x="291465" y="226695"/>
                    </a:lnTo>
                    <a:cubicBezTo>
                      <a:pt x="298133" y="232410"/>
                      <a:pt x="302895" y="226695"/>
                      <a:pt x="298133" y="232410"/>
                    </a:cubicBezTo>
                    <a:cubicBezTo>
                      <a:pt x="293370" y="238125"/>
                      <a:pt x="293370" y="238125"/>
                      <a:pt x="293370" y="238125"/>
                    </a:cubicBezTo>
                    <a:cubicBezTo>
                      <a:pt x="293370" y="238125"/>
                      <a:pt x="295275" y="243840"/>
                      <a:pt x="303848" y="242887"/>
                    </a:cubicBezTo>
                    <a:cubicBezTo>
                      <a:pt x="312420" y="241935"/>
                      <a:pt x="312420" y="237173"/>
                      <a:pt x="319088" y="234315"/>
                    </a:cubicBezTo>
                    <a:cubicBezTo>
                      <a:pt x="325755" y="231458"/>
                      <a:pt x="325755" y="231458"/>
                      <a:pt x="325755" y="231458"/>
                    </a:cubicBezTo>
                    <a:lnTo>
                      <a:pt x="345758" y="233362"/>
                    </a:lnTo>
                    <a:cubicBezTo>
                      <a:pt x="345758" y="233362"/>
                      <a:pt x="345758" y="226695"/>
                      <a:pt x="357188" y="227648"/>
                    </a:cubicBezTo>
                    <a:cubicBezTo>
                      <a:pt x="367665" y="229553"/>
                      <a:pt x="355283" y="228600"/>
                      <a:pt x="367665" y="229553"/>
                    </a:cubicBezTo>
                    <a:cubicBezTo>
                      <a:pt x="381000" y="229553"/>
                      <a:pt x="381000" y="229553"/>
                      <a:pt x="381000" y="229553"/>
                    </a:cubicBezTo>
                    <a:lnTo>
                      <a:pt x="396240" y="232410"/>
                    </a:lnTo>
                    <a:cubicBezTo>
                      <a:pt x="396240" y="232410"/>
                      <a:pt x="404813" y="237173"/>
                      <a:pt x="416243" y="238125"/>
                    </a:cubicBezTo>
                    <a:cubicBezTo>
                      <a:pt x="427673" y="240030"/>
                      <a:pt x="440055" y="240030"/>
                      <a:pt x="440055" y="240030"/>
                    </a:cubicBezTo>
                    <a:lnTo>
                      <a:pt x="453390" y="240030"/>
                    </a:lnTo>
                    <a:lnTo>
                      <a:pt x="468630" y="244792"/>
                    </a:lnTo>
                    <a:cubicBezTo>
                      <a:pt x="468630" y="244792"/>
                      <a:pt x="468630" y="241935"/>
                      <a:pt x="477203" y="244792"/>
                    </a:cubicBezTo>
                    <a:cubicBezTo>
                      <a:pt x="485775" y="247650"/>
                      <a:pt x="499110" y="247650"/>
                      <a:pt x="499110" y="247650"/>
                    </a:cubicBezTo>
                    <a:cubicBezTo>
                      <a:pt x="499110" y="247650"/>
                      <a:pt x="503873" y="250508"/>
                      <a:pt x="509588" y="252412"/>
                    </a:cubicBezTo>
                    <a:cubicBezTo>
                      <a:pt x="516255" y="254317"/>
                      <a:pt x="520065" y="258128"/>
                      <a:pt x="526733" y="260985"/>
                    </a:cubicBezTo>
                    <a:cubicBezTo>
                      <a:pt x="533400" y="263843"/>
                      <a:pt x="521970" y="259080"/>
                      <a:pt x="533400" y="263843"/>
                    </a:cubicBezTo>
                    <a:cubicBezTo>
                      <a:pt x="543878" y="268605"/>
                      <a:pt x="543878" y="268605"/>
                      <a:pt x="543878" y="268605"/>
                    </a:cubicBezTo>
                    <a:cubicBezTo>
                      <a:pt x="543878" y="268605"/>
                      <a:pt x="552450" y="274320"/>
                      <a:pt x="559118" y="276225"/>
                    </a:cubicBezTo>
                    <a:cubicBezTo>
                      <a:pt x="565785" y="278130"/>
                      <a:pt x="565785" y="278130"/>
                      <a:pt x="565785" y="278130"/>
                    </a:cubicBezTo>
                    <a:lnTo>
                      <a:pt x="579120" y="285750"/>
                    </a:lnTo>
                    <a:lnTo>
                      <a:pt x="592455" y="294323"/>
                    </a:lnTo>
                    <a:lnTo>
                      <a:pt x="599123" y="303848"/>
                    </a:lnTo>
                    <a:lnTo>
                      <a:pt x="612458" y="312420"/>
                    </a:lnTo>
                    <a:lnTo>
                      <a:pt x="629603" y="322898"/>
                    </a:lnTo>
                    <a:cubicBezTo>
                      <a:pt x="629603" y="322898"/>
                      <a:pt x="634365" y="325755"/>
                      <a:pt x="640080" y="328612"/>
                    </a:cubicBezTo>
                    <a:cubicBezTo>
                      <a:pt x="646748" y="331470"/>
                      <a:pt x="655320" y="336233"/>
                      <a:pt x="655320" y="336233"/>
                    </a:cubicBezTo>
                    <a:cubicBezTo>
                      <a:pt x="655320" y="336233"/>
                      <a:pt x="650558" y="337185"/>
                      <a:pt x="659130" y="342900"/>
                    </a:cubicBezTo>
                    <a:cubicBezTo>
                      <a:pt x="667703" y="348615"/>
                      <a:pt x="654368" y="343853"/>
                      <a:pt x="667703" y="348615"/>
                    </a:cubicBezTo>
                    <a:cubicBezTo>
                      <a:pt x="681038" y="353378"/>
                      <a:pt x="672465" y="347662"/>
                      <a:pt x="681038" y="353378"/>
                    </a:cubicBezTo>
                    <a:cubicBezTo>
                      <a:pt x="689610" y="359093"/>
                      <a:pt x="689610" y="359093"/>
                      <a:pt x="689610" y="359093"/>
                    </a:cubicBezTo>
                    <a:cubicBezTo>
                      <a:pt x="689610" y="359093"/>
                      <a:pt x="694373" y="363855"/>
                      <a:pt x="696278" y="367665"/>
                    </a:cubicBezTo>
                    <a:cubicBezTo>
                      <a:pt x="698183" y="371475"/>
                      <a:pt x="685800" y="362903"/>
                      <a:pt x="698183" y="371475"/>
                    </a:cubicBezTo>
                    <a:cubicBezTo>
                      <a:pt x="711518" y="380048"/>
                      <a:pt x="721995" y="380048"/>
                      <a:pt x="721995" y="380048"/>
                    </a:cubicBezTo>
                    <a:lnTo>
                      <a:pt x="730568" y="384810"/>
                    </a:lnTo>
                    <a:cubicBezTo>
                      <a:pt x="730568" y="384810"/>
                      <a:pt x="732473" y="388620"/>
                      <a:pt x="739140" y="389573"/>
                    </a:cubicBezTo>
                    <a:cubicBezTo>
                      <a:pt x="745808" y="389573"/>
                      <a:pt x="761048" y="395287"/>
                      <a:pt x="761048" y="395287"/>
                    </a:cubicBezTo>
                    <a:cubicBezTo>
                      <a:pt x="761048" y="395287"/>
                      <a:pt x="778193" y="398145"/>
                      <a:pt x="778193" y="402908"/>
                    </a:cubicBezTo>
                    <a:cubicBezTo>
                      <a:pt x="778193" y="406718"/>
                      <a:pt x="774383" y="397193"/>
                      <a:pt x="778193" y="406718"/>
                    </a:cubicBezTo>
                    <a:cubicBezTo>
                      <a:pt x="782003" y="416243"/>
                      <a:pt x="782003" y="416243"/>
                      <a:pt x="782003" y="416243"/>
                    </a:cubicBezTo>
                    <a:lnTo>
                      <a:pt x="773430" y="420052"/>
                    </a:lnTo>
                    <a:lnTo>
                      <a:pt x="762000" y="420052"/>
                    </a:lnTo>
                    <a:lnTo>
                      <a:pt x="755333" y="413385"/>
                    </a:lnTo>
                    <a:lnTo>
                      <a:pt x="746760" y="406718"/>
                    </a:lnTo>
                    <a:lnTo>
                      <a:pt x="738188" y="403860"/>
                    </a:lnTo>
                    <a:lnTo>
                      <a:pt x="729615" y="399098"/>
                    </a:lnTo>
                    <a:cubicBezTo>
                      <a:pt x="729615" y="399098"/>
                      <a:pt x="712470" y="390525"/>
                      <a:pt x="705803" y="391477"/>
                    </a:cubicBezTo>
                    <a:cubicBezTo>
                      <a:pt x="699135" y="392430"/>
                      <a:pt x="699135" y="392430"/>
                      <a:pt x="699135" y="392430"/>
                    </a:cubicBezTo>
                    <a:cubicBezTo>
                      <a:pt x="699135" y="401002"/>
                      <a:pt x="707708" y="402908"/>
                      <a:pt x="707708" y="402908"/>
                    </a:cubicBezTo>
                    <a:cubicBezTo>
                      <a:pt x="707708" y="402908"/>
                      <a:pt x="716280" y="409575"/>
                      <a:pt x="722948" y="411480"/>
                    </a:cubicBezTo>
                    <a:cubicBezTo>
                      <a:pt x="729615" y="413385"/>
                      <a:pt x="736283" y="419100"/>
                      <a:pt x="736283" y="419100"/>
                    </a:cubicBezTo>
                    <a:cubicBezTo>
                      <a:pt x="736283" y="419100"/>
                      <a:pt x="742950" y="423862"/>
                      <a:pt x="742950" y="427673"/>
                    </a:cubicBezTo>
                    <a:cubicBezTo>
                      <a:pt x="742950" y="431483"/>
                      <a:pt x="741045" y="423862"/>
                      <a:pt x="742950" y="431483"/>
                    </a:cubicBezTo>
                    <a:cubicBezTo>
                      <a:pt x="744855" y="440055"/>
                      <a:pt x="744855" y="445770"/>
                      <a:pt x="744855" y="445770"/>
                    </a:cubicBezTo>
                    <a:lnTo>
                      <a:pt x="752475" y="456248"/>
                    </a:lnTo>
                    <a:lnTo>
                      <a:pt x="747713" y="487680"/>
                    </a:lnTo>
                    <a:lnTo>
                      <a:pt x="751523" y="500062"/>
                    </a:lnTo>
                    <a:cubicBezTo>
                      <a:pt x="751523" y="500062"/>
                      <a:pt x="746760" y="501015"/>
                      <a:pt x="751523" y="506730"/>
                    </a:cubicBezTo>
                    <a:cubicBezTo>
                      <a:pt x="755333" y="512445"/>
                      <a:pt x="758190" y="521970"/>
                      <a:pt x="758190" y="521970"/>
                    </a:cubicBezTo>
                    <a:cubicBezTo>
                      <a:pt x="758190" y="521970"/>
                      <a:pt x="760095" y="528638"/>
                      <a:pt x="764858" y="536258"/>
                    </a:cubicBezTo>
                    <a:cubicBezTo>
                      <a:pt x="768668" y="542925"/>
                      <a:pt x="762953" y="534352"/>
                      <a:pt x="768668" y="542925"/>
                    </a:cubicBezTo>
                    <a:cubicBezTo>
                      <a:pt x="775335" y="551498"/>
                      <a:pt x="775335" y="551498"/>
                      <a:pt x="775335" y="551498"/>
                    </a:cubicBezTo>
                    <a:cubicBezTo>
                      <a:pt x="775335" y="551498"/>
                      <a:pt x="782003" y="554355"/>
                      <a:pt x="785813" y="559118"/>
                    </a:cubicBezTo>
                    <a:cubicBezTo>
                      <a:pt x="789623" y="562927"/>
                      <a:pt x="792480" y="564833"/>
                      <a:pt x="794385" y="568643"/>
                    </a:cubicBezTo>
                    <a:cubicBezTo>
                      <a:pt x="796290" y="572452"/>
                      <a:pt x="801053" y="580073"/>
                      <a:pt x="801053" y="580073"/>
                    </a:cubicBezTo>
                    <a:cubicBezTo>
                      <a:pt x="801053" y="580073"/>
                      <a:pt x="801053" y="579120"/>
                      <a:pt x="804863" y="585788"/>
                    </a:cubicBezTo>
                    <a:cubicBezTo>
                      <a:pt x="808673" y="592455"/>
                      <a:pt x="802958" y="585788"/>
                      <a:pt x="808673" y="592455"/>
                    </a:cubicBezTo>
                    <a:cubicBezTo>
                      <a:pt x="815340" y="599123"/>
                      <a:pt x="815340" y="599123"/>
                      <a:pt x="815340" y="599123"/>
                    </a:cubicBezTo>
                    <a:cubicBezTo>
                      <a:pt x="815340" y="599123"/>
                      <a:pt x="820103" y="598170"/>
                      <a:pt x="825818" y="601980"/>
                    </a:cubicBezTo>
                    <a:cubicBezTo>
                      <a:pt x="832485" y="606743"/>
                      <a:pt x="832485" y="606743"/>
                      <a:pt x="832485" y="606743"/>
                    </a:cubicBezTo>
                    <a:lnTo>
                      <a:pt x="843915" y="609600"/>
                    </a:lnTo>
                    <a:cubicBezTo>
                      <a:pt x="843915" y="609600"/>
                      <a:pt x="845820" y="606743"/>
                      <a:pt x="852488" y="612458"/>
                    </a:cubicBezTo>
                    <a:cubicBezTo>
                      <a:pt x="859155" y="618173"/>
                      <a:pt x="859155" y="618173"/>
                      <a:pt x="859155" y="618173"/>
                    </a:cubicBezTo>
                    <a:lnTo>
                      <a:pt x="879158" y="631508"/>
                    </a:lnTo>
                    <a:lnTo>
                      <a:pt x="885825" y="643890"/>
                    </a:lnTo>
                    <a:cubicBezTo>
                      <a:pt x="885825" y="643890"/>
                      <a:pt x="881063" y="643890"/>
                      <a:pt x="889635" y="650558"/>
                    </a:cubicBezTo>
                    <a:cubicBezTo>
                      <a:pt x="898208" y="658177"/>
                      <a:pt x="900113" y="661035"/>
                      <a:pt x="902018" y="665798"/>
                    </a:cubicBezTo>
                    <a:cubicBezTo>
                      <a:pt x="903923" y="671513"/>
                      <a:pt x="897255" y="662940"/>
                      <a:pt x="903923" y="671513"/>
                    </a:cubicBezTo>
                    <a:cubicBezTo>
                      <a:pt x="910590" y="680085"/>
                      <a:pt x="917258" y="685800"/>
                      <a:pt x="917258" y="685800"/>
                    </a:cubicBezTo>
                    <a:lnTo>
                      <a:pt x="923925" y="701040"/>
                    </a:lnTo>
                    <a:cubicBezTo>
                      <a:pt x="934403" y="706755"/>
                      <a:pt x="945833" y="711518"/>
                      <a:pt x="945833" y="711518"/>
                    </a:cubicBezTo>
                    <a:cubicBezTo>
                      <a:pt x="945833" y="711518"/>
                      <a:pt x="954405" y="713423"/>
                      <a:pt x="956310" y="717233"/>
                    </a:cubicBezTo>
                    <a:cubicBezTo>
                      <a:pt x="958215" y="721995"/>
                      <a:pt x="969645" y="725805"/>
                      <a:pt x="969645" y="725805"/>
                    </a:cubicBezTo>
                    <a:lnTo>
                      <a:pt x="980123" y="731520"/>
                    </a:lnTo>
                    <a:lnTo>
                      <a:pt x="993458" y="731520"/>
                    </a:lnTo>
                    <a:lnTo>
                      <a:pt x="990600" y="722948"/>
                    </a:lnTo>
                    <a:lnTo>
                      <a:pt x="982028" y="717233"/>
                    </a:lnTo>
                    <a:lnTo>
                      <a:pt x="968693" y="706755"/>
                    </a:lnTo>
                    <a:lnTo>
                      <a:pt x="960120" y="698183"/>
                    </a:lnTo>
                    <a:lnTo>
                      <a:pt x="953453" y="692468"/>
                    </a:lnTo>
                    <a:lnTo>
                      <a:pt x="949643" y="686752"/>
                    </a:lnTo>
                    <a:lnTo>
                      <a:pt x="945833" y="678180"/>
                    </a:lnTo>
                    <a:lnTo>
                      <a:pt x="939165" y="672465"/>
                    </a:lnTo>
                    <a:lnTo>
                      <a:pt x="935355" y="663893"/>
                    </a:lnTo>
                    <a:lnTo>
                      <a:pt x="923925" y="655320"/>
                    </a:lnTo>
                    <a:lnTo>
                      <a:pt x="923925" y="648652"/>
                    </a:lnTo>
                    <a:lnTo>
                      <a:pt x="935355" y="645795"/>
                    </a:lnTo>
                    <a:cubicBezTo>
                      <a:pt x="943928" y="651510"/>
                      <a:pt x="931545" y="633413"/>
                      <a:pt x="943928" y="651510"/>
                    </a:cubicBezTo>
                    <a:cubicBezTo>
                      <a:pt x="956310" y="669608"/>
                      <a:pt x="962978" y="677227"/>
                      <a:pt x="962978" y="677227"/>
                    </a:cubicBezTo>
                    <a:cubicBezTo>
                      <a:pt x="962978" y="677227"/>
                      <a:pt x="978218" y="685800"/>
                      <a:pt x="980123" y="690563"/>
                    </a:cubicBezTo>
                    <a:cubicBezTo>
                      <a:pt x="982028" y="694373"/>
                      <a:pt x="997268" y="701040"/>
                      <a:pt x="997268" y="701040"/>
                    </a:cubicBezTo>
                    <a:lnTo>
                      <a:pt x="1012508" y="712470"/>
                    </a:lnTo>
                    <a:cubicBezTo>
                      <a:pt x="1012508" y="712470"/>
                      <a:pt x="1014413" y="715327"/>
                      <a:pt x="1019175" y="719138"/>
                    </a:cubicBezTo>
                    <a:cubicBezTo>
                      <a:pt x="1023938" y="722948"/>
                      <a:pt x="1034415" y="733425"/>
                      <a:pt x="1034415" y="733425"/>
                    </a:cubicBezTo>
                    <a:cubicBezTo>
                      <a:pt x="1044893" y="739140"/>
                      <a:pt x="1044893" y="739140"/>
                      <a:pt x="1044893" y="739140"/>
                    </a:cubicBezTo>
                    <a:cubicBezTo>
                      <a:pt x="1044893" y="739140"/>
                      <a:pt x="1042988" y="741998"/>
                      <a:pt x="1048703" y="745808"/>
                    </a:cubicBezTo>
                    <a:cubicBezTo>
                      <a:pt x="1055370" y="750570"/>
                      <a:pt x="1048703" y="743902"/>
                      <a:pt x="1055370" y="750570"/>
                    </a:cubicBezTo>
                    <a:cubicBezTo>
                      <a:pt x="1062038" y="756285"/>
                      <a:pt x="1055370" y="751523"/>
                      <a:pt x="1062038" y="756285"/>
                    </a:cubicBezTo>
                    <a:cubicBezTo>
                      <a:pt x="1068705" y="761048"/>
                      <a:pt x="1063943" y="755333"/>
                      <a:pt x="1068705" y="761048"/>
                    </a:cubicBezTo>
                    <a:cubicBezTo>
                      <a:pt x="1072515" y="766763"/>
                      <a:pt x="1075373" y="761048"/>
                      <a:pt x="1072515" y="766763"/>
                    </a:cubicBezTo>
                    <a:cubicBezTo>
                      <a:pt x="1070610" y="772477"/>
                      <a:pt x="1070610" y="772477"/>
                      <a:pt x="1070610" y="772477"/>
                    </a:cubicBezTo>
                    <a:cubicBezTo>
                      <a:pt x="1070610" y="772477"/>
                      <a:pt x="1068705" y="775335"/>
                      <a:pt x="1074420" y="779145"/>
                    </a:cubicBezTo>
                    <a:cubicBezTo>
                      <a:pt x="1081088" y="783908"/>
                      <a:pt x="1081088" y="783908"/>
                      <a:pt x="1081088" y="783908"/>
                    </a:cubicBezTo>
                    <a:cubicBezTo>
                      <a:pt x="1081088" y="783908"/>
                      <a:pt x="1087755" y="786765"/>
                      <a:pt x="1094423" y="789623"/>
                    </a:cubicBezTo>
                    <a:cubicBezTo>
                      <a:pt x="1101090" y="792480"/>
                      <a:pt x="1101090" y="792480"/>
                      <a:pt x="1101090" y="792480"/>
                    </a:cubicBezTo>
                    <a:cubicBezTo>
                      <a:pt x="1101090" y="792480"/>
                      <a:pt x="1112520" y="794385"/>
                      <a:pt x="1116330" y="798195"/>
                    </a:cubicBezTo>
                    <a:cubicBezTo>
                      <a:pt x="1121093" y="802005"/>
                      <a:pt x="1111568" y="795338"/>
                      <a:pt x="1121093" y="802005"/>
                    </a:cubicBezTo>
                    <a:cubicBezTo>
                      <a:pt x="1122998" y="803910"/>
                      <a:pt x="1124903" y="804863"/>
                      <a:pt x="1125855" y="805815"/>
                    </a:cubicBezTo>
                    <a:cubicBezTo>
                      <a:pt x="1129665" y="808673"/>
                      <a:pt x="1129665" y="808673"/>
                      <a:pt x="1129665" y="808673"/>
                    </a:cubicBezTo>
                    <a:cubicBezTo>
                      <a:pt x="1138238" y="816293"/>
                      <a:pt x="1151573" y="820102"/>
                      <a:pt x="1151573" y="820102"/>
                    </a:cubicBezTo>
                    <a:lnTo>
                      <a:pt x="1168718" y="827723"/>
                    </a:lnTo>
                    <a:lnTo>
                      <a:pt x="1180148" y="827723"/>
                    </a:lnTo>
                    <a:lnTo>
                      <a:pt x="1193483" y="827723"/>
                    </a:lnTo>
                    <a:cubicBezTo>
                      <a:pt x="1193483" y="827723"/>
                      <a:pt x="1200150" y="827723"/>
                      <a:pt x="1213485" y="827723"/>
                    </a:cubicBezTo>
                    <a:cubicBezTo>
                      <a:pt x="1226820" y="827723"/>
                      <a:pt x="1235393" y="827723"/>
                      <a:pt x="1235393" y="827723"/>
                    </a:cubicBezTo>
                    <a:lnTo>
                      <a:pt x="1250633" y="826770"/>
                    </a:lnTo>
                    <a:cubicBezTo>
                      <a:pt x="1250633" y="826770"/>
                      <a:pt x="1265873" y="823913"/>
                      <a:pt x="1272540" y="826770"/>
                    </a:cubicBezTo>
                    <a:cubicBezTo>
                      <a:pt x="1279208" y="829627"/>
                      <a:pt x="1279208" y="829627"/>
                      <a:pt x="1279208" y="829627"/>
                    </a:cubicBezTo>
                    <a:cubicBezTo>
                      <a:pt x="1279208" y="829627"/>
                      <a:pt x="1283970" y="828675"/>
                      <a:pt x="1290638" y="829627"/>
                    </a:cubicBezTo>
                    <a:cubicBezTo>
                      <a:pt x="1297305" y="831533"/>
                      <a:pt x="1292543" y="825818"/>
                      <a:pt x="1297305" y="831533"/>
                    </a:cubicBezTo>
                    <a:cubicBezTo>
                      <a:pt x="1302068" y="837248"/>
                      <a:pt x="1288733" y="828675"/>
                      <a:pt x="1302068" y="837248"/>
                    </a:cubicBezTo>
                    <a:cubicBezTo>
                      <a:pt x="1315403" y="845820"/>
                      <a:pt x="1323975" y="853440"/>
                      <a:pt x="1323975" y="853440"/>
                    </a:cubicBezTo>
                    <a:lnTo>
                      <a:pt x="1341120" y="853440"/>
                    </a:lnTo>
                    <a:lnTo>
                      <a:pt x="1354455" y="855345"/>
                    </a:lnTo>
                    <a:lnTo>
                      <a:pt x="1369695" y="863918"/>
                    </a:lnTo>
                    <a:lnTo>
                      <a:pt x="1383030" y="869633"/>
                    </a:lnTo>
                    <a:lnTo>
                      <a:pt x="1391603" y="875348"/>
                    </a:lnTo>
                    <a:lnTo>
                      <a:pt x="1402080" y="885825"/>
                    </a:lnTo>
                    <a:cubicBezTo>
                      <a:pt x="1402080" y="885825"/>
                      <a:pt x="1406843" y="887730"/>
                      <a:pt x="1410653" y="891540"/>
                    </a:cubicBezTo>
                    <a:cubicBezTo>
                      <a:pt x="1415415" y="896302"/>
                      <a:pt x="1423988" y="900113"/>
                      <a:pt x="1423988" y="900113"/>
                    </a:cubicBezTo>
                    <a:lnTo>
                      <a:pt x="1435418" y="902970"/>
                    </a:lnTo>
                    <a:cubicBezTo>
                      <a:pt x="1435418" y="902970"/>
                      <a:pt x="1437323" y="905827"/>
                      <a:pt x="1437323" y="909638"/>
                    </a:cubicBezTo>
                    <a:cubicBezTo>
                      <a:pt x="1437323" y="913448"/>
                      <a:pt x="1423988" y="906780"/>
                      <a:pt x="1437323" y="913448"/>
                    </a:cubicBezTo>
                    <a:cubicBezTo>
                      <a:pt x="1450658" y="921068"/>
                      <a:pt x="1450658" y="921068"/>
                      <a:pt x="1450658" y="921068"/>
                    </a:cubicBezTo>
                    <a:cubicBezTo>
                      <a:pt x="1450658" y="921068"/>
                      <a:pt x="1452563" y="921068"/>
                      <a:pt x="1459230" y="923925"/>
                    </a:cubicBezTo>
                    <a:cubicBezTo>
                      <a:pt x="1465898" y="926783"/>
                      <a:pt x="1481138" y="923925"/>
                      <a:pt x="1481138" y="923925"/>
                    </a:cubicBezTo>
                    <a:lnTo>
                      <a:pt x="1489710" y="923925"/>
                    </a:lnTo>
                    <a:lnTo>
                      <a:pt x="1498283" y="922973"/>
                    </a:lnTo>
                    <a:lnTo>
                      <a:pt x="1506855" y="922973"/>
                    </a:lnTo>
                    <a:lnTo>
                      <a:pt x="1520190" y="922973"/>
                    </a:lnTo>
                    <a:lnTo>
                      <a:pt x="1533525" y="922973"/>
                    </a:lnTo>
                    <a:lnTo>
                      <a:pt x="1550670" y="922973"/>
                    </a:lnTo>
                    <a:lnTo>
                      <a:pt x="1547813" y="938213"/>
                    </a:lnTo>
                    <a:lnTo>
                      <a:pt x="1547813" y="955358"/>
                    </a:lnTo>
                    <a:cubicBezTo>
                      <a:pt x="1547813" y="955358"/>
                      <a:pt x="1543050" y="961073"/>
                      <a:pt x="1544955" y="964883"/>
                    </a:cubicBezTo>
                    <a:cubicBezTo>
                      <a:pt x="1546860" y="968693"/>
                      <a:pt x="1546860" y="968693"/>
                      <a:pt x="1546860" y="968693"/>
                    </a:cubicBezTo>
                    <a:cubicBezTo>
                      <a:pt x="1546860" y="968693"/>
                      <a:pt x="1544955" y="971550"/>
                      <a:pt x="1542098" y="975360"/>
                    </a:cubicBezTo>
                    <a:cubicBezTo>
                      <a:pt x="1540193" y="979170"/>
                      <a:pt x="1533525" y="979170"/>
                      <a:pt x="1528763" y="984885"/>
                    </a:cubicBezTo>
                    <a:cubicBezTo>
                      <a:pt x="1524000" y="990600"/>
                      <a:pt x="1508760" y="990600"/>
                      <a:pt x="1508760" y="994410"/>
                    </a:cubicBezTo>
                    <a:cubicBezTo>
                      <a:pt x="1508760" y="998220"/>
                      <a:pt x="1508760" y="998220"/>
                      <a:pt x="1508760" y="998220"/>
                    </a:cubicBezTo>
                    <a:cubicBezTo>
                      <a:pt x="1508760" y="998220"/>
                      <a:pt x="1495425" y="1003935"/>
                      <a:pt x="1495425" y="1007745"/>
                    </a:cubicBezTo>
                    <a:cubicBezTo>
                      <a:pt x="1495425" y="1011555"/>
                      <a:pt x="1482090" y="1016318"/>
                      <a:pt x="1482090" y="1016318"/>
                    </a:cubicBezTo>
                    <a:lnTo>
                      <a:pt x="1479233" y="1031557"/>
                    </a:lnTo>
                    <a:lnTo>
                      <a:pt x="1485900" y="1043940"/>
                    </a:lnTo>
                    <a:cubicBezTo>
                      <a:pt x="1485900" y="1049655"/>
                      <a:pt x="1483995" y="1049655"/>
                      <a:pt x="1483043" y="1055370"/>
                    </a:cubicBezTo>
                    <a:cubicBezTo>
                      <a:pt x="1483043" y="1061085"/>
                      <a:pt x="1483043" y="1061085"/>
                      <a:pt x="1483043" y="1061085"/>
                    </a:cubicBezTo>
                    <a:cubicBezTo>
                      <a:pt x="1483043" y="1061085"/>
                      <a:pt x="1480185" y="1070610"/>
                      <a:pt x="1483043" y="1075373"/>
                    </a:cubicBezTo>
                    <a:cubicBezTo>
                      <a:pt x="1484948" y="1079183"/>
                      <a:pt x="1474470" y="1075373"/>
                      <a:pt x="1484948" y="1079183"/>
                    </a:cubicBezTo>
                    <a:cubicBezTo>
                      <a:pt x="1495425" y="1083945"/>
                      <a:pt x="1495425" y="1083945"/>
                      <a:pt x="1495425" y="1083945"/>
                    </a:cubicBezTo>
                    <a:cubicBezTo>
                      <a:pt x="1495425" y="1083945"/>
                      <a:pt x="1506855" y="1085850"/>
                      <a:pt x="1508760" y="1091565"/>
                    </a:cubicBezTo>
                    <a:cubicBezTo>
                      <a:pt x="1510665" y="1097280"/>
                      <a:pt x="1508760" y="1095375"/>
                      <a:pt x="1515428" y="1103948"/>
                    </a:cubicBezTo>
                    <a:cubicBezTo>
                      <a:pt x="1522095" y="1112520"/>
                      <a:pt x="1515428" y="1110615"/>
                      <a:pt x="1524000" y="1118235"/>
                    </a:cubicBezTo>
                    <a:cubicBezTo>
                      <a:pt x="1532573" y="1125855"/>
                      <a:pt x="1547813" y="1141095"/>
                      <a:pt x="1547813" y="1141095"/>
                    </a:cubicBezTo>
                    <a:cubicBezTo>
                      <a:pt x="1547813" y="1141095"/>
                      <a:pt x="1552575" y="1143000"/>
                      <a:pt x="1554480" y="1146810"/>
                    </a:cubicBezTo>
                    <a:cubicBezTo>
                      <a:pt x="1556385" y="1150620"/>
                      <a:pt x="1541145" y="1139190"/>
                      <a:pt x="1556385" y="1150620"/>
                    </a:cubicBezTo>
                    <a:cubicBezTo>
                      <a:pt x="1571625" y="1162050"/>
                      <a:pt x="1569720" y="1155383"/>
                      <a:pt x="1571625" y="1162050"/>
                    </a:cubicBezTo>
                    <a:cubicBezTo>
                      <a:pt x="1573530" y="1168718"/>
                      <a:pt x="1582103" y="1169670"/>
                      <a:pt x="1586865" y="1173480"/>
                    </a:cubicBezTo>
                    <a:cubicBezTo>
                      <a:pt x="1591628" y="1178243"/>
                      <a:pt x="1600200" y="1181100"/>
                      <a:pt x="1600200" y="1181100"/>
                    </a:cubicBezTo>
                    <a:lnTo>
                      <a:pt x="1608773" y="1183958"/>
                    </a:lnTo>
                    <a:lnTo>
                      <a:pt x="1624013" y="1191578"/>
                    </a:lnTo>
                    <a:lnTo>
                      <a:pt x="1634490" y="1197293"/>
                    </a:lnTo>
                    <a:lnTo>
                      <a:pt x="1651635" y="1204913"/>
                    </a:lnTo>
                    <a:cubicBezTo>
                      <a:pt x="1651635" y="1204913"/>
                      <a:pt x="1651635" y="1204913"/>
                      <a:pt x="1655445" y="1210628"/>
                    </a:cubicBezTo>
                    <a:cubicBezTo>
                      <a:pt x="1659255" y="1216343"/>
                      <a:pt x="1660208" y="1210628"/>
                      <a:pt x="1659255" y="1216343"/>
                    </a:cubicBezTo>
                    <a:cubicBezTo>
                      <a:pt x="1659255" y="1217295"/>
                      <a:pt x="1659255" y="1218248"/>
                      <a:pt x="1659255" y="1218248"/>
                    </a:cubicBezTo>
                    <a:cubicBezTo>
                      <a:pt x="1659255" y="1218248"/>
                      <a:pt x="1659255" y="1218248"/>
                      <a:pt x="1659255" y="1218248"/>
                    </a:cubicBezTo>
                    <a:cubicBezTo>
                      <a:pt x="1659255" y="1218248"/>
                      <a:pt x="1659255" y="1219200"/>
                      <a:pt x="1659255" y="1221105"/>
                    </a:cubicBezTo>
                    <a:cubicBezTo>
                      <a:pt x="1659255" y="1227773"/>
                      <a:pt x="1663065" y="1259205"/>
                      <a:pt x="1663065" y="1259205"/>
                    </a:cubicBezTo>
                    <a:cubicBezTo>
                      <a:pt x="1663065" y="1259205"/>
                      <a:pt x="1663065" y="1262063"/>
                      <a:pt x="1664970" y="1273493"/>
                    </a:cubicBezTo>
                    <a:cubicBezTo>
                      <a:pt x="1666875" y="1284923"/>
                      <a:pt x="1664970" y="1293495"/>
                      <a:pt x="1664970" y="1293495"/>
                    </a:cubicBezTo>
                    <a:cubicBezTo>
                      <a:pt x="1664970" y="1293495"/>
                      <a:pt x="1663065" y="1291590"/>
                      <a:pt x="1664970" y="1299210"/>
                    </a:cubicBezTo>
                    <a:cubicBezTo>
                      <a:pt x="1666875" y="1305878"/>
                      <a:pt x="1662113" y="1308735"/>
                      <a:pt x="1664970" y="1313498"/>
                    </a:cubicBezTo>
                    <a:cubicBezTo>
                      <a:pt x="1666875" y="1317308"/>
                      <a:pt x="1671638" y="1309688"/>
                      <a:pt x="1666875" y="1317308"/>
                    </a:cubicBezTo>
                    <a:cubicBezTo>
                      <a:pt x="1662113" y="1325880"/>
                      <a:pt x="1660208" y="1328738"/>
                      <a:pt x="1657350" y="1332548"/>
                    </a:cubicBezTo>
                    <a:cubicBezTo>
                      <a:pt x="1655445" y="1336358"/>
                      <a:pt x="1655445" y="1336358"/>
                      <a:pt x="1655445" y="1336358"/>
                    </a:cubicBezTo>
                    <a:lnTo>
                      <a:pt x="1646873" y="1345883"/>
                    </a:lnTo>
                    <a:lnTo>
                      <a:pt x="1642110" y="1351598"/>
                    </a:lnTo>
                    <a:cubicBezTo>
                      <a:pt x="1639253" y="1360170"/>
                      <a:pt x="1639253" y="1360170"/>
                      <a:pt x="1639253" y="1360170"/>
                    </a:cubicBezTo>
                    <a:lnTo>
                      <a:pt x="1637348" y="1365885"/>
                    </a:lnTo>
                    <a:lnTo>
                      <a:pt x="1644015" y="1375410"/>
                    </a:lnTo>
                    <a:cubicBezTo>
                      <a:pt x="1644015" y="1375410"/>
                      <a:pt x="1644015" y="1379220"/>
                      <a:pt x="1644015" y="1383983"/>
                    </a:cubicBezTo>
                    <a:cubicBezTo>
                      <a:pt x="1644015" y="1387793"/>
                      <a:pt x="1644015" y="1387793"/>
                      <a:pt x="1644015" y="1387793"/>
                    </a:cubicBezTo>
                    <a:cubicBezTo>
                      <a:pt x="1644015" y="1387793"/>
                      <a:pt x="1637348" y="1387793"/>
                      <a:pt x="1635443" y="1391603"/>
                    </a:cubicBezTo>
                    <a:cubicBezTo>
                      <a:pt x="1633538" y="1395413"/>
                      <a:pt x="1637348" y="1388745"/>
                      <a:pt x="1633538" y="1395413"/>
                    </a:cubicBezTo>
                    <a:cubicBezTo>
                      <a:pt x="1628775" y="1402080"/>
                      <a:pt x="1628775" y="1402080"/>
                      <a:pt x="1628775" y="1402080"/>
                    </a:cubicBezTo>
                    <a:lnTo>
                      <a:pt x="1622108" y="1407795"/>
                    </a:lnTo>
                    <a:cubicBezTo>
                      <a:pt x="1622108" y="1407795"/>
                      <a:pt x="1612583" y="1423035"/>
                      <a:pt x="1612583" y="1427798"/>
                    </a:cubicBezTo>
                    <a:cubicBezTo>
                      <a:pt x="1612583" y="1431608"/>
                      <a:pt x="1614488" y="1448753"/>
                      <a:pt x="1614488" y="1448753"/>
                    </a:cubicBezTo>
                    <a:cubicBezTo>
                      <a:pt x="1614488" y="1448753"/>
                      <a:pt x="1616393" y="1463040"/>
                      <a:pt x="1616393" y="1468755"/>
                    </a:cubicBezTo>
                    <a:cubicBezTo>
                      <a:pt x="1616393" y="1474470"/>
                      <a:pt x="1613535" y="1480185"/>
                      <a:pt x="1613535" y="1480185"/>
                    </a:cubicBezTo>
                    <a:lnTo>
                      <a:pt x="1602105" y="1486853"/>
                    </a:lnTo>
                    <a:lnTo>
                      <a:pt x="1593533" y="1490663"/>
                    </a:lnTo>
                    <a:lnTo>
                      <a:pt x="1588770" y="1497330"/>
                    </a:lnTo>
                    <a:lnTo>
                      <a:pt x="1597343" y="1503045"/>
                    </a:lnTo>
                    <a:lnTo>
                      <a:pt x="1599248" y="1523048"/>
                    </a:lnTo>
                    <a:lnTo>
                      <a:pt x="1601153" y="1529715"/>
                    </a:lnTo>
                    <a:lnTo>
                      <a:pt x="1601153" y="1535430"/>
                    </a:lnTo>
                    <a:cubicBezTo>
                      <a:pt x="1594485" y="1541145"/>
                      <a:pt x="1585913" y="1542098"/>
                      <a:pt x="1585913" y="1542098"/>
                    </a:cubicBezTo>
                    <a:cubicBezTo>
                      <a:pt x="1585913" y="1547813"/>
                      <a:pt x="1574483" y="1564958"/>
                      <a:pt x="1574483" y="1564958"/>
                    </a:cubicBezTo>
                    <a:cubicBezTo>
                      <a:pt x="1574483" y="1564958"/>
                      <a:pt x="1574483" y="1568768"/>
                      <a:pt x="1578293" y="1573530"/>
                    </a:cubicBezTo>
                    <a:cubicBezTo>
                      <a:pt x="1583055" y="1577340"/>
                      <a:pt x="1584960" y="1579245"/>
                      <a:pt x="1584960" y="1583055"/>
                    </a:cubicBezTo>
                    <a:cubicBezTo>
                      <a:pt x="1584960" y="1586865"/>
                      <a:pt x="1583055" y="1580198"/>
                      <a:pt x="1584960" y="1586865"/>
                    </a:cubicBezTo>
                    <a:cubicBezTo>
                      <a:pt x="1586865" y="1593533"/>
                      <a:pt x="1586865" y="1593533"/>
                      <a:pt x="1586865" y="1593533"/>
                    </a:cubicBezTo>
                    <a:cubicBezTo>
                      <a:pt x="1586865" y="1593533"/>
                      <a:pt x="1582103" y="1597343"/>
                      <a:pt x="1586865" y="1602105"/>
                    </a:cubicBezTo>
                    <a:cubicBezTo>
                      <a:pt x="1590675" y="1605915"/>
                      <a:pt x="1586865" y="1610678"/>
                      <a:pt x="1586865" y="1614488"/>
                    </a:cubicBezTo>
                    <a:cubicBezTo>
                      <a:pt x="1586865" y="1618298"/>
                      <a:pt x="1576388" y="1609725"/>
                      <a:pt x="1586865" y="1618298"/>
                    </a:cubicBezTo>
                    <a:cubicBezTo>
                      <a:pt x="1597343" y="1626870"/>
                      <a:pt x="1600200" y="1632585"/>
                      <a:pt x="1600200" y="1632585"/>
                    </a:cubicBezTo>
                    <a:cubicBezTo>
                      <a:pt x="1600200" y="1632585"/>
                      <a:pt x="1604010" y="1638300"/>
                      <a:pt x="1610678" y="1642110"/>
                    </a:cubicBezTo>
                    <a:cubicBezTo>
                      <a:pt x="1617345" y="1646873"/>
                      <a:pt x="1607820" y="1656398"/>
                      <a:pt x="1607820" y="1656398"/>
                    </a:cubicBezTo>
                    <a:lnTo>
                      <a:pt x="1611630" y="1662113"/>
                    </a:lnTo>
                    <a:cubicBezTo>
                      <a:pt x="1611630" y="1662113"/>
                      <a:pt x="1604963" y="1663065"/>
                      <a:pt x="1615440" y="1668780"/>
                    </a:cubicBezTo>
                    <a:cubicBezTo>
                      <a:pt x="1625918" y="1674495"/>
                      <a:pt x="1637348" y="1679258"/>
                      <a:pt x="1637348" y="1679258"/>
                    </a:cubicBezTo>
                    <a:lnTo>
                      <a:pt x="1652588" y="1682115"/>
                    </a:lnTo>
                    <a:cubicBezTo>
                      <a:pt x="1652588" y="1682115"/>
                      <a:pt x="1645920" y="1678305"/>
                      <a:pt x="1661160" y="1682115"/>
                    </a:cubicBezTo>
                    <a:cubicBezTo>
                      <a:pt x="1676400" y="1686878"/>
                      <a:pt x="1678305" y="1684020"/>
                      <a:pt x="1689735" y="1684973"/>
                    </a:cubicBezTo>
                    <a:cubicBezTo>
                      <a:pt x="1701165" y="1686878"/>
                      <a:pt x="1704975" y="1687830"/>
                      <a:pt x="1711643" y="1684973"/>
                    </a:cubicBezTo>
                    <a:cubicBezTo>
                      <a:pt x="1718310" y="1682115"/>
                      <a:pt x="1718310" y="1682115"/>
                      <a:pt x="1718310" y="1682115"/>
                    </a:cubicBezTo>
                    <a:lnTo>
                      <a:pt x="1726883" y="1676400"/>
                    </a:lnTo>
                    <a:lnTo>
                      <a:pt x="1728788" y="1670685"/>
                    </a:lnTo>
                    <a:lnTo>
                      <a:pt x="1713548" y="1667828"/>
                    </a:lnTo>
                    <a:lnTo>
                      <a:pt x="1700213" y="1662113"/>
                    </a:lnTo>
                    <a:lnTo>
                      <a:pt x="1683068" y="1644968"/>
                    </a:lnTo>
                    <a:lnTo>
                      <a:pt x="1681163" y="1633538"/>
                    </a:lnTo>
                    <a:lnTo>
                      <a:pt x="1684020" y="1619250"/>
                    </a:lnTo>
                    <a:lnTo>
                      <a:pt x="1690688" y="1609725"/>
                    </a:lnTo>
                    <a:lnTo>
                      <a:pt x="1702118" y="1597343"/>
                    </a:lnTo>
                    <a:lnTo>
                      <a:pt x="1710690" y="1591628"/>
                    </a:lnTo>
                    <a:lnTo>
                      <a:pt x="1725930" y="1585913"/>
                    </a:lnTo>
                    <a:lnTo>
                      <a:pt x="1734503" y="1579245"/>
                    </a:lnTo>
                    <a:lnTo>
                      <a:pt x="1734503" y="1573530"/>
                    </a:lnTo>
                    <a:lnTo>
                      <a:pt x="1734503" y="1567815"/>
                    </a:lnTo>
                    <a:lnTo>
                      <a:pt x="1727835" y="1562100"/>
                    </a:lnTo>
                    <a:lnTo>
                      <a:pt x="1725930" y="1552575"/>
                    </a:lnTo>
                    <a:lnTo>
                      <a:pt x="1725930" y="1545908"/>
                    </a:lnTo>
                    <a:lnTo>
                      <a:pt x="1727835" y="1540193"/>
                    </a:lnTo>
                    <a:lnTo>
                      <a:pt x="1745933" y="1528763"/>
                    </a:lnTo>
                    <a:lnTo>
                      <a:pt x="1752600" y="1523048"/>
                    </a:lnTo>
                    <a:lnTo>
                      <a:pt x="1757363" y="1511618"/>
                    </a:lnTo>
                    <a:lnTo>
                      <a:pt x="1759268" y="1504950"/>
                    </a:lnTo>
                    <a:lnTo>
                      <a:pt x="1764030" y="1499235"/>
                    </a:lnTo>
                    <a:lnTo>
                      <a:pt x="1768793" y="1490663"/>
                    </a:lnTo>
                    <a:lnTo>
                      <a:pt x="1770698" y="1484948"/>
                    </a:lnTo>
                    <a:lnTo>
                      <a:pt x="1779270" y="1482090"/>
                    </a:lnTo>
                    <a:lnTo>
                      <a:pt x="1787843" y="1479233"/>
                    </a:lnTo>
                    <a:cubicBezTo>
                      <a:pt x="1787843" y="1479233"/>
                      <a:pt x="1789748" y="1475423"/>
                      <a:pt x="1796415" y="1470660"/>
                    </a:cubicBezTo>
                    <a:cubicBezTo>
                      <a:pt x="1803083" y="1466850"/>
                      <a:pt x="1803083" y="1466850"/>
                      <a:pt x="1803083" y="1466850"/>
                    </a:cubicBezTo>
                    <a:lnTo>
                      <a:pt x="1807845" y="1460183"/>
                    </a:lnTo>
                    <a:lnTo>
                      <a:pt x="1823085" y="1460183"/>
                    </a:lnTo>
                    <a:cubicBezTo>
                      <a:pt x="1823085" y="1460183"/>
                      <a:pt x="1834515" y="1460183"/>
                      <a:pt x="1841183" y="1459230"/>
                    </a:cubicBezTo>
                    <a:cubicBezTo>
                      <a:pt x="1847850" y="1458278"/>
                      <a:pt x="1834515" y="1463040"/>
                      <a:pt x="1847850" y="1458278"/>
                    </a:cubicBezTo>
                    <a:cubicBezTo>
                      <a:pt x="1861185" y="1452563"/>
                      <a:pt x="1861185" y="1452563"/>
                      <a:pt x="1861185" y="1452563"/>
                    </a:cubicBezTo>
                    <a:lnTo>
                      <a:pt x="1883093" y="1445895"/>
                    </a:lnTo>
                    <a:lnTo>
                      <a:pt x="1892618" y="1434465"/>
                    </a:lnTo>
                    <a:lnTo>
                      <a:pt x="1892618" y="1422083"/>
                    </a:lnTo>
                    <a:lnTo>
                      <a:pt x="1901190" y="1413510"/>
                    </a:lnTo>
                    <a:lnTo>
                      <a:pt x="1905953" y="1407795"/>
                    </a:lnTo>
                    <a:lnTo>
                      <a:pt x="1919288" y="1406843"/>
                    </a:lnTo>
                    <a:lnTo>
                      <a:pt x="1927860" y="1408748"/>
                    </a:lnTo>
                    <a:lnTo>
                      <a:pt x="1943100" y="1403033"/>
                    </a:lnTo>
                    <a:lnTo>
                      <a:pt x="1951673" y="1397318"/>
                    </a:lnTo>
                    <a:lnTo>
                      <a:pt x="1965008" y="1387793"/>
                    </a:lnTo>
                    <a:lnTo>
                      <a:pt x="1980248" y="1376363"/>
                    </a:lnTo>
                    <a:lnTo>
                      <a:pt x="1980248" y="1370648"/>
                    </a:lnTo>
                    <a:cubicBezTo>
                      <a:pt x="1980248" y="1370648"/>
                      <a:pt x="1985010" y="1361123"/>
                      <a:pt x="1991678" y="1358265"/>
                    </a:cubicBezTo>
                    <a:cubicBezTo>
                      <a:pt x="1998345" y="1355408"/>
                      <a:pt x="1993583" y="1351598"/>
                      <a:pt x="2003108" y="1349693"/>
                    </a:cubicBezTo>
                    <a:cubicBezTo>
                      <a:pt x="2011680" y="1348740"/>
                      <a:pt x="2021205" y="1343978"/>
                      <a:pt x="2021205" y="1343978"/>
                    </a:cubicBezTo>
                    <a:lnTo>
                      <a:pt x="2032635" y="1334453"/>
                    </a:lnTo>
                    <a:lnTo>
                      <a:pt x="2034540" y="1327785"/>
                    </a:lnTo>
                    <a:lnTo>
                      <a:pt x="2034540" y="1319213"/>
                    </a:lnTo>
                    <a:lnTo>
                      <a:pt x="2045970" y="1306830"/>
                    </a:lnTo>
                    <a:lnTo>
                      <a:pt x="2047875" y="1301115"/>
                    </a:lnTo>
                    <a:cubicBezTo>
                      <a:pt x="2047875" y="1301115"/>
                      <a:pt x="2047875" y="1295400"/>
                      <a:pt x="2054543" y="1294448"/>
                    </a:cubicBezTo>
                    <a:cubicBezTo>
                      <a:pt x="2061210" y="1293495"/>
                      <a:pt x="2061210" y="1293495"/>
                      <a:pt x="2061210" y="1293495"/>
                    </a:cubicBezTo>
                    <a:cubicBezTo>
                      <a:pt x="2061210" y="1293495"/>
                      <a:pt x="2063115" y="1286828"/>
                      <a:pt x="2069783" y="1284923"/>
                    </a:cubicBezTo>
                    <a:cubicBezTo>
                      <a:pt x="2076450" y="1283970"/>
                      <a:pt x="2063115" y="1287780"/>
                      <a:pt x="2076450" y="1283970"/>
                    </a:cubicBezTo>
                    <a:cubicBezTo>
                      <a:pt x="2089785" y="1280160"/>
                      <a:pt x="2083118" y="1275398"/>
                      <a:pt x="2096453" y="1274445"/>
                    </a:cubicBezTo>
                    <a:cubicBezTo>
                      <a:pt x="2109788" y="1273493"/>
                      <a:pt x="2121218" y="1270635"/>
                      <a:pt x="2121218" y="1270635"/>
                    </a:cubicBezTo>
                    <a:lnTo>
                      <a:pt x="2132648" y="1266825"/>
                    </a:lnTo>
                    <a:cubicBezTo>
                      <a:pt x="2132648" y="1266825"/>
                      <a:pt x="2144078" y="1263015"/>
                      <a:pt x="2152650" y="1261110"/>
                    </a:cubicBezTo>
                    <a:cubicBezTo>
                      <a:pt x="2161223" y="1260158"/>
                      <a:pt x="2174558" y="1252538"/>
                      <a:pt x="2174558" y="1252538"/>
                    </a:cubicBezTo>
                    <a:lnTo>
                      <a:pt x="2181225" y="1245870"/>
                    </a:lnTo>
                    <a:lnTo>
                      <a:pt x="2187893" y="1236345"/>
                    </a:lnTo>
                    <a:lnTo>
                      <a:pt x="2201228" y="1224915"/>
                    </a:lnTo>
                    <a:lnTo>
                      <a:pt x="2204085" y="1203960"/>
                    </a:lnTo>
                    <a:lnTo>
                      <a:pt x="2206943" y="1194435"/>
                    </a:lnTo>
                    <a:lnTo>
                      <a:pt x="2216468" y="1182053"/>
                    </a:lnTo>
                    <a:lnTo>
                      <a:pt x="2216468" y="1172528"/>
                    </a:lnTo>
                    <a:lnTo>
                      <a:pt x="2214563" y="1165860"/>
                    </a:lnTo>
                    <a:lnTo>
                      <a:pt x="2214563" y="1160145"/>
                    </a:lnTo>
                    <a:cubicBezTo>
                      <a:pt x="2214563" y="1160145"/>
                      <a:pt x="2221230" y="1156335"/>
                      <a:pt x="2225993" y="1151573"/>
                    </a:cubicBezTo>
                    <a:cubicBezTo>
                      <a:pt x="2230755" y="1147763"/>
                      <a:pt x="2237423" y="1127760"/>
                      <a:pt x="2237423" y="1127760"/>
                    </a:cubicBezTo>
                    <a:lnTo>
                      <a:pt x="2235518" y="1113473"/>
                    </a:lnTo>
                    <a:lnTo>
                      <a:pt x="2242185" y="1098233"/>
                    </a:lnTo>
                    <a:close/>
                    <a:moveTo>
                      <a:pt x="1526858" y="497205"/>
                    </a:moveTo>
                    <a:lnTo>
                      <a:pt x="1528763" y="494348"/>
                    </a:lnTo>
                    <a:lnTo>
                      <a:pt x="1531620" y="491490"/>
                    </a:lnTo>
                    <a:lnTo>
                      <a:pt x="1540193" y="491490"/>
                    </a:lnTo>
                    <a:lnTo>
                      <a:pt x="1545908" y="490537"/>
                    </a:lnTo>
                    <a:lnTo>
                      <a:pt x="1553528" y="490537"/>
                    </a:lnTo>
                    <a:lnTo>
                      <a:pt x="1561148" y="490537"/>
                    </a:lnTo>
                    <a:lnTo>
                      <a:pt x="1576388" y="489585"/>
                    </a:lnTo>
                    <a:lnTo>
                      <a:pt x="1578293" y="493395"/>
                    </a:lnTo>
                    <a:lnTo>
                      <a:pt x="1578293" y="494348"/>
                    </a:lnTo>
                    <a:lnTo>
                      <a:pt x="1576388" y="497205"/>
                    </a:lnTo>
                    <a:cubicBezTo>
                      <a:pt x="1576388" y="497205"/>
                      <a:pt x="1573530" y="498158"/>
                      <a:pt x="1571625" y="498158"/>
                    </a:cubicBezTo>
                    <a:cubicBezTo>
                      <a:pt x="1569720" y="498158"/>
                      <a:pt x="1565910" y="499110"/>
                      <a:pt x="1564005" y="499110"/>
                    </a:cubicBezTo>
                    <a:cubicBezTo>
                      <a:pt x="1562100" y="499110"/>
                      <a:pt x="1558290" y="500062"/>
                      <a:pt x="1557338" y="500062"/>
                    </a:cubicBezTo>
                    <a:cubicBezTo>
                      <a:pt x="1555433" y="500062"/>
                      <a:pt x="1550670" y="501015"/>
                      <a:pt x="1550670" y="501015"/>
                    </a:cubicBezTo>
                    <a:cubicBezTo>
                      <a:pt x="1550670" y="501015"/>
                      <a:pt x="1541145" y="501968"/>
                      <a:pt x="1539240" y="501968"/>
                    </a:cubicBezTo>
                    <a:cubicBezTo>
                      <a:pt x="1537335" y="501968"/>
                      <a:pt x="1534478" y="502920"/>
                      <a:pt x="1534478" y="502920"/>
                    </a:cubicBezTo>
                    <a:lnTo>
                      <a:pt x="1528763" y="503873"/>
                    </a:lnTo>
                    <a:cubicBezTo>
                      <a:pt x="1528763" y="503873"/>
                      <a:pt x="1524000" y="507683"/>
                      <a:pt x="1521143" y="508635"/>
                    </a:cubicBezTo>
                    <a:cubicBezTo>
                      <a:pt x="1519238" y="508635"/>
                      <a:pt x="1515428" y="513398"/>
                      <a:pt x="1510665" y="514350"/>
                    </a:cubicBezTo>
                    <a:cubicBezTo>
                      <a:pt x="1505903" y="515302"/>
                      <a:pt x="1510665" y="514350"/>
                      <a:pt x="1501140" y="515302"/>
                    </a:cubicBezTo>
                    <a:cubicBezTo>
                      <a:pt x="1495425" y="516255"/>
                      <a:pt x="1495425" y="516255"/>
                      <a:pt x="1495425" y="516255"/>
                    </a:cubicBezTo>
                    <a:cubicBezTo>
                      <a:pt x="1495425" y="516255"/>
                      <a:pt x="1495425" y="516255"/>
                      <a:pt x="1495425" y="516255"/>
                    </a:cubicBezTo>
                    <a:cubicBezTo>
                      <a:pt x="1496378" y="516255"/>
                      <a:pt x="1495425" y="516255"/>
                      <a:pt x="1495425" y="516255"/>
                    </a:cubicBezTo>
                    <a:cubicBezTo>
                      <a:pt x="1493520" y="516255"/>
                      <a:pt x="1483995" y="518160"/>
                      <a:pt x="1483995" y="518160"/>
                    </a:cubicBezTo>
                    <a:lnTo>
                      <a:pt x="1474470" y="516255"/>
                    </a:lnTo>
                    <a:lnTo>
                      <a:pt x="1467803" y="514350"/>
                    </a:lnTo>
                    <a:cubicBezTo>
                      <a:pt x="1467803" y="514350"/>
                      <a:pt x="1466850" y="511493"/>
                      <a:pt x="1467803" y="510540"/>
                    </a:cubicBezTo>
                    <a:cubicBezTo>
                      <a:pt x="1468755" y="509587"/>
                      <a:pt x="1470660" y="504825"/>
                      <a:pt x="1471613" y="503873"/>
                    </a:cubicBezTo>
                    <a:cubicBezTo>
                      <a:pt x="1472565" y="502920"/>
                      <a:pt x="1477328" y="502920"/>
                      <a:pt x="1477328" y="502920"/>
                    </a:cubicBezTo>
                    <a:lnTo>
                      <a:pt x="1488758" y="502920"/>
                    </a:lnTo>
                    <a:lnTo>
                      <a:pt x="1491615" y="502920"/>
                    </a:lnTo>
                    <a:lnTo>
                      <a:pt x="1502093" y="502920"/>
                    </a:lnTo>
                    <a:cubicBezTo>
                      <a:pt x="1502093" y="502920"/>
                      <a:pt x="1507808" y="501968"/>
                      <a:pt x="1509713" y="501968"/>
                    </a:cubicBezTo>
                    <a:cubicBezTo>
                      <a:pt x="1511618" y="501968"/>
                      <a:pt x="1516380" y="501968"/>
                      <a:pt x="1518285" y="501015"/>
                    </a:cubicBezTo>
                    <a:cubicBezTo>
                      <a:pt x="1520190" y="500062"/>
                      <a:pt x="1524000" y="498158"/>
                      <a:pt x="1524000" y="498158"/>
                    </a:cubicBezTo>
                    <a:lnTo>
                      <a:pt x="1526858" y="497205"/>
                    </a:lnTo>
                    <a:close/>
                    <a:moveTo>
                      <a:pt x="1446848" y="462915"/>
                    </a:moveTo>
                    <a:cubicBezTo>
                      <a:pt x="1448753" y="462915"/>
                      <a:pt x="1453515" y="462915"/>
                      <a:pt x="1453515" y="462915"/>
                    </a:cubicBezTo>
                    <a:cubicBezTo>
                      <a:pt x="1453515" y="462915"/>
                      <a:pt x="1462088" y="462915"/>
                      <a:pt x="1463993" y="462915"/>
                    </a:cubicBezTo>
                    <a:cubicBezTo>
                      <a:pt x="1465898" y="462915"/>
                      <a:pt x="1468755" y="461962"/>
                      <a:pt x="1468755" y="461962"/>
                    </a:cubicBezTo>
                    <a:lnTo>
                      <a:pt x="1479233" y="461010"/>
                    </a:lnTo>
                    <a:cubicBezTo>
                      <a:pt x="1479233" y="461010"/>
                      <a:pt x="1488758" y="460058"/>
                      <a:pt x="1490663" y="460058"/>
                    </a:cubicBezTo>
                    <a:cubicBezTo>
                      <a:pt x="1492568" y="460058"/>
                      <a:pt x="1502093" y="461010"/>
                      <a:pt x="1502093" y="461010"/>
                    </a:cubicBezTo>
                    <a:lnTo>
                      <a:pt x="1513523" y="461010"/>
                    </a:lnTo>
                    <a:lnTo>
                      <a:pt x="1515428" y="466725"/>
                    </a:lnTo>
                    <a:cubicBezTo>
                      <a:pt x="1515428" y="466725"/>
                      <a:pt x="1515428" y="466725"/>
                      <a:pt x="1518285" y="466725"/>
                    </a:cubicBezTo>
                    <a:lnTo>
                      <a:pt x="1521143" y="467677"/>
                    </a:lnTo>
                    <a:lnTo>
                      <a:pt x="1520190" y="469583"/>
                    </a:lnTo>
                    <a:cubicBezTo>
                      <a:pt x="1520190" y="469583"/>
                      <a:pt x="1518285" y="471487"/>
                      <a:pt x="1515428" y="472440"/>
                    </a:cubicBezTo>
                    <a:cubicBezTo>
                      <a:pt x="1513523" y="472440"/>
                      <a:pt x="1511618" y="473393"/>
                      <a:pt x="1511618" y="473393"/>
                    </a:cubicBezTo>
                    <a:lnTo>
                      <a:pt x="1504950" y="473393"/>
                    </a:lnTo>
                    <a:cubicBezTo>
                      <a:pt x="1504950" y="473393"/>
                      <a:pt x="1502093" y="473393"/>
                      <a:pt x="1498283" y="473393"/>
                    </a:cubicBezTo>
                    <a:cubicBezTo>
                      <a:pt x="1494473" y="473393"/>
                      <a:pt x="1495425" y="474345"/>
                      <a:pt x="1495425" y="474345"/>
                    </a:cubicBezTo>
                    <a:lnTo>
                      <a:pt x="1493520" y="478155"/>
                    </a:lnTo>
                    <a:lnTo>
                      <a:pt x="1492568" y="485775"/>
                    </a:lnTo>
                    <a:cubicBezTo>
                      <a:pt x="1492568" y="485775"/>
                      <a:pt x="1486853" y="488633"/>
                      <a:pt x="1483043" y="488633"/>
                    </a:cubicBezTo>
                    <a:cubicBezTo>
                      <a:pt x="1479233" y="488633"/>
                      <a:pt x="1480185" y="488633"/>
                      <a:pt x="1477328" y="488633"/>
                    </a:cubicBezTo>
                    <a:cubicBezTo>
                      <a:pt x="1474470" y="488633"/>
                      <a:pt x="1474470" y="487680"/>
                      <a:pt x="1471613" y="484823"/>
                    </a:cubicBezTo>
                    <a:cubicBezTo>
                      <a:pt x="1468755" y="481965"/>
                      <a:pt x="1466850" y="483870"/>
                      <a:pt x="1464945" y="482918"/>
                    </a:cubicBezTo>
                    <a:cubicBezTo>
                      <a:pt x="1463040" y="481965"/>
                      <a:pt x="1462088" y="481012"/>
                      <a:pt x="1460183" y="478155"/>
                    </a:cubicBezTo>
                    <a:cubicBezTo>
                      <a:pt x="1458278" y="475298"/>
                      <a:pt x="1460183" y="478155"/>
                      <a:pt x="1460183" y="476250"/>
                    </a:cubicBezTo>
                    <a:cubicBezTo>
                      <a:pt x="1459230" y="474345"/>
                      <a:pt x="1458278" y="474345"/>
                      <a:pt x="1457325" y="473393"/>
                    </a:cubicBezTo>
                    <a:cubicBezTo>
                      <a:pt x="1455420" y="471487"/>
                      <a:pt x="1455420" y="471487"/>
                      <a:pt x="1450658" y="469583"/>
                    </a:cubicBezTo>
                    <a:cubicBezTo>
                      <a:pt x="1445895" y="467677"/>
                      <a:pt x="1444943" y="469583"/>
                      <a:pt x="1444943" y="469583"/>
                    </a:cubicBezTo>
                    <a:cubicBezTo>
                      <a:pt x="1444943" y="469583"/>
                      <a:pt x="1439228" y="469583"/>
                      <a:pt x="1436370" y="469583"/>
                    </a:cubicBezTo>
                    <a:cubicBezTo>
                      <a:pt x="1434465" y="469583"/>
                      <a:pt x="1431608" y="469583"/>
                      <a:pt x="1431608" y="469583"/>
                    </a:cubicBezTo>
                    <a:cubicBezTo>
                      <a:pt x="1431608" y="469583"/>
                      <a:pt x="1429703" y="470535"/>
                      <a:pt x="1425893" y="472440"/>
                    </a:cubicBezTo>
                    <a:cubicBezTo>
                      <a:pt x="1422083" y="473393"/>
                      <a:pt x="1421130" y="474345"/>
                      <a:pt x="1421130" y="474345"/>
                    </a:cubicBezTo>
                    <a:cubicBezTo>
                      <a:pt x="1421130" y="474345"/>
                      <a:pt x="1417320" y="477202"/>
                      <a:pt x="1416368" y="478155"/>
                    </a:cubicBezTo>
                    <a:cubicBezTo>
                      <a:pt x="1414463" y="479108"/>
                      <a:pt x="1415415" y="480060"/>
                      <a:pt x="1415415" y="480060"/>
                    </a:cubicBezTo>
                    <a:lnTo>
                      <a:pt x="1414463" y="484823"/>
                    </a:lnTo>
                    <a:cubicBezTo>
                      <a:pt x="1414463" y="484823"/>
                      <a:pt x="1412558" y="486727"/>
                      <a:pt x="1410653" y="486727"/>
                    </a:cubicBezTo>
                    <a:cubicBezTo>
                      <a:pt x="1408748" y="486727"/>
                      <a:pt x="1409700" y="492443"/>
                      <a:pt x="1409700" y="492443"/>
                    </a:cubicBezTo>
                    <a:cubicBezTo>
                      <a:pt x="1409700" y="492443"/>
                      <a:pt x="1407795" y="498158"/>
                      <a:pt x="1407795" y="499110"/>
                    </a:cubicBezTo>
                    <a:cubicBezTo>
                      <a:pt x="1406843" y="500062"/>
                      <a:pt x="1407795" y="501968"/>
                      <a:pt x="1406843" y="502920"/>
                    </a:cubicBezTo>
                    <a:cubicBezTo>
                      <a:pt x="1405890" y="503873"/>
                      <a:pt x="1405890" y="504825"/>
                      <a:pt x="1405890" y="504825"/>
                    </a:cubicBezTo>
                    <a:cubicBezTo>
                      <a:pt x="1405890" y="504825"/>
                      <a:pt x="1403033" y="504825"/>
                      <a:pt x="1400175" y="504825"/>
                    </a:cubicBezTo>
                    <a:cubicBezTo>
                      <a:pt x="1397318" y="504825"/>
                      <a:pt x="1396365" y="504825"/>
                      <a:pt x="1396365" y="504825"/>
                    </a:cubicBezTo>
                    <a:cubicBezTo>
                      <a:pt x="1396365" y="504825"/>
                      <a:pt x="1393508" y="503873"/>
                      <a:pt x="1391603" y="502920"/>
                    </a:cubicBezTo>
                    <a:cubicBezTo>
                      <a:pt x="1389698" y="502920"/>
                      <a:pt x="1389698" y="501015"/>
                      <a:pt x="1388745" y="500062"/>
                    </a:cubicBezTo>
                    <a:cubicBezTo>
                      <a:pt x="1387793" y="498158"/>
                      <a:pt x="1389698" y="495300"/>
                      <a:pt x="1389698" y="493395"/>
                    </a:cubicBezTo>
                    <a:cubicBezTo>
                      <a:pt x="1389698" y="491490"/>
                      <a:pt x="1387793" y="487680"/>
                      <a:pt x="1387793" y="486727"/>
                    </a:cubicBezTo>
                    <a:cubicBezTo>
                      <a:pt x="1387793" y="485775"/>
                      <a:pt x="1387793" y="483870"/>
                      <a:pt x="1387793" y="483870"/>
                    </a:cubicBezTo>
                    <a:cubicBezTo>
                      <a:pt x="1387793" y="483870"/>
                      <a:pt x="1388745" y="478155"/>
                      <a:pt x="1387793" y="477202"/>
                    </a:cubicBezTo>
                    <a:cubicBezTo>
                      <a:pt x="1386840" y="476250"/>
                      <a:pt x="1390650" y="475298"/>
                      <a:pt x="1391603" y="473393"/>
                    </a:cubicBezTo>
                    <a:cubicBezTo>
                      <a:pt x="1392555" y="471487"/>
                      <a:pt x="1393508" y="470535"/>
                      <a:pt x="1395413" y="469583"/>
                    </a:cubicBezTo>
                    <a:cubicBezTo>
                      <a:pt x="1395413" y="469583"/>
                      <a:pt x="1402080" y="468630"/>
                      <a:pt x="1403985" y="467677"/>
                    </a:cubicBezTo>
                    <a:cubicBezTo>
                      <a:pt x="1405890" y="466725"/>
                      <a:pt x="1409700" y="465773"/>
                      <a:pt x="1413510" y="464820"/>
                    </a:cubicBezTo>
                    <a:cubicBezTo>
                      <a:pt x="1417320" y="463868"/>
                      <a:pt x="1413510" y="464820"/>
                      <a:pt x="1414463" y="462915"/>
                    </a:cubicBezTo>
                    <a:cubicBezTo>
                      <a:pt x="1415415" y="461010"/>
                      <a:pt x="1422083" y="460058"/>
                      <a:pt x="1422083" y="460058"/>
                    </a:cubicBezTo>
                    <a:cubicBezTo>
                      <a:pt x="1422083" y="460058"/>
                      <a:pt x="1422083" y="460058"/>
                      <a:pt x="1423988" y="460058"/>
                    </a:cubicBezTo>
                    <a:cubicBezTo>
                      <a:pt x="1425893" y="460058"/>
                      <a:pt x="1429703" y="460058"/>
                      <a:pt x="1429703" y="460058"/>
                    </a:cubicBezTo>
                    <a:lnTo>
                      <a:pt x="1434465" y="460058"/>
                    </a:lnTo>
                    <a:cubicBezTo>
                      <a:pt x="1434465" y="461010"/>
                      <a:pt x="1444943" y="462915"/>
                      <a:pt x="1446848" y="462915"/>
                    </a:cubicBezTo>
                    <a:close/>
                    <a:moveTo>
                      <a:pt x="1322070" y="445770"/>
                    </a:moveTo>
                    <a:cubicBezTo>
                      <a:pt x="1323975" y="445770"/>
                      <a:pt x="1322070" y="444818"/>
                      <a:pt x="1324928" y="443865"/>
                    </a:cubicBezTo>
                    <a:cubicBezTo>
                      <a:pt x="1327785" y="442912"/>
                      <a:pt x="1327785" y="441960"/>
                      <a:pt x="1329690" y="441960"/>
                    </a:cubicBezTo>
                    <a:cubicBezTo>
                      <a:pt x="1331595" y="441960"/>
                      <a:pt x="1333500" y="439102"/>
                      <a:pt x="1333500" y="439102"/>
                    </a:cubicBezTo>
                    <a:lnTo>
                      <a:pt x="1334453" y="437198"/>
                    </a:lnTo>
                    <a:cubicBezTo>
                      <a:pt x="1338263" y="436245"/>
                      <a:pt x="1331595" y="437198"/>
                      <a:pt x="1338263" y="436245"/>
                    </a:cubicBezTo>
                    <a:cubicBezTo>
                      <a:pt x="1343978" y="434340"/>
                      <a:pt x="1346835" y="432435"/>
                      <a:pt x="1348740" y="432435"/>
                    </a:cubicBezTo>
                    <a:cubicBezTo>
                      <a:pt x="1350645" y="432435"/>
                      <a:pt x="1350645" y="430530"/>
                      <a:pt x="1353503" y="429577"/>
                    </a:cubicBezTo>
                    <a:cubicBezTo>
                      <a:pt x="1355408" y="428625"/>
                      <a:pt x="1355408" y="428625"/>
                      <a:pt x="1355408" y="428625"/>
                    </a:cubicBezTo>
                    <a:cubicBezTo>
                      <a:pt x="1355408" y="428625"/>
                      <a:pt x="1355408" y="428625"/>
                      <a:pt x="1357313" y="428625"/>
                    </a:cubicBezTo>
                    <a:cubicBezTo>
                      <a:pt x="1359218" y="428625"/>
                      <a:pt x="1363980" y="428625"/>
                      <a:pt x="1363980" y="428625"/>
                    </a:cubicBezTo>
                    <a:cubicBezTo>
                      <a:pt x="1363980" y="428625"/>
                      <a:pt x="1361123" y="428625"/>
                      <a:pt x="1366838" y="428625"/>
                    </a:cubicBezTo>
                    <a:cubicBezTo>
                      <a:pt x="1372553" y="428625"/>
                      <a:pt x="1374458" y="427673"/>
                      <a:pt x="1376363" y="427673"/>
                    </a:cubicBezTo>
                    <a:cubicBezTo>
                      <a:pt x="1378268" y="427673"/>
                      <a:pt x="1381125" y="425768"/>
                      <a:pt x="1381125" y="425768"/>
                    </a:cubicBezTo>
                    <a:lnTo>
                      <a:pt x="1384935" y="424815"/>
                    </a:lnTo>
                    <a:lnTo>
                      <a:pt x="1387793" y="423862"/>
                    </a:lnTo>
                    <a:lnTo>
                      <a:pt x="1392555" y="424815"/>
                    </a:lnTo>
                    <a:cubicBezTo>
                      <a:pt x="1392555" y="424815"/>
                      <a:pt x="1395413" y="424815"/>
                      <a:pt x="1397318" y="425768"/>
                    </a:cubicBezTo>
                    <a:cubicBezTo>
                      <a:pt x="1399223" y="426720"/>
                      <a:pt x="1402080" y="427673"/>
                      <a:pt x="1403033" y="428625"/>
                    </a:cubicBezTo>
                    <a:cubicBezTo>
                      <a:pt x="1403985" y="429577"/>
                      <a:pt x="1408748" y="431483"/>
                      <a:pt x="1408748" y="431483"/>
                    </a:cubicBezTo>
                    <a:cubicBezTo>
                      <a:pt x="1408748" y="431483"/>
                      <a:pt x="1409700" y="432435"/>
                      <a:pt x="1411605" y="433387"/>
                    </a:cubicBezTo>
                    <a:cubicBezTo>
                      <a:pt x="1413510" y="434340"/>
                      <a:pt x="1418273" y="435293"/>
                      <a:pt x="1418273" y="435293"/>
                    </a:cubicBezTo>
                    <a:cubicBezTo>
                      <a:pt x="1418273" y="435293"/>
                      <a:pt x="1419225" y="435293"/>
                      <a:pt x="1421130" y="436245"/>
                    </a:cubicBezTo>
                    <a:cubicBezTo>
                      <a:pt x="1423035" y="437198"/>
                      <a:pt x="1423035" y="437198"/>
                      <a:pt x="1423035" y="437198"/>
                    </a:cubicBezTo>
                    <a:cubicBezTo>
                      <a:pt x="1423035" y="437198"/>
                      <a:pt x="1423988" y="437198"/>
                      <a:pt x="1424940" y="439102"/>
                    </a:cubicBezTo>
                    <a:cubicBezTo>
                      <a:pt x="1425893" y="440055"/>
                      <a:pt x="1423988" y="440055"/>
                      <a:pt x="1425893" y="440055"/>
                    </a:cubicBezTo>
                    <a:cubicBezTo>
                      <a:pt x="1427798" y="441008"/>
                      <a:pt x="1432560" y="446723"/>
                      <a:pt x="1432560" y="446723"/>
                    </a:cubicBezTo>
                    <a:cubicBezTo>
                      <a:pt x="1432560" y="446723"/>
                      <a:pt x="1430655" y="445770"/>
                      <a:pt x="1429703" y="446723"/>
                    </a:cubicBezTo>
                    <a:cubicBezTo>
                      <a:pt x="1427798" y="447675"/>
                      <a:pt x="1411605" y="447675"/>
                      <a:pt x="1411605" y="447675"/>
                    </a:cubicBezTo>
                    <a:lnTo>
                      <a:pt x="1404938" y="447675"/>
                    </a:lnTo>
                    <a:lnTo>
                      <a:pt x="1399223" y="447675"/>
                    </a:lnTo>
                    <a:lnTo>
                      <a:pt x="1393508" y="447675"/>
                    </a:lnTo>
                    <a:cubicBezTo>
                      <a:pt x="1393508" y="447675"/>
                      <a:pt x="1390650" y="447675"/>
                      <a:pt x="1388745" y="447675"/>
                    </a:cubicBezTo>
                    <a:cubicBezTo>
                      <a:pt x="1386840" y="447675"/>
                      <a:pt x="1381125" y="447675"/>
                      <a:pt x="1381125" y="447675"/>
                    </a:cubicBezTo>
                    <a:lnTo>
                      <a:pt x="1373505" y="449580"/>
                    </a:lnTo>
                    <a:lnTo>
                      <a:pt x="1360170" y="449580"/>
                    </a:lnTo>
                    <a:cubicBezTo>
                      <a:pt x="1360170" y="449580"/>
                      <a:pt x="1360170" y="447675"/>
                      <a:pt x="1354455" y="449580"/>
                    </a:cubicBezTo>
                    <a:cubicBezTo>
                      <a:pt x="1348740" y="451485"/>
                      <a:pt x="1342073" y="452437"/>
                      <a:pt x="1342073" y="452437"/>
                    </a:cubicBezTo>
                    <a:cubicBezTo>
                      <a:pt x="1342073" y="452437"/>
                      <a:pt x="1340168" y="452437"/>
                      <a:pt x="1339215" y="453390"/>
                    </a:cubicBezTo>
                    <a:cubicBezTo>
                      <a:pt x="1338263" y="454343"/>
                      <a:pt x="1331595" y="455295"/>
                      <a:pt x="1331595" y="455295"/>
                    </a:cubicBezTo>
                    <a:lnTo>
                      <a:pt x="1325880" y="455295"/>
                    </a:lnTo>
                    <a:lnTo>
                      <a:pt x="1322070" y="455295"/>
                    </a:lnTo>
                    <a:lnTo>
                      <a:pt x="1320165" y="452437"/>
                    </a:lnTo>
                    <a:lnTo>
                      <a:pt x="1320165" y="449580"/>
                    </a:lnTo>
                    <a:cubicBezTo>
                      <a:pt x="1321118" y="448627"/>
                      <a:pt x="1320165" y="446723"/>
                      <a:pt x="1322070" y="445770"/>
                    </a:cubicBezTo>
                    <a:close/>
                    <a:moveTo>
                      <a:pt x="1762125" y="147637"/>
                    </a:moveTo>
                    <a:cubicBezTo>
                      <a:pt x="1762125" y="147637"/>
                      <a:pt x="1762125" y="147637"/>
                      <a:pt x="1762125" y="147637"/>
                    </a:cubicBezTo>
                    <a:cubicBezTo>
                      <a:pt x="1762125" y="147637"/>
                      <a:pt x="1762125" y="147637"/>
                      <a:pt x="1762125" y="147637"/>
                    </a:cubicBezTo>
                    <a:close/>
                    <a:moveTo>
                      <a:pt x="870585" y="141923"/>
                    </a:moveTo>
                    <a:cubicBezTo>
                      <a:pt x="870585" y="141923"/>
                      <a:pt x="865823" y="145733"/>
                      <a:pt x="862965" y="145733"/>
                    </a:cubicBezTo>
                    <a:cubicBezTo>
                      <a:pt x="861060" y="145733"/>
                      <a:pt x="854393" y="146685"/>
                      <a:pt x="854393" y="146685"/>
                    </a:cubicBezTo>
                    <a:lnTo>
                      <a:pt x="851535" y="146685"/>
                    </a:lnTo>
                    <a:lnTo>
                      <a:pt x="844868" y="146685"/>
                    </a:lnTo>
                    <a:lnTo>
                      <a:pt x="840105" y="147637"/>
                    </a:lnTo>
                    <a:lnTo>
                      <a:pt x="834390" y="149542"/>
                    </a:lnTo>
                    <a:lnTo>
                      <a:pt x="829628" y="147637"/>
                    </a:lnTo>
                    <a:lnTo>
                      <a:pt x="826770" y="145733"/>
                    </a:lnTo>
                    <a:lnTo>
                      <a:pt x="819150" y="144780"/>
                    </a:lnTo>
                    <a:cubicBezTo>
                      <a:pt x="819150" y="144780"/>
                      <a:pt x="814388" y="143828"/>
                      <a:pt x="811530" y="144780"/>
                    </a:cubicBezTo>
                    <a:cubicBezTo>
                      <a:pt x="809625" y="145733"/>
                      <a:pt x="804863" y="144780"/>
                      <a:pt x="804863" y="144780"/>
                    </a:cubicBezTo>
                    <a:cubicBezTo>
                      <a:pt x="804863" y="144780"/>
                      <a:pt x="805815" y="142875"/>
                      <a:pt x="800100" y="142875"/>
                    </a:cubicBezTo>
                    <a:cubicBezTo>
                      <a:pt x="795338" y="142875"/>
                      <a:pt x="792480" y="141923"/>
                      <a:pt x="788670" y="142875"/>
                    </a:cubicBezTo>
                    <a:cubicBezTo>
                      <a:pt x="784860" y="142875"/>
                      <a:pt x="789623" y="142875"/>
                      <a:pt x="784860" y="142875"/>
                    </a:cubicBezTo>
                    <a:cubicBezTo>
                      <a:pt x="780098" y="142875"/>
                      <a:pt x="780098" y="141923"/>
                      <a:pt x="776288" y="141923"/>
                    </a:cubicBezTo>
                    <a:cubicBezTo>
                      <a:pt x="771525" y="141923"/>
                      <a:pt x="768668" y="140970"/>
                      <a:pt x="764858" y="140970"/>
                    </a:cubicBezTo>
                    <a:cubicBezTo>
                      <a:pt x="761048" y="140970"/>
                      <a:pt x="756285" y="140017"/>
                      <a:pt x="756285" y="140017"/>
                    </a:cubicBezTo>
                    <a:lnTo>
                      <a:pt x="750570" y="135255"/>
                    </a:lnTo>
                    <a:lnTo>
                      <a:pt x="751523" y="133350"/>
                    </a:lnTo>
                    <a:cubicBezTo>
                      <a:pt x="751523" y="133350"/>
                      <a:pt x="748665" y="132398"/>
                      <a:pt x="754380" y="131445"/>
                    </a:cubicBezTo>
                    <a:cubicBezTo>
                      <a:pt x="760095" y="131445"/>
                      <a:pt x="749618" y="130492"/>
                      <a:pt x="760095" y="131445"/>
                    </a:cubicBezTo>
                    <a:cubicBezTo>
                      <a:pt x="771525" y="131445"/>
                      <a:pt x="771525" y="131445"/>
                      <a:pt x="771525" y="131445"/>
                    </a:cubicBezTo>
                    <a:cubicBezTo>
                      <a:pt x="771525" y="131445"/>
                      <a:pt x="774383" y="130492"/>
                      <a:pt x="776288" y="131445"/>
                    </a:cubicBezTo>
                    <a:cubicBezTo>
                      <a:pt x="778193" y="132398"/>
                      <a:pt x="781050" y="131445"/>
                      <a:pt x="783908" y="131445"/>
                    </a:cubicBezTo>
                    <a:cubicBezTo>
                      <a:pt x="786765" y="131445"/>
                      <a:pt x="789623" y="129540"/>
                      <a:pt x="792480" y="129540"/>
                    </a:cubicBezTo>
                    <a:cubicBezTo>
                      <a:pt x="794385" y="129540"/>
                      <a:pt x="794385" y="129540"/>
                      <a:pt x="794385" y="129540"/>
                    </a:cubicBezTo>
                    <a:cubicBezTo>
                      <a:pt x="794385" y="129540"/>
                      <a:pt x="794385" y="129540"/>
                      <a:pt x="793433" y="129540"/>
                    </a:cubicBezTo>
                    <a:cubicBezTo>
                      <a:pt x="793433" y="129540"/>
                      <a:pt x="793433" y="129540"/>
                      <a:pt x="793433" y="129540"/>
                    </a:cubicBezTo>
                    <a:cubicBezTo>
                      <a:pt x="793433" y="129540"/>
                      <a:pt x="792480" y="129540"/>
                      <a:pt x="792480" y="129540"/>
                    </a:cubicBezTo>
                    <a:cubicBezTo>
                      <a:pt x="792480" y="129540"/>
                      <a:pt x="793433" y="129540"/>
                      <a:pt x="793433" y="129540"/>
                    </a:cubicBezTo>
                    <a:cubicBezTo>
                      <a:pt x="793433" y="129540"/>
                      <a:pt x="793433" y="129540"/>
                      <a:pt x="793433" y="129540"/>
                    </a:cubicBezTo>
                    <a:cubicBezTo>
                      <a:pt x="793433" y="129540"/>
                      <a:pt x="793433" y="129540"/>
                      <a:pt x="794385" y="129540"/>
                    </a:cubicBezTo>
                    <a:cubicBezTo>
                      <a:pt x="799148" y="129540"/>
                      <a:pt x="802958" y="128587"/>
                      <a:pt x="802958" y="128587"/>
                    </a:cubicBezTo>
                    <a:cubicBezTo>
                      <a:pt x="802958" y="128587"/>
                      <a:pt x="801053" y="127635"/>
                      <a:pt x="805815" y="128587"/>
                    </a:cubicBezTo>
                    <a:cubicBezTo>
                      <a:pt x="810578" y="129540"/>
                      <a:pt x="813435" y="127635"/>
                      <a:pt x="815340" y="128587"/>
                    </a:cubicBezTo>
                    <a:cubicBezTo>
                      <a:pt x="817245" y="129540"/>
                      <a:pt x="822008" y="128587"/>
                      <a:pt x="822008" y="128587"/>
                    </a:cubicBezTo>
                    <a:lnTo>
                      <a:pt x="827723" y="129540"/>
                    </a:lnTo>
                    <a:cubicBezTo>
                      <a:pt x="827723" y="129540"/>
                      <a:pt x="832485" y="129540"/>
                      <a:pt x="832485" y="130492"/>
                    </a:cubicBezTo>
                    <a:cubicBezTo>
                      <a:pt x="832485" y="131445"/>
                      <a:pt x="830580" y="128587"/>
                      <a:pt x="832485" y="131445"/>
                    </a:cubicBezTo>
                    <a:cubicBezTo>
                      <a:pt x="834390" y="134303"/>
                      <a:pt x="837248" y="134303"/>
                      <a:pt x="840105" y="135255"/>
                    </a:cubicBezTo>
                    <a:cubicBezTo>
                      <a:pt x="842963" y="136208"/>
                      <a:pt x="838200" y="137160"/>
                      <a:pt x="842963" y="136208"/>
                    </a:cubicBezTo>
                    <a:cubicBezTo>
                      <a:pt x="847725" y="135255"/>
                      <a:pt x="850583" y="131445"/>
                      <a:pt x="852488" y="131445"/>
                    </a:cubicBezTo>
                    <a:cubicBezTo>
                      <a:pt x="854393" y="132398"/>
                      <a:pt x="857250" y="132398"/>
                      <a:pt x="857250" y="132398"/>
                    </a:cubicBezTo>
                    <a:lnTo>
                      <a:pt x="862013" y="131445"/>
                    </a:lnTo>
                    <a:lnTo>
                      <a:pt x="869633" y="132398"/>
                    </a:lnTo>
                    <a:cubicBezTo>
                      <a:pt x="869633" y="132398"/>
                      <a:pt x="871538" y="132398"/>
                      <a:pt x="872490" y="134303"/>
                    </a:cubicBezTo>
                    <a:cubicBezTo>
                      <a:pt x="873443" y="136208"/>
                      <a:pt x="873443" y="136208"/>
                      <a:pt x="873443" y="136208"/>
                    </a:cubicBezTo>
                    <a:lnTo>
                      <a:pt x="870585" y="141923"/>
                    </a:lnTo>
                    <a:close/>
                    <a:moveTo>
                      <a:pt x="1010603" y="202883"/>
                    </a:moveTo>
                    <a:cubicBezTo>
                      <a:pt x="1004888" y="205740"/>
                      <a:pt x="1008698" y="204787"/>
                      <a:pt x="1005840" y="204787"/>
                    </a:cubicBezTo>
                    <a:cubicBezTo>
                      <a:pt x="1003935" y="204787"/>
                      <a:pt x="1002983" y="206692"/>
                      <a:pt x="1000125" y="206692"/>
                    </a:cubicBezTo>
                    <a:cubicBezTo>
                      <a:pt x="997268" y="206692"/>
                      <a:pt x="992505" y="206692"/>
                      <a:pt x="992505" y="206692"/>
                    </a:cubicBezTo>
                    <a:cubicBezTo>
                      <a:pt x="992505" y="206692"/>
                      <a:pt x="987743" y="207645"/>
                      <a:pt x="984885" y="207645"/>
                    </a:cubicBezTo>
                    <a:cubicBezTo>
                      <a:pt x="982028" y="207645"/>
                      <a:pt x="980123" y="209550"/>
                      <a:pt x="977265" y="209550"/>
                    </a:cubicBezTo>
                    <a:cubicBezTo>
                      <a:pt x="975360" y="209550"/>
                      <a:pt x="972503" y="211455"/>
                      <a:pt x="969645" y="212408"/>
                    </a:cubicBezTo>
                    <a:cubicBezTo>
                      <a:pt x="966788" y="212408"/>
                      <a:pt x="965835" y="213360"/>
                      <a:pt x="963930" y="213360"/>
                    </a:cubicBezTo>
                    <a:cubicBezTo>
                      <a:pt x="962025" y="213360"/>
                      <a:pt x="961073" y="217170"/>
                      <a:pt x="961073" y="217170"/>
                    </a:cubicBezTo>
                    <a:cubicBezTo>
                      <a:pt x="961073" y="217170"/>
                      <a:pt x="956310" y="219075"/>
                      <a:pt x="953453" y="219075"/>
                    </a:cubicBezTo>
                    <a:cubicBezTo>
                      <a:pt x="950595" y="219075"/>
                      <a:pt x="948690" y="220028"/>
                      <a:pt x="943928" y="220980"/>
                    </a:cubicBezTo>
                    <a:cubicBezTo>
                      <a:pt x="939165" y="220980"/>
                      <a:pt x="938213" y="220980"/>
                      <a:pt x="935355" y="220980"/>
                    </a:cubicBezTo>
                    <a:cubicBezTo>
                      <a:pt x="933450" y="220980"/>
                      <a:pt x="929640" y="220980"/>
                      <a:pt x="925830" y="220980"/>
                    </a:cubicBezTo>
                    <a:cubicBezTo>
                      <a:pt x="922020" y="220980"/>
                      <a:pt x="917258" y="220980"/>
                      <a:pt x="917258" y="220980"/>
                    </a:cubicBezTo>
                    <a:lnTo>
                      <a:pt x="910590" y="221933"/>
                    </a:lnTo>
                    <a:cubicBezTo>
                      <a:pt x="910590" y="221933"/>
                      <a:pt x="906780" y="223837"/>
                      <a:pt x="903923" y="224790"/>
                    </a:cubicBezTo>
                    <a:cubicBezTo>
                      <a:pt x="901065" y="225742"/>
                      <a:pt x="899160" y="225742"/>
                      <a:pt x="895350" y="226695"/>
                    </a:cubicBezTo>
                    <a:cubicBezTo>
                      <a:pt x="890588" y="227648"/>
                      <a:pt x="890588" y="227648"/>
                      <a:pt x="887730" y="227648"/>
                    </a:cubicBezTo>
                    <a:cubicBezTo>
                      <a:pt x="883920" y="226695"/>
                      <a:pt x="887730" y="227648"/>
                      <a:pt x="886778" y="221933"/>
                    </a:cubicBezTo>
                    <a:cubicBezTo>
                      <a:pt x="885825" y="216217"/>
                      <a:pt x="886778" y="221933"/>
                      <a:pt x="887730" y="220980"/>
                    </a:cubicBezTo>
                    <a:cubicBezTo>
                      <a:pt x="888683" y="220028"/>
                      <a:pt x="890588" y="220980"/>
                      <a:pt x="892493" y="220028"/>
                    </a:cubicBezTo>
                    <a:cubicBezTo>
                      <a:pt x="894398" y="219075"/>
                      <a:pt x="895350" y="219075"/>
                      <a:pt x="895350" y="219075"/>
                    </a:cubicBezTo>
                    <a:cubicBezTo>
                      <a:pt x="895350" y="219075"/>
                      <a:pt x="900113" y="218123"/>
                      <a:pt x="902018" y="216217"/>
                    </a:cubicBezTo>
                    <a:cubicBezTo>
                      <a:pt x="903923" y="215265"/>
                      <a:pt x="910590" y="214312"/>
                      <a:pt x="910590" y="214312"/>
                    </a:cubicBezTo>
                    <a:lnTo>
                      <a:pt x="918210" y="211455"/>
                    </a:lnTo>
                    <a:cubicBezTo>
                      <a:pt x="918210" y="211455"/>
                      <a:pt x="922973" y="208598"/>
                      <a:pt x="922020" y="206692"/>
                    </a:cubicBezTo>
                    <a:cubicBezTo>
                      <a:pt x="921068" y="205740"/>
                      <a:pt x="928688" y="206692"/>
                      <a:pt x="928688" y="206692"/>
                    </a:cubicBezTo>
                    <a:lnTo>
                      <a:pt x="931545" y="206692"/>
                    </a:lnTo>
                    <a:lnTo>
                      <a:pt x="942975" y="205740"/>
                    </a:lnTo>
                    <a:lnTo>
                      <a:pt x="949643" y="206692"/>
                    </a:lnTo>
                    <a:lnTo>
                      <a:pt x="956310" y="206692"/>
                    </a:lnTo>
                    <a:cubicBezTo>
                      <a:pt x="956310" y="206692"/>
                      <a:pt x="963930" y="206692"/>
                      <a:pt x="965835" y="204787"/>
                    </a:cubicBezTo>
                    <a:cubicBezTo>
                      <a:pt x="967740" y="202883"/>
                      <a:pt x="969645" y="203835"/>
                      <a:pt x="971550" y="201930"/>
                    </a:cubicBezTo>
                    <a:cubicBezTo>
                      <a:pt x="973455" y="200025"/>
                      <a:pt x="975360" y="201930"/>
                      <a:pt x="977265" y="199073"/>
                    </a:cubicBezTo>
                    <a:cubicBezTo>
                      <a:pt x="979170" y="197167"/>
                      <a:pt x="982028" y="197167"/>
                      <a:pt x="982028" y="197167"/>
                    </a:cubicBezTo>
                    <a:lnTo>
                      <a:pt x="986790" y="196215"/>
                    </a:lnTo>
                    <a:cubicBezTo>
                      <a:pt x="986790" y="196215"/>
                      <a:pt x="994410" y="196215"/>
                      <a:pt x="997268" y="195262"/>
                    </a:cubicBezTo>
                    <a:cubicBezTo>
                      <a:pt x="999173" y="194310"/>
                      <a:pt x="1002030" y="193358"/>
                      <a:pt x="1002030" y="193358"/>
                    </a:cubicBezTo>
                    <a:cubicBezTo>
                      <a:pt x="1002030" y="193358"/>
                      <a:pt x="1011555" y="192405"/>
                      <a:pt x="1013460" y="192405"/>
                    </a:cubicBezTo>
                    <a:cubicBezTo>
                      <a:pt x="1015365" y="192405"/>
                      <a:pt x="1015365" y="194310"/>
                      <a:pt x="1015365" y="194310"/>
                    </a:cubicBezTo>
                    <a:cubicBezTo>
                      <a:pt x="1015365" y="194310"/>
                      <a:pt x="1016318" y="200025"/>
                      <a:pt x="1010603" y="202883"/>
                    </a:cubicBezTo>
                    <a:close/>
                    <a:moveTo>
                      <a:pt x="1220153" y="380048"/>
                    </a:moveTo>
                    <a:cubicBezTo>
                      <a:pt x="1220153" y="377190"/>
                      <a:pt x="1220153" y="379095"/>
                      <a:pt x="1218248" y="374333"/>
                    </a:cubicBezTo>
                    <a:cubicBezTo>
                      <a:pt x="1216343" y="370523"/>
                      <a:pt x="1216343" y="372427"/>
                      <a:pt x="1212533" y="371475"/>
                    </a:cubicBezTo>
                    <a:cubicBezTo>
                      <a:pt x="1209675" y="369570"/>
                      <a:pt x="1212533" y="371475"/>
                      <a:pt x="1210628" y="369570"/>
                    </a:cubicBezTo>
                    <a:cubicBezTo>
                      <a:pt x="1208723" y="367665"/>
                      <a:pt x="1210628" y="367665"/>
                      <a:pt x="1210628" y="367665"/>
                    </a:cubicBezTo>
                    <a:lnTo>
                      <a:pt x="1208723" y="364808"/>
                    </a:lnTo>
                    <a:lnTo>
                      <a:pt x="1203960" y="362903"/>
                    </a:lnTo>
                    <a:lnTo>
                      <a:pt x="1200150" y="362903"/>
                    </a:lnTo>
                    <a:cubicBezTo>
                      <a:pt x="1200150" y="362903"/>
                      <a:pt x="1195388" y="361950"/>
                      <a:pt x="1193483" y="360998"/>
                    </a:cubicBezTo>
                    <a:cubicBezTo>
                      <a:pt x="1190625" y="360045"/>
                      <a:pt x="1188720" y="358140"/>
                      <a:pt x="1188720" y="358140"/>
                    </a:cubicBezTo>
                    <a:lnTo>
                      <a:pt x="1185863" y="355283"/>
                    </a:lnTo>
                    <a:lnTo>
                      <a:pt x="1184910" y="353378"/>
                    </a:lnTo>
                    <a:lnTo>
                      <a:pt x="1185863" y="351473"/>
                    </a:lnTo>
                    <a:lnTo>
                      <a:pt x="1187768" y="347662"/>
                    </a:lnTo>
                    <a:lnTo>
                      <a:pt x="1190625" y="346710"/>
                    </a:lnTo>
                    <a:lnTo>
                      <a:pt x="1196340" y="345758"/>
                    </a:lnTo>
                    <a:lnTo>
                      <a:pt x="1200150" y="345758"/>
                    </a:lnTo>
                    <a:lnTo>
                      <a:pt x="1203960" y="345758"/>
                    </a:lnTo>
                    <a:cubicBezTo>
                      <a:pt x="1203960" y="345758"/>
                      <a:pt x="1207770" y="344805"/>
                      <a:pt x="1207770" y="343853"/>
                    </a:cubicBezTo>
                    <a:cubicBezTo>
                      <a:pt x="1207770" y="342900"/>
                      <a:pt x="1213485" y="343853"/>
                      <a:pt x="1213485" y="343853"/>
                    </a:cubicBezTo>
                    <a:lnTo>
                      <a:pt x="1218248" y="343853"/>
                    </a:lnTo>
                    <a:lnTo>
                      <a:pt x="1221105" y="344805"/>
                    </a:lnTo>
                    <a:lnTo>
                      <a:pt x="1225868" y="348615"/>
                    </a:lnTo>
                    <a:lnTo>
                      <a:pt x="1226820" y="350520"/>
                    </a:lnTo>
                    <a:lnTo>
                      <a:pt x="1227773" y="352425"/>
                    </a:lnTo>
                    <a:cubicBezTo>
                      <a:pt x="1227773" y="352425"/>
                      <a:pt x="1227773" y="352425"/>
                      <a:pt x="1226820" y="356235"/>
                    </a:cubicBezTo>
                    <a:cubicBezTo>
                      <a:pt x="1225868" y="360045"/>
                      <a:pt x="1226820" y="359093"/>
                      <a:pt x="1226820" y="359093"/>
                    </a:cubicBezTo>
                    <a:lnTo>
                      <a:pt x="1232535" y="362903"/>
                    </a:lnTo>
                    <a:cubicBezTo>
                      <a:pt x="1232535" y="362903"/>
                      <a:pt x="1237298" y="364808"/>
                      <a:pt x="1239203" y="364808"/>
                    </a:cubicBezTo>
                    <a:cubicBezTo>
                      <a:pt x="1241108" y="365760"/>
                      <a:pt x="1244918" y="368618"/>
                      <a:pt x="1244918" y="368618"/>
                    </a:cubicBezTo>
                    <a:lnTo>
                      <a:pt x="1245870" y="372427"/>
                    </a:lnTo>
                    <a:lnTo>
                      <a:pt x="1246823" y="375285"/>
                    </a:lnTo>
                    <a:lnTo>
                      <a:pt x="1249680" y="378143"/>
                    </a:lnTo>
                    <a:lnTo>
                      <a:pt x="1250633" y="380048"/>
                    </a:lnTo>
                    <a:lnTo>
                      <a:pt x="1249680" y="384810"/>
                    </a:lnTo>
                    <a:lnTo>
                      <a:pt x="1247775" y="389573"/>
                    </a:lnTo>
                    <a:lnTo>
                      <a:pt x="1244918" y="392430"/>
                    </a:lnTo>
                    <a:cubicBezTo>
                      <a:pt x="1244918" y="392430"/>
                      <a:pt x="1240155" y="392430"/>
                      <a:pt x="1237298" y="392430"/>
                    </a:cubicBezTo>
                    <a:cubicBezTo>
                      <a:pt x="1234440" y="392430"/>
                      <a:pt x="1231583" y="392430"/>
                      <a:pt x="1231583" y="392430"/>
                    </a:cubicBezTo>
                    <a:lnTo>
                      <a:pt x="1225868" y="390525"/>
                    </a:lnTo>
                    <a:cubicBezTo>
                      <a:pt x="1224915" y="391477"/>
                      <a:pt x="1220153" y="382905"/>
                      <a:pt x="1220153" y="380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0BB2D98E-66D2-47D1-ADE2-E2654AB72323}"/>
                  </a:ext>
                </a:extLst>
              </p:cNvPr>
              <p:cNvSpPr/>
              <p:nvPr/>
            </p:nvSpPr>
            <p:spPr>
              <a:xfrm>
                <a:off x="5442614" y="3186793"/>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cubicBezTo>
                      <a:pt x="0" y="0"/>
                      <a:pt x="0" y="0"/>
                      <a:pt x="0" y="0"/>
                    </a:cubicBezTo>
                    <a:cubicBezTo>
                      <a:pt x="0" y="0"/>
                      <a:pt x="0" y="0"/>
                      <a:pt x="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60ABB08D-5385-46EE-B6E9-3B5395844564}"/>
                  </a:ext>
                </a:extLst>
              </p:cNvPr>
              <p:cNvSpPr/>
              <p:nvPr/>
            </p:nvSpPr>
            <p:spPr>
              <a:xfrm>
                <a:off x="9863258" y="4006744"/>
                <a:ext cx="178025" cy="117584"/>
              </a:xfrm>
              <a:custGeom>
                <a:avLst/>
                <a:gdLst>
                  <a:gd name="connsiteX0" fmla="*/ 38008 w 178025"/>
                  <a:gd name="connsiteY0" fmla="*/ 1105 h 117584"/>
                  <a:gd name="connsiteX1" fmla="*/ 28483 w 178025"/>
                  <a:gd name="connsiteY1" fmla="*/ 1105 h 117584"/>
                  <a:gd name="connsiteX2" fmla="*/ 20863 w 178025"/>
                  <a:gd name="connsiteY2" fmla="*/ 1105 h 117584"/>
                  <a:gd name="connsiteX3" fmla="*/ 8480 w 178025"/>
                  <a:gd name="connsiteY3" fmla="*/ 152 h 117584"/>
                  <a:gd name="connsiteX4" fmla="*/ 2765 w 178025"/>
                  <a:gd name="connsiteY4" fmla="*/ 2057 h 117584"/>
                  <a:gd name="connsiteX5" fmla="*/ 2765 w 178025"/>
                  <a:gd name="connsiteY5" fmla="*/ 10630 h 117584"/>
                  <a:gd name="connsiteX6" fmla="*/ 12290 w 178025"/>
                  <a:gd name="connsiteY6" fmla="*/ 15392 h 117584"/>
                  <a:gd name="connsiteX7" fmla="*/ 14195 w 178025"/>
                  <a:gd name="connsiteY7" fmla="*/ 17297 h 117584"/>
                  <a:gd name="connsiteX8" fmla="*/ 29435 w 178025"/>
                  <a:gd name="connsiteY8" fmla="*/ 32537 h 117584"/>
                  <a:gd name="connsiteX9" fmla="*/ 42770 w 178025"/>
                  <a:gd name="connsiteY9" fmla="*/ 38252 h 117584"/>
                  <a:gd name="connsiteX10" fmla="*/ 52295 w 178025"/>
                  <a:gd name="connsiteY10" fmla="*/ 43015 h 117584"/>
                  <a:gd name="connsiteX11" fmla="*/ 58963 w 178025"/>
                  <a:gd name="connsiteY11" fmla="*/ 50635 h 117584"/>
                  <a:gd name="connsiteX12" fmla="*/ 65630 w 178025"/>
                  <a:gd name="connsiteY12" fmla="*/ 61112 h 117584"/>
                  <a:gd name="connsiteX13" fmla="*/ 74203 w 178025"/>
                  <a:gd name="connsiteY13" fmla="*/ 70637 h 117584"/>
                  <a:gd name="connsiteX14" fmla="*/ 84680 w 178025"/>
                  <a:gd name="connsiteY14" fmla="*/ 79210 h 117584"/>
                  <a:gd name="connsiteX15" fmla="*/ 95158 w 178025"/>
                  <a:gd name="connsiteY15" fmla="*/ 84925 h 117584"/>
                  <a:gd name="connsiteX16" fmla="*/ 105635 w 178025"/>
                  <a:gd name="connsiteY16" fmla="*/ 93497 h 117584"/>
                  <a:gd name="connsiteX17" fmla="*/ 119923 w 178025"/>
                  <a:gd name="connsiteY17" fmla="*/ 105880 h 117584"/>
                  <a:gd name="connsiteX18" fmla="*/ 125638 w 178025"/>
                  <a:gd name="connsiteY18" fmla="*/ 109690 h 117584"/>
                  <a:gd name="connsiteX19" fmla="*/ 138020 w 178025"/>
                  <a:gd name="connsiteY19" fmla="*/ 112547 h 117584"/>
                  <a:gd name="connsiteX20" fmla="*/ 145640 w 178025"/>
                  <a:gd name="connsiteY20" fmla="*/ 114452 h 117584"/>
                  <a:gd name="connsiteX21" fmla="*/ 153260 w 178025"/>
                  <a:gd name="connsiteY21" fmla="*/ 116357 h 117584"/>
                  <a:gd name="connsiteX22" fmla="*/ 156118 w 178025"/>
                  <a:gd name="connsiteY22" fmla="*/ 117310 h 117584"/>
                  <a:gd name="connsiteX23" fmla="*/ 167548 w 178025"/>
                  <a:gd name="connsiteY23" fmla="*/ 117310 h 117584"/>
                  <a:gd name="connsiteX24" fmla="*/ 175168 w 178025"/>
                  <a:gd name="connsiteY24" fmla="*/ 116357 h 117584"/>
                  <a:gd name="connsiteX25" fmla="*/ 178025 w 178025"/>
                  <a:gd name="connsiteY25" fmla="*/ 106832 h 117584"/>
                  <a:gd name="connsiteX26" fmla="*/ 175168 w 178025"/>
                  <a:gd name="connsiteY26" fmla="*/ 95402 h 117584"/>
                  <a:gd name="connsiteX27" fmla="*/ 175168 w 178025"/>
                  <a:gd name="connsiteY27" fmla="*/ 90640 h 117584"/>
                  <a:gd name="connsiteX28" fmla="*/ 167548 w 178025"/>
                  <a:gd name="connsiteY28" fmla="*/ 80162 h 117584"/>
                  <a:gd name="connsiteX29" fmla="*/ 155165 w 178025"/>
                  <a:gd name="connsiteY29" fmla="*/ 73495 h 117584"/>
                  <a:gd name="connsiteX30" fmla="*/ 147545 w 178025"/>
                  <a:gd name="connsiteY30" fmla="*/ 68732 h 117584"/>
                  <a:gd name="connsiteX31" fmla="*/ 135163 w 178025"/>
                  <a:gd name="connsiteY31" fmla="*/ 63017 h 117584"/>
                  <a:gd name="connsiteX32" fmla="*/ 125638 w 178025"/>
                  <a:gd name="connsiteY32" fmla="*/ 58255 h 117584"/>
                  <a:gd name="connsiteX33" fmla="*/ 115160 w 178025"/>
                  <a:gd name="connsiteY33" fmla="*/ 51587 h 117584"/>
                  <a:gd name="connsiteX34" fmla="*/ 108493 w 178025"/>
                  <a:gd name="connsiteY34" fmla="*/ 44920 h 117584"/>
                  <a:gd name="connsiteX35" fmla="*/ 98015 w 178025"/>
                  <a:gd name="connsiteY35" fmla="*/ 38252 h 117584"/>
                  <a:gd name="connsiteX36" fmla="*/ 88490 w 178025"/>
                  <a:gd name="connsiteY36" fmla="*/ 32537 h 117584"/>
                  <a:gd name="connsiteX37" fmla="*/ 81823 w 178025"/>
                  <a:gd name="connsiteY37" fmla="*/ 26822 h 117584"/>
                  <a:gd name="connsiteX38" fmla="*/ 69440 w 178025"/>
                  <a:gd name="connsiteY38" fmla="*/ 19202 h 117584"/>
                  <a:gd name="connsiteX39" fmla="*/ 63725 w 178025"/>
                  <a:gd name="connsiteY39" fmla="*/ 17297 h 117584"/>
                  <a:gd name="connsiteX40" fmla="*/ 53248 w 178025"/>
                  <a:gd name="connsiteY40" fmla="*/ 11582 h 117584"/>
                  <a:gd name="connsiteX41" fmla="*/ 50390 w 178025"/>
                  <a:gd name="connsiteY41" fmla="*/ 8725 h 117584"/>
                  <a:gd name="connsiteX42" fmla="*/ 47533 w 178025"/>
                  <a:gd name="connsiteY42" fmla="*/ 4915 h 117584"/>
                  <a:gd name="connsiteX43" fmla="*/ 38008 w 178025"/>
                  <a:gd name="connsiteY43" fmla="*/ 1105 h 11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025" h="117584">
                    <a:moveTo>
                      <a:pt x="38008" y="1105"/>
                    </a:moveTo>
                    <a:lnTo>
                      <a:pt x="28483" y="1105"/>
                    </a:lnTo>
                    <a:cubicBezTo>
                      <a:pt x="28483" y="1105"/>
                      <a:pt x="25625" y="1105"/>
                      <a:pt x="20863" y="1105"/>
                    </a:cubicBezTo>
                    <a:cubicBezTo>
                      <a:pt x="16100" y="1105"/>
                      <a:pt x="8480" y="152"/>
                      <a:pt x="8480" y="152"/>
                    </a:cubicBezTo>
                    <a:cubicBezTo>
                      <a:pt x="8480" y="152"/>
                      <a:pt x="3718" y="-800"/>
                      <a:pt x="2765" y="2057"/>
                    </a:cubicBezTo>
                    <a:cubicBezTo>
                      <a:pt x="1813" y="4915"/>
                      <a:pt x="-2950" y="6820"/>
                      <a:pt x="2765" y="10630"/>
                    </a:cubicBezTo>
                    <a:cubicBezTo>
                      <a:pt x="8480" y="14440"/>
                      <a:pt x="10385" y="12535"/>
                      <a:pt x="12290" y="15392"/>
                    </a:cubicBezTo>
                    <a:cubicBezTo>
                      <a:pt x="14195" y="17297"/>
                      <a:pt x="9433" y="12535"/>
                      <a:pt x="14195" y="17297"/>
                    </a:cubicBezTo>
                    <a:cubicBezTo>
                      <a:pt x="19910" y="22060"/>
                      <a:pt x="29435" y="32537"/>
                      <a:pt x="29435" y="32537"/>
                    </a:cubicBezTo>
                    <a:cubicBezTo>
                      <a:pt x="29435" y="32537"/>
                      <a:pt x="38960" y="35395"/>
                      <a:pt x="42770" y="38252"/>
                    </a:cubicBezTo>
                    <a:cubicBezTo>
                      <a:pt x="45628" y="41110"/>
                      <a:pt x="50390" y="40157"/>
                      <a:pt x="52295" y="43015"/>
                    </a:cubicBezTo>
                    <a:cubicBezTo>
                      <a:pt x="54200" y="46825"/>
                      <a:pt x="57058" y="45872"/>
                      <a:pt x="58963" y="50635"/>
                    </a:cubicBezTo>
                    <a:cubicBezTo>
                      <a:pt x="60868" y="54445"/>
                      <a:pt x="64678" y="59207"/>
                      <a:pt x="65630" y="61112"/>
                    </a:cubicBezTo>
                    <a:cubicBezTo>
                      <a:pt x="66583" y="63017"/>
                      <a:pt x="72298" y="66827"/>
                      <a:pt x="74203" y="70637"/>
                    </a:cubicBezTo>
                    <a:cubicBezTo>
                      <a:pt x="76108" y="74447"/>
                      <a:pt x="84680" y="79210"/>
                      <a:pt x="84680" y="79210"/>
                    </a:cubicBezTo>
                    <a:cubicBezTo>
                      <a:pt x="84680" y="79210"/>
                      <a:pt x="92300" y="83020"/>
                      <a:pt x="95158" y="84925"/>
                    </a:cubicBezTo>
                    <a:cubicBezTo>
                      <a:pt x="98015" y="86830"/>
                      <a:pt x="100873" y="86830"/>
                      <a:pt x="105635" y="93497"/>
                    </a:cubicBezTo>
                    <a:cubicBezTo>
                      <a:pt x="111350" y="100165"/>
                      <a:pt x="119923" y="105880"/>
                      <a:pt x="119923" y="105880"/>
                    </a:cubicBezTo>
                    <a:cubicBezTo>
                      <a:pt x="119923" y="105880"/>
                      <a:pt x="121828" y="107785"/>
                      <a:pt x="125638" y="109690"/>
                    </a:cubicBezTo>
                    <a:cubicBezTo>
                      <a:pt x="128495" y="111595"/>
                      <a:pt x="138020" y="112547"/>
                      <a:pt x="138020" y="112547"/>
                    </a:cubicBezTo>
                    <a:cubicBezTo>
                      <a:pt x="138020" y="112547"/>
                      <a:pt x="142783" y="113500"/>
                      <a:pt x="145640" y="114452"/>
                    </a:cubicBezTo>
                    <a:cubicBezTo>
                      <a:pt x="148498" y="115405"/>
                      <a:pt x="150403" y="114452"/>
                      <a:pt x="153260" y="116357"/>
                    </a:cubicBezTo>
                    <a:cubicBezTo>
                      <a:pt x="156118" y="117310"/>
                      <a:pt x="151355" y="117310"/>
                      <a:pt x="156118" y="117310"/>
                    </a:cubicBezTo>
                    <a:cubicBezTo>
                      <a:pt x="161833" y="118262"/>
                      <a:pt x="163738" y="116357"/>
                      <a:pt x="167548" y="117310"/>
                    </a:cubicBezTo>
                    <a:cubicBezTo>
                      <a:pt x="170405" y="118262"/>
                      <a:pt x="175168" y="116357"/>
                      <a:pt x="175168" y="116357"/>
                    </a:cubicBezTo>
                    <a:cubicBezTo>
                      <a:pt x="175168" y="116357"/>
                      <a:pt x="178025" y="108737"/>
                      <a:pt x="178025" y="106832"/>
                    </a:cubicBezTo>
                    <a:cubicBezTo>
                      <a:pt x="178025" y="104927"/>
                      <a:pt x="175168" y="95402"/>
                      <a:pt x="175168" y="95402"/>
                    </a:cubicBezTo>
                    <a:cubicBezTo>
                      <a:pt x="175168" y="95402"/>
                      <a:pt x="177073" y="94450"/>
                      <a:pt x="175168" y="90640"/>
                    </a:cubicBezTo>
                    <a:cubicBezTo>
                      <a:pt x="173263" y="86830"/>
                      <a:pt x="167548" y="80162"/>
                      <a:pt x="167548" y="80162"/>
                    </a:cubicBezTo>
                    <a:lnTo>
                      <a:pt x="155165" y="73495"/>
                    </a:lnTo>
                    <a:cubicBezTo>
                      <a:pt x="155165" y="73495"/>
                      <a:pt x="152308" y="71590"/>
                      <a:pt x="147545" y="68732"/>
                    </a:cubicBezTo>
                    <a:cubicBezTo>
                      <a:pt x="142783" y="66827"/>
                      <a:pt x="140878" y="65875"/>
                      <a:pt x="135163" y="63017"/>
                    </a:cubicBezTo>
                    <a:cubicBezTo>
                      <a:pt x="129448" y="60160"/>
                      <a:pt x="125638" y="58255"/>
                      <a:pt x="125638" y="58255"/>
                    </a:cubicBezTo>
                    <a:lnTo>
                      <a:pt x="115160" y="51587"/>
                    </a:lnTo>
                    <a:lnTo>
                      <a:pt x="108493" y="44920"/>
                    </a:lnTo>
                    <a:lnTo>
                      <a:pt x="98015" y="38252"/>
                    </a:lnTo>
                    <a:cubicBezTo>
                      <a:pt x="98015" y="38252"/>
                      <a:pt x="88490" y="34442"/>
                      <a:pt x="88490" y="32537"/>
                    </a:cubicBezTo>
                    <a:cubicBezTo>
                      <a:pt x="88490" y="30632"/>
                      <a:pt x="81823" y="28727"/>
                      <a:pt x="81823" y="26822"/>
                    </a:cubicBezTo>
                    <a:cubicBezTo>
                      <a:pt x="81823" y="24917"/>
                      <a:pt x="69440" y="19202"/>
                      <a:pt x="69440" y="19202"/>
                    </a:cubicBezTo>
                    <a:lnTo>
                      <a:pt x="63725" y="17297"/>
                    </a:lnTo>
                    <a:lnTo>
                      <a:pt x="53248" y="11582"/>
                    </a:lnTo>
                    <a:lnTo>
                      <a:pt x="50390" y="8725"/>
                    </a:lnTo>
                    <a:lnTo>
                      <a:pt x="47533" y="4915"/>
                    </a:lnTo>
                    <a:lnTo>
                      <a:pt x="38008" y="1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59A09222-CA80-46E1-849B-D707EF15F173}"/>
                  </a:ext>
                </a:extLst>
              </p:cNvPr>
              <p:cNvSpPr/>
              <p:nvPr/>
            </p:nvSpPr>
            <p:spPr>
              <a:xfrm>
                <a:off x="10029642" y="4134861"/>
                <a:ext cx="180234" cy="32329"/>
              </a:xfrm>
              <a:custGeom>
                <a:avLst/>
                <a:gdLst>
                  <a:gd name="connsiteX0" fmla="*/ 68792 w 180234"/>
                  <a:gd name="connsiteY0" fmla="*/ 6337 h 32329"/>
                  <a:gd name="connsiteX1" fmla="*/ 62124 w 180234"/>
                  <a:gd name="connsiteY1" fmla="*/ 4432 h 32329"/>
                  <a:gd name="connsiteX2" fmla="*/ 34502 w 180234"/>
                  <a:gd name="connsiteY2" fmla="*/ 1575 h 32329"/>
                  <a:gd name="connsiteX3" fmla="*/ 24977 w 180234"/>
                  <a:gd name="connsiteY3" fmla="*/ 622 h 32329"/>
                  <a:gd name="connsiteX4" fmla="*/ 17357 w 180234"/>
                  <a:gd name="connsiteY4" fmla="*/ 622 h 32329"/>
                  <a:gd name="connsiteX5" fmla="*/ 5927 w 180234"/>
                  <a:gd name="connsiteY5" fmla="*/ 1575 h 32329"/>
                  <a:gd name="connsiteX6" fmla="*/ 2117 w 180234"/>
                  <a:gd name="connsiteY6" fmla="*/ 8242 h 32329"/>
                  <a:gd name="connsiteX7" fmla="*/ 2117 w 180234"/>
                  <a:gd name="connsiteY7" fmla="*/ 12052 h 32329"/>
                  <a:gd name="connsiteX8" fmla="*/ 2117 w 180234"/>
                  <a:gd name="connsiteY8" fmla="*/ 12052 h 32329"/>
                  <a:gd name="connsiteX9" fmla="*/ 10689 w 180234"/>
                  <a:gd name="connsiteY9" fmla="*/ 13957 h 32329"/>
                  <a:gd name="connsiteX10" fmla="*/ 13547 w 180234"/>
                  <a:gd name="connsiteY10" fmla="*/ 14910 h 32329"/>
                  <a:gd name="connsiteX11" fmla="*/ 26882 w 180234"/>
                  <a:gd name="connsiteY11" fmla="*/ 17767 h 32329"/>
                  <a:gd name="connsiteX12" fmla="*/ 39264 w 180234"/>
                  <a:gd name="connsiteY12" fmla="*/ 19672 h 32329"/>
                  <a:gd name="connsiteX13" fmla="*/ 60219 w 180234"/>
                  <a:gd name="connsiteY13" fmla="*/ 19672 h 32329"/>
                  <a:gd name="connsiteX14" fmla="*/ 70697 w 180234"/>
                  <a:gd name="connsiteY14" fmla="*/ 22530 h 32329"/>
                  <a:gd name="connsiteX15" fmla="*/ 86889 w 180234"/>
                  <a:gd name="connsiteY15" fmla="*/ 28245 h 32329"/>
                  <a:gd name="connsiteX16" fmla="*/ 115464 w 180234"/>
                  <a:gd name="connsiteY16" fmla="*/ 30150 h 32329"/>
                  <a:gd name="connsiteX17" fmla="*/ 127847 w 180234"/>
                  <a:gd name="connsiteY17" fmla="*/ 30150 h 32329"/>
                  <a:gd name="connsiteX18" fmla="*/ 150707 w 180234"/>
                  <a:gd name="connsiteY18" fmla="*/ 32055 h 32329"/>
                  <a:gd name="connsiteX19" fmla="*/ 164042 w 180234"/>
                  <a:gd name="connsiteY19" fmla="*/ 32055 h 32329"/>
                  <a:gd name="connsiteX20" fmla="*/ 176424 w 180234"/>
                  <a:gd name="connsiteY20" fmla="*/ 30150 h 32329"/>
                  <a:gd name="connsiteX21" fmla="*/ 179282 w 180234"/>
                  <a:gd name="connsiteY21" fmla="*/ 29197 h 32329"/>
                  <a:gd name="connsiteX22" fmla="*/ 180234 w 180234"/>
                  <a:gd name="connsiteY22" fmla="*/ 25387 h 32329"/>
                  <a:gd name="connsiteX23" fmla="*/ 180234 w 180234"/>
                  <a:gd name="connsiteY23" fmla="*/ 21577 h 32329"/>
                  <a:gd name="connsiteX24" fmla="*/ 163089 w 180234"/>
                  <a:gd name="connsiteY24" fmla="*/ 17767 h 32329"/>
                  <a:gd name="connsiteX25" fmla="*/ 151659 w 180234"/>
                  <a:gd name="connsiteY25" fmla="*/ 16814 h 32329"/>
                  <a:gd name="connsiteX26" fmla="*/ 128799 w 180234"/>
                  <a:gd name="connsiteY26" fmla="*/ 12052 h 32329"/>
                  <a:gd name="connsiteX27" fmla="*/ 117369 w 180234"/>
                  <a:gd name="connsiteY27" fmla="*/ 11100 h 32329"/>
                  <a:gd name="connsiteX28" fmla="*/ 103082 w 180234"/>
                  <a:gd name="connsiteY28" fmla="*/ 12052 h 32329"/>
                  <a:gd name="connsiteX29" fmla="*/ 68792 w 180234"/>
                  <a:gd name="connsiteY29" fmla="*/ 6337 h 3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234" h="32329">
                    <a:moveTo>
                      <a:pt x="68792" y="6337"/>
                    </a:moveTo>
                    <a:lnTo>
                      <a:pt x="62124" y="4432"/>
                    </a:lnTo>
                    <a:lnTo>
                      <a:pt x="34502" y="1575"/>
                    </a:lnTo>
                    <a:cubicBezTo>
                      <a:pt x="34502" y="1575"/>
                      <a:pt x="27834" y="-330"/>
                      <a:pt x="24977" y="622"/>
                    </a:cubicBezTo>
                    <a:cubicBezTo>
                      <a:pt x="22119" y="1575"/>
                      <a:pt x="17357" y="622"/>
                      <a:pt x="17357" y="622"/>
                    </a:cubicBezTo>
                    <a:cubicBezTo>
                      <a:pt x="17357" y="622"/>
                      <a:pt x="5927" y="-1283"/>
                      <a:pt x="5927" y="1575"/>
                    </a:cubicBezTo>
                    <a:cubicBezTo>
                      <a:pt x="5927" y="3480"/>
                      <a:pt x="2117" y="4432"/>
                      <a:pt x="2117" y="8242"/>
                    </a:cubicBezTo>
                    <a:cubicBezTo>
                      <a:pt x="2117" y="12052"/>
                      <a:pt x="2117" y="12052"/>
                      <a:pt x="2117" y="12052"/>
                    </a:cubicBezTo>
                    <a:cubicBezTo>
                      <a:pt x="2117" y="12052"/>
                      <a:pt x="-2646" y="10147"/>
                      <a:pt x="2117" y="12052"/>
                    </a:cubicBezTo>
                    <a:cubicBezTo>
                      <a:pt x="6879" y="13957"/>
                      <a:pt x="7832" y="13005"/>
                      <a:pt x="10689" y="13957"/>
                    </a:cubicBezTo>
                    <a:cubicBezTo>
                      <a:pt x="13547" y="14910"/>
                      <a:pt x="8784" y="14910"/>
                      <a:pt x="13547" y="14910"/>
                    </a:cubicBezTo>
                    <a:cubicBezTo>
                      <a:pt x="19262" y="14910"/>
                      <a:pt x="22119" y="15862"/>
                      <a:pt x="26882" y="17767"/>
                    </a:cubicBezTo>
                    <a:cubicBezTo>
                      <a:pt x="31644" y="19672"/>
                      <a:pt x="35454" y="19672"/>
                      <a:pt x="39264" y="19672"/>
                    </a:cubicBezTo>
                    <a:cubicBezTo>
                      <a:pt x="42122" y="20625"/>
                      <a:pt x="58314" y="17767"/>
                      <a:pt x="60219" y="19672"/>
                    </a:cubicBezTo>
                    <a:cubicBezTo>
                      <a:pt x="62124" y="21577"/>
                      <a:pt x="67839" y="20625"/>
                      <a:pt x="70697" y="22530"/>
                    </a:cubicBezTo>
                    <a:cubicBezTo>
                      <a:pt x="73554" y="24435"/>
                      <a:pt x="81174" y="27292"/>
                      <a:pt x="86889" y="28245"/>
                    </a:cubicBezTo>
                    <a:cubicBezTo>
                      <a:pt x="92604" y="29197"/>
                      <a:pt x="115464" y="30150"/>
                      <a:pt x="115464" y="30150"/>
                    </a:cubicBezTo>
                    <a:cubicBezTo>
                      <a:pt x="115464" y="30150"/>
                      <a:pt x="110702" y="28245"/>
                      <a:pt x="127847" y="30150"/>
                    </a:cubicBezTo>
                    <a:cubicBezTo>
                      <a:pt x="144039" y="32055"/>
                      <a:pt x="146897" y="32055"/>
                      <a:pt x="150707" y="32055"/>
                    </a:cubicBezTo>
                    <a:cubicBezTo>
                      <a:pt x="155469" y="33007"/>
                      <a:pt x="160232" y="31102"/>
                      <a:pt x="164042" y="32055"/>
                    </a:cubicBezTo>
                    <a:cubicBezTo>
                      <a:pt x="166899" y="33007"/>
                      <a:pt x="172614" y="31102"/>
                      <a:pt x="176424" y="30150"/>
                    </a:cubicBezTo>
                    <a:cubicBezTo>
                      <a:pt x="179282" y="29197"/>
                      <a:pt x="179282" y="29197"/>
                      <a:pt x="179282" y="29197"/>
                    </a:cubicBezTo>
                    <a:lnTo>
                      <a:pt x="180234" y="25387"/>
                    </a:lnTo>
                    <a:lnTo>
                      <a:pt x="180234" y="21577"/>
                    </a:lnTo>
                    <a:lnTo>
                      <a:pt x="163089" y="17767"/>
                    </a:lnTo>
                    <a:lnTo>
                      <a:pt x="151659" y="16814"/>
                    </a:lnTo>
                    <a:cubicBezTo>
                      <a:pt x="151659" y="16814"/>
                      <a:pt x="134514" y="12052"/>
                      <a:pt x="128799" y="12052"/>
                    </a:cubicBezTo>
                    <a:cubicBezTo>
                      <a:pt x="123084" y="12052"/>
                      <a:pt x="123084" y="11100"/>
                      <a:pt x="117369" y="11100"/>
                    </a:cubicBezTo>
                    <a:cubicBezTo>
                      <a:pt x="111654" y="11100"/>
                      <a:pt x="103082" y="12052"/>
                      <a:pt x="103082" y="12052"/>
                    </a:cubicBezTo>
                    <a:lnTo>
                      <a:pt x="68792" y="63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8A957847-AA8C-4E29-97A8-D91C6CB637F9}"/>
                  </a:ext>
                </a:extLst>
              </p:cNvPr>
              <p:cNvSpPr/>
              <p:nvPr/>
            </p:nvSpPr>
            <p:spPr>
              <a:xfrm>
                <a:off x="10098539" y="3994514"/>
                <a:ext cx="184679" cy="121708"/>
              </a:xfrm>
              <a:custGeom>
                <a:avLst/>
                <a:gdLst>
                  <a:gd name="connsiteX0" fmla="*/ 36089 w 184679"/>
                  <a:gd name="connsiteY0" fmla="*/ 51435 h 121708"/>
                  <a:gd name="connsiteX1" fmla="*/ 20849 w 184679"/>
                  <a:gd name="connsiteY1" fmla="*/ 56198 h 121708"/>
                  <a:gd name="connsiteX2" fmla="*/ 11324 w 184679"/>
                  <a:gd name="connsiteY2" fmla="*/ 56198 h 121708"/>
                  <a:gd name="connsiteX3" fmla="*/ 8467 w 184679"/>
                  <a:gd name="connsiteY3" fmla="*/ 57150 h 121708"/>
                  <a:gd name="connsiteX4" fmla="*/ 847 w 184679"/>
                  <a:gd name="connsiteY4" fmla="*/ 67627 h 121708"/>
                  <a:gd name="connsiteX5" fmla="*/ 847 w 184679"/>
                  <a:gd name="connsiteY5" fmla="*/ 74295 h 121708"/>
                  <a:gd name="connsiteX6" fmla="*/ 2752 w 184679"/>
                  <a:gd name="connsiteY6" fmla="*/ 77152 h 121708"/>
                  <a:gd name="connsiteX7" fmla="*/ 9419 w 184679"/>
                  <a:gd name="connsiteY7" fmla="*/ 83820 h 121708"/>
                  <a:gd name="connsiteX8" fmla="*/ 12277 w 184679"/>
                  <a:gd name="connsiteY8" fmla="*/ 91440 h 121708"/>
                  <a:gd name="connsiteX9" fmla="*/ 11324 w 184679"/>
                  <a:gd name="connsiteY9" fmla="*/ 100965 h 121708"/>
                  <a:gd name="connsiteX10" fmla="*/ 17039 w 184679"/>
                  <a:gd name="connsiteY10" fmla="*/ 106680 h 121708"/>
                  <a:gd name="connsiteX11" fmla="*/ 33232 w 184679"/>
                  <a:gd name="connsiteY11" fmla="*/ 112395 h 121708"/>
                  <a:gd name="connsiteX12" fmla="*/ 38947 w 184679"/>
                  <a:gd name="connsiteY12" fmla="*/ 114300 h 121708"/>
                  <a:gd name="connsiteX13" fmla="*/ 54187 w 184679"/>
                  <a:gd name="connsiteY13" fmla="*/ 113348 h 121708"/>
                  <a:gd name="connsiteX14" fmla="*/ 57997 w 184679"/>
                  <a:gd name="connsiteY14" fmla="*/ 113348 h 121708"/>
                  <a:gd name="connsiteX15" fmla="*/ 67522 w 184679"/>
                  <a:gd name="connsiteY15" fmla="*/ 112395 h 121708"/>
                  <a:gd name="connsiteX16" fmla="*/ 80857 w 184679"/>
                  <a:gd name="connsiteY16" fmla="*/ 114300 h 121708"/>
                  <a:gd name="connsiteX17" fmla="*/ 89429 w 184679"/>
                  <a:gd name="connsiteY17" fmla="*/ 119062 h 121708"/>
                  <a:gd name="connsiteX18" fmla="*/ 95144 w 184679"/>
                  <a:gd name="connsiteY18" fmla="*/ 120015 h 121708"/>
                  <a:gd name="connsiteX19" fmla="*/ 110384 w 184679"/>
                  <a:gd name="connsiteY19" fmla="*/ 120015 h 121708"/>
                  <a:gd name="connsiteX20" fmla="*/ 116099 w 184679"/>
                  <a:gd name="connsiteY20" fmla="*/ 120015 h 121708"/>
                  <a:gd name="connsiteX21" fmla="*/ 120862 w 184679"/>
                  <a:gd name="connsiteY21" fmla="*/ 108585 h 121708"/>
                  <a:gd name="connsiteX22" fmla="*/ 120862 w 184679"/>
                  <a:gd name="connsiteY22" fmla="*/ 100965 h 121708"/>
                  <a:gd name="connsiteX23" fmla="*/ 127529 w 184679"/>
                  <a:gd name="connsiteY23" fmla="*/ 97155 h 121708"/>
                  <a:gd name="connsiteX24" fmla="*/ 141817 w 184679"/>
                  <a:gd name="connsiteY24" fmla="*/ 89535 h 121708"/>
                  <a:gd name="connsiteX25" fmla="*/ 147532 w 184679"/>
                  <a:gd name="connsiteY25" fmla="*/ 80962 h 121708"/>
                  <a:gd name="connsiteX26" fmla="*/ 148484 w 184679"/>
                  <a:gd name="connsiteY26" fmla="*/ 77152 h 121708"/>
                  <a:gd name="connsiteX27" fmla="*/ 153247 w 184679"/>
                  <a:gd name="connsiteY27" fmla="*/ 75248 h 121708"/>
                  <a:gd name="connsiteX28" fmla="*/ 159914 w 184679"/>
                  <a:gd name="connsiteY28" fmla="*/ 68580 h 121708"/>
                  <a:gd name="connsiteX29" fmla="*/ 161819 w 184679"/>
                  <a:gd name="connsiteY29" fmla="*/ 61912 h 121708"/>
                  <a:gd name="connsiteX30" fmla="*/ 160867 w 184679"/>
                  <a:gd name="connsiteY30" fmla="*/ 53340 h 121708"/>
                  <a:gd name="connsiteX31" fmla="*/ 157057 w 184679"/>
                  <a:gd name="connsiteY31" fmla="*/ 44768 h 121708"/>
                  <a:gd name="connsiteX32" fmla="*/ 155151 w 184679"/>
                  <a:gd name="connsiteY32" fmla="*/ 40005 h 121708"/>
                  <a:gd name="connsiteX33" fmla="*/ 157057 w 184679"/>
                  <a:gd name="connsiteY33" fmla="*/ 35243 h 121708"/>
                  <a:gd name="connsiteX34" fmla="*/ 162772 w 184679"/>
                  <a:gd name="connsiteY34" fmla="*/ 31432 h 121708"/>
                  <a:gd name="connsiteX35" fmla="*/ 167534 w 184679"/>
                  <a:gd name="connsiteY35" fmla="*/ 29527 h 121708"/>
                  <a:gd name="connsiteX36" fmla="*/ 175154 w 184679"/>
                  <a:gd name="connsiteY36" fmla="*/ 26670 h 121708"/>
                  <a:gd name="connsiteX37" fmla="*/ 183726 w 184679"/>
                  <a:gd name="connsiteY37" fmla="*/ 22860 h 121708"/>
                  <a:gd name="connsiteX38" fmla="*/ 184679 w 184679"/>
                  <a:gd name="connsiteY38" fmla="*/ 16193 h 121708"/>
                  <a:gd name="connsiteX39" fmla="*/ 177059 w 184679"/>
                  <a:gd name="connsiteY39" fmla="*/ 12382 h 121708"/>
                  <a:gd name="connsiteX40" fmla="*/ 169439 w 184679"/>
                  <a:gd name="connsiteY40" fmla="*/ 12382 h 121708"/>
                  <a:gd name="connsiteX41" fmla="*/ 156104 w 184679"/>
                  <a:gd name="connsiteY41" fmla="*/ 5715 h 121708"/>
                  <a:gd name="connsiteX42" fmla="*/ 154199 w 184679"/>
                  <a:gd name="connsiteY42" fmla="*/ 1905 h 121708"/>
                  <a:gd name="connsiteX43" fmla="*/ 141817 w 184679"/>
                  <a:gd name="connsiteY43" fmla="*/ 0 h 121708"/>
                  <a:gd name="connsiteX44" fmla="*/ 131339 w 184679"/>
                  <a:gd name="connsiteY44" fmla="*/ 4763 h 121708"/>
                  <a:gd name="connsiteX45" fmla="*/ 126576 w 184679"/>
                  <a:gd name="connsiteY45" fmla="*/ 8573 h 121708"/>
                  <a:gd name="connsiteX46" fmla="*/ 118957 w 184679"/>
                  <a:gd name="connsiteY46" fmla="*/ 19050 h 121708"/>
                  <a:gd name="connsiteX47" fmla="*/ 98954 w 184679"/>
                  <a:gd name="connsiteY47" fmla="*/ 27623 h 121708"/>
                  <a:gd name="connsiteX48" fmla="*/ 90382 w 184679"/>
                  <a:gd name="connsiteY48" fmla="*/ 33337 h 121708"/>
                  <a:gd name="connsiteX49" fmla="*/ 85619 w 184679"/>
                  <a:gd name="connsiteY49" fmla="*/ 36195 h 121708"/>
                  <a:gd name="connsiteX50" fmla="*/ 63712 w 184679"/>
                  <a:gd name="connsiteY50" fmla="*/ 39052 h 121708"/>
                  <a:gd name="connsiteX51" fmla="*/ 58949 w 184679"/>
                  <a:gd name="connsiteY51" fmla="*/ 42862 h 121708"/>
                  <a:gd name="connsiteX52" fmla="*/ 57997 w 184679"/>
                  <a:gd name="connsiteY52" fmla="*/ 45720 h 121708"/>
                  <a:gd name="connsiteX53" fmla="*/ 50377 w 184679"/>
                  <a:gd name="connsiteY53" fmla="*/ 52387 h 121708"/>
                  <a:gd name="connsiteX54" fmla="*/ 36089 w 184679"/>
                  <a:gd name="connsiteY54" fmla="*/ 51435 h 12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79" h="121708">
                    <a:moveTo>
                      <a:pt x="36089" y="51435"/>
                    </a:moveTo>
                    <a:lnTo>
                      <a:pt x="20849" y="56198"/>
                    </a:lnTo>
                    <a:cubicBezTo>
                      <a:pt x="20849" y="56198"/>
                      <a:pt x="14182" y="55245"/>
                      <a:pt x="11324" y="56198"/>
                    </a:cubicBezTo>
                    <a:cubicBezTo>
                      <a:pt x="8467" y="57150"/>
                      <a:pt x="10372" y="54293"/>
                      <a:pt x="8467" y="57150"/>
                    </a:cubicBezTo>
                    <a:cubicBezTo>
                      <a:pt x="6562" y="60007"/>
                      <a:pt x="847" y="65723"/>
                      <a:pt x="847" y="67627"/>
                    </a:cubicBezTo>
                    <a:cubicBezTo>
                      <a:pt x="847" y="69532"/>
                      <a:pt x="-1058" y="71437"/>
                      <a:pt x="847" y="74295"/>
                    </a:cubicBezTo>
                    <a:cubicBezTo>
                      <a:pt x="2752" y="77152"/>
                      <a:pt x="-1058" y="72390"/>
                      <a:pt x="2752" y="77152"/>
                    </a:cubicBezTo>
                    <a:cubicBezTo>
                      <a:pt x="6562" y="80962"/>
                      <a:pt x="8467" y="80010"/>
                      <a:pt x="9419" y="83820"/>
                    </a:cubicBezTo>
                    <a:cubicBezTo>
                      <a:pt x="10372" y="87630"/>
                      <a:pt x="12277" y="86677"/>
                      <a:pt x="12277" y="91440"/>
                    </a:cubicBezTo>
                    <a:cubicBezTo>
                      <a:pt x="12277" y="96202"/>
                      <a:pt x="11324" y="100965"/>
                      <a:pt x="11324" y="100965"/>
                    </a:cubicBezTo>
                    <a:lnTo>
                      <a:pt x="17039" y="106680"/>
                    </a:lnTo>
                    <a:cubicBezTo>
                      <a:pt x="17039" y="106680"/>
                      <a:pt x="27517" y="111443"/>
                      <a:pt x="33232" y="112395"/>
                    </a:cubicBezTo>
                    <a:cubicBezTo>
                      <a:pt x="38947" y="114300"/>
                      <a:pt x="38947" y="114300"/>
                      <a:pt x="38947" y="114300"/>
                    </a:cubicBezTo>
                    <a:cubicBezTo>
                      <a:pt x="38947" y="114300"/>
                      <a:pt x="51329" y="113348"/>
                      <a:pt x="54187" y="113348"/>
                    </a:cubicBezTo>
                    <a:cubicBezTo>
                      <a:pt x="57997" y="113348"/>
                      <a:pt x="52282" y="114300"/>
                      <a:pt x="57997" y="113348"/>
                    </a:cubicBezTo>
                    <a:cubicBezTo>
                      <a:pt x="63712" y="112395"/>
                      <a:pt x="67522" y="112395"/>
                      <a:pt x="67522" y="112395"/>
                    </a:cubicBezTo>
                    <a:lnTo>
                      <a:pt x="80857" y="114300"/>
                    </a:lnTo>
                    <a:lnTo>
                      <a:pt x="89429" y="119062"/>
                    </a:lnTo>
                    <a:cubicBezTo>
                      <a:pt x="89429" y="119062"/>
                      <a:pt x="91334" y="119062"/>
                      <a:pt x="95144" y="120015"/>
                    </a:cubicBezTo>
                    <a:cubicBezTo>
                      <a:pt x="98002" y="120968"/>
                      <a:pt x="104669" y="120015"/>
                      <a:pt x="110384" y="120015"/>
                    </a:cubicBezTo>
                    <a:cubicBezTo>
                      <a:pt x="116099" y="120015"/>
                      <a:pt x="112289" y="123825"/>
                      <a:pt x="116099" y="120015"/>
                    </a:cubicBezTo>
                    <a:cubicBezTo>
                      <a:pt x="119909" y="116205"/>
                      <a:pt x="120862" y="108585"/>
                      <a:pt x="120862" y="108585"/>
                    </a:cubicBezTo>
                    <a:lnTo>
                      <a:pt x="120862" y="100965"/>
                    </a:lnTo>
                    <a:lnTo>
                      <a:pt x="127529" y="97155"/>
                    </a:lnTo>
                    <a:cubicBezTo>
                      <a:pt x="134197" y="93345"/>
                      <a:pt x="138959" y="91440"/>
                      <a:pt x="141817" y="89535"/>
                    </a:cubicBezTo>
                    <a:cubicBezTo>
                      <a:pt x="145626" y="87630"/>
                      <a:pt x="147532" y="80962"/>
                      <a:pt x="147532" y="80962"/>
                    </a:cubicBezTo>
                    <a:lnTo>
                      <a:pt x="148484" y="77152"/>
                    </a:lnTo>
                    <a:cubicBezTo>
                      <a:pt x="148484" y="77152"/>
                      <a:pt x="148484" y="76200"/>
                      <a:pt x="153247" y="75248"/>
                    </a:cubicBezTo>
                    <a:cubicBezTo>
                      <a:pt x="158009" y="74295"/>
                      <a:pt x="158962" y="70485"/>
                      <a:pt x="159914" y="68580"/>
                    </a:cubicBezTo>
                    <a:cubicBezTo>
                      <a:pt x="160867" y="66675"/>
                      <a:pt x="161819" y="64770"/>
                      <a:pt x="161819" y="61912"/>
                    </a:cubicBezTo>
                    <a:cubicBezTo>
                      <a:pt x="161819" y="59055"/>
                      <a:pt x="160867" y="53340"/>
                      <a:pt x="160867" y="53340"/>
                    </a:cubicBezTo>
                    <a:lnTo>
                      <a:pt x="157057" y="44768"/>
                    </a:lnTo>
                    <a:lnTo>
                      <a:pt x="155151" y="40005"/>
                    </a:lnTo>
                    <a:cubicBezTo>
                      <a:pt x="155151" y="40005"/>
                      <a:pt x="152294" y="38100"/>
                      <a:pt x="157057" y="35243"/>
                    </a:cubicBezTo>
                    <a:cubicBezTo>
                      <a:pt x="162772" y="31432"/>
                      <a:pt x="162772" y="31432"/>
                      <a:pt x="162772" y="31432"/>
                    </a:cubicBezTo>
                    <a:cubicBezTo>
                      <a:pt x="162772" y="31432"/>
                      <a:pt x="163724" y="30480"/>
                      <a:pt x="167534" y="29527"/>
                    </a:cubicBezTo>
                    <a:cubicBezTo>
                      <a:pt x="170392" y="28575"/>
                      <a:pt x="172297" y="26670"/>
                      <a:pt x="175154" y="26670"/>
                    </a:cubicBezTo>
                    <a:cubicBezTo>
                      <a:pt x="178012" y="26670"/>
                      <a:pt x="182774" y="26670"/>
                      <a:pt x="183726" y="22860"/>
                    </a:cubicBezTo>
                    <a:cubicBezTo>
                      <a:pt x="184679" y="19050"/>
                      <a:pt x="184679" y="16193"/>
                      <a:pt x="184679" y="16193"/>
                    </a:cubicBezTo>
                    <a:cubicBezTo>
                      <a:pt x="181822" y="13335"/>
                      <a:pt x="177059" y="12382"/>
                      <a:pt x="177059" y="12382"/>
                    </a:cubicBezTo>
                    <a:cubicBezTo>
                      <a:pt x="177059" y="12382"/>
                      <a:pt x="172297" y="12382"/>
                      <a:pt x="169439" y="12382"/>
                    </a:cubicBezTo>
                    <a:cubicBezTo>
                      <a:pt x="166582" y="12382"/>
                      <a:pt x="156104" y="5715"/>
                      <a:pt x="156104" y="5715"/>
                    </a:cubicBezTo>
                    <a:lnTo>
                      <a:pt x="154199" y="1905"/>
                    </a:lnTo>
                    <a:lnTo>
                      <a:pt x="141817" y="0"/>
                    </a:lnTo>
                    <a:lnTo>
                      <a:pt x="131339" y="4763"/>
                    </a:lnTo>
                    <a:cubicBezTo>
                      <a:pt x="131339" y="4763"/>
                      <a:pt x="126576" y="4763"/>
                      <a:pt x="126576" y="8573"/>
                    </a:cubicBezTo>
                    <a:cubicBezTo>
                      <a:pt x="126576" y="12382"/>
                      <a:pt x="125624" y="15240"/>
                      <a:pt x="118957" y="19050"/>
                    </a:cubicBezTo>
                    <a:cubicBezTo>
                      <a:pt x="112289" y="22860"/>
                      <a:pt x="98954" y="27623"/>
                      <a:pt x="98954" y="27623"/>
                    </a:cubicBezTo>
                    <a:cubicBezTo>
                      <a:pt x="97049" y="31432"/>
                      <a:pt x="94192" y="30480"/>
                      <a:pt x="90382" y="33337"/>
                    </a:cubicBezTo>
                    <a:cubicBezTo>
                      <a:pt x="85619" y="36195"/>
                      <a:pt x="98002" y="34290"/>
                      <a:pt x="85619" y="36195"/>
                    </a:cubicBezTo>
                    <a:cubicBezTo>
                      <a:pt x="73237" y="38100"/>
                      <a:pt x="63712" y="37148"/>
                      <a:pt x="63712" y="39052"/>
                    </a:cubicBezTo>
                    <a:cubicBezTo>
                      <a:pt x="63712" y="40957"/>
                      <a:pt x="60854" y="40005"/>
                      <a:pt x="58949" y="42862"/>
                    </a:cubicBezTo>
                    <a:cubicBezTo>
                      <a:pt x="57997" y="45720"/>
                      <a:pt x="65617" y="39052"/>
                      <a:pt x="57997" y="45720"/>
                    </a:cubicBezTo>
                    <a:cubicBezTo>
                      <a:pt x="50377" y="52387"/>
                      <a:pt x="50377" y="52387"/>
                      <a:pt x="50377" y="52387"/>
                    </a:cubicBezTo>
                    <a:lnTo>
                      <a:pt x="36089" y="514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378A2351-D210-4DEF-9292-E194A4C09812}"/>
                  </a:ext>
                </a:extLst>
              </p:cNvPr>
              <p:cNvSpPr/>
              <p:nvPr/>
            </p:nvSpPr>
            <p:spPr>
              <a:xfrm>
                <a:off x="10261229" y="4082144"/>
                <a:ext cx="82949" cy="53339"/>
              </a:xfrm>
              <a:custGeom>
                <a:avLst/>
                <a:gdLst>
                  <a:gd name="connsiteX0" fmla="*/ 76282 w 82949"/>
                  <a:gd name="connsiteY0" fmla="*/ 0 h 53339"/>
                  <a:gd name="connsiteX1" fmla="*/ 53422 w 82949"/>
                  <a:gd name="connsiteY1" fmla="*/ 2857 h 53339"/>
                  <a:gd name="connsiteX2" fmla="*/ 41992 w 82949"/>
                  <a:gd name="connsiteY2" fmla="*/ 3810 h 53339"/>
                  <a:gd name="connsiteX3" fmla="*/ 16274 w 82949"/>
                  <a:gd name="connsiteY3" fmla="*/ 3810 h 53339"/>
                  <a:gd name="connsiteX4" fmla="*/ 7702 w 82949"/>
                  <a:gd name="connsiteY4" fmla="*/ 8572 h 53339"/>
                  <a:gd name="connsiteX5" fmla="*/ 82 w 82949"/>
                  <a:gd name="connsiteY5" fmla="*/ 18097 h 53339"/>
                  <a:gd name="connsiteX6" fmla="*/ 1035 w 82949"/>
                  <a:gd name="connsiteY6" fmla="*/ 20002 h 53339"/>
                  <a:gd name="connsiteX7" fmla="*/ 8654 w 82949"/>
                  <a:gd name="connsiteY7" fmla="*/ 26670 h 53339"/>
                  <a:gd name="connsiteX8" fmla="*/ 10560 w 82949"/>
                  <a:gd name="connsiteY8" fmla="*/ 31432 h 53339"/>
                  <a:gd name="connsiteX9" fmla="*/ 8654 w 82949"/>
                  <a:gd name="connsiteY9" fmla="*/ 38100 h 53339"/>
                  <a:gd name="connsiteX10" fmla="*/ 4845 w 82949"/>
                  <a:gd name="connsiteY10" fmla="*/ 45720 h 53339"/>
                  <a:gd name="connsiteX11" fmla="*/ 3892 w 82949"/>
                  <a:gd name="connsiteY11" fmla="*/ 50482 h 53339"/>
                  <a:gd name="connsiteX12" fmla="*/ 10560 w 82949"/>
                  <a:gd name="connsiteY12" fmla="*/ 53340 h 53339"/>
                  <a:gd name="connsiteX13" fmla="*/ 19132 w 82949"/>
                  <a:gd name="connsiteY13" fmla="*/ 53340 h 53339"/>
                  <a:gd name="connsiteX14" fmla="*/ 23895 w 82949"/>
                  <a:gd name="connsiteY14" fmla="*/ 52388 h 53339"/>
                  <a:gd name="connsiteX15" fmla="*/ 21990 w 82949"/>
                  <a:gd name="connsiteY15" fmla="*/ 44767 h 53339"/>
                  <a:gd name="connsiteX16" fmla="*/ 24847 w 82949"/>
                  <a:gd name="connsiteY16" fmla="*/ 36195 h 53339"/>
                  <a:gd name="connsiteX17" fmla="*/ 28657 w 82949"/>
                  <a:gd name="connsiteY17" fmla="*/ 32385 h 53339"/>
                  <a:gd name="connsiteX18" fmla="*/ 37229 w 82949"/>
                  <a:gd name="connsiteY18" fmla="*/ 32385 h 53339"/>
                  <a:gd name="connsiteX19" fmla="*/ 42945 w 82949"/>
                  <a:gd name="connsiteY19" fmla="*/ 31432 h 53339"/>
                  <a:gd name="connsiteX20" fmla="*/ 45802 w 82949"/>
                  <a:gd name="connsiteY20" fmla="*/ 35242 h 53339"/>
                  <a:gd name="connsiteX21" fmla="*/ 49612 w 82949"/>
                  <a:gd name="connsiteY21" fmla="*/ 41910 h 53339"/>
                  <a:gd name="connsiteX22" fmla="*/ 57232 w 82949"/>
                  <a:gd name="connsiteY22" fmla="*/ 48577 h 53339"/>
                  <a:gd name="connsiteX23" fmla="*/ 62947 w 82949"/>
                  <a:gd name="connsiteY23" fmla="*/ 50482 h 53339"/>
                  <a:gd name="connsiteX24" fmla="*/ 67710 w 82949"/>
                  <a:gd name="connsiteY24" fmla="*/ 50482 h 53339"/>
                  <a:gd name="connsiteX25" fmla="*/ 69615 w 82949"/>
                  <a:gd name="connsiteY25" fmla="*/ 43815 h 53339"/>
                  <a:gd name="connsiteX26" fmla="*/ 75329 w 82949"/>
                  <a:gd name="connsiteY26" fmla="*/ 42863 h 53339"/>
                  <a:gd name="connsiteX27" fmla="*/ 81045 w 82949"/>
                  <a:gd name="connsiteY27" fmla="*/ 41910 h 53339"/>
                  <a:gd name="connsiteX28" fmla="*/ 81997 w 82949"/>
                  <a:gd name="connsiteY28" fmla="*/ 32385 h 53339"/>
                  <a:gd name="connsiteX29" fmla="*/ 82949 w 82949"/>
                  <a:gd name="connsiteY29" fmla="*/ 28575 h 53339"/>
                  <a:gd name="connsiteX30" fmla="*/ 81045 w 82949"/>
                  <a:gd name="connsiteY30" fmla="*/ 24765 h 53339"/>
                  <a:gd name="connsiteX31" fmla="*/ 70567 w 82949"/>
                  <a:gd name="connsiteY31" fmla="*/ 20002 h 53339"/>
                  <a:gd name="connsiteX32" fmla="*/ 64852 w 82949"/>
                  <a:gd name="connsiteY32" fmla="*/ 14288 h 53339"/>
                  <a:gd name="connsiteX33" fmla="*/ 71520 w 82949"/>
                  <a:gd name="connsiteY33" fmla="*/ 8572 h 53339"/>
                  <a:gd name="connsiteX34" fmla="*/ 76282 w 82949"/>
                  <a:gd name="connsiteY34" fmla="*/ 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949" h="53339">
                    <a:moveTo>
                      <a:pt x="76282" y="0"/>
                    </a:moveTo>
                    <a:cubicBezTo>
                      <a:pt x="76282" y="0"/>
                      <a:pt x="56279" y="1905"/>
                      <a:pt x="53422" y="2857"/>
                    </a:cubicBezTo>
                    <a:cubicBezTo>
                      <a:pt x="49612" y="3810"/>
                      <a:pt x="41992" y="3810"/>
                      <a:pt x="41992" y="3810"/>
                    </a:cubicBezTo>
                    <a:lnTo>
                      <a:pt x="16274" y="3810"/>
                    </a:lnTo>
                    <a:cubicBezTo>
                      <a:pt x="10560" y="4763"/>
                      <a:pt x="8654" y="5715"/>
                      <a:pt x="7702" y="8572"/>
                    </a:cubicBezTo>
                    <a:cubicBezTo>
                      <a:pt x="6749" y="11430"/>
                      <a:pt x="-871" y="15240"/>
                      <a:pt x="82" y="18097"/>
                    </a:cubicBezTo>
                    <a:cubicBezTo>
                      <a:pt x="1035" y="20002"/>
                      <a:pt x="1035" y="20002"/>
                      <a:pt x="1035" y="20002"/>
                    </a:cubicBezTo>
                    <a:lnTo>
                      <a:pt x="8654" y="26670"/>
                    </a:lnTo>
                    <a:lnTo>
                      <a:pt x="10560" y="31432"/>
                    </a:lnTo>
                    <a:cubicBezTo>
                      <a:pt x="10560" y="31432"/>
                      <a:pt x="10560" y="34290"/>
                      <a:pt x="8654" y="38100"/>
                    </a:cubicBezTo>
                    <a:cubicBezTo>
                      <a:pt x="6749" y="41910"/>
                      <a:pt x="6749" y="43815"/>
                      <a:pt x="4845" y="45720"/>
                    </a:cubicBezTo>
                    <a:cubicBezTo>
                      <a:pt x="3892" y="47625"/>
                      <a:pt x="3892" y="50482"/>
                      <a:pt x="3892" y="50482"/>
                    </a:cubicBezTo>
                    <a:lnTo>
                      <a:pt x="10560" y="53340"/>
                    </a:lnTo>
                    <a:lnTo>
                      <a:pt x="19132" y="53340"/>
                    </a:lnTo>
                    <a:lnTo>
                      <a:pt x="23895" y="52388"/>
                    </a:lnTo>
                    <a:lnTo>
                      <a:pt x="21990" y="44767"/>
                    </a:lnTo>
                    <a:lnTo>
                      <a:pt x="24847" y="36195"/>
                    </a:lnTo>
                    <a:lnTo>
                      <a:pt x="28657" y="32385"/>
                    </a:lnTo>
                    <a:lnTo>
                      <a:pt x="37229" y="32385"/>
                    </a:lnTo>
                    <a:lnTo>
                      <a:pt x="42945" y="31432"/>
                    </a:lnTo>
                    <a:cubicBezTo>
                      <a:pt x="42945" y="31432"/>
                      <a:pt x="44849" y="33338"/>
                      <a:pt x="45802" y="35242"/>
                    </a:cubicBezTo>
                    <a:cubicBezTo>
                      <a:pt x="46754" y="37147"/>
                      <a:pt x="47707" y="39052"/>
                      <a:pt x="49612" y="41910"/>
                    </a:cubicBezTo>
                    <a:cubicBezTo>
                      <a:pt x="51517" y="45720"/>
                      <a:pt x="57232" y="48577"/>
                      <a:pt x="57232" y="48577"/>
                    </a:cubicBezTo>
                    <a:lnTo>
                      <a:pt x="62947" y="50482"/>
                    </a:lnTo>
                    <a:lnTo>
                      <a:pt x="67710" y="50482"/>
                    </a:lnTo>
                    <a:cubicBezTo>
                      <a:pt x="67710" y="50482"/>
                      <a:pt x="64852" y="45720"/>
                      <a:pt x="69615" y="43815"/>
                    </a:cubicBezTo>
                    <a:cubicBezTo>
                      <a:pt x="75329" y="42863"/>
                      <a:pt x="75329" y="42863"/>
                      <a:pt x="75329" y="42863"/>
                    </a:cubicBezTo>
                    <a:lnTo>
                      <a:pt x="81045" y="41910"/>
                    </a:lnTo>
                    <a:lnTo>
                      <a:pt x="81997" y="32385"/>
                    </a:lnTo>
                    <a:lnTo>
                      <a:pt x="82949" y="28575"/>
                    </a:lnTo>
                    <a:lnTo>
                      <a:pt x="81045" y="24765"/>
                    </a:lnTo>
                    <a:lnTo>
                      <a:pt x="70567" y="20002"/>
                    </a:lnTo>
                    <a:lnTo>
                      <a:pt x="64852" y="14288"/>
                    </a:lnTo>
                    <a:cubicBezTo>
                      <a:pt x="64852" y="14288"/>
                      <a:pt x="68662" y="10477"/>
                      <a:pt x="71520" y="8572"/>
                    </a:cubicBezTo>
                    <a:cubicBezTo>
                      <a:pt x="73424" y="6667"/>
                      <a:pt x="76282" y="0"/>
                      <a:pt x="762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B5340F61-72D8-4376-A3F3-63B049750B87}"/>
                  </a:ext>
                </a:extLst>
              </p:cNvPr>
              <p:cNvSpPr/>
              <p:nvPr/>
            </p:nvSpPr>
            <p:spPr>
              <a:xfrm>
                <a:off x="10282596" y="4057140"/>
                <a:ext cx="88252" cy="16430"/>
              </a:xfrm>
              <a:custGeom>
                <a:avLst/>
                <a:gdLst>
                  <a:gd name="connsiteX0" fmla="*/ 83490 w 88252"/>
                  <a:gd name="connsiteY0" fmla="*/ 7858 h 16430"/>
                  <a:gd name="connsiteX1" fmla="*/ 69202 w 88252"/>
                  <a:gd name="connsiteY1" fmla="*/ 12621 h 16430"/>
                  <a:gd name="connsiteX2" fmla="*/ 51105 w 88252"/>
                  <a:gd name="connsiteY2" fmla="*/ 13573 h 16430"/>
                  <a:gd name="connsiteX3" fmla="*/ 34912 w 88252"/>
                  <a:gd name="connsiteY3" fmla="*/ 13573 h 16430"/>
                  <a:gd name="connsiteX4" fmla="*/ 16815 w 88252"/>
                  <a:gd name="connsiteY4" fmla="*/ 16431 h 16430"/>
                  <a:gd name="connsiteX5" fmla="*/ 4432 w 88252"/>
                  <a:gd name="connsiteY5" fmla="*/ 16431 h 16430"/>
                  <a:gd name="connsiteX6" fmla="*/ 622 w 88252"/>
                  <a:gd name="connsiteY6" fmla="*/ 10716 h 16430"/>
                  <a:gd name="connsiteX7" fmla="*/ 1574 w 88252"/>
                  <a:gd name="connsiteY7" fmla="*/ 7858 h 16430"/>
                  <a:gd name="connsiteX8" fmla="*/ 4432 w 88252"/>
                  <a:gd name="connsiteY8" fmla="*/ 7858 h 16430"/>
                  <a:gd name="connsiteX9" fmla="*/ 15862 w 88252"/>
                  <a:gd name="connsiteY9" fmla="*/ 5953 h 16430"/>
                  <a:gd name="connsiteX10" fmla="*/ 32055 w 88252"/>
                  <a:gd name="connsiteY10" fmla="*/ 4048 h 16430"/>
                  <a:gd name="connsiteX11" fmla="*/ 45390 w 88252"/>
                  <a:gd name="connsiteY11" fmla="*/ 238 h 16430"/>
                  <a:gd name="connsiteX12" fmla="*/ 53962 w 88252"/>
                  <a:gd name="connsiteY12" fmla="*/ 1191 h 16430"/>
                  <a:gd name="connsiteX13" fmla="*/ 68249 w 88252"/>
                  <a:gd name="connsiteY13" fmla="*/ 2143 h 16430"/>
                  <a:gd name="connsiteX14" fmla="*/ 80632 w 88252"/>
                  <a:gd name="connsiteY14" fmla="*/ 238 h 16430"/>
                  <a:gd name="connsiteX15" fmla="*/ 88252 w 88252"/>
                  <a:gd name="connsiteY15" fmla="*/ 238 h 16430"/>
                  <a:gd name="connsiteX16" fmla="*/ 83490 w 88252"/>
                  <a:gd name="connsiteY16" fmla="*/ 7858 h 1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252" h="16430">
                    <a:moveTo>
                      <a:pt x="83490" y="7858"/>
                    </a:moveTo>
                    <a:cubicBezTo>
                      <a:pt x="83490" y="7858"/>
                      <a:pt x="74917" y="11668"/>
                      <a:pt x="69202" y="12621"/>
                    </a:cubicBezTo>
                    <a:cubicBezTo>
                      <a:pt x="63487" y="13573"/>
                      <a:pt x="56819" y="13573"/>
                      <a:pt x="51105" y="13573"/>
                    </a:cubicBezTo>
                    <a:cubicBezTo>
                      <a:pt x="45390" y="13573"/>
                      <a:pt x="38722" y="12621"/>
                      <a:pt x="34912" y="13573"/>
                    </a:cubicBezTo>
                    <a:cubicBezTo>
                      <a:pt x="30149" y="14526"/>
                      <a:pt x="16815" y="16431"/>
                      <a:pt x="16815" y="16431"/>
                    </a:cubicBezTo>
                    <a:lnTo>
                      <a:pt x="4432" y="16431"/>
                    </a:lnTo>
                    <a:lnTo>
                      <a:pt x="622" y="10716"/>
                    </a:lnTo>
                    <a:cubicBezTo>
                      <a:pt x="622" y="10716"/>
                      <a:pt x="-1283" y="7858"/>
                      <a:pt x="1574" y="7858"/>
                    </a:cubicBezTo>
                    <a:cubicBezTo>
                      <a:pt x="4432" y="7858"/>
                      <a:pt x="622" y="8811"/>
                      <a:pt x="4432" y="7858"/>
                    </a:cubicBezTo>
                    <a:cubicBezTo>
                      <a:pt x="9194" y="6906"/>
                      <a:pt x="15862" y="5953"/>
                      <a:pt x="15862" y="5953"/>
                    </a:cubicBezTo>
                    <a:lnTo>
                      <a:pt x="32055" y="4048"/>
                    </a:lnTo>
                    <a:lnTo>
                      <a:pt x="45390" y="238"/>
                    </a:lnTo>
                    <a:cubicBezTo>
                      <a:pt x="45390" y="238"/>
                      <a:pt x="47294" y="-714"/>
                      <a:pt x="53962" y="1191"/>
                    </a:cubicBezTo>
                    <a:cubicBezTo>
                      <a:pt x="60630" y="3096"/>
                      <a:pt x="62535" y="2143"/>
                      <a:pt x="68249" y="2143"/>
                    </a:cubicBezTo>
                    <a:cubicBezTo>
                      <a:pt x="73965" y="2143"/>
                      <a:pt x="80632" y="238"/>
                      <a:pt x="80632" y="238"/>
                    </a:cubicBezTo>
                    <a:lnTo>
                      <a:pt x="88252" y="238"/>
                    </a:lnTo>
                    <a:lnTo>
                      <a:pt x="83490" y="78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AA3248A0-B972-415B-8966-403B2868E56A}"/>
                  </a:ext>
                </a:extLst>
              </p:cNvPr>
              <p:cNvSpPr/>
              <p:nvPr/>
            </p:nvSpPr>
            <p:spPr>
              <a:xfrm>
                <a:off x="10345817" y="4157391"/>
                <a:ext cx="73609" cy="38100"/>
              </a:xfrm>
              <a:custGeom>
                <a:avLst/>
                <a:gdLst>
                  <a:gd name="connsiteX0" fmla="*/ 54559 w 73609"/>
                  <a:gd name="connsiteY0" fmla="*/ 4763 h 38100"/>
                  <a:gd name="connsiteX1" fmla="*/ 45986 w 73609"/>
                  <a:gd name="connsiteY1" fmla="*/ 8572 h 38100"/>
                  <a:gd name="connsiteX2" fmla="*/ 37414 w 73609"/>
                  <a:gd name="connsiteY2" fmla="*/ 10478 h 38100"/>
                  <a:gd name="connsiteX3" fmla="*/ 34557 w 73609"/>
                  <a:gd name="connsiteY3" fmla="*/ 10478 h 38100"/>
                  <a:gd name="connsiteX4" fmla="*/ 29794 w 73609"/>
                  <a:gd name="connsiteY4" fmla="*/ 14288 h 38100"/>
                  <a:gd name="connsiteX5" fmla="*/ 9792 w 73609"/>
                  <a:gd name="connsiteY5" fmla="*/ 20003 h 38100"/>
                  <a:gd name="connsiteX6" fmla="*/ 8839 w 73609"/>
                  <a:gd name="connsiteY6" fmla="*/ 21908 h 38100"/>
                  <a:gd name="connsiteX7" fmla="*/ 1219 w 73609"/>
                  <a:gd name="connsiteY7" fmla="*/ 28575 h 38100"/>
                  <a:gd name="connsiteX8" fmla="*/ 267 w 73609"/>
                  <a:gd name="connsiteY8" fmla="*/ 32385 h 38100"/>
                  <a:gd name="connsiteX9" fmla="*/ 8839 w 73609"/>
                  <a:gd name="connsiteY9" fmla="*/ 38100 h 38100"/>
                  <a:gd name="connsiteX10" fmla="*/ 17411 w 73609"/>
                  <a:gd name="connsiteY10" fmla="*/ 35242 h 38100"/>
                  <a:gd name="connsiteX11" fmla="*/ 23127 w 73609"/>
                  <a:gd name="connsiteY11" fmla="*/ 25717 h 38100"/>
                  <a:gd name="connsiteX12" fmla="*/ 29794 w 73609"/>
                  <a:gd name="connsiteY12" fmla="*/ 19050 h 38100"/>
                  <a:gd name="connsiteX13" fmla="*/ 36461 w 73609"/>
                  <a:gd name="connsiteY13" fmla="*/ 19050 h 38100"/>
                  <a:gd name="connsiteX14" fmla="*/ 55511 w 73609"/>
                  <a:gd name="connsiteY14" fmla="*/ 15240 h 38100"/>
                  <a:gd name="connsiteX15" fmla="*/ 59322 w 73609"/>
                  <a:gd name="connsiteY15" fmla="*/ 12383 h 38100"/>
                  <a:gd name="connsiteX16" fmla="*/ 72657 w 73609"/>
                  <a:gd name="connsiteY16" fmla="*/ 8572 h 38100"/>
                  <a:gd name="connsiteX17" fmla="*/ 73609 w 73609"/>
                  <a:gd name="connsiteY17" fmla="*/ 4763 h 38100"/>
                  <a:gd name="connsiteX18" fmla="*/ 66942 w 73609"/>
                  <a:gd name="connsiteY18" fmla="*/ 0 h 38100"/>
                  <a:gd name="connsiteX19" fmla="*/ 54559 w 73609"/>
                  <a:gd name="connsiteY19" fmla="*/ 47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09" h="38100">
                    <a:moveTo>
                      <a:pt x="54559" y="4763"/>
                    </a:moveTo>
                    <a:cubicBezTo>
                      <a:pt x="54559" y="4763"/>
                      <a:pt x="47892" y="5715"/>
                      <a:pt x="45986" y="8572"/>
                    </a:cubicBezTo>
                    <a:cubicBezTo>
                      <a:pt x="44082" y="10478"/>
                      <a:pt x="40272" y="10478"/>
                      <a:pt x="37414" y="10478"/>
                    </a:cubicBezTo>
                    <a:cubicBezTo>
                      <a:pt x="34557" y="10478"/>
                      <a:pt x="38367" y="6667"/>
                      <a:pt x="34557" y="10478"/>
                    </a:cubicBezTo>
                    <a:cubicBezTo>
                      <a:pt x="29794" y="14288"/>
                      <a:pt x="41224" y="12383"/>
                      <a:pt x="29794" y="14288"/>
                    </a:cubicBezTo>
                    <a:cubicBezTo>
                      <a:pt x="18364" y="17145"/>
                      <a:pt x="10744" y="18097"/>
                      <a:pt x="9792" y="20003"/>
                    </a:cubicBezTo>
                    <a:cubicBezTo>
                      <a:pt x="8839" y="21908"/>
                      <a:pt x="12649" y="19050"/>
                      <a:pt x="8839" y="21908"/>
                    </a:cubicBezTo>
                    <a:cubicBezTo>
                      <a:pt x="4077" y="24765"/>
                      <a:pt x="1219" y="28575"/>
                      <a:pt x="1219" y="28575"/>
                    </a:cubicBezTo>
                    <a:cubicBezTo>
                      <a:pt x="1219" y="28575"/>
                      <a:pt x="-686" y="28575"/>
                      <a:pt x="267" y="32385"/>
                    </a:cubicBezTo>
                    <a:cubicBezTo>
                      <a:pt x="1219" y="36195"/>
                      <a:pt x="8839" y="38100"/>
                      <a:pt x="8839" y="38100"/>
                    </a:cubicBezTo>
                    <a:cubicBezTo>
                      <a:pt x="8839" y="38100"/>
                      <a:pt x="15507" y="38100"/>
                      <a:pt x="17411" y="35242"/>
                    </a:cubicBezTo>
                    <a:cubicBezTo>
                      <a:pt x="19317" y="32385"/>
                      <a:pt x="21222" y="29528"/>
                      <a:pt x="23127" y="25717"/>
                    </a:cubicBezTo>
                    <a:cubicBezTo>
                      <a:pt x="25032" y="21908"/>
                      <a:pt x="29794" y="19050"/>
                      <a:pt x="29794" y="19050"/>
                    </a:cubicBezTo>
                    <a:lnTo>
                      <a:pt x="36461" y="19050"/>
                    </a:lnTo>
                    <a:lnTo>
                      <a:pt x="55511" y="15240"/>
                    </a:lnTo>
                    <a:lnTo>
                      <a:pt x="59322" y="12383"/>
                    </a:lnTo>
                    <a:lnTo>
                      <a:pt x="72657" y="8572"/>
                    </a:lnTo>
                    <a:lnTo>
                      <a:pt x="73609" y="4763"/>
                    </a:lnTo>
                    <a:lnTo>
                      <a:pt x="66942" y="0"/>
                    </a:lnTo>
                    <a:lnTo>
                      <a:pt x="54559"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1AD2861C-29EE-46FF-8F52-E2EF9A3033A2}"/>
                  </a:ext>
                </a:extLst>
              </p:cNvPr>
              <p:cNvSpPr/>
              <p:nvPr/>
            </p:nvSpPr>
            <p:spPr>
              <a:xfrm>
                <a:off x="10318778" y="3951228"/>
                <a:ext cx="81597" cy="61383"/>
              </a:xfrm>
              <a:custGeom>
                <a:avLst/>
                <a:gdLst>
                  <a:gd name="connsiteX0" fmla="*/ 79692 w 81597"/>
                  <a:gd name="connsiteY0" fmla="*/ 49001 h 61383"/>
                  <a:gd name="connsiteX1" fmla="*/ 74930 w 81597"/>
                  <a:gd name="connsiteY1" fmla="*/ 53763 h 61383"/>
                  <a:gd name="connsiteX2" fmla="*/ 70167 w 81597"/>
                  <a:gd name="connsiteY2" fmla="*/ 59478 h 61383"/>
                  <a:gd name="connsiteX3" fmla="*/ 56833 w 81597"/>
                  <a:gd name="connsiteY3" fmla="*/ 61383 h 61383"/>
                  <a:gd name="connsiteX4" fmla="*/ 50165 w 81597"/>
                  <a:gd name="connsiteY4" fmla="*/ 58526 h 61383"/>
                  <a:gd name="connsiteX5" fmla="*/ 49212 w 81597"/>
                  <a:gd name="connsiteY5" fmla="*/ 54716 h 61383"/>
                  <a:gd name="connsiteX6" fmla="*/ 45403 w 81597"/>
                  <a:gd name="connsiteY6" fmla="*/ 49001 h 61383"/>
                  <a:gd name="connsiteX7" fmla="*/ 42545 w 81597"/>
                  <a:gd name="connsiteY7" fmla="*/ 43286 h 61383"/>
                  <a:gd name="connsiteX8" fmla="*/ 37783 w 81597"/>
                  <a:gd name="connsiteY8" fmla="*/ 41381 h 61383"/>
                  <a:gd name="connsiteX9" fmla="*/ 31115 w 81597"/>
                  <a:gd name="connsiteY9" fmla="*/ 41381 h 61383"/>
                  <a:gd name="connsiteX10" fmla="*/ 23495 w 81597"/>
                  <a:gd name="connsiteY10" fmla="*/ 44238 h 61383"/>
                  <a:gd name="connsiteX11" fmla="*/ 12065 w 81597"/>
                  <a:gd name="connsiteY11" fmla="*/ 44238 h 61383"/>
                  <a:gd name="connsiteX12" fmla="*/ 2540 w 81597"/>
                  <a:gd name="connsiteY12" fmla="*/ 40428 h 61383"/>
                  <a:gd name="connsiteX13" fmla="*/ 2540 w 81597"/>
                  <a:gd name="connsiteY13" fmla="*/ 30903 h 61383"/>
                  <a:gd name="connsiteX14" fmla="*/ 14923 w 81597"/>
                  <a:gd name="connsiteY14" fmla="*/ 28998 h 61383"/>
                  <a:gd name="connsiteX15" fmla="*/ 20637 w 81597"/>
                  <a:gd name="connsiteY15" fmla="*/ 28998 h 61383"/>
                  <a:gd name="connsiteX16" fmla="*/ 19685 w 81597"/>
                  <a:gd name="connsiteY16" fmla="*/ 19473 h 61383"/>
                  <a:gd name="connsiteX17" fmla="*/ 13017 w 81597"/>
                  <a:gd name="connsiteY17" fmla="*/ 12806 h 61383"/>
                  <a:gd name="connsiteX18" fmla="*/ 2540 w 81597"/>
                  <a:gd name="connsiteY18" fmla="*/ 6138 h 61383"/>
                  <a:gd name="connsiteX19" fmla="*/ 1587 w 81597"/>
                  <a:gd name="connsiteY19" fmla="*/ 2328 h 61383"/>
                  <a:gd name="connsiteX20" fmla="*/ 9208 w 81597"/>
                  <a:gd name="connsiteY20" fmla="*/ 423 h 61383"/>
                  <a:gd name="connsiteX21" fmla="*/ 13970 w 81597"/>
                  <a:gd name="connsiteY21" fmla="*/ 423 h 61383"/>
                  <a:gd name="connsiteX22" fmla="*/ 29210 w 81597"/>
                  <a:gd name="connsiteY22" fmla="*/ 1376 h 61383"/>
                  <a:gd name="connsiteX23" fmla="*/ 31115 w 81597"/>
                  <a:gd name="connsiteY23" fmla="*/ 5186 h 61383"/>
                  <a:gd name="connsiteX24" fmla="*/ 40640 w 81597"/>
                  <a:gd name="connsiteY24" fmla="*/ 13758 h 61383"/>
                  <a:gd name="connsiteX25" fmla="*/ 54928 w 81597"/>
                  <a:gd name="connsiteY25" fmla="*/ 15663 h 61383"/>
                  <a:gd name="connsiteX26" fmla="*/ 64453 w 81597"/>
                  <a:gd name="connsiteY26" fmla="*/ 15663 h 61383"/>
                  <a:gd name="connsiteX27" fmla="*/ 72073 w 81597"/>
                  <a:gd name="connsiteY27" fmla="*/ 16616 h 61383"/>
                  <a:gd name="connsiteX28" fmla="*/ 81598 w 81597"/>
                  <a:gd name="connsiteY28" fmla="*/ 24236 h 61383"/>
                  <a:gd name="connsiteX29" fmla="*/ 81598 w 81597"/>
                  <a:gd name="connsiteY29" fmla="*/ 29951 h 61383"/>
                  <a:gd name="connsiteX30" fmla="*/ 81598 w 81597"/>
                  <a:gd name="connsiteY30" fmla="*/ 33761 h 61383"/>
                  <a:gd name="connsiteX31" fmla="*/ 79692 w 81597"/>
                  <a:gd name="connsiteY31" fmla="*/ 39476 h 61383"/>
                  <a:gd name="connsiteX32" fmla="*/ 79692 w 81597"/>
                  <a:gd name="connsiteY32" fmla="*/ 49001 h 6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597" h="61383">
                    <a:moveTo>
                      <a:pt x="79692" y="49001"/>
                    </a:moveTo>
                    <a:cubicBezTo>
                      <a:pt x="79692" y="49001"/>
                      <a:pt x="74930" y="50906"/>
                      <a:pt x="74930" y="53763"/>
                    </a:cubicBezTo>
                    <a:cubicBezTo>
                      <a:pt x="74930" y="56621"/>
                      <a:pt x="76835" y="57573"/>
                      <a:pt x="70167" y="59478"/>
                    </a:cubicBezTo>
                    <a:cubicBezTo>
                      <a:pt x="63500" y="61383"/>
                      <a:pt x="56833" y="61383"/>
                      <a:pt x="56833" y="61383"/>
                    </a:cubicBezTo>
                    <a:lnTo>
                      <a:pt x="50165" y="58526"/>
                    </a:lnTo>
                    <a:lnTo>
                      <a:pt x="49212" y="54716"/>
                    </a:lnTo>
                    <a:lnTo>
                      <a:pt x="45403" y="49001"/>
                    </a:lnTo>
                    <a:lnTo>
                      <a:pt x="42545" y="43286"/>
                    </a:lnTo>
                    <a:lnTo>
                      <a:pt x="37783" y="41381"/>
                    </a:lnTo>
                    <a:lnTo>
                      <a:pt x="31115" y="41381"/>
                    </a:lnTo>
                    <a:lnTo>
                      <a:pt x="23495" y="44238"/>
                    </a:lnTo>
                    <a:lnTo>
                      <a:pt x="12065" y="44238"/>
                    </a:lnTo>
                    <a:cubicBezTo>
                      <a:pt x="12065" y="44238"/>
                      <a:pt x="2540" y="42333"/>
                      <a:pt x="2540" y="40428"/>
                    </a:cubicBezTo>
                    <a:cubicBezTo>
                      <a:pt x="2540" y="38523"/>
                      <a:pt x="-3175" y="30903"/>
                      <a:pt x="2540" y="30903"/>
                    </a:cubicBezTo>
                    <a:cubicBezTo>
                      <a:pt x="8255" y="30903"/>
                      <a:pt x="9208" y="28998"/>
                      <a:pt x="14923" y="28998"/>
                    </a:cubicBezTo>
                    <a:cubicBezTo>
                      <a:pt x="20637" y="28998"/>
                      <a:pt x="20637" y="28998"/>
                      <a:pt x="20637" y="28998"/>
                    </a:cubicBezTo>
                    <a:lnTo>
                      <a:pt x="19685" y="19473"/>
                    </a:lnTo>
                    <a:lnTo>
                      <a:pt x="13017" y="12806"/>
                    </a:lnTo>
                    <a:lnTo>
                      <a:pt x="2540" y="6138"/>
                    </a:lnTo>
                    <a:lnTo>
                      <a:pt x="1587" y="2328"/>
                    </a:lnTo>
                    <a:lnTo>
                      <a:pt x="9208" y="423"/>
                    </a:lnTo>
                    <a:cubicBezTo>
                      <a:pt x="9208" y="423"/>
                      <a:pt x="8255" y="-529"/>
                      <a:pt x="13970" y="423"/>
                    </a:cubicBezTo>
                    <a:cubicBezTo>
                      <a:pt x="19685" y="1376"/>
                      <a:pt x="29210" y="1376"/>
                      <a:pt x="29210" y="1376"/>
                    </a:cubicBezTo>
                    <a:cubicBezTo>
                      <a:pt x="29210" y="1376"/>
                      <a:pt x="28258" y="2328"/>
                      <a:pt x="31115" y="5186"/>
                    </a:cubicBezTo>
                    <a:cubicBezTo>
                      <a:pt x="33973" y="8043"/>
                      <a:pt x="36830" y="12806"/>
                      <a:pt x="40640" y="13758"/>
                    </a:cubicBezTo>
                    <a:cubicBezTo>
                      <a:pt x="45403" y="14711"/>
                      <a:pt x="54928" y="15663"/>
                      <a:pt x="54928" y="15663"/>
                    </a:cubicBezTo>
                    <a:lnTo>
                      <a:pt x="64453" y="15663"/>
                    </a:lnTo>
                    <a:cubicBezTo>
                      <a:pt x="64453" y="15663"/>
                      <a:pt x="65405" y="13758"/>
                      <a:pt x="72073" y="16616"/>
                    </a:cubicBezTo>
                    <a:cubicBezTo>
                      <a:pt x="78740" y="19473"/>
                      <a:pt x="81598" y="21378"/>
                      <a:pt x="81598" y="24236"/>
                    </a:cubicBezTo>
                    <a:cubicBezTo>
                      <a:pt x="81598" y="27093"/>
                      <a:pt x="81598" y="25188"/>
                      <a:pt x="81598" y="29951"/>
                    </a:cubicBezTo>
                    <a:cubicBezTo>
                      <a:pt x="81598" y="33761"/>
                      <a:pt x="81598" y="33761"/>
                      <a:pt x="81598" y="33761"/>
                    </a:cubicBezTo>
                    <a:cubicBezTo>
                      <a:pt x="81598" y="33761"/>
                      <a:pt x="79692" y="37571"/>
                      <a:pt x="79692" y="39476"/>
                    </a:cubicBezTo>
                    <a:cubicBezTo>
                      <a:pt x="79692" y="40428"/>
                      <a:pt x="79692" y="49001"/>
                      <a:pt x="79692" y="4900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CB3DC2D7-29C4-434F-B98F-84BFF27C8CF3}"/>
                  </a:ext>
                </a:extLst>
              </p:cNvPr>
              <p:cNvSpPr/>
              <p:nvPr/>
            </p:nvSpPr>
            <p:spPr>
              <a:xfrm>
                <a:off x="10338390" y="3909741"/>
                <a:ext cx="57223" cy="41910"/>
              </a:xfrm>
              <a:custGeom>
                <a:avLst/>
                <a:gdLst>
                  <a:gd name="connsiteX0" fmla="*/ 57224 w 57223"/>
                  <a:gd name="connsiteY0" fmla="*/ 40958 h 41910"/>
                  <a:gd name="connsiteX1" fmla="*/ 57224 w 57223"/>
                  <a:gd name="connsiteY1" fmla="*/ 34290 h 41910"/>
                  <a:gd name="connsiteX2" fmla="*/ 57224 w 57223"/>
                  <a:gd name="connsiteY2" fmla="*/ 27623 h 41910"/>
                  <a:gd name="connsiteX3" fmla="*/ 52461 w 57223"/>
                  <a:gd name="connsiteY3" fmla="*/ 22860 h 41910"/>
                  <a:gd name="connsiteX4" fmla="*/ 41984 w 57223"/>
                  <a:gd name="connsiteY4" fmla="*/ 18098 h 41910"/>
                  <a:gd name="connsiteX5" fmla="*/ 38174 w 57223"/>
                  <a:gd name="connsiteY5" fmla="*/ 11430 h 41910"/>
                  <a:gd name="connsiteX6" fmla="*/ 38174 w 57223"/>
                  <a:gd name="connsiteY6" fmla="*/ 8573 h 41910"/>
                  <a:gd name="connsiteX7" fmla="*/ 29601 w 57223"/>
                  <a:gd name="connsiteY7" fmla="*/ 1905 h 41910"/>
                  <a:gd name="connsiteX8" fmla="*/ 21981 w 57223"/>
                  <a:gd name="connsiteY8" fmla="*/ 0 h 41910"/>
                  <a:gd name="connsiteX9" fmla="*/ 12456 w 57223"/>
                  <a:gd name="connsiteY9" fmla="*/ 952 h 41910"/>
                  <a:gd name="connsiteX10" fmla="*/ 7694 w 57223"/>
                  <a:gd name="connsiteY10" fmla="*/ 3810 h 41910"/>
                  <a:gd name="connsiteX11" fmla="*/ 74 w 57223"/>
                  <a:gd name="connsiteY11" fmla="*/ 4763 h 41910"/>
                  <a:gd name="connsiteX12" fmla="*/ 10551 w 57223"/>
                  <a:gd name="connsiteY12" fmla="*/ 15240 h 41910"/>
                  <a:gd name="connsiteX13" fmla="*/ 11504 w 57223"/>
                  <a:gd name="connsiteY13" fmla="*/ 19050 h 41910"/>
                  <a:gd name="connsiteX14" fmla="*/ 11504 w 57223"/>
                  <a:gd name="connsiteY14" fmla="*/ 25717 h 41910"/>
                  <a:gd name="connsiteX15" fmla="*/ 18172 w 57223"/>
                  <a:gd name="connsiteY15" fmla="*/ 27623 h 41910"/>
                  <a:gd name="connsiteX16" fmla="*/ 21029 w 57223"/>
                  <a:gd name="connsiteY16" fmla="*/ 31433 h 41910"/>
                  <a:gd name="connsiteX17" fmla="*/ 24839 w 57223"/>
                  <a:gd name="connsiteY17" fmla="*/ 39052 h 41910"/>
                  <a:gd name="connsiteX18" fmla="*/ 29601 w 57223"/>
                  <a:gd name="connsiteY18" fmla="*/ 40958 h 41910"/>
                  <a:gd name="connsiteX19" fmla="*/ 38174 w 57223"/>
                  <a:gd name="connsiteY19" fmla="*/ 41910 h 41910"/>
                  <a:gd name="connsiteX20" fmla="*/ 44841 w 57223"/>
                  <a:gd name="connsiteY20" fmla="*/ 41910 h 41910"/>
                  <a:gd name="connsiteX21" fmla="*/ 57224 w 57223"/>
                  <a:gd name="connsiteY21" fmla="*/ 40958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23" h="41910">
                    <a:moveTo>
                      <a:pt x="57224" y="40958"/>
                    </a:moveTo>
                    <a:lnTo>
                      <a:pt x="57224" y="34290"/>
                    </a:lnTo>
                    <a:lnTo>
                      <a:pt x="57224" y="27623"/>
                    </a:lnTo>
                    <a:lnTo>
                      <a:pt x="52461" y="22860"/>
                    </a:lnTo>
                    <a:lnTo>
                      <a:pt x="41984" y="18098"/>
                    </a:lnTo>
                    <a:lnTo>
                      <a:pt x="38174" y="11430"/>
                    </a:lnTo>
                    <a:lnTo>
                      <a:pt x="38174" y="8573"/>
                    </a:lnTo>
                    <a:lnTo>
                      <a:pt x="29601" y="1905"/>
                    </a:lnTo>
                    <a:lnTo>
                      <a:pt x="21981" y="0"/>
                    </a:lnTo>
                    <a:lnTo>
                      <a:pt x="12456" y="952"/>
                    </a:lnTo>
                    <a:lnTo>
                      <a:pt x="7694" y="3810"/>
                    </a:lnTo>
                    <a:cubicBezTo>
                      <a:pt x="7694" y="3810"/>
                      <a:pt x="-878" y="-952"/>
                      <a:pt x="74" y="4763"/>
                    </a:cubicBezTo>
                    <a:cubicBezTo>
                      <a:pt x="1026" y="10477"/>
                      <a:pt x="10551" y="15240"/>
                      <a:pt x="10551" y="15240"/>
                    </a:cubicBezTo>
                    <a:cubicBezTo>
                      <a:pt x="10551" y="15240"/>
                      <a:pt x="11504" y="16192"/>
                      <a:pt x="11504" y="19050"/>
                    </a:cubicBezTo>
                    <a:cubicBezTo>
                      <a:pt x="11504" y="21908"/>
                      <a:pt x="4836" y="22860"/>
                      <a:pt x="11504" y="25717"/>
                    </a:cubicBezTo>
                    <a:cubicBezTo>
                      <a:pt x="18172" y="27623"/>
                      <a:pt x="18172" y="27623"/>
                      <a:pt x="18172" y="27623"/>
                    </a:cubicBezTo>
                    <a:cubicBezTo>
                      <a:pt x="18172" y="27623"/>
                      <a:pt x="20076" y="29527"/>
                      <a:pt x="21029" y="31433"/>
                    </a:cubicBezTo>
                    <a:cubicBezTo>
                      <a:pt x="21981" y="33338"/>
                      <a:pt x="24839" y="39052"/>
                      <a:pt x="24839" y="39052"/>
                    </a:cubicBezTo>
                    <a:lnTo>
                      <a:pt x="29601" y="40958"/>
                    </a:lnTo>
                    <a:lnTo>
                      <a:pt x="38174" y="41910"/>
                    </a:lnTo>
                    <a:lnTo>
                      <a:pt x="44841" y="41910"/>
                    </a:lnTo>
                    <a:lnTo>
                      <a:pt x="57224" y="409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E308B6DB-FCE6-4EF7-B8D5-42AF6ADE8A0D}"/>
                  </a:ext>
                </a:extLst>
              </p:cNvPr>
              <p:cNvSpPr/>
              <p:nvPr/>
            </p:nvSpPr>
            <p:spPr>
              <a:xfrm>
                <a:off x="10279408" y="3862116"/>
                <a:ext cx="55244" cy="53339"/>
              </a:xfrm>
              <a:custGeom>
                <a:avLst/>
                <a:gdLst>
                  <a:gd name="connsiteX0" fmla="*/ 34290 w 55244"/>
                  <a:gd name="connsiteY0" fmla="*/ 53340 h 53339"/>
                  <a:gd name="connsiteX1" fmla="*/ 40005 w 55244"/>
                  <a:gd name="connsiteY1" fmla="*/ 50483 h 53339"/>
                  <a:gd name="connsiteX2" fmla="*/ 40957 w 55244"/>
                  <a:gd name="connsiteY2" fmla="*/ 44767 h 53339"/>
                  <a:gd name="connsiteX3" fmla="*/ 48578 w 55244"/>
                  <a:gd name="connsiteY3" fmla="*/ 35242 h 53339"/>
                  <a:gd name="connsiteX4" fmla="*/ 51435 w 55244"/>
                  <a:gd name="connsiteY4" fmla="*/ 24765 h 53339"/>
                  <a:gd name="connsiteX5" fmla="*/ 51435 w 55244"/>
                  <a:gd name="connsiteY5" fmla="*/ 19050 h 53339"/>
                  <a:gd name="connsiteX6" fmla="*/ 55245 w 55244"/>
                  <a:gd name="connsiteY6" fmla="*/ 7620 h 53339"/>
                  <a:gd name="connsiteX7" fmla="*/ 54293 w 55244"/>
                  <a:gd name="connsiteY7" fmla="*/ 3810 h 53339"/>
                  <a:gd name="connsiteX8" fmla="*/ 44768 w 55244"/>
                  <a:gd name="connsiteY8" fmla="*/ 0 h 53339"/>
                  <a:gd name="connsiteX9" fmla="*/ 36195 w 55244"/>
                  <a:gd name="connsiteY9" fmla="*/ 0 h 53339"/>
                  <a:gd name="connsiteX10" fmla="*/ 19050 w 55244"/>
                  <a:gd name="connsiteY10" fmla="*/ 13335 h 53339"/>
                  <a:gd name="connsiteX11" fmla="*/ 14288 w 55244"/>
                  <a:gd name="connsiteY11" fmla="*/ 20002 h 53339"/>
                  <a:gd name="connsiteX12" fmla="*/ 5715 w 55244"/>
                  <a:gd name="connsiteY12" fmla="*/ 23813 h 53339"/>
                  <a:gd name="connsiteX13" fmla="*/ 3810 w 55244"/>
                  <a:gd name="connsiteY13" fmla="*/ 27623 h 53339"/>
                  <a:gd name="connsiteX14" fmla="*/ 0 w 55244"/>
                  <a:gd name="connsiteY14" fmla="*/ 34290 h 53339"/>
                  <a:gd name="connsiteX15" fmla="*/ 2857 w 55244"/>
                  <a:gd name="connsiteY15" fmla="*/ 40005 h 53339"/>
                  <a:gd name="connsiteX16" fmla="*/ 10478 w 55244"/>
                  <a:gd name="connsiteY16" fmla="*/ 41910 h 53339"/>
                  <a:gd name="connsiteX17" fmla="*/ 19050 w 55244"/>
                  <a:gd name="connsiteY17" fmla="*/ 43815 h 53339"/>
                  <a:gd name="connsiteX18" fmla="*/ 21907 w 55244"/>
                  <a:gd name="connsiteY18" fmla="*/ 47625 h 53339"/>
                  <a:gd name="connsiteX19" fmla="*/ 34290 w 55244"/>
                  <a:gd name="connsiteY19" fmla="*/ 53340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244" h="53339">
                    <a:moveTo>
                      <a:pt x="34290" y="53340"/>
                    </a:moveTo>
                    <a:lnTo>
                      <a:pt x="40005" y="50483"/>
                    </a:lnTo>
                    <a:cubicBezTo>
                      <a:pt x="40005" y="50483"/>
                      <a:pt x="38100" y="46673"/>
                      <a:pt x="40957" y="44767"/>
                    </a:cubicBezTo>
                    <a:cubicBezTo>
                      <a:pt x="43815" y="43815"/>
                      <a:pt x="48578" y="35242"/>
                      <a:pt x="48578" y="35242"/>
                    </a:cubicBezTo>
                    <a:cubicBezTo>
                      <a:pt x="48578" y="35242"/>
                      <a:pt x="48578" y="26670"/>
                      <a:pt x="51435" y="24765"/>
                    </a:cubicBezTo>
                    <a:cubicBezTo>
                      <a:pt x="53340" y="22860"/>
                      <a:pt x="49530" y="20955"/>
                      <a:pt x="51435" y="19050"/>
                    </a:cubicBezTo>
                    <a:cubicBezTo>
                      <a:pt x="53340" y="17145"/>
                      <a:pt x="55245" y="7620"/>
                      <a:pt x="55245" y="7620"/>
                    </a:cubicBezTo>
                    <a:lnTo>
                      <a:pt x="54293" y="3810"/>
                    </a:lnTo>
                    <a:lnTo>
                      <a:pt x="44768" y="0"/>
                    </a:lnTo>
                    <a:lnTo>
                      <a:pt x="36195" y="0"/>
                    </a:lnTo>
                    <a:cubicBezTo>
                      <a:pt x="27623" y="9525"/>
                      <a:pt x="19050" y="9525"/>
                      <a:pt x="19050" y="13335"/>
                    </a:cubicBezTo>
                    <a:cubicBezTo>
                      <a:pt x="19050" y="17145"/>
                      <a:pt x="14288" y="17145"/>
                      <a:pt x="14288" y="20002"/>
                    </a:cubicBezTo>
                    <a:cubicBezTo>
                      <a:pt x="14288" y="22860"/>
                      <a:pt x="5715" y="23813"/>
                      <a:pt x="5715" y="23813"/>
                    </a:cubicBezTo>
                    <a:cubicBezTo>
                      <a:pt x="3810" y="27623"/>
                      <a:pt x="6668" y="22860"/>
                      <a:pt x="3810" y="27623"/>
                    </a:cubicBezTo>
                    <a:cubicBezTo>
                      <a:pt x="0" y="31433"/>
                      <a:pt x="0" y="31433"/>
                      <a:pt x="0" y="34290"/>
                    </a:cubicBezTo>
                    <a:cubicBezTo>
                      <a:pt x="0" y="37148"/>
                      <a:pt x="2857" y="40005"/>
                      <a:pt x="2857" y="40005"/>
                    </a:cubicBezTo>
                    <a:lnTo>
                      <a:pt x="10478" y="41910"/>
                    </a:lnTo>
                    <a:lnTo>
                      <a:pt x="19050" y="43815"/>
                    </a:lnTo>
                    <a:cubicBezTo>
                      <a:pt x="21907" y="47625"/>
                      <a:pt x="21907" y="43815"/>
                      <a:pt x="21907" y="47625"/>
                    </a:cubicBezTo>
                    <a:cubicBezTo>
                      <a:pt x="21907" y="49530"/>
                      <a:pt x="34290" y="53340"/>
                      <a:pt x="34290" y="533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3CA5F1C7-5AA6-4C42-BD76-C78CB7FE2F82}"/>
                  </a:ext>
                </a:extLst>
              </p:cNvPr>
              <p:cNvSpPr/>
              <p:nvPr/>
            </p:nvSpPr>
            <p:spPr>
              <a:xfrm>
                <a:off x="10294158" y="3778011"/>
                <a:ext cx="34890" cy="41242"/>
              </a:xfrm>
              <a:custGeom>
                <a:avLst/>
                <a:gdLst>
                  <a:gd name="connsiteX0" fmla="*/ 32875 w 34890"/>
                  <a:gd name="connsiteY0" fmla="*/ 16477 h 41242"/>
                  <a:gd name="connsiteX1" fmla="*/ 29066 w 34890"/>
                  <a:gd name="connsiteY1" fmla="*/ 24097 h 41242"/>
                  <a:gd name="connsiteX2" fmla="*/ 25255 w 34890"/>
                  <a:gd name="connsiteY2" fmla="*/ 29812 h 41242"/>
                  <a:gd name="connsiteX3" fmla="*/ 23350 w 34890"/>
                  <a:gd name="connsiteY3" fmla="*/ 31717 h 41242"/>
                  <a:gd name="connsiteX4" fmla="*/ 16683 w 34890"/>
                  <a:gd name="connsiteY4" fmla="*/ 41242 h 41242"/>
                  <a:gd name="connsiteX5" fmla="*/ 7158 w 34890"/>
                  <a:gd name="connsiteY5" fmla="*/ 40290 h 41242"/>
                  <a:gd name="connsiteX6" fmla="*/ 491 w 34890"/>
                  <a:gd name="connsiteY6" fmla="*/ 27907 h 41242"/>
                  <a:gd name="connsiteX7" fmla="*/ 1443 w 34890"/>
                  <a:gd name="connsiteY7" fmla="*/ 20287 h 41242"/>
                  <a:gd name="connsiteX8" fmla="*/ 2395 w 34890"/>
                  <a:gd name="connsiteY8" fmla="*/ 11715 h 41242"/>
                  <a:gd name="connsiteX9" fmla="*/ 11920 w 34890"/>
                  <a:gd name="connsiteY9" fmla="*/ 8857 h 41242"/>
                  <a:gd name="connsiteX10" fmla="*/ 23350 w 34890"/>
                  <a:gd name="connsiteY10" fmla="*/ 2190 h 41242"/>
                  <a:gd name="connsiteX11" fmla="*/ 30970 w 34890"/>
                  <a:gd name="connsiteY11" fmla="*/ 1237 h 41242"/>
                  <a:gd name="connsiteX12" fmla="*/ 33828 w 34890"/>
                  <a:gd name="connsiteY12" fmla="*/ 9810 h 41242"/>
                  <a:gd name="connsiteX13" fmla="*/ 32875 w 34890"/>
                  <a:gd name="connsiteY13" fmla="*/ 16477 h 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90" h="41242">
                    <a:moveTo>
                      <a:pt x="32875" y="16477"/>
                    </a:moveTo>
                    <a:cubicBezTo>
                      <a:pt x="32875" y="16477"/>
                      <a:pt x="29066" y="22192"/>
                      <a:pt x="29066" y="24097"/>
                    </a:cubicBezTo>
                    <a:cubicBezTo>
                      <a:pt x="29066" y="26002"/>
                      <a:pt x="28113" y="27907"/>
                      <a:pt x="25255" y="29812"/>
                    </a:cubicBezTo>
                    <a:cubicBezTo>
                      <a:pt x="23350" y="31717"/>
                      <a:pt x="25255" y="26002"/>
                      <a:pt x="23350" y="31717"/>
                    </a:cubicBezTo>
                    <a:cubicBezTo>
                      <a:pt x="21445" y="38385"/>
                      <a:pt x="16683" y="41242"/>
                      <a:pt x="16683" y="41242"/>
                    </a:cubicBezTo>
                    <a:lnTo>
                      <a:pt x="7158" y="40290"/>
                    </a:lnTo>
                    <a:cubicBezTo>
                      <a:pt x="4300" y="37432"/>
                      <a:pt x="491" y="27907"/>
                      <a:pt x="491" y="27907"/>
                    </a:cubicBezTo>
                    <a:lnTo>
                      <a:pt x="1443" y="20287"/>
                    </a:lnTo>
                    <a:cubicBezTo>
                      <a:pt x="1443" y="20287"/>
                      <a:pt x="-2367" y="13620"/>
                      <a:pt x="2395" y="11715"/>
                    </a:cubicBezTo>
                    <a:cubicBezTo>
                      <a:pt x="8111" y="10762"/>
                      <a:pt x="11920" y="8857"/>
                      <a:pt x="11920" y="8857"/>
                    </a:cubicBezTo>
                    <a:cubicBezTo>
                      <a:pt x="11920" y="8857"/>
                      <a:pt x="15730" y="4095"/>
                      <a:pt x="23350" y="2190"/>
                    </a:cubicBezTo>
                    <a:cubicBezTo>
                      <a:pt x="30970" y="1237"/>
                      <a:pt x="28113" y="-1620"/>
                      <a:pt x="30970" y="1237"/>
                    </a:cubicBezTo>
                    <a:cubicBezTo>
                      <a:pt x="33828" y="4095"/>
                      <a:pt x="32875" y="5047"/>
                      <a:pt x="33828" y="9810"/>
                    </a:cubicBezTo>
                    <a:cubicBezTo>
                      <a:pt x="36686" y="13620"/>
                      <a:pt x="32875" y="16477"/>
                      <a:pt x="32875" y="164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ECDF5058-A188-4B30-B036-97C4E35C8ED0}"/>
                  </a:ext>
                </a:extLst>
              </p:cNvPr>
              <p:cNvSpPr/>
              <p:nvPr/>
            </p:nvSpPr>
            <p:spPr>
              <a:xfrm>
                <a:off x="10418474" y="4045949"/>
                <a:ext cx="23134" cy="26670"/>
              </a:xfrm>
              <a:custGeom>
                <a:avLst/>
                <a:gdLst>
                  <a:gd name="connsiteX0" fmla="*/ 22860 w 23134"/>
                  <a:gd name="connsiteY0" fmla="*/ 26670 h 26670"/>
                  <a:gd name="connsiteX1" fmla="*/ 8572 w 23134"/>
                  <a:gd name="connsiteY1" fmla="*/ 26670 h 26670"/>
                  <a:gd name="connsiteX2" fmla="*/ 0 w 23134"/>
                  <a:gd name="connsiteY2" fmla="*/ 21908 h 26670"/>
                  <a:gd name="connsiteX3" fmla="*/ 952 w 23134"/>
                  <a:gd name="connsiteY3" fmla="*/ 16192 h 26670"/>
                  <a:gd name="connsiteX4" fmla="*/ 1905 w 23134"/>
                  <a:gd name="connsiteY4" fmla="*/ 7620 h 26670"/>
                  <a:gd name="connsiteX5" fmla="*/ 1905 w 23134"/>
                  <a:gd name="connsiteY5" fmla="*/ 1905 h 26670"/>
                  <a:gd name="connsiteX6" fmla="*/ 14288 w 23134"/>
                  <a:gd name="connsiteY6" fmla="*/ 0 h 26670"/>
                  <a:gd name="connsiteX7" fmla="*/ 20002 w 23134"/>
                  <a:gd name="connsiteY7" fmla="*/ 2858 h 26670"/>
                  <a:gd name="connsiteX8" fmla="*/ 22860 w 23134"/>
                  <a:gd name="connsiteY8" fmla="*/ 6667 h 26670"/>
                  <a:gd name="connsiteX9" fmla="*/ 22860 w 23134"/>
                  <a:gd name="connsiteY9" fmla="*/ 12383 h 26670"/>
                  <a:gd name="connsiteX10" fmla="*/ 21907 w 23134"/>
                  <a:gd name="connsiteY10" fmla="*/ 18097 h 26670"/>
                  <a:gd name="connsiteX11" fmla="*/ 22860 w 23134"/>
                  <a:gd name="connsiteY11" fmla="*/ 26670 h 2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4" h="26670">
                    <a:moveTo>
                      <a:pt x="22860" y="26670"/>
                    </a:moveTo>
                    <a:lnTo>
                      <a:pt x="8572" y="26670"/>
                    </a:lnTo>
                    <a:lnTo>
                      <a:pt x="0" y="21908"/>
                    </a:lnTo>
                    <a:lnTo>
                      <a:pt x="952" y="16192"/>
                    </a:lnTo>
                    <a:lnTo>
                      <a:pt x="1905" y="7620"/>
                    </a:lnTo>
                    <a:lnTo>
                      <a:pt x="1905" y="1905"/>
                    </a:lnTo>
                    <a:lnTo>
                      <a:pt x="14288" y="0"/>
                    </a:lnTo>
                    <a:lnTo>
                      <a:pt x="20002" y="2858"/>
                    </a:lnTo>
                    <a:cubicBezTo>
                      <a:pt x="20002" y="2858"/>
                      <a:pt x="21907" y="3810"/>
                      <a:pt x="22860" y="6667"/>
                    </a:cubicBezTo>
                    <a:cubicBezTo>
                      <a:pt x="23813" y="9525"/>
                      <a:pt x="21907" y="9525"/>
                      <a:pt x="22860" y="12383"/>
                    </a:cubicBezTo>
                    <a:cubicBezTo>
                      <a:pt x="23813" y="15240"/>
                      <a:pt x="21907" y="18097"/>
                      <a:pt x="21907" y="18097"/>
                    </a:cubicBezTo>
                    <a:lnTo>
                      <a:pt x="22860" y="2667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84EC997F-8488-4562-90CB-D9C50657CDCE}"/>
                  </a:ext>
                </a:extLst>
              </p:cNvPr>
              <p:cNvSpPr/>
              <p:nvPr/>
            </p:nvSpPr>
            <p:spPr>
              <a:xfrm>
                <a:off x="10452340" y="3586843"/>
                <a:ext cx="219608" cy="131445"/>
              </a:xfrm>
              <a:custGeom>
                <a:avLst/>
                <a:gdLst>
                  <a:gd name="connsiteX0" fmla="*/ 39475 w 219608"/>
                  <a:gd name="connsiteY0" fmla="*/ 98108 h 131445"/>
                  <a:gd name="connsiteX1" fmla="*/ 28046 w 219608"/>
                  <a:gd name="connsiteY1" fmla="*/ 99060 h 131445"/>
                  <a:gd name="connsiteX2" fmla="*/ 20425 w 219608"/>
                  <a:gd name="connsiteY2" fmla="*/ 99060 h 131445"/>
                  <a:gd name="connsiteX3" fmla="*/ 15663 w 219608"/>
                  <a:gd name="connsiteY3" fmla="*/ 100013 h 131445"/>
                  <a:gd name="connsiteX4" fmla="*/ 4233 w 219608"/>
                  <a:gd name="connsiteY4" fmla="*/ 103823 h 131445"/>
                  <a:gd name="connsiteX5" fmla="*/ 423 w 219608"/>
                  <a:gd name="connsiteY5" fmla="*/ 108585 h 131445"/>
                  <a:gd name="connsiteX6" fmla="*/ 423 w 219608"/>
                  <a:gd name="connsiteY6" fmla="*/ 111443 h 131445"/>
                  <a:gd name="connsiteX7" fmla="*/ 8996 w 219608"/>
                  <a:gd name="connsiteY7" fmla="*/ 118110 h 131445"/>
                  <a:gd name="connsiteX8" fmla="*/ 13758 w 219608"/>
                  <a:gd name="connsiteY8" fmla="*/ 120015 h 131445"/>
                  <a:gd name="connsiteX9" fmla="*/ 20425 w 219608"/>
                  <a:gd name="connsiteY9" fmla="*/ 130493 h 131445"/>
                  <a:gd name="connsiteX10" fmla="*/ 28046 w 219608"/>
                  <a:gd name="connsiteY10" fmla="*/ 131445 h 131445"/>
                  <a:gd name="connsiteX11" fmla="*/ 37571 w 219608"/>
                  <a:gd name="connsiteY11" fmla="*/ 130493 h 131445"/>
                  <a:gd name="connsiteX12" fmla="*/ 43286 w 219608"/>
                  <a:gd name="connsiteY12" fmla="*/ 127635 h 131445"/>
                  <a:gd name="connsiteX13" fmla="*/ 45191 w 219608"/>
                  <a:gd name="connsiteY13" fmla="*/ 120968 h 131445"/>
                  <a:gd name="connsiteX14" fmla="*/ 46143 w 219608"/>
                  <a:gd name="connsiteY14" fmla="*/ 114300 h 131445"/>
                  <a:gd name="connsiteX15" fmla="*/ 49953 w 219608"/>
                  <a:gd name="connsiteY15" fmla="*/ 109538 h 131445"/>
                  <a:gd name="connsiteX16" fmla="*/ 50906 w 219608"/>
                  <a:gd name="connsiteY16" fmla="*/ 105727 h 131445"/>
                  <a:gd name="connsiteX17" fmla="*/ 54716 w 219608"/>
                  <a:gd name="connsiteY17" fmla="*/ 104775 h 131445"/>
                  <a:gd name="connsiteX18" fmla="*/ 60431 w 219608"/>
                  <a:gd name="connsiteY18" fmla="*/ 103823 h 131445"/>
                  <a:gd name="connsiteX19" fmla="*/ 73766 w 219608"/>
                  <a:gd name="connsiteY19" fmla="*/ 104775 h 131445"/>
                  <a:gd name="connsiteX20" fmla="*/ 87101 w 219608"/>
                  <a:gd name="connsiteY20" fmla="*/ 104775 h 131445"/>
                  <a:gd name="connsiteX21" fmla="*/ 94721 w 219608"/>
                  <a:gd name="connsiteY21" fmla="*/ 103823 h 131445"/>
                  <a:gd name="connsiteX22" fmla="*/ 96626 w 219608"/>
                  <a:gd name="connsiteY22" fmla="*/ 100013 h 131445"/>
                  <a:gd name="connsiteX23" fmla="*/ 100436 w 219608"/>
                  <a:gd name="connsiteY23" fmla="*/ 96202 h 131445"/>
                  <a:gd name="connsiteX24" fmla="*/ 108056 w 219608"/>
                  <a:gd name="connsiteY24" fmla="*/ 96202 h 131445"/>
                  <a:gd name="connsiteX25" fmla="*/ 109008 w 219608"/>
                  <a:gd name="connsiteY25" fmla="*/ 100013 h 131445"/>
                  <a:gd name="connsiteX26" fmla="*/ 123296 w 219608"/>
                  <a:gd name="connsiteY26" fmla="*/ 101918 h 131445"/>
                  <a:gd name="connsiteX27" fmla="*/ 130916 w 219608"/>
                  <a:gd name="connsiteY27" fmla="*/ 98108 h 131445"/>
                  <a:gd name="connsiteX28" fmla="*/ 134726 w 219608"/>
                  <a:gd name="connsiteY28" fmla="*/ 89535 h 131445"/>
                  <a:gd name="connsiteX29" fmla="*/ 140441 w 219608"/>
                  <a:gd name="connsiteY29" fmla="*/ 87630 h 131445"/>
                  <a:gd name="connsiteX30" fmla="*/ 144251 w 219608"/>
                  <a:gd name="connsiteY30" fmla="*/ 87630 h 131445"/>
                  <a:gd name="connsiteX31" fmla="*/ 180446 w 219608"/>
                  <a:gd name="connsiteY31" fmla="*/ 89535 h 131445"/>
                  <a:gd name="connsiteX32" fmla="*/ 189971 w 219608"/>
                  <a:gd name="connsiteY32" fmla="*/ 89535 h 131445"/>
                  <a:gd name="connsiteX33" fmla="*/ 201401 w 219608"/>
                  <a:gd name="connsiteY33" fmla="*/ 86677 h 131445"/>
                  <a:gd name="connsiteX34" fmla="*/ 207116 w 219608"/>
                  <a:gd name="connsiteY34" fmla="*/ 84773 h 131445"/>
                  <a:gd name="connsiteX35" fmla="*/ 208068 w 219608"/>
                  <a:gd name="connsiteY35" fmla="*/ 72390 h 131445"/>
                  <a:gd name="connsiteX36" fmla="*/ 209021 w 219608"/>
                  <a:gd name="connsiteY36" fmla="*/ 65723 h 131445"/>
                  <a:gd name="connsiteX37" fmla="*/ 211878 w 219608"/>
                  <a:gd name="connsiteY37" fmla="*/ 59055 h 131445"/>
                  <a:gd name="connsiteX38" fmla="*/ 213783 w 219608"/>
                  <a:gd name="connsiteY38" fmla="*/ 54293 h 131445"/>
                  <a:gd name="connsiteX39" fmla="*/ 218546 w 219608"/>
                  <a:gd name="connsiteY39" fmla="*/ 38100 h 131445"/>
                  <a:gd name="connsiteX40" fmla="*/ 217593 w 219608"/>
                  <a:gd name="connsiteY40" fmla="*/ 19050 h 131445"/>
                  <a:gd name="connsiteX41" fmla="*/ 216641 w 219608"/>
                  <a:gd name="connsiteY41" fmla="*/ 15240 h 131445"/>
                  <a:gd name="connsiteX42" fmla="*/ 212831 w 219608"/>
                  <a:gd name="connsiteY42" fmla="*/ 952 h 131445"/>
                  <a:gd name="connsiteX43" fmla="*/ 207116 w 219608"/>
                  <a:gd name="connsiteY43" fmla="*/ 0 h 131445"/>
                  <a:gd name="connsiteX44" fmla="*/ 198543 w 219608"/>
                  <a:gd name="connsiteY44" fmla="*/ 6668 h 131445"/>
                  <a:gd name="connsiteX45" fmla="*/ 189971 w 219608"/>
                  <a:gd name="connsiteY45" fmla="*/ 13335 h 131445"/>
                  <a:gd name="connsiteX46" fmla="*/ 189018 w 219608"/>
                  <a:gd name="connsiteY46" fmla="*/ 16193 h 131445"/>
                  <a:gd name="connsiteX47" fmla="*/ 185208 w 219608"/>
                  <a:gd name="connsiteY47" fmla="*/ 20955 h 131445"/>
                  <a:gd name="connsiteX48" fmla="*/ 174731 w 219608"/>
                  <a:gd name="connsiteY48" fmla="*/ 30480 h 131445"/>
                  <a:gd name="connsiteX49" fmla="*/ 172826 w 219608"/>
                  <a:gd name="connsiteY49" fmla="*/ 34290 h 131445"/>
                  <a:gd name="connsiteX50" fmla="*/ 170921 w 219608"/>
                  <a:gd name="connsiteY50" fmla="*/ 36195 h 131445"/>
                  <a:gd name="connsiteX51" fmla="*/ 170921 w 219608"/>
                  <a:gd name="connsiteY51" fmla="*/ 36195 h 131445"/>
                  <a:gd name="connsiteX52" fmla="*/ 169016 w 219608"/>
                  <a:gd name="connsiteY52" fmla="*/ 41910 h 131445"/>
                  <a:gd name="connsiteX53" fmla="*/ 165206 w 219608"/>
                  <a:gd name="connsiteY53" fmla="*/ 48577 h 131445"/>
                  <a:gd name="connsiteX54" fmla="*/ 153776 w 219608"/>
                  <a:gd name="connsiteY54" fmla="*/ 50483 h 131445"/>
                  <a:gd name="connsiteX55" fmla="*/ 135678 w 219608"/>
                  <a:gd name="connsiteY55" fmla="*/ 54293 h 131445"/>
                  <a:gd name="connsiteX56" fmla="*/ 130916 w 219608"/>
                  <a:gd name="connsiteY56" fmla="*/ 55245 h 131445"/>
                  <a:gd name="connsiteX57" fmla="*/ 123296 w 219608"/>
                  <a:gd name="connsiteY57" fmla="*/ 60008 h 131445"/>
                  <a:gd name="connsiteX58" fmla="*/ 123296 w 219608"/>
                  <a:gd name="connsiteY58" fmla="*/ 63818 h 131445"/>
                  <a:gd name="connsiteX59" fmla="*/ 116628 w 219608"/>
                  <a:gd name="connsiteY59" fmla="*/ 67627 h 131445"/>
                  <a:gd name="connsiteX60" fmla="*/ 106151 w 219608"/>
                  <a:gd name="connsiteY60" fmla="*/ 73343 h 131445"/>
                  <a:gd name="connsiteX61" fmla="*/ 97578 w 219608"/>
                  <a:gd name="connsiteY61" fmla="*/ 74295 h 131445"/>
                  <a:gd name="connsiteX62" fmla="*/ 84243 w 219608"/>
                  <a:gd name="connsiteY62" fmla="*/ 74295 h 131445"/>
                  <a:gd name="connsiteX63" fmla="*/ 71861 w 219608"/>
                  <a:gd name="connsiteY63" fmla="*/ 75248 h 131445"/>
                  <a:gd name="connsiteX64" fmla="*/ 63288 w 219608"/>
                  <a:gd name="connsiteY64" fmla="*/ 75248 h 131445"/>
                  <a:gd name="connsiteX65" fmla="*/ 59478 w 219608"/>
                  <a:gd name="connsiteY65" fmla="*/ 77152 h 131445"/>
                  <a:gd name="connsiteX66" fmla="*/ 50906 w 219608"/>
                  <a:gd name="connsiteY66" fmla="*/ 78105 h 131445"/>
                  <a:gd name="connsiteX67" fmla="*/ 49000 w 219608"/>
                  <a:gd name="connsiteY67" fmla="*/ 80963 h 131445"/>
                  <a:gd name="connsiteX68" fmla="*/ 49000 w 219608"/>
                  <a:gd name="connsiteY68" fmla="*/ 83820 h 131445"/>
                  <a:gd name="connsiteX69" fmla="*/ 49000 w 219608"/>
                  <a:gd name="connsiteY69" fmla="*/ 87630 h 131445"/>
                  <a:gd name="connsiteX70" fmla="*/ 45191 w 219608"/>
                  <a:gd name="connsiteY70" fmla="*/ 94298 h 131445"/>
                  <a:gd name="connsiteX71" fmla="*/ 39475 w 219608"/>
                  <a:gd name="connsiteY71" fmla="*/ 98108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9608" h="131445">
                    <a:moveTo>
                      <a:pt x="39475" y="98108"/>
                    </a:moveTo>
                    <a:lnTo>
                      <a:pt x="28046" y="99060"/>
                    </a:lnTo>
                    <a:lnTo>
                      <a:pt x="20425" y="99060"/>
                    </a:lnTo>
                    <a:cubicBezTo>
                      <a:pt x="20425" y="99060"/>
                      <a:pt x="18521" y="97155"/>
                      <a:pt x="15663" y="100013"/>
                    </a:cubicBezTo>
                    <a:cubicBezTo>
                      <a:pt x="13758" y="102870"/>
                      <a:pt x="8996" y="98108"/>
                      <a:pt x="4233" y="103823"/>
                    </a:cubicBezTo>
                    <a:cubicBezTo>
                      <a:pt x="423" y="108585"/>
                      <a:pt x="423" y="105727"/>
                      <a:pt x="423" y="108585"/>
                    </a:cubicBezTo>
                    <a:cubicBezTo>
                      <a:pt x="423" y="111443"/>
                      <a:pt x="-529" y="108585"/>
                      <a:pt x="423" y="111443"/>
                    </a:cubicBezTo>
                    <a:cubicBezTo>
                      <a:pt x="1375" y="114300"/>
                      <a:pt x="8996" y="118110"/>
                      <a:pt x="8996" y="118110"/>
                    </a:cubicBezTo>
                    <a:cubicBezTo>
                      <a:pt x="8996" y="118110"/>
                      <a:pt x="10900" y="117158"/>
                      <a:pt x="13758" y="120015"/>
                    </a:cubicBezTo>
                    <a:cubicBezTo>
                      <a:pt x="15663" y="122873"/>
                      <a:pt x="20425" y="130493"/>
                      <a:pt x="20425" y="130493"/>
                    </a:cubicBezTo>
                    <a:cubicBezTo>
                      <a:pt x="20425" y="130493"/>
                      <a:pt x="22331" y="131445"/>
                      <a:pt x="28046" y="131445"/>
                    </a:cubicBezTo>
                    <a:cubicBezTo>
                      <a:pt x="33761" y="131445"/>
                      <a:pt x="37571" y="130493"/>
                      <a:pt x="37571" y="130493"/>
                    </a:cubicBezTo>
                    <a:lnTo>
                      <a:pt x="43286" y="127635"/>
                    </a:lnTo>
                    <a:lnTo>
                      <a:pt x="45191" y="120968"/>
                    </a:lnTo>
                    <a:lnTo>
                      <a:pt x="46143" y="114300"/>
                    </a:lnTo>
                    <a:lnTo>
                      <a:pt x="49953" y="109538"/>
                    </a:lnTo>
                    <a:cubicBezTo>
                      <a:pt x="49953" y="109538"/>
                      <a:pt x="48048" y="105727"/>
                      <a:pt x="50906" y="105727"/>
                    </a:cubicBezTo>
                    <a:cubicBezTo>
                      <a:pt x="54716" y="104775"/>
                      <a:pt x="54716" y="104775"/>
                      <a:pt x="54716" y="104775"/>
                    </a:cubicBezTo>
                    <a:cubicBezTo>
                      <a:pt x="54716" y="104775"/>
                      <a:pt x="56621" y="103823"/>
                      <a:pt x="60431" y="103823"/>
                    </a:cubicBezTo>
                    <a:cubicBezTo>
                      <a:pt x="63288" y="103823"/>
                      <a:pt x="73766" y="104775"/>
                      <a:pt x="73766" y="104775"/>
                    </a:cubicBezTo>
                    <a:lnTo>
                      <a:pt x="87101" y="104775"/>
                    </a:lnTo>
                    <a:lnTo>
                      <a:pt x="94721" y="103823"/>
                    </a:lnTo>
                    <a:lnTo>
                      <a:pt x="96626" y="100013"/>
                    </a:lnTo>
                    <a:lnTo>
                      <a:pt x="100436" y="96202"/>
                    </a:lnTo>
                    <a:cubicBezTo>
                      <a:pt x="100436" y="96202"/>
                      <a:pt x="107103" y="92393"/>
                      <a:pt x="108056" y="96202"/>
                    </a:cubicBezTo>
                    <a:cubicBezTo>
                      <a:pt x="109008" y="100013"/>
                      <a:pt x="109008" y="100013"/>
                      <a:pt x="109008" y="100013"/>
                    </a:cubicBezTo>
                    <a:lnTo>
                      <a:pt x="123296" y="101918"/>
                    </a:lnTo>
                    <a:lnTo>
                      <a:pt x="130916" y="98108"/>
                    </a:lnTo>
                    <a:lnTo>
                      <a:pt x="134726" y="89535"/>
                    </a:lnTo>
                    <a:cubicBezTo>
                      <a:pt x="134726" y="89535"/>
                      <a:pt x="136631" y="87630"/>
                      <a:pt x="140441" y="87630"/>
                    </a:cubicBezTo>
                    <a:cubicBezTo>
                      <a:pt x="144251" y="87630"/>
                      <a:pt x="135678" y="87630"/>
                      <a:pt x="144251" y="87630"/>
                    </a:cubicBezTo>
                    <a:cubicBezTo>
                      <a:pt x="151871" y="87630"/>
                      <a:pt x="175683" y="89535"/>
                      <a:pt x="180446" y="89535"/>
                    </a:cubicBezTo>
                    <a:cubicBezTo>
                      <a:pt x="185208" y="89535"/>
                      <a:pt x="186161" y="89535"/>
                      <a:pt x="189971" y="89535"/>
                    </a:cubicBezTo>
                    <a:cubicBezTo>
                      <a:pt x="194733" y="89535"/>
                      <a:pt x="201401" y="86677"/>
                      <a:pt x="201401" y="86677"/>
                    </a:cubicBezTo>
                    <a:lnTo>
                      <a:pt x="207116" y="84773"/>
                    </a:lnTo>
                    <a:lnTo>
                      <a:pt x="208068" y="72390"/>
                    </a:lnTo>
                    <a:cubicBezTo>
                      <a:pt x="208068" y="72390"/>
                      <a:pt x="208068" y="67627"/>
                      <a:pt x="209021" y="65723"/>
                    </a:cubicBezTo>
                    <a:cubicBezTo>
                      <a:pt x="209973" y="63818"/>
                      <a:pt x="211878" y="59055"/>
                      <a:pt x="211878" y="59055"/>
                    </a:cubicBezTo>
                    <a:lnTo>
                      <a:pt x="213783" y="54293"/>
                    </a:lnTo>
                    <a:cubicBezTo>
                      <a:pt x="213783" y="54293"/>
                      <a:pt x="215688" y="49530"/>
                      <a:pt x="218546" y="38100"/>
                    </a:cubicBezTo>
                    <a:cubicBezTo>
                      <a:pt x="221403" y="26670"/>
                      <a:pt x="217593" y="19050"/>
                      <a:pt x="217593" y="19050"/>
                    </a:cubicBezTo>
                    <a:cubicBezTo>
                      <a:pt x="217593" y="19050"/>
                      <a:pt x="216641" y="17145"/>
                      <a:pt x="216641" y="15240"/>
                    </a:cubicBezTo>
                    <a:cubicBezTo>
                      <a:pt x="216641" y="13335"/>
                      <a:pt x="212831" y="952"/>
                      <a:pt x="212831" y="952"/>
                    </a:cubicBezTo>
                    <a:lnTo>
                      <a:pt x="207116" y="0"/>
                    </a:lnTo>
                    <a:cubicBezTo>
                      <a:pt x="207116" y="0"/>
                      <a:pt x="198543" y="3810"/>
                      <a:pt x="198543" y="6668"/>
                    </a:cubicBezTo>
                    <a:cubicBezTo>
                      <a:pt x="198543" y="8573"/>
                      <a:pt x="190923" y="10477"/>
                      <a:pt x="189971" y="13335"/>
                    </a:cubicBezTo>
                    <a:cubicBezTo>
                      <a:pt x="189018" y="16193"/>
                      <a:pt x="191876" y="11430"/>
                      <a:pt x="189018" y="16193"/>
                    </a:cubicBezTo>
                    <a:cubicBezTo>
                      <a:pt x="185208" y="20955"/>
                      <a:pt x="188066" y="14288"/>
                      <a:pt x="185208" y="20955"/>
                    </a:cubicBezTo>
                    <a:cubicBezTo>
                      <a:pt x="183303" y="27623"/>
                      <a:pt x="177588" y="26670"/>
                      <a:pt x="174731" y="30480"/>
                    </a:cubicBezTo>
                    <a:cubicBezTo>
                      <a:pt x="172826" y="34290"/>
                      <a:pt x="174731" y="32385"/>
                      <a:pt x="172826" y="34290"/>
                    </a:cubicBezTo>
                    <a:cubicBezTo>
                      <a:pt x="170921" y="36195"/>
                      <a:pt x="170921" y="36195"/>
                      <a:pt x="170921" y="36195"/>
                    </a:cubicBezTo>
                    <a:cubicBezTo>
                      <a:pt x="170921" y="36195"/>
                      <a:pt x="172826" y="30480"/>
                      <a:pt x="170921" y="36195"/>
                    </a:cubicBezTo>
                    <a:cubicBezTo>
                      <a:pt x="169016" y="41910"/>
                      <a:pt x="171873" y="35243"/>
                      <a:pt x="169016" y="41910"/>
                    </a:cubicBezTo>
                    <a:cubicBezTo>
                      <a:pt x="165206" y="48577"/>
                      <a:pt x="165206" y="48577"/>
                      <a:pt x="165206" y="48577"/>
                    </a:cubicBezTo>
                    <a:cubicBezTo>
                      <a:pt x="165206" y="48577"/>
                      <a:pt x="171873" y="46673"/>
                      <a:pt x="153776" y="50483"/>
                    </a:cubicBezTo>
                    <a:cubicBezTo>
                      <a:pt x="135678" y="54293"/>
                      <a:pt x="135678" y="54293"/>
                      <a:pt x="135678" y="54293"/>
                    </a:cubicBezTo>
                    <a:lnTo>
                      <a:pt x="130916" y="55245"/>
                    </a:lnTo>
                    <a:cubicBezTo>
                      <a:pt x="130916" y="55245"/>
                      <a:pt x="123296" y="56198"/>
                      <a:pt x="123296" y="60008"/>
                    </a:cubicBezTo>
                    <a:cubicBezTo>
                      <a:pt x="123296" y="63818"/>
                      <a:pt x="123296" y="63818"/>
                      <a:pt x="123296" y="63818"/>
                    </a:cubicBezTo>
                    <a:lnTo>
                      <a:pt x="116628" y="67627"/>
                    </a:lnTo>
                    <a:cubicBezTo>
                      <a:pt x="116628" y="67627"/>
                      <a:pt x="109961" y="71438"/>
                      <a:pt x="106151" y="73343"/>
                    </a:cubicBezTo>
                    <a:cubicBezTo>
                      <a:pt x="103293" y="74295"/>
                      <a:pt x="103293" y="73343"/>
                      <a:pt x="97578" y="74295"/>
                    </a:cubicBezTo>
                    <a:cubicBezTo>
                      <a:pt x="91863" y="75248"/>
                      <a:pt x="84243" y="74295"/>
                      <a:pt x="84243" y="74295"/>
                    </a:cubicBezTo>
                    <a:lnTo>
                      <a:pt x="71861" y="75248"/>
                    </a:lnTo>
                    <a:cubicBezTo>
                      <a:pt x="71861" y="75248"/>
                      <a:pt x="66146" y="73343"/>
                      <a:pt x="63288" y="75248"/>
                    </a:cubicBezTo>
                    <a:cubicBezTo>
                      <a:pt x="59478" y="77152"/>
                      <a:pt x="59478" y="77152"/>
                      <a:pt x="59478" y="77152"/>
                    </a:cubicBezTo>
                    <a:lnTo>
                      <a:pt x="50906" y="78105"/>
                    </a:lnTo>
                    <a:cubicBezTo>
                      <a:pt x="50906" y="78105"/>
                      <a:pt x="49000" y="78105"/>
                      <a:pt x="49000" y="80963"/>
                    </a:cubicBezTo>
                    <a:cubicBezTo>
                      <a:pt x="49000" y="83820"/>
                      <a:pt x="49000" y="80010"/>
                      <a:pt x="49000" y="83820"/>
                    </a:cubicBezTo>
                    <a:cubicBezTo>
                      <a:pt x="49000" y="87630"/>
                      <a:pt x="52811" y="81915"/>
                      <a:pt x="49000" y="87630"/>
                    </a:cubicBezTo>
                    <a:cubicBezTo>
                      <a:pt x="45191" y="94298"/>
                      <a:pt x="45191" y="94298"/>
                      <a:pt x="45191" y="94298"/>
                    </a:cubicBezTo>
                    <a:lnTo>
                      <a:pt x="39475" y="98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E86CA6B9-039B-4B1A-A7A2-990A1E660847}"/>
                  </a:ext>
                </a:extLst>
              </p:cNvPr>
              <p:cNvSpPr/>
              <p:nvPr/>
            </p:nvSpPr>
            <p:spPr>
              <a:xfrm>
                <a:off x="10638501" y="3539007"/>
                <a:ext cx="108254" cy="38311"/>
              </a:xfrm>
              <a:custGeom>
                <a:avLst/>
                <a:gdLst>
                  <a:gd name="connsiteX0" fmla="*/ 54293 w 108254"/>
                  <a:gd name="connsiteY0" fmla="*/ 7832 h 38311"/>
                  <a:gd name="connsiteX1" fmla="*/ 49530 w 108254"/>
                  <a:gd name="connsiteY1" fmla="*/ 4022 h 38311"/>
                  <a:gd name="connsiteX2" fmla="*/ 44768 w 108254"/>
                  <a:gd name="connsiteY2" fmla="*/ 2117 h 38311"/>
                  <a:gd name="connsiteX3" fmla="*/ 32385 w 108254"/>
                  <a:gd name="connsiteY3" fmla="*/ 2117 h 38311"/>
                  <a:gd name="connsiteX4" fmla="*/ 28575 w 108254"/>
                  <a:gd name="connsiteY4" fmla="*/ 6879 h 38311"/>
                  <a:gd name="connsiteX5" fmla="*/ 23813 w 108254"/>
                  <a:gd name="connsiteY5" fmla="*/ 16404 h 38311"/>
                  <a:gd name="connsiteX6" fmla="*/ 19050 w 108254"/>
                  <a:gd name="connsiteY6" fmla="*/ 18309 h 38311"/>
                  <a:gd name="connsiteX7" fmla="*/ 11430 w 108254"/>
                  <a:gd name="connsiteY7" fmla="*/ 20214 h 38311"/>
                  <a:gd name="connsiteX8" fmla="*/ 6668 w 108254"/>
                  <a:gd name="connsiteY8" fmla="*/ 21167 h 38311"/>
                  <a:gd name="connsiteX9" fmla="*/ 1905 w 108254"/>
                  <a:gd name="connsiteY9" fmla="*/ 22119 h 38311"/>
                  <a:gd name="connsiteX10" fmla="*/ 0 w 108254"/>
                  <a:gd name="connsiteY10" fmla="*/ 28787 h 38311"/>
                  <a:gd name="connsiteX11" fmla="*/ 0 w 108254"/>
                  <a:gd name="connsiteY11" fmla="*/ 31644 h 38311"/>
                  <a:gd name="connsiteX12" fmla="*/ 4763 w 108254"/>
                  <a:gd name="connsiteY12" fmla="*/ 35454 h 38311"/>
                  <a:gd name="connsiteX13" fmla="*/ 9525 w 108254"/>
                  <a:gd name="connsiteY13" fmla="*/ 36407 h 38311"/>
                  <a:gd name="connsiteX14" fmla="*/ 22860 w 108254"/>
                  <a:gd name="connsiteY14" fmla="*/ 33549 h 38311"/>
                  <a:gd name="connsiteX15" fmla="*/ 34290 w 108254"/>
                  <a:gd name="connsiteY15" fmla="*/ 32597 h 38311"/>
                  <a:gd name="connsiteX16" fmla="*/ 40005 w 108254"/>
                  <a:gd name="connsiteY16" fmla="*/ 34502 h 38311"/>
                  <a:gd name="connsiteX17" fmla="*/ 44768 w 108254"/>
                  <a:gd name="connsiteY17" fmla="*/ 36407 h 38311"/>
                  <a:gd name="connsiteX18" fmla="*/ 60960 w 108254"/>
                  <a:gd name="connsiteY18" fmla="*/ 38312 h 38311"/>
                  <a:gd name="connsiteX19" fmla="*/ 68580 w 108254"/>
                  <a:gd name="connsiteY19" fmla="*/ 35454 h 38311"/>
                  <a:gd name="connsiteX20" fmla="*/ 72390 w 108254"/>
                  <a:gd name="connsiteY20" fmla="*/ 32597 h 38311"/>
                  <a:gd name="connsiteX21" fmla="*/ 78105 w 108254"/>
                  <a:gd name="connsiteY21" fmla="*/ 28787 h 38311"/>
                  <a:gd name="connsiteX22" fmla="*/ 90488 w 108254"/>
                  <a:gd name="connsiteY22" fmla="*/ 25929 h 38311"/>
                  <a:gd name="connsiteX23" fmla="*/ 99060 w 108254"/>
                  <a:gd name="connsiteY23" fmla="*/ 25929 h 38311"/>
                  <a:gd name="connsiteX24" fmla="*/ 105727 w 108254"/>
                  <a:gd name="connsiteY24" fmla="*/ 24024 h 38311"/>
                  <a:gd name="connsiteX25" fmla="*/ 107632 w 108254"/>
                  <a:gd name="connsiteY25" fmla="*/ 20214 h 38311"/>
                  <a:gd name="connsiteX26" fmla="*/ 107632 w 108254"/>
                  <a:gd name="connsiteY26" fmla="*/ 15452 h 38311"/>
                  <a:gd name="connsiteX27" fmla="*/ 107632 w 108254"/>
                  <a:gd name="connsiteY27" fmla="*/ 11642 h 38311"/>
                  <a:gd name="connsiteX28" fmla="*/ 106680 w 108254"/>
                  <a:gd name="connsiteY28" fmla="*/ 7832 h 38311"/>
                  <a:gd name="connsiteX29" fmla="*/ 91440 w 108254"/>
                  <a:gd name="connsiteY29" fmla="*/ 6879 h 38311"/>
                  <a:gd name="connsiteX30" fmla="*/ 83820 w 108254"/>
                  <a:gd name="connsiteY30" fmla="*/ 7832 h 38311"/>
                  <a:gd name="connsiteX31" fmla="*/ 69532 w 108254"/>
                  <a:gd name="connsiteY31" fmla="*/ 8784 h 38311"/>
                  <a:gd name="connsiteX32" fmla="*/ 63818 w 108254"/>
                  <a:gd name="connsiteY32" fmla="*/ 8784 h 38311"/>
                  <a:gd name="connsiteX33" fmla="*/ 54293 w 108254"/>
                  <a:gd name="connsiteY33" fmla="*/ 7832 h 3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8254" h="38311">
                    <a:moveTo>
                      <a:pt x="54293" y="7832"/>
                    </a:moveTo>
                    <a:lnTo>
                      <a:pt x="49530" y="4022"/>
                    </a:lnTo>
                    <a:lnTo>
                      <a:pt x="44768" y="2117"/>
                    </a:lnTo>
                    <a:cubicBezTo>
                      <a:pt x="44768" y="2117"/>
                      <a:pt x="36195" y="-2646"/>
                      <a:pt x="32385" y="2117"/>
                    </a:cubicBezTo>
                    <a:cubicBezTo>
                      <a:pt x="28575" y="6879"/>
                      <a:pt x="31432" y="2117"/>
                      <a:pt x="28575" y="6879"/>
                    </a:cubicBezTo>
                    <a:cubicBezTo>
                      <a:pt x="26670" y="11642"/>
                      <a:pt x="23813" y="16404"/>
                      <a:pt x="23813" y="16404"/>
                    </a:cubicBezTo>
                    <a:lnTo>
                      <a:pt x="19050" y="18309"/>
                    </a:lnTo>
                    <a:lnTo>
                      <a:pt x="11430" y="20214"/>
                    </a:lnTo>
                    <a:lnTo>
                      <a:pt x="6668" y="21167"/>
                    </a:lnTo>
                    <a:cubicBezTo>
                      <a:pt x="6668" y="21167"/>
                      <a:pt x="1905" y="20214"/>
                      <a:pt x="1905" y="22119"/>
                    </a:cubicBezTo>
                    <a:cubicBezTo>
                      <a:pt x="1905" y="24024"/>
                      <a:pt x="0" y="28787"/>
                      <a:pt x="0" y="28787"/>
                    </a:cubicBezTo>
                    <a:lnTo>
                      <a:pt x="0" y="31644"/>
                    </a:lnTo>
                    <a:lnTo>
                      <a:pt x="4763" y="35454"/>
                    </a:lnTo>
                    <a:cubicBezTo>
                      <a:pt x="4763" y="35454"/>
                      <a:pt x="5715" y="36407"/>
                      <a:pt x="9525" y="36407"/>
                    </a:cubicBezTo>
                    <a:cubicBezTo>
                      <a:pt x="12382" y="36407"/>
                      <a:pt x="22860" y="33549"/>
                      <a:pt x="22860" y="33549"/>
                    </a:cubicBezTo>
                    <a:lnTo>
                      <a:pt x="34290" y="32597"/>
                    </a:lnTo>
                    <a:lnTo>
                      <a:pt x="40005" y="34502"/>
                    </a:lnTo>
                    <a:lnTo>
                      <a:pt x="44768" y="36407"/>
                    </a:lnTo>
                    <a:cubicBezTo>
                      <a:pt x="52388" y="37359"/>
                      <a:pt x="60960" y="38312"/>
                      <a:pt x="60960" y="38312"/>
                    </a:cubicBezTo>
                    <a:lnTo>
                      <a:pt x="68580" y="35454"/>
                    </a:lnTo>
                    <a:lnTo>
                      <a:pt x="72390" y="32597"/>
                    </a:lnTo>
                    <a:cubicBezTo>
                      <a:pt x="72390" y="32597"/>
                      <a:pt x="73343" y="28787"/>
                      <a:pt x="78105" y="28787"/>
                    </a:cubicBezTo>
                    <a:cubicBezTo>
                      <a:pt x="82868" y="28787"/>
                      <a:pt x="85725" y="25929"/>
                      <a:pt x="90488" y="25929"/>
                    </a:cubicBezTo>
                    <a:cubicBezTo>
                      <a:pt x="95250" y="25929"/>
                      <a:pt x="99060" y="25929"/>
                      <a:pt x="99060" y="25929"/>
                    </a:cubicBezTo>
                    <a:lnTo>
                      <a:pt x="105727" y="24024"/>
                    </a:lnTo>
                    <a:lnTo>
                      <a:pt x="107632" y="20214"/>
                    </a:lnTo>
                    <a:lnTo>
                      <a:pt x="107632" y="15452"/>
                    </a:lnTo>
                    <a:lnTo>
                      <a:pt x="107632" y="11642"/>
                    </a:lnTo>
                    <a:cubicBezTo>
                      <a:pt x="107632" y="11642"/>
                      <a:pt x="109538" y="7832"/>
                      <a:pt x="106680" y="7832"/>
                    </a:cubicBezTo>
                    <a:cubicBezTo>
                      <a:pt x="103823" y="8784"/>
                      <a:pt x="91440" y="6879"/>
                      <a:pt x="91440" y="6879"/>
                    </a:cubicBezTo>
                    <a:lnTo>
                      <a:pt x="83820" y="7832"/>
                    </a:lnTo>
                    <a:lnTo>
                      <a:pt x="69532" y="8784"/>
                    </a:lnTo>
                    <a:lnTo>
                      <a:pt x="63818" y="8784"/>
                    </a:lnTo>
                    <a:lnTo>
                      <a:pt x="54293" y="78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9FD30008-A65A-43D1-8A52-F0A511A80EF0}"/>
                  </a:ext>
                </a:extLst>
              </p:cNvPr>
              <p:cNvSpPr/>
              <p:nvPr/>
            </p:nvSpPr>
            <p:spPr>
              <a:xfrm>
                <a:off x="10664219" y="3419204"/>
                <a:ext cx="51434" cy="105727"/>
              </a:xfrm>
              <a:custGeom>
                <a:avLst/>
                <a:gdLst>
                  <a:gd name="connsiteX0" fmla="*/ 0 w 51434"/>
                  <a:gd name="connsiteY0" fmla="*/ 20002 h 105727"/>
                  <a:gd name="connsiteX1" fmla="*/ 7620 w 51434"/>
                  <a:gd name="connsiteY1" fmla="*/ 29527 h 105727"/>
                  <a:gd name="connsiteX2" fmla="*/ 7620 w 51434"/>
                  <a:gd name="connsiteY2" fmla="*/ 39052 h 105727"/>
                  <a:gd name="connsiteX3" fmla="*/ 7620 w 51434"/>
                  <a:gd name="connsiteY3" fmla="*/ 45720 h 105727"/>
                  <a:gd name="connsiteX4" fmla="*/ 6668 w 51434"/>
                  <a:gd name="connsiteY4" fmla="*/ 53340 h 105727"/>
                  <a:gd name="connsiteX5" fmla="*/ 13335 w 51434"/>
                  <a:gd name="connsiteY5" fmla="*/ 65723 h 105727"/>
                  <a:gd name="connsiteX6" fmla="*/ 13335 w 51434"/>
                  <a:gd name="connsiteY6" fmla="*/ 72390 h 105727"/>
                  <a:gd name="connsiteX7" fmla="*/ 10477 w 51434"/>
                  <a:gd name="connsiteY7" fmla="*/ 81915 h 105727"/>
                  <a:gd name="connsiteX8" fmla="*/ 13335 w 51434"/>
                  <a:gd name="connsiteY8" fmla="*/ 96202 h 105727"/>
                  <a:gd name="connsiteX9" fmla="*/ 18097 w 51434"/>
                  <a:gd name="connsiteY9" fmla="*/ 100965 h 105727"/>
                  <a:gd name="connsiteX10" fmla="*/ 35243 w 51434"/>
                  <a:gd name="connsiteY10" fmla="*/ 105727 h 105727"/>
                  <a:gd name="connsiteX11" fmla="*/ 44768 w 51434"/>
                  <a:gd name="connsiteY11" fmla="*/ 104775 h 105727"/>
                  <a:gd name="connsiteX12" fmla="*/ 48577 w 51434"/>
                  <a:gd name="connsiteY12" fmla="*/ 98108 h 105727"/>
                  <a:gd name="connsiteX13" fmla="*/ 44768 w 51434"/>
                  <a:gd name="connsiteY13" fmla="*/ 85725 h 105727"/>
                  <a:gd name="connsiteX14" fmla="*/ 40005 w 51434"/>
                  <a:gd name="connsiteY14" fmla="*/ 80963 h 105727"/>
                  <a:gd name="connsiteX15" fmla="*/ 37147 w 51434"/>
                  <a:gd name="connsiteY15" fmla="*/ 71438 h 105727"/>
                  <a:gd name="connsiteX16" fmla="*/ 42863 w 51434"/>
                  <a:gd name="connsiteY16" fmla="*/ 66675 h 105727"/>
                  <a:gd name="connsiteX17" fmla="*/ 47625 w 51434"/>
                  <a:gd name="connsiteY17" fmla="*/ 62865 h 105727"/>
                  <a:gd name="connsiteX18" fmla="*/ 51435 w 51434"/>
                  <a:gd name="connsiteY18" fmla="*/ 58102 h 105727"/>
                  <a:gd name="connsiteX19" fmla="*/ 51435 w 51434"/>
                  <a:gd name="connsiteY19" fmla="*/ 48577 h 105727"/>
                  <a:gd name="connsiteX20" fmla="*/ 45720 w 51434"/>
                  <a:gd name="connsiteY20" fmla="*/ 38100 h 105727"/>
                  <a:gd name="connsiteX21" fmla="*/ 39052 w 51434"/>
                  <a:gd name="connsiteY21" fmla="*/ 27623 h 105727"/>
                  <a:gd name="connsiteX22" fmla="*/ 35243 w 51434"/>
                  <a:gd name="connsiteY22" fmla="*/ 13335 h 105727"/>
                  <a:gd name="connsiteX23" fmla="*/ 33338 w 51434"/>
                  <a:gd name="connsiteY23" fmla="*/ 6667 h 105727"/>
                  <a:gd name="connsiteX24" fmla="*/ 34290 w 51434"/>
                  <a:gd name="connsiteY24" fmla="*/ 4763 h 105727"/>
                  <a:gd name="connsiteX25" fmla="*/ 25718 w 51434"/>
                  <a:gd name="connsiteY25" fmla="*/ 0 h 105727"/>
                  <a:gd name="connsiteX26" fmla="*/ 19050 w 51434"/>
                  <a:gd name="connsiteY26" fmla="*/ 0 h 105727"/>
                  <a:gd name="connsiteX27" fmla="*/ 12382 w 51434"/>
                  <a:gd name="connsiteY27" fmla="*/ 0 h 105727"/>
                  <a:gd name="connsiteX28" fmla="*/ 5715 w 51434"/>
                  <a:gd name="connsiteY28" fmla="*/ 3810 h 105727"/>
                  <a:gd name="connsiteX29" fmla="*/ 2857 w 51434"/>
                  <a:gd name="connsiteY29" fmla="*/ 9525 h 105727"/>
                  <a:gd name="connsiteX30" fmla="*/ 0 w 51434"/>
                  <a:gd name="connsiteY30" fmla="*/ 20002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434" h="105727">
                    <a:moveTo>
                      <a:pt x="0" y="20002"/>
                    </a:moveTo>
                    <a:cubicBezTo>
                      <a:pt x="0" y="20002"/>
                      <a:pt x="6668" y="26670"/>
                      <a:pt x="7620" y="29527"/>
                    </a:cubicBezTo>
                    <a:cubicBezTo>
                      <a:pt x="8572" y="33338"/>
                      <a:pt x="6668" y="35242"/>
                      <a:pt x="7620" y="39052"/>
                    </a:cubicBezTo>
                    <a:cubicBezTo>
                      <a:pt x="8572" y="42863"/>
                      <a:pt x="8572" y="42863"/>
                      <a:pt x="7620" y="45720"/>
                    </a:cubicBezTo>
                    <a:cubicBezTo>
                      <a:pt x="6668" y="48577"/>
                      <a:pt x="6668" y="51435"/>
                      <a:pt x="6668" y="53340"/>
                    </a:cubicBezTo>
                    <a:cubicBezTo>
                      <a:pt x="6668" y="55245"/>
                      <a:pt x="12382" y="62865"/>
                      <a:pt x="13335" y="65723"/>
                    </a:cubicBezTo>
                    <a:cubicBezTo>
                      <a:pt x="14288" y="68580"/>
                      <a:pt x="12382" y="69533"/>
                      <a:pt x="13335" y="72390"/>
                    </a:cubicBezTo>
                    <a:cubicBezTo>
                      <a:pt x="14288" y="75248"/>
                      <a:pt x="11430" y="79058"/>
                      <a:pt x="10477" y="81915"/>
                    </a:cubicBezTo>
                    <a:cubicBezTo>
                      <a:pt x="10477" y="84773"/>
                      <a:pt x="9525" y="91440"/>
                      <a:pt x="13335" y="96202"/>
                    </a:cubicBezTo>
                    <a:cubicBezTo>
                      <a:pt x="18097" y="100965"/>
                      <a:pt x="18097" y="100965"/>
                      <a:pt x="18097" y="100965"/>
                    </a:cubicBezTo>
                    <a:lnTo>
                      <a:pt x="35243" y="105727"/>
                    </a:lnTo>
                    <a:lnTo>
                      <a:pt x="44768" y="104775"/>
                    </a:lnTo>
                    <a:cubicBezTo>
                      <a:pt x="44768" y="104775"/>
                      <a:pt x="46672" y="100965"/>
                      <a:pt x="48577" y="98108"/>
                    </a:cubicBezTo>
                    <a:cubicBezTo>
                      <a:pt x="49530" y="95250"/>
                      <a:pt x="44768" y="85725"/>
                      <a:pt x="44768" y="85725"/>
                    </a:cubicBezTo>
                    <a:cubicBezTo>
                      <a:pt x="44768" y="85725"/>
                      <a:pt x="39052" y="83820"/>
                      <a:pt x="40005" y="80963"/>
                    </a:cubicBezTo>
                    <a:cubicBezTo>
                      <a:pt x="40957" y="78105"/>
                      <a:pt x="37147" y="71438"/>
                      <a:pt x="37147" y="71438"/>
                    </a:cubicBezTo>
                    <a:lnTo>
                      <a:pt x="42863" y="66675"/>
                    </a:lnTo>
                    <a:lnTo>
                      <a:pt x="47625" y="62865"/>
                    </a:lnTo>
                    <a:cubicBezTo>
                      <a:pt x="47625" y="62865"/>
                      <a:pt x="50482" y="66675"/>
                      <a:pt x="51435" y="58102"/>
                    </a:cubicBezTo>
                    <a:cubicBezTo>
                      <a:pt x="51435" y="48577"/>
                      <a:pt x="51435" y="53340"/>
                      <a:pt x="51435" y="48577"/>
                    </a:cubicBezTo>
                    <a:cubicBezTo>
                      <a:pt x="51435" y="44767"/>
                      <a:pt x="47625" y="40005"/>
                      <a:pt x="45720" y="38100"/>
                    </a:cubicBezTo>
                    <a:cubicBezTo>
                      <a:pt x="44768" y="36195"/>
                      <a:pt x="38100" y="29527"/>
                      <a:pt x="39052" y="27623"/>
                    </a:cubicBezTo>
                    <a:cubicBezTo>
                      <a:pt x="40005" y="25717"/>
                      <a:pt x="34290" y="15240"/>
                      <a:pt x="35243" y="13335"/>
                    </a:cubicBezTo>
                    <a:cubicBezTo>
                      <a:pt x="36195" y="11430"/>
                      <a:pt x="32385" y="8573"/>
                      <a:pt x="33338" y="6667"/>
                    </a:cubicBezTo>
                    <a:cubicBezTo>
                      <a:pt x="34290" y="4763"/>
                      <a:pt x="34290" y="4763"/>
                      <a:pt x="34290" y="4763"/>
                    </a:cubicBezTo>
                    <a:lnTo>
                      <a:pt x="25718" y="0"/>
                    </a:lnTo>
                    <a:lnTo>
                      <a:pt x="19050" y="0"/>
                    </a:lnTo>
                    <a:lnTo>
                      <a:pt x="12382" y="0"/>
                    </a:lnTo>
                    <a:cubicBezTo>
                      <a:pt x="12382" y="0"/>
                      <a:pt x="6668" y="1905"/>
                      <a:pt x="5715" y="3810"/>
                    </a:cubicBezTo>
                    <a:cubicBezTo>
                      <a:pt x="4763" y="5715"/>
                      <a:pt x="5715" y="7620"/>
                      <a:pt x="2857" y="9525"/>
                    </a:cubicBezTo>
                    <a:cubicBezTo>
                      <a:pt x="952" y="10477"/>
                      <a:pt x="0" y="20002"/>
                      <a:pt x="0" y="200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Freeform: Shape 61">
                <a:extLst>
                  <a:ext uri="{FF2B5EF4-FFF2-40B4-BE49-F238E27FC236}">
                    <a16:creationId xmlns:a16="http://schemas.microsoft.com/office/drawing/2014/main" id="{CF742A34-EECF-46AC-B2EF-52FCF9FE5A82}"/>
                  </a:ext>
                </a:extLst>
              </p:cNvPr>
              <p:cNvSpPr/>
              <p:nvPr/>
            </p:nvSpPr>
            <p:spPr>
              <a:xfrm>
                <a:off x="10452354" y="4072619"/>
                <a:ext cx="355903" cy="121919"/>
              </a:xfrm>
              <a:custGeom>
                <a:avLst/>
                <a:gdLst>
                  <a:gd name="connsiteX0" fmla="*/ 101374 w 355903"/>
                  <a:gd name="connsiteY0" fmla="*/ 29527 h 121919"/>
                  <a:gd name="connsiteX1" fmla="*/ 96612 w 355903"/>
                  <a:gd name="connsiteY1" fmla="*/ 30480 h 121919"/>
                  <a:gd name="connsiteX2" fmla="*/ 83277 w 355903"/>
                  <a:gd name="connsiteY2" fmla="*/ 29527 h 121919"/>
                  <a:gd name="connsiteX3" fmla="*/ 78515 w 355903"/>
                  <a:gd name="connsiteY3" fmla="*/ 26670 h 121919"/>
                  <a:gd name="connsiteX4" fmla="*/ 73752 w 355903"/>
                  <a:gd name="connsiteY4" fmla="*/ 22860 h 121919"/>
                  <a:gd name="connsiteX5" fmla="*/ 72799 w 355903"/>
                  <a:gd name="connsiteY5" fmla="*/ 14288 h 121919"/>
                  <a:gd name="connsiteX6" fmla="*/ 72799 w 355903"/>
                  <a:gd name="connsiteY6" fmla="*/ 10477 h 121919"/>
                  <a:gd name="connsiteX7" fmla="*/ 72799 w 355903"/>
                  <a:gd name="connsiteY7" fmla="*/ 2857 h 121919"/>
                  <a:gd name="connsiteX8" fmla="*/ 67085 w 355903"/>
                  <a:gd name="connsiteY8" fmla="*/ 0 h 121919"/>
                  <a:gd name="connsiteX9" fmla="*/ 54702 w 355903"/>
                  <a:gd name="connsiteY9" fmla="*/ 952 h 121919"/>
                  <a:gd name="connsiteX10" fmla="*/ 48035 w 355903"/>
                  <a:gd name="connsiteY10" fmla="*/ 1905 h 121919"/>
                  <a:gd name="connsiteX11" fmla="*/ 35652 w 355903"/>
                  <a:gd name="connsiteY11" fmla="*/ 4763 h 121919"/>
                  <a:gd name="connsiteX12" fmla="*/ 24222 w 355903"/>
                  <a:gd name="connsiteY12" fmla="*/ 3810 h 121919"/>
                  <a:gd name="connsiteX13" fmla="*/ 17555 w 355903"/>
                  <a:gd name="connsiteY13" fmla="*/ 5715 h 121919"/>
                  <a:gd name="connsiteX14" fmla="*/ 5172 w 355903"/>
                  <a:gd name="connsiteY14" fmla="*/ 9525 h 121919"/>
                  <a:gd name="connsiteX15" fmla="*/ 3267 w 355903"/>
                  <a:gd name="connsiteY15" fmla="*/ 12382 h 121919"/>
                  <a:gd name="connsiteX16" fmla="*/ 2315 w 355903"/>
                  <a:gd name="connsiteY16" fmla="*/ 15240 h 121919"/>
                  <a:gd name="connsiteX17" fmla="*/ 13745 w 355903"/>
                  <a:gd name="connsiteY17" fmla="*/ 17145 h 121919"/>
                  <a:gd name="connsiteX18" fmla="*/ 22317 w 355903"/>
                  <a:gd name="connsiteY18" fmla="*/ 14288 h 121919"/>
                  <a:gd name="connsiteX19" fmla="*/ 38510 w 355903"/>
                  <a:gd name="connsiteY19" fmla="*/ 20002 h 121919"/>
                  <a:gd name="connsiteX20" fmla="*/ 39462 w 355903"/>
                  <a:gd name="connsiteY20" fmla="*/ 31432 h 121919"/>
                  <a:gd name="connsiteX21" fmla="*/ 37557 w 355903"/>
                  <a:gd name="connsiteY21" fmla="*/ 38100 h 121919"/>
                  <a:gd name="connsiteX22" fmla="*/ 50892 w 355903"/>
                  <a:gd name="connsiteY22" fmla="*/ 45720 h 121919"/>
                  <a:gd name="connsiteX23" fmla="*/ 57560 w 355903"/>
                  <a:gd name="connsiteY23" fmla="*/ 45720 h 121919"/>
                  <a:gd name="connsiteX24" fmla="*/ 58512 w 355903"/>
                  <a:gd name="connsiteY24" fmla="*/ 47625 h 121919"/>
                  <a:gd name="connsiteX25" fmla="*/ 79467 w 355903"/>
                  <a:gd name="connsiteY25" fmla="*/ 49530 h 121919"/>
                  <a:gd name="connsiteX26" fmla="*/ 93755 w 355903"/>
                  <a:gd name="connsiteY26" fmla="*/ 48577 h 121919"/>
                  <a:gd name="connsiteX27" fmla="*/ 108995 w 355903"/>
                  <a:gd name="connsiteY27" fmla="*/ 50482 h 121919"/>
                  <a:gd name="connsiteX28" fmla="*/ 115662 w 355903"/>
                  <a:gd name="connsiteY28" fmla="*/ 49530 h 121919"/>
                  <a:gd name="connsiteX29" fmla="*/ 118520 w 355903"/>
                  <a:gd name="connsiteY29" fmla="*/ 51435 h 121919"/>
                  <a:gd name="connsiteX30" fmla="*/ 128045 w 355903"/>
                  <a:gd name="connsiteY30" fmla="*/ 57150 h 121919"/>
                  <a:gd name="connsiteX31" fmla="*/ 137570 w 355903"/>
                  <a:gd name="connsiteY31" fmla="*/ 61913 h 121919"/>
                  <a:gd name="connsiteX32" fmla="*/ 147095 w 355903"/>
                  <a:gd name="connsiteY32" fmla="*/ 70485 h 121919"/>
                  <a:gd name="connsiteX33" fmla="*/ 147095 w 355903"/>
                  <a:gd name="connsiteY33" fmla="*/ 77152 h 121919"/>
                  <a:gd name="connsiteX34" fmla="*/ 142332 w 355903"/>
                  <a:gd name="connsiteY34" fmla="*/ 81915 h 121919"/>
                  <a:gd name="connsiteX35" fmla="*/ 141380 w 355903"/>
                  <a:gd name="connsiteY35" fmla="*/ 84772 h 121919"/>
                  <a:gd name="connsiteX36" fmla="*/ 135665 w 355903"/>
                  <a:gd name="connsiteY36" fmla="*/ 85725 h 121919"/>
                  <a:gd name="connsiteX37" fmla="*/ 134712 w 355903"/>
                  <a:gd name="connsiteY37" fmla="*/ 87630 h 121919"/>
                  <a:gd name="connsiteX38" fmla="*/ 128997 w 355903"/>
                  <a:gd name="connsiteY38" fmla="*/ 94297 h 121919"/>
                  <a:gd name="connsiteX39" fmla="*/ 148047 w 355903"/>
                  <a:gd name="connsiteY39" fmla="*/ 99060 h 121919"/>
                  <a:gd name="connsiteX40" fmla="*/ 150905 w 355903"/>
                  <a:gd name="connsiteY40" fmla="*/ 99060 h 121919"/>
                  <a:gd name="connsiteX41" fmla="*/ 159477 w 355903"/>
                  <a:gd name="connsiteY41" fmla="*/ 93345 h 121919"/>
                  <a:gd name="connsiteX42" fmla="*/ 175670 w 355903"/>
                  <a:gd name="connsiteY42" fmla="*/ 95250 h 121919"/>
                  <a:gd name="connsiteX43" fmla="*/ 183290 w 355903"/>
                  <a:gd name="connsiteY43" fmla="*/ 99060 h 121919"/>
                  <a:gd name="connsiteX44" fmla="*/ 186147 w 355903"/>
                  <a:gd name="connsiteY44" fmla="*/ 104775 h 121919"/>
                  <a:gd name="connsiteX45" fmla="*/ 189005 w 355903"/>
                  <a:gd name="connsiteY45" fmla="*/ 109538 h 121919"/>
                  <a:gd name="connsiteX46" fmla="*/ 209007 w 355903"/>
                  <a:gd name="connsiteY46" fmla="*/ 112395 h 121919"/>
                  <a:gd name="connsiteX47" fmla="*/ 217580 w 355903"/>
                  <a:gd name="connsiteY47" fmla="*/ 110490 h 121919"/>
                  <a:gd name="connsiteX48" fmla="*/ 226152 w 355903"/>
                  <a:gd name="connsiteY48" fmla="*/ 109538 h 121919"/>
                  <a:gd name="connsiteX49" fmla="*/ 233772 w 355903"/>
                  <a:gd name="connsiteY49" fmla="*/ 105727 h 121919"/>
                  <a:gd name="connsiteX50" fmla="*/ 237582 w 355903"/>
                  <a:gd name="connsiteY50" fmla="*/ 97155 h 121919"/>
                  <a:gd name="connsiteX51" fmla="*/ 239487 w 355903"/>
                  <a:gd name="connsiteY51" fmla="*/ 93345 h 121919"/>
                  <a:gd name="connsiteX52" fmla="*/ 259490 w 355903"/>
                  <a:gd name="connsiteY52" fmla="*/ 90488 h 121919"/>
                  <a:gd name="connsiteX53" fmla="*/ 270920 w 355903"/>
                  <a:gd name="connsiteY53" fmla="*/ 90488 h 121919"/>
                  <a:gd name="connsiteX54" fmla="*/ 275682 w 355903"/>
                  <a:gd name="connsiteY54" fmla="*/ 93345 h 121919"/>
                  <a:gd name="connsiteX55" fmla="*/ 283302 w 355903"/>
                  <a:gd name="connsiteY55" fmla="*/ 100013 h 121919"/>
                  <a:gd name="connsiteX56" fmla="*/ 289017 w 355903"/>
                  <a:gd name="connsiteY56" fmla="*/ 105727 h 121919"/>
                  <a:gd name="connsiteX57" fmla="*/ 295685 w 355903"/>
                  <a:gd name="connsiteY57" fmla="*/ 109538 h 121919"/>
                  <a:gd name="connsiteX58" fmla="*/ 297590 w 355903"/>
                  <a:gd name="connsiteY58" fmla="*/ 112395 h 121919"/>
                  <a:gd name="connsiteX59" fmla="*/ 313782 w 355903"/>
                  <a:gd name="connsiteY59" fmla="*/ 120015 h 121919"/>
                  <a:gd name="connsiteX60" fmla="*/ 319497 w 355903"/>
                  <a:gd name="connsiteY60" fmla="*/ 121920 h 121919"/>
                  <a:gd name="connsiteX61" fmla="*/ 324260 w 355903"/>
                  <a:gd name="connsiteY61" fmla="*/ 121920 h 121919"/>
                  <a:gd name="connsiteX62" fmla="*/ 340452 w 355903"/>
                  <a:gd name="connsiteY62" fmla="*/ 121920 h 121919"/>
                  <a:gd name="connsiteX63" fmla="*/ 346167 w 355903"/>
                  <a:gd name="connsiteY63" fmla="*/ 119063 h 121919"/>
                  <a:gd name="connsiteX64" fmla="*/ 349977 w 355903"/>
                  <a:gd name="connsiteY64" fmla="*/ 119063 h 121919"/>
                  <a:gd name="connsiteX65" fmla="*/ 353787 w 355903"/>
                  <a:gd name="connsiteY65" fmla="*/ 115252 h 121919"/>
                  <a:gd name="connsiteX66" fmla="*/ 353787 w 355903"/>
                  <a:gd name="connsiteY66" fmla="*/ 111442 h 121919"/>
                  <a:gd name="connsiteX67" fmla="*/ 349024 w 355903"/>
                  <a:gd name="connsiteY67" fmla="*/ 109538 h 121919"/>
                  <a:gd name="connsiteX68" fmla="*/ 338547 w 355903"/>
                  <a:gd name="connsiteY68" fmla="*/ 101917 h 121919"/>
                  <a:gd name="connsiteX69" fmla="*/ 332832 w 355903"/>
                  <a:gd name="connsiteY69" fmla="*/ 94297 h 121919"/>
                  <a:gd name="connsiteX70" fmla="*/ 329022 w 355903"/>
                  <a:gd name="connsiteY70" fmla="*/ 89535 h 121919"/>
                  <a:gd name="connsiteX71" fmla="*/ 317592 w 355903"/>
                  <a:gd name="connsiteY71" fmla="*/ 84772 h 121919"/>
                  <a:gd name="connsiteX72" fmla="*/ 301399 w 355903"/>
                  <a:gd name="connsiteY72" fmla="*/ 76200 h 121919"/>
                  <a:gd name="connsiteX73" fmla="*/ 293780 w 355903"/>
                  <a:gd name="connsiteY73" fmla="*/ 68580 h 121919"/>
                  <a:gd name="connsiteX74" fmla="*/ 284255 w 355903"/>
                  <a:gd name="connsiteY74" fmla="*/ 60960 h 121919"/>
                  <a:gd name="connsiteX75" fmla="*/ 273777 w 355903"/>
                  <a:gd name="connsiteY75" fmla="*/ 56197 h 121919"/>
                  <a:gd name="connsiteX76" fmla="*/ 251870 w 355903"/>
                  <a:gd name="connsiteY76" fmla="*/ 49530 h 121919"/>
                  <a:gd name="connsiteX77" fmla="*/ 242345 w 355903"/>
                  <a:gd name="connsiteY77" fmla="*/ 44767 h 121919"/>
                  <a:gd name="connsiteX78" fmla="*/ 229962 w 355903"/>
                  <a:gd name="connsiteY78" fmla="*/ 37147 h 121919"/>
                  <a:gd name="connsiteX79" fmla="*/ 220437 w 355903"/>
                  <a:gd name="connsiteY79" fmla="*/ 32385 h 121919"/>
                  <a:gd name="connsiteX80" fmla="*/ 203292 w 355903"/>
                  <a:gd name="connsiteY80" fmla="*/ 26670 h 121919"/>
                  <a:gd name="connsiteX81" fmla="*/ 187099 w 355903"/>
                  <a:gd name="connsiteY81" fmla="*/ 22860 h 121919"/>
                  <a:gd name="connsiteX82" fmla="*/ 168049 w 355903"/>
                  <a:gd name="connsiteY82" fmla="*/ 19050 h 121919"/>
                  <a:gd name="connsiteX83" fmla="*/ 153762 w 355903"/>
                  <a:gd name="connsiteY83" fmla="*/ 19050 h 121919"/>
                  <a:gd name="connsiteX84" fmla="*/ 142332 w 355903"/>
                  <a:gd name="connsiteY84" fmla="*/ 17145 h 121919"/>
                  <a:gd name="connsiteX85" fmla="*/ 128045 w 355903"/>
                  <a:gd name="connsiteY85" fmla="*/ 18097 h 121919"/>
                  <a:gd name="connsiteX86" fmla="*/ 118520 w 355903"/>
                  <a:gd name="connsiteY86" fmla="*/ 20002 h 121919"/>
                  <a:gd name="connsiteX87" fmla="*/ 116615 w 355903"/>
                  <a:gd name="connsiteY87" fmla="*/ 21907 h 121919"/>
                  <a:gd name="connsiteX88" fmla="*/ 101374 w 355903"/>
                  <a:gd name="connsiteY88" fmla="*/ 29527 h 1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55903" h="121919">
                    <a:moveTo>
                      <a:pt x="101374" y="29527"/>
                    </a:moveTo>
                    <a:cubicBezTo>
                      <a:pt x="101374" y="29527"/>
                      <a:pt x="100422" y="30480"/>
                      <a:pt x="96612" y="30480"/>
                    </a:cubicBezTo>
                    <a:cubicBezTo>
                      <a:pt x="93755" y="30480"/>
                      <a:pt x="83277" y="29527"/>
                      <a:pt x="83277" y="29527"/>
                    </a:cubicBezTo>
                    <a:lnTo>
                      <a:pt x="78515" y="26670"/>
                    </a:lnTo>
                    <a:lnTo>
                      <a:pt x="73752" y="22860"/>
                    </a:lnTo>
                    <a:lnTo>
                      <a:pt x="72799" y="14288"/>
                    </a:lnTo>
                    <a:lnTo>
                      <a:pt x="72799" y="10477"/>
                    </a:lnTo>
                    <a:lnTo>
                      <a:pt x="72799" y="2857"/>
                    </a:lnTo>
                    <a:lnTo>
                      <a:pt x="67085" y="0"/>
                    </a:lnTo>
                    <a:lnTo>
                      <a:pt x="54702" y="952"/>
                    </a:lnTo>
                    <a:cubicBezTo>
                      <a:pt x="54702" y="952"/>
                      <a:pt x="51845" y="-953"/>
                      <a:pt x="48035" y="1905"/>
                    </a:cubicBezTo>
                    <a:cubicBezTo>
                      <a:pt x="44224" y="4763"/>
                      <a:pt x="40415" y="3810"/>
                      <a:pt x="35652" y="4763"/>
                    </a:cubicBezTo>
                    <a:cubicBezTo>
                      <a:pt x="30890" y="5715"/>
                      <a:pt x="24222" y="3810"/>
                      <a:pt x="24222" y="3810"/>
                    </a:cubicBezTo>
                    <a:lnTo>
                      <a:pt x="17555" y="5715"/>
                    </a:lnTo>
                    <a:lnTo>
                      <a:pt x="5172" y="9525"/>
                    </a:lnTo>
                    <a:lnTo>
                      <a:pt x="3267" y="12382"/>
                    </a:lnTo>
                    <a:cubicBezTo>
                      <a:pt x="3267" y="12382"/>
                      <a:pt x="-3401" y="13335"/>
                      <a:pt x="2315" y="15240"/>
                    </a:cubicBezTo>
                    <a:cubicBezTo>
                      <a:pt x="8030" y="17145"/>
                      <a:pt x="13745" y="17145"/>
                      <a:pt x="13745" y="17145"/>
                    </a:cubicBezTo>
                    <a:lnTo>
                      <a:pt x="22317" y="14288"/>
                    </a:lnTo>
                    <a:cubicBezTo>
                      <a:pt x="28985" y="19050"/>
                      <a:pt x="37557" y="8572"/>
                      <a:pt x="38510" y="20002"/>
                    </a:cubicBezTo>
                    <a:cubicBezTo>
                      <a:pt x="39462" y="31432"/>
                      <a:pt x="40415" y="27622"/>
                      <a:pt x="39462" y="31432"/>
                    </a:cubicBezTo>
                    <a:cubicBezTo>
                      <a:pt x="38510" y="35242"/>
                      <a:pt x="37557" y="38100"/>
                      <a:pt x="37557" y="38100"/>
                    </a:cubicBezTo>
                    <a:lnTo>
                      <a:pt x="50892" y="45720"/>
                    </a:lnTo>
                    <a:cubicBezTo>
                      <a:pt x="50892" y="45720"/>
                      <a:pt x="56607" y="43815"/>
                      <a:pt x="57560" y="45720"/>
                    </a:cubicBezTo>
                    <a:cubicBezTo>
                      <a:pt x="58512" y="47625"/>
                      <a:pt x="58512" y="47625"/>
                      <a:pt x="58512" y="47625"/>
                    </a:cubicBezTo>
                    <a:lnTo>
                      <a:pt x="79467" y="49530"/>
                    </a:lnTo>
                    <a:lnTo>
                      <a:pt x="93755" y="48577"/>
                    </a:lnTo>
                    <a:lnTo>
                      <a:pt x="108995" y="50482"/>
                    </a:lnTo>
                    <a:cubicBezTo>
                      <a:pt x="108995" y="50482"/>
                      <a:pt x="111852" y="48577"/>
                      <a:pt x="115662" y="49530"/>
                    </a:cubicBezTo>
                    <a:cubicBezTo>
                      <a:pt x="118520" y="51435"/>
                      <a:pt x="115662" y="48577"/>
                      <a:pt x="118520" y="51435"/>
                    </a:cubicBezTo>
                    <a:cubicBezTo>
                      <a:pt x="121377" y="54292"/>
                      <a:pt x="127092" y="53340"/>
                      <a:pt x="128045" y="57150"/>
                    </a:cubicBezTo>
                    <a:cubicBezTo>
                      <a:pt x="128997" y="60960"/>
                      <a:pt x="128045" y="53340"/>
                      <a:pt x="137570" y="61913"/>
                    </a:cubicBezTo>
                    <a:cubicBezTo>
                      <a:pt x="147095" y="70485"/>
                      <a:pt x="147095" y="66675"/>
                      <a:pt x="147095" y="70485"/>
                    </a:cubicBezTo>
                    <a:cubicBezTo>
                      <a:pt x="147095" y="74295"/>
                      <a:pt x="147095" y="77152"/>
                      <a:pt x="147095" y="77152"/>
                    </a:cubicBezTo>
                    <a:cubicBezTo>
                      <a:pt x="147095" y="77152"/>
                      <a:pt x="143285" y="79057"/>
                      <a:pt x="142332" y="81915"/>
                    </a:cubicBezTo>
                    <a:cubicBezTo>
                      <a:pt x="141380" y="84772"/>
                      <a:pt x="141380" y="84772"/>
                      <a:pt x="141380" y="84772"/>
                    </a:cubicBezTo>
                    <a:cubicBezTo>
                      <a:pt x="141380" y="84772"/>
                      <a:pt x="136617" y="83820"/>
                      <a:pt x="135665" y="85725"/>
                    </a:cubicBezTo>
                    <a:cubicBezTo>
                      <a:pt x="134712" y="87630"/>
                      <a:pt x="140427" y="80963"/>
                      <a:pt x="134712" y="87630"/>
                    </a:cubicBezTo>
                    <a:cubicBezTo>
                      <a:pt x="128997" y="94297"/>
                      <a:pt x="128997" y="94297"/>
                      <a:pt x="128997" y="94297"/>
                    </a:cubicBezTo>
                    <a:cubicBezTo>
                      <a:pt x="128997" y="94297"/>
                      <a:pt x="144237" y="99060"/>
                      <a:pt x="148047" y="99060"/>
                    </a:cubicBezTo>
                    <a:cubicBezTo>
                      <a:pt x="150905" y="99060"/>
                      <a:pt x="150905" y="99060"/>
                      <a:pt x="150905" y="99060"/>
                    </a:cubicBezTo>
                    <a:cubicBezTo>
                      <a:pt x="150905" y="99060"/>
                      <a:pt x="143285" y="91440"/>
                      <a:pt x="159477" y="93345"/>
                    </a:cubicBezTo>
                    <a:cubicBezTo>
                      <a:pt x="175670" y="95250"/>
                      <a:pt x="175670" y="95250"/>
                      <a:pt x="175670" y="95250"/>
                    </a:cubicBezTo>
                    <a:lnTo>
                      <a:pt x="183290" y="99060"/>
                    </a:lnTo>
                    <a:cubicBezTo>
                      <a:pt x="183290" y="99060"/>
                      <a:pt x="183290" y="100013"/>
                      <a:pt x="186147" y="104775"/>
                    </a:cubicBezTo>
                    <a:cubicBezTo>
                      <a:pt x="189005" y="109538"/>
                      <a:pt x="177574" y="104775"/>
                      <a:pt x="189005" y="109538"/>
                    </a:cubicBezTo>
                    <a:cubicBezTo>
                      <a:pt x="201387" y="114300"/>
                      <a:pt x="205197" y="112395"/>
                      <a:pt x="209007" y="112395"/>
                    </a:cubicBezTo>
                    <a:cubicBezTo>
                      <a:pt x="211865" y="112395"/>
                      <a:pt x="217580" y="110490"/>
                      <a:pt x="217580" y="110490"/>
                    </a:cubicBezTo>
                    <a:cubicBezTo>
                      <a:pt x="217580" y="110490"/>
                      <a:pt x="219485" y="108585"/>
                      <a:pt x="226152" y="109538"/>
                    </a:cubicBezTo>
                    <a:cubicBezTo>
                      <a:pt x="232820" y="110490"/>
                      <a:pt x="233772" y="105727"/>
                      <a:pt x="233772" y="105727"/>
                    </a:cubicBezTo>
                    <a:lnTo>
                      <a:pt x="237582" y="97155"/>
                    </a:lnTo>
                    <a:lnTo>
                      <a:pt x="239487" y="93345"/>
                    </a:lnTo>
                    <a:cubicBezTo>
                      <a:pt x="254727" y="91440"/>
                      <a:pt x="259490" y="90488"/>
                      <a:pt x="259490" y="90488"/>
                    </a:cubicBezTo>
                    <a:lnTo>
                      <a:pt x="270920" y="90488"/>
                    </a:lnTo>
                    <a:cubicBezTo>
                      <a:pt x="270920" y="90488"/>
                      <a:pt x="273777" y="91440"/>
                      <a:pt x="275682" y="93345"/>
                    </a:cubicBezTo>
                    <a:cubicBezTo>
                      <a:pt x="276635" y="95250"/>
                      <a:pt x="282349" y="98107"/>
                      <a:pt x="283302" y="100013"/>
                    </a:cubicBezTo>
                    <a:cubicBezTo>
                      <a:pt x="284255" y="101917"/>
                      <a:pt x="289017" y="105727"/>
                      <a:pt x="289017" y="105727"/>
                    </a:cubicBezTo>
                    <a:cubicBezTo>
                      <a:pt x="289017" y="105727"/>
                      <a:pt x="293780" y="106680"/>
                      <a:pt x="295685" y="109538"/>
                    </a:cubicBezTo>
                    <a:cubicBezTo>
                      <a:pt x="297590" y="112395"/>
                      <a:pt x="290922" y="109538"/>
                      <a:pt x="297590" y="112395"/>
                    </a:cubicBezTo>
                    <a:cubicBezTo>
                      <a:pt x="304257" y="115252"/>
                      <a:pt x="308067" y="117157"/>
                      <a:pt x="313782" y="120015"/>
                    </a:cubicBezTo>
                    <a:cubicBezTo>
                      <a:pt x="319497" y="121920"/>
                      <a:pt x="314735" y="121920"/>
                      <a:pt x="319497" y="121920"/>
                    </a:cubicBezTo>
                    <a:cubicBezTo>
                      <a:pt x="324260" y="121920"/>
                      <a:pt x="317592" y="121920"/>
                      <a:pt x="324260" y="121920"/>
                    </a:cubicBezTo>
                    <a:cubicBezTo>
                      <a:pt x="330927" y="121920"/>
                      <a:pt x="340452" y="121920"/>
                      <a:pt x="340452" y="121920"/>
                    </a:cubicBezTo>
                    <a:cubicBezTo>
                      <a:pt x="340452" y="121920"/>
                      <a:pt x="342357" y="119063"/>
                      <a:pt x="346167" y="119063"/>
                    </a:cubicBezTo>
                    <a:cubicBezTo>
                      <a:pt x="349977" y="119063"/>
                      <a:pt x="349977" y="119063"/>
                      <a:pt x="349977" y="119063"/>
                    </a:cubicBezTo>
                    <a:lnTo>
                      <a:pt x="353787" y="115252"/>
                    </a:lnTo>
                    <a:cubicBezTo>
                      <a:pt x="353787" y="115252"/>
                      <a:pt x="358549" y="112395"/>
                      <a:pt x="353787" y="111442"/>
                    </a:cubicBezTo>
                    <a:cubicBezTo>
                      <a:pt x="349024" y="109538"/>
                      <a:pt x="354740" y="112395"/>
                      <a:pt x="349024" y="109538"/>
                    </a:cubicBezTo>
                    <a:cubicBezTo>
                      <a:pt x="343310" y="106680"/>
                      <a:pt x="338547" y="104775"/>
                      <a:pt x="338547" y="101917"/>
                    </a:cubicBezTo>
                    <a:cubicBezTo>
                      <a:pt x="338547" y="100013"/>
                      <a:pt x="335690" y="96202"/>
                      <a:pt x="332832" y="94297"/>
                    </a:cubicBezTo>
                    <a:cubicBezTo>
                      <a:pt x="330927" y="92392"/>
                      <a:pt x="333785" y="90488"/>
                      <a:pt x="329022" y="89535"/>
                    </a:cubicBezTo>
                    <a:cubicBezTo>
                      <a:pt x="323307" y="87630"/>
                      <a:pt x="321402" y="85725"/>
                      <a:pt x="317592" y="84772"/>
                    </a:cubicBezTo>
                    <a:cubicBezTo>
                      <a:pt x="314735" y="83820"/>
                      <a:pt x="301399" y="76200"/>
                      <a:pt x="301399" y="76200"/>
                    </a:cubicBezTo>
                    <a:lnTo>
                      <a:pt x="293780" y="68580"/>
                    </a:lnTo>
                    <a:lnTo>
                      <a:pt x="284255" y="60960"/>
                    </a:lnTo>
                    <a:cubicBezTo>
                      <a:pt x="284255" y="60960"/>
                      <a:pt x="276635" y="56197"/>
                      <a:pt x="273777" y="56197"/>
                    </a:cubicBezTo>
                    <a:cubicBezTo>
                      <a:pt x="270920" y="56197"/>
                      <a:pt x="256632" y="50482"/>
                      <a:pt x="251870" y="49530"/>
                    </a:cubicBezTo>
                    <a:cubicBezTo>
                      <a:pt x="247107" y="48577"/>
                      <a:pt x="242345" y="44767"/>
                      <a:pt x="242345" y="44767"/>
                    </a:cubicBezTo>
                    <a:lnTo>
                      <a:pt x="229962" y="37147"/>
                    </a:lnTo>
                    <a:lnTo>
                      <a:pt x="220437" y="32385"/>
                    </a:lnTo>
                    <a:cubicBezTo>
                      <a:pt x="220437" y="32385"/>
                      <a:pt x="207102" y="27622"/>
                      <a:pt x="203292" y="26670"/>
                    </a:cubicBezTo>
                    <a:cubicBezTo>
                      <a:pt x="198530" y="25717"/>
                      <a:pt x="187099" y="22860"/>
                      <a:pt x="187099" y="22860"/>
                    </a:cubicBezTo>
                    <a:lnTo>
                      <a:pt x="168049" y="19050"/>
                    </a:lnTo>
                    <a:lnTo>
                      <a:pt x="153762" y="19050"/>
                    </a:lnTo>
                    <a:cubicBezTo>
                      <a:pt x="153762" y="19050"/>
                      <a:pt x="151857" y="17145"/>
                      <a:pt x="142332" y="17145"/>
                    </a:cubicBezTo>
                    <a:cubicBezTo>
                      <a:pt x="133760" y="18097"/>
                      <a:pt x="128045" y="18097"/>
                      <a:pt x="128045" y="18097"/>
                    </a:cubicBezTo>
                    <a:cubicBezTo>
                      <a:pt x="128045" y="18097"/>
                      <a:pt x="120424" y="18097"/>
                      <a:pt x="118520" y="20002"/>
                    </a:cubicBezTo>
                    <a:cubicBezTo>
                      <a:pt x="116615" y="21907"/>
                      <a:pt x="116615" y="21907"/>
                      <a:pt x="116615" y="21907"/>
                    </a:cubicBezTo>
                    <a:lnTo>
                      <a:pt x="101374" y="2952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63" name="Freeform: Shape 62">
                <a:extLst>
                  <a:ext uri="{FF2B5EF4-FFF2-40B4-BE49-F238E27FC236}">
                    <a16:creationId xmlns:a16="http://schemas.microsoft.com/office/drawing/2014/main" id="{3D200AD2-E196-4C7C-B5D2-6F85DE2A52DD}"/>
                  </a:ext>
                </a:extLst>
              </p:cNvPr>
              <p:cNvSpPr/>
              <p:nvPr/>
            </p:nvSpPr>
            <p:spPr>
              <a:xfrm>
                <a:off x="10779471" y="4121196"/>
                <a:ext cx="65722" cy="27622"/>
              </a:xfrm>
              <a:custGeom>
                <a:avLst/>
                <a:gdLst>
                  <a:gd name="connsiteX0" fmla="*/ 65723 w 65722"/>
                  <a:gd name="connsiteY0" fmla="*/ 4763 h 27622"/>
                  <a:gd name="connsiteX1" fmla="*/ 58103 w 65722"/>
                  <a:gd name="connsiteY1" fmla="*/ 16192 h 27622"/>
                  <a:gd name="connsiteX2" fmla="*/ 56198 w 65722"/>
                  <a:gd name="connsiteY2" fmla="*/ 20003 h 27622"/>
                  <a:gd name="connsiteX3" fmla="*/ 44768 w 65722"/>
                  <a:gd name="connsiteY3" fmla="*/ 27623 h 27622"/>
                  <a:gd name="connsiteX4" fmla="*/ 36195 w 65722"/>
                  <a:gd name="connsiteY4" fmla="*/ 26670 h 27622"/>
                  <a:gd name="connsiteX5" fmla="*/ 31432 w 65722"/>
                  <a:gd name="connsiteY5" fmla="*/ 24765 h 27622"/>
                  <a:gd name="connsiteX6" fmla="*/ 24765 w 65722"/>
                  <a:gd name="connsiteY6" fmla="*/ 24765 h 27622"/>
                  <a:gd name="connsiteX7" fmla="*/ 15240 w 65722"/>
                  <a:gd name="connsiteY7" fmla="*/ 25717 h 27622"/>
                  <a:gd name="connsiteX8" fmla="*/ 8573 w 65722"/>
                  <a:gd name="connsiteY8" fmla="*/ 26670 h 27622"/>
                  <a:gd name="connsiteX9" fmla="*/ 0 w 65722"/>
                  <a:gd name="connsiteY9" fmla="*/ 18098 h 27622"/>
                  <a:gd name="connsiteX10" fmla="*/ 5715 w 65722"/>
                  <a:gd name="connsiteY10" fmla="*/ 16192 h 27622"/>
                  <a:gd name="connsiteX11" fmla="*/ 18098 w 65722"/>
                  <a:gd name="connsiteY11" fmla="*/ 16192 h 27622"/>
                  <a:gd name="connsiteX12" fmla="*/ 29528 w 65722"/>
                  <a:gd name="connsiteY12" fmla="*/ 16192 h 27622"/>
                  <a:gd name="connsiteX13" fmla="*/ 38100 w 65722"/>
                  <a:gd name="connsiteY13" fmla="*/ 13335 h 27622"/>
                  <a:gd name="connsiteX14" fmla="*/ 48578 w 65722"/>
                  <a:gd name="connsiteY14" fmla="*/ 7620 h 27622"/>
                  <a:gd name="connsiteX15" fmla="*/ 49530 w 65722"/>
                  <a:gd name="connsiteY15" fmla="*/ 3810 h 27622"/>
                  <a:gd name="connsiteX16" fmla="*/ 53340 w 65722"/>
                  <a:gd name="connsiteY16" fmla="*/ 0 h 27622"/>
                  <a:gd name="connsiteX17" fmla="*/ 65723 w 65722"/>
                  <a:gd name="connsiteY17" fmla="*/ 4763 h 2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722" h="27622">
                    <a:moveTo>
                      <a:pt x="65723" y="4763"/>
                    </a:moveTo>
                    <a:lnTo>
                      <a:pt x="58103" y="16192"/>
                    </a:lnTo>
                    <a:cubicBezTo>
                      <a:pt x="58103" y="16192"/>
                      <a:pt x="56198" y="12383"/>
                      <a:pt x="56198" y="20003"/>
                    </a:cubicBezTo>
                    <a:cubicBezTo>
                      <a:pt x="56198" y="27623"/>
                      <a:pt x="44768" y="27623"/>
                      <a:pt x="44768" y="27623"/>
                    </a:cubicBezTo>
                    <a:lnTo>
                      <a:pt x="36195" y="26670"/>
                    </a:lnTo>
                    <a:lnTo>
                      <a:pt x="31432" y="24765"/>
                    </a:lnTo>
                    <a:lnTo>
                      <a:pt x="24765" y="24765"/>
                    </a:lnTo>
                    <a:lnTo>
                      <a:pt x="15240" y="25717"/>
                    </a:lnTo>
                    <a:lnTo>
                      <a:pt x="8573" y="26670"/>
                    </a:lnTo>
                    <a:lnTo>
                      <a:pt x="0" y="18098"/>
                    </a:lnTo>
                    <a:lnTo>
                      <a:pt x="5715" y="16192"/>
                    </a:lnTo>
                    <a:lnTo>
                      <a:pt x="18098" y="16192"/>
                    </a:lnTo>
                    <a:cubicBezTo>
                      <a:pt x="18098" y="16192"/>
                      <a:pt x="23813" y="16192"/>
                      <a:pt x="29528" y="16192"/>
                    </a:cubicBezTo>
                    <a:cubicBezTo>
                      <a:pt x="35243" y="16192"/>
                      <a:pt x="34290" y="13335"/>
                      <a:pt x="38100" y="13335"/>
                    </a:cubicBezTo>
                    <a:cubicBezTo>
                      <a:pt x="42863" y="13335"/>
                      <a:pt x="48578" y="7620"/>
                      <a:pt x="48578" y="7620"/>
                    </a:cubicBezTo>
                    <a:lnTo>
                      <a:pt x="49530" y="3810"/>
                    </a:lnTo>
                    <a:lnTo>
                      <a:pt x="53340" y="0"/>
                    </a:lnTo>
                    <a:lnTo>
                      <a:pt x="65723"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8" name="Freeform: Shape 127">
                <a:extLst>
                  <a:ext uri="{FF2B5EF4-FFF2-40B4-BE49-F238E27FC236}">
                    <a16:creationId xmlns:a16="http://schemas.microsoft.com/office/drawing/2014/main" id="{CDF0A690-F4E3-4DCE-8B68-EE26AAF83E0F}"/>
                  </a:ext>
                </a:extLst>
              </p:cNvPr>
              <p:cNvSpPr/>
              <p:nvPr/>
            </p:nvSpPr>
            <p:spPr>
              <a:xfrm>
                <a:off x="10158723" y="4197694"/>
                <a:ext cx="696948" cy="329267"/>
              </a:xfrm>
              <a:custGeom>
                <a:avLst/>
                <a:gdLst>
                  <a:gd name="connsiteX0" fmla="*/ 495018 w 696948"/>
                  <a:gd name="connsiteY0" fmla="*/ 18752 h 329267"/>
                  <a:gd name="connsiteX1" fmla="*/ 494066 w 696948"/>
                  <a:gd name="connsiteY1" fmla="*/ 30182 h 329267"/>
                  <a:gd name="connsiteX2" fmla="*/ 493113 w 696948"/>
                  <a:gd name="connsiteY2" fmla="*/ 38755 h 329267"/>
                  <a:gd name="connsiteX3" fmla="*/ 488351 w 696948"/>
                  <a:gd name="connsiteY3" fmla="*/ 53995 h 329267"/>
                  <a:gd name="connsiteX4" fmla="*/ 476921 w 696948"/>
                  <a:gd name="connsiteY4" fmla="*/ 61615 h 329267"/>
                  <a:gd name="connsiteX5" fmla="*/ 471206 w 696948"/>
                  <a:gd name="connsiteY5" fmla="*/ 65425 h 329267"/>
                  <a:gd name="connsiteX6" fmla="*/ 456918 w 696948"/>
                  <a:gd name="connsiteY6" fmla="*/ 66377 h 329267"/>
                  <a:gd name="connsiteX7" fmla="*/ 447393 w 696948"/>
                  <a:gd name="connsiteY7" fmla="*/ 66377 h 329267"/>
                  <a:gd name="connsiteX8" fmla="*/ 444536 w 696948"/>
                  <a:gd name="connsiteY8" fmla="*/ 59710 h 329267"/>
                  <a:gd name="connsiteX9" fmla="*/ 439773 w 696948"/>
                  <a:gd name="connsiteY9" fmla="*/ 57805 h 329267"/>
                  <a:gd name="connsiteX10" fmla="*/ 435011 w 696948"/>
                  <a:gd name="connsiteY10" fmla="*/ 54947 h 329267"/>
                  <a:gd name="connsiteX11" fmla="*/ 428343 w 696948"/>
                  <a:gd name="connsiteY11" fmla="*/ 52090 h 329267"/>
                  <a:gd name="connsiteX12" fmla="*/ 415008 w 696948"/>
                  <a:gd name="connsiteY12" fmla="*/ 49232 h 329267"/>
                  <a:gd name="connsiteX13" fmla="*/ 401673 w 696948"/>
                  <a:gd name="connsiteY13" fmla="*/ 44470 h 329267"/>
                  <a:gd name="connsiteX14" fmla="*/ 396911 w 696948"/>
                  <a:gd name="connsiteY14" fmla="*/ 40660 h 329267"/>
                  <a:gd name="connsiteX15" fmla="*/ 395006 w 696948"/>
                  <a:gd name="connsiteY15" fmla="*/ 33992 h 329267"/>
                  <a:gd name="connsiteX16" fmla="*/ 402626 w 696948"/>
                  <a:gd name="connsiteY16" fmla="*/ 29230 h 329267"/>
                  <a:gd name="connsiteX17" fmla="*/ 413103 w 696948"/>
                  <a:gd name="connsiteY17" fmla="*/ 25420 h 329267"/>
                  <a:gd name="connsiteX18" fmla="*/ 421676 w 696948"/>
                  <a:gd name="connsiteY18" fmla="*/ 21610 h 329267"/>
                  <a:gd name="connsiteX19" fmla="*/ 427391 w 696948"/>
                  <a:gd name="connsiteY19" fmla="*/ 12085 h 329267"/>
                  <a:gd name="connsiteX20" fmla="*/ 425486 w 696948"/>
                  <a:gd name="connsiteY20" fmla="*/ 8275 h 329267"/>
                  <a:gd name="connsiteX21" fmla="*/ 416913 w 696948"/>
                  <a:gd name="connsiteY21" fmla="*/ 5417 h 329267"/>
                  <a:gd name="connsiteX22" fmla="*/ 398816 w 696948"/>
                  <a:gd name="connsiteY22" fmla="*/ 6370 h 329267"/>
                  <a:gd name="connsiteX23" fmla="*/ 389291 w 696948"/>
                  <a:gd name="connsiteY23" fmla="*/ 5417 h 329267"/>
                  <a:gd name="connsiteX24" fmla="*/ 379766 w 696948"/>
                  <a:gd name="connsiteY24" fmla="*/ 3512 h 329267"/>
                  <a:gd name="connsiteX25" fmla="*/ 367383 w 696948"/>
                  <a:gd name="connsiteY25" fmla="*/ 1607 h 329267"/>
                  <a:gd name="connsiteX26" fmla="*/ 339761 w 696948"/>
                  <a:gd name="connsiteY26" fmla="*/ 655 h 329267"/>
                  <a:gd name="connsiteX27" fmla="*/ 328331 w 696948"/>
                  <a:gd name="connsiteY27" fmla="*/ 4465 h 329267"/>
                  <a:gd name="connsiteX28" fmla="*/ 322616 w 696948"/>
                  <a:gd name="connsiteY28" fmla="*/ 8275 h 329267"/>
                  <a:gd name="connsiteX29" fmla="*/ 314996 w 696948"/>
                  <a:gd name="connsiteY29" fmla="*/ 12085 h 329267"/>
                  <a:gd name="connsiteX30" fmla="*/ 306423 w 696948"/>
                  <a:gd name="connsiteY30" fmla="*/ 15895 h 329267"/>
                  <a:gd name="connsiteX31" fmla="*/ 299756 w 696948"/>
                  <a:gd name="connsiteY31" fmla="*/ 20657 h 329267"/>
                  <a:gd name="connsiteX32" fmla="*/ 294041 w 696948"/>
                  <a:gd name="connsiteY32" fmla="*/ 24467 h 329267"/>
                  <a:gd name="connsiteX33" fmla="*/ 293088 w 696948"/>
                  <a:gd name="connsiteY33" fmla="*/ 31135 h 329267"/>
                  <a:gd name="connsiteX34" fmla="*/ 287373 w 696948"/>
                  <a:gd name="connsiteY34" fmla="*/ 37802 h 329267"/>
                  <a:gd name="connsiteX35" fmla="*/ 284516 w 696948"/>
                  <a:gd name="connsiteY35" fmla="*/ 38755 h 329267"/>
                  <a:gd name="connsiteX36" fmla="*/ 268323 w 696948"/>
                  <a:gd name="connsiteY36" fmla="*/ 38755 h 329267"/>
                  <a:gd name="connsiteX37" fmla="*/ 265466 w 696948"/>
                  <a:gd name="connsiteY37" fmla="*/ 29230 h 329267"/>
                  <a:gd name="connsiteX38" fmla="*/ 250226 w 696948"/>
                  <a:gd name="connsiteY38" fmla="*/ 27325 h 329267"/>
                  <a:gd name="connsiteX39" fmla="*/ 242605 w 696948"/>
                  <a:gd name="connsiteY39" fmla="*/ 28277 h 329267"/>
                  <a:gd name="connsiteX40" fmla="*/ 227366 w 696948"/>
                  <a:gd name="connsiteY40" fmla="*/ 29230 h 329267"/>
                  <a:gd name="connsiteX41" fmla="*/ 218793 w 696948"/>
                  <a:gd name="connsiteY41" fmla="*/ 33040 h 329267"/>
                  <a:gd name="connsiteX42" fmla="*/ 208316 w 696948"/>
                  <a:gd name="connsiteY42" fmla="*/ 42565 h 329267"/>
                  <a:gd name="connsiteX43" fmla="*/ 208316 w 696948"/>
                  <a:gd name="connsiteY43" fmla="*/ 46375 h 329267"/>
                  <a:gd name="connsiteX44" fmla="*/ 202601 w 696948"/>
                  <a:gd name="connsiteY44" fmla="*/ 53995 h 329267"/>
                  <a:gd name="connsiteX45" fmla="*/ 190218 w 696948"/>
                  <a:gd name="connsiteY45" fmla="*/ 57805 h 329267"/>
                  <a:gd name="connsiteX46" fmla="*/ 169263 w 696948"/>
                  <a:gd name="connsiteY46" fmla="*/ 58757 h 329267"/>
                  <a:gd name="connsiteX47" fmla="*/ 157833 w 696948"/>
                  <a:gd name="connsiteY47" fmla="*/ 63520 h 329267"/>
                  <a:gd name="connsiteX48" fmla="*/ 155928 w 696948"/>
                  <a:gd name="connsiteY48" fmla="*/ 68282 h 329267"/>
                  <a:gd name="connsiteX49" fmla="*/ 142593 w 696948"/>
                  <a:gd name="connsiteY49" fmla="*/ 85427 h 329267"/>
                  <a:gd name="connsiteX50" fmla="*/ 137830 w 696948"/>
                  <a:gd name="connsiteY50" fmla="*/ 86380 h 329267"/>
                  <a:gd name="connsiteX51" fmla="*/ 128305 w 696948"/>
                  <a:gd name="connsiteY51" fmla="*/ 89237 h 329267"/>
                  <a:gd name="connsiteX52" fmla="*/ 122591 w 696948"/>
                  <a:gd name="connsiteY52" fmla="*/ 90190 h 329267"/>
                  <a:gd name="connsiteX53" fmla="*/ 107351 w 696948"/>
                  <a:gd name="connsiteY53" fmla="*/ 96857 h 329267"/>
                  <a:gd name="connsiteX54" fmla="*/ 100683 w 696948"/>
                  <a:gd name="connsiteY54" fmla="*/ 100667 h 329267"/>
                  <a:gd name="connsiteX55" fmla="*/ 89253 w 696948"/>
                  <a:gd name="connsiteY55" fmla="*/ 101620 h 329267"/>
                  <a:gd name="connsiteX56" fmla="*/ 73061 w 696948"/>
                  <a:gd name="connsiteY56" fmla="*/ 101620 h 329267"/>
                  <a:gd name="connsiteX57" fmla="*/ 63536 w 696948"/>
                  <a:gd name="connsiteY57" fmla="*/ 101620 h 329267"/>
                  <a:gd name="connsiteX58" fmla="*/ 52106 w 696948"/>
                  <a:gd name="connsiteY58" fmla="*/ 105430 h 329267"/>
                  <a:gd name="connsiteX59" fmla="*/ 39723 w 696948"/>
                  <a:gd name="connsiteY59" fmla="*/ 116860 h 329267"/>
                  <a:gd name="connsiteX60" fmla="*/ 16863 w 696948"/>
                  <a:gd name="connsiteY60" fmla="*/ 120670 h 329267"/>
                  <a:gd name="connsiteX61" fmla="*/ 9243 w 696948"/>
                  <a:gd name="connsiteY61" fmla="*/ 121622 h 329267"/>
                  <a:gd name="connsiteX62" fmla="*/ 1623 w 696948"/>
                  <a:gd name="connsiteY62" fmla="*/ 128290 h 329267"/>
                  <a:gd name="connsiteX63" fmla="*/ 671 w 696948"/>
                  <a:gd name="connsiteY63" fmla="*/ 134957 h 329267"/>
                  <a:gd name="connsiteX64" fmla="*/ 671 w 696948"/>
                  <a:gd name="connsiteY64" fmla="*/ 140672 h 329267"/>
                  <a:gd name="connsiteX65" fmla="*/ 3528 w 696948"/>
                  <a:gd name="connsiteY65" fmla="*/ 145435 h 329267"/>
                  <a:gd name="connsiteX66" fmla="*/ 10196 w 696948"/>
                  <a:gd name="connsiteY66" fmla="*/ 156865 h 329267"/>
                  <a:gd name="connsiteX67" fmla="*/ 10196 w 696948"/>
                  <a:gd name="connsiteY67" fmla="*/ 156865 h 329267"/>
                  <a:gd name="connsiteX68" fmla="*/ 14006 w 696948"/>
                  <a:gd name="connsiteY68" fmla="*/ 165437 h 329267"/>
                  <a:gd name="connsiteX69" fmla="*/ 10196 w 696948"/>
                  <a:gd name="connsiteY69" fmla="*/ 174962 h 329267"/>
                  <a:gd name="connsiteX70" fmla="*/ 7338 w 696948"/>
                  <a:gd name="connsiteY70" fmla="*/ 183535 h 329267"/>
                  <a:gd name="connsiteX71" fmla="*/ 17816 w 696948"/>
                  <a:gd name="connsiteY71" fmla="*/ 189250 h 329267"/>
                  <a:gd name="connsiteX72" fmla="*/ 23531 w 696948"/>
                  <a:gd name="connsiteY72" fmla="*/ 196870 h 329267"/>
                  <a:gd name="connsiteX73" fmla="*/ 25436 w 696948"/>
                  <a:gd name="connsiteY73" fmla="*/ 199727 h 329267"/>
                  <a:gd name="connsiteX74" fmla="*/ 34961 w 696948"/>
                  <a:gd name="connsiteY74" fmla="*/ 210205 h 329267"/>
                  <a:gd name="connsiteX75" fmla="*/ 34008 w 696948"/>
                  <a:gd name="connsiteY75" fmla="*/ 219730 h 329267"/>
                  <a:gd name="connsiteX76" fmla="*/ 34008 w 696948"/>
                  <a:gd name="connsiteY76" fmla="*/ 229255 h 329267"/>
                  <a:gd name="connsiteX77" fmla="*/ 34008 w 696948"/>
                  <a:gd name="connsiteY77" fmla="*/ 235922 h 329267"/>
                  <a:gd name="connsiteX78" fmla="*/ 35913 w 696948"/>
                  <a:gd name="connsiteY78" fmla="*/ 244495 h 329267"/>
                  <a:gd name="connsiteX79" fmla="*/ 35913 w 696948"/>
                  <a:gd name="connsiteY79" fmla="*/ 250210 h 329267"/>
                  <a:gd name="connsiteX80" fmla="*/ 30198 w 696948"/>
                  <a:gd name="connsiteY80" fmla="*/ 257830 h 329267"/>
                  <a:gd name="connsiteX81" fmla="*/ 40676 w 696948"/>
                  <a:gd name="connsiteY81" fmla="*/ 268307 h 329267"/>
                  <a:gd name="connsiteX82" fmla="*/ 54011 w 696948"/>
                  <a:gd name="connsiteY82" fmla="*/ 273070 h 329267"/>
                  <a:gd name="connsiteX83" fmla="*/ 63536 w 696948"/>
                  <a:gd name="connsiteY83" fmla="*/ 273070 h 329267"/>
                  <a:gd name="connsiteX84" fmla="*/ 72108 w 696948"/>
                  <a:gd name="connsiteY84" fmla="*/ 271165 h 329267"/>
                  <a:gd name="connsiteX85" fmla="*/ 94016 w 696948"/>
                  <a:gd name="connsiteY85" fmla="*/ 270212 h 329267"/>
                  <a:gd name="connsiteX86" fmla="*/ 113066 w 696948"/>
                  <a:gd name="connsiteY86" fmla="*/ 274975 h 329267"/>
                  <a:gd name="connsiteX87" fmla="*/ 129258 w 696948"/>
                  <a:gd name="connsiteY87" fmla="*/ 269260 h 329267"/>
                  <a:gd name="connsiteX88" fmla="*/ 136878 w 696948"/>
                  <a:gd name="connsiteY88" fmla="*/ 265450 h 329267"/>
                  <a:gd name="connsiteX89" fmla="*/ 151166 w 696948"/>
                  <a:gd name="connsiteY89" fmla="*/ 264497 h 329267"/>
                  <a:gd name="connsiteX90" fmla="*/ 160691 w 696948"/>
                  <a:gd name="connsiteY90" fmla="*/ 266402 h 329267"/>
                  <a:gd name="connsiteX91" fmla="*/ 167358 w 696948"/>
                  <a:gd name="connsiteY91" fmla="*/ 269260 h 329267"/>
                  <a:gd name="connsiteX92" fmla="*/ 176883 w 696948"/>
                  <a:gd name="connsiteY92" fmla="*/ 269260 h 329267"/>
                  <a:gd name="connsiteX93" fmla="*/ 192123 w 696948"/>
                  <a:gd name="connsiteY93" fmla="*/ 267355 h 329267"/>
                  <a:gd name="connsiteX94" fmla="*/ 198791 w 696948"/>
                  <a:gd name="connsiteY94" fmla="*/ 263545 h 329267"/>
                  <a:gd name="connsiteX95" fmla="*/ 200696 w 696948"/>
                  <a:gd name="connsiteY95" fmla="*/ 256877 h 329267"/>
                  <a:gd name="connsiteX96" fmla="*/ 213078 w 696948"/>
                  <a:gd name="connsiteY96" fmla="*/ 248305 h 329267"/>
                  <a:gd name="connsiteX97" fmla="*/ 226413 w 696948"/>
                  <a:gd name="connsiteY97" fmla="*/ 244495 h 329267"/>
                  <a:gd name="connsiteX98" fmla="*/ 239748 w 696948"/>
                  <a:gd name="connsiteY98" fmla="*/ 243542 h 329267"/>
                  <a:gd name="connsiteX99" fmla="*/ 254988 w 696948"/>
                  <a:gd name="connsiteY99" fmla="*/ 238780 h 329267"/>
                  <a:gd name="connsiteX100" fmla="*/ 271181 w 696948"/>
                  <a:gd name="connsiteY100" fmla="*/ 238780 h 329267"/>
                  <a:gd name="connsiteX101" fmla="*/ 283563 w 696948"/>
                  <a:gd name="connsiteY101" fmla="*/ 241637 h 329267"/>
                  <a:gd name="connsiteX102" fmla="*/ 312138 w 696948"/>
                  <a:gd name="connsiteY102" fmla="*/ 245447 h 329267"/>
                  <a:gd name="connsiteX103" fmla="*/ 330236 w 696948"/>
                  <a:gd name="connsiteY103" fmla="*/ 244495 h 329267"/>
                  <a:gd name="connsiteX104" fmla="*/ 344523 w 696948"/>
                  <a:gd name="connsiteY104" fmla="*/ 243542 h 329267"/>
                  <a:gd name="connsiteX105" fmla="*/ 365478 w 696948"/>
                  <a:gd name="connsiteY105" fmla="*/ 248305 h 329267"/>
                  <a:gd name="connsiteX106" fmla="*/ 373098 w 696948"/>
                  <a:gd name="connsiteY106" fmla="*/ 254972 h 329267"/>
                  <a:gd name="connsiteX107" fmla="*/ 373098 w 696948"/>
                  <a:gd name="connsiteY107" fmla="*/ 261640 h 329267"/>
                  <a:gd name="connsiteX108" fmla="*/ 374051 w 696948"/>
                  <a:gd name="connsiteY108" fmla="*/ 268307 h 329267"/>
                  <a:gd name="connsiteX109" fmla="*/ 387386 w 696948"/>
                  <a:gd name="connsiteY109" fmla="*/ 273070 h 329267"/>
                  <a:gd name="connsiteX110" fmla="*/ 395958 w 696948"/>
                  <a:gd name="connsiteY110" fmla="*/ 273070 h 329267"/>
                  <a:gd name="connsiteX111" fmla="*/ 400721 w 696948"/>
                  <a:gd name="connsiteY111" fmla="*/ 269260 h 329267"/>
                  <a:gd name="connsiteX112" fmla="*/ 404531 w 696948"/>
                  <a:gd name="connsiteY112" fmla="*/ 265450 h 329267"/>
                  <a:gd name="connsiteX113" fmla="*/ 412151 w 696948"/>
                  <a:gd name="connsiteY113" fmla="*/ 264497 h 329267"/>
                  <a:gd name="connsiteX114" fmla="*/ 415008 w 696948"/>
                  <a:gd name="connsiteY114" fmla="*/ 265450 h 329267"/>
                  <a:gd name="connsiteX115" fmla="*/ 415961 w 696948"/>
                  <a:gd name="connsiteY115" fmla="*/ 273070 h 329267"/>
                  <a:gd name="connsiteX116" fmla="*/ 419771 w 696948"/>
                  <a:gd name="connsiteY116" fmla="*/ 281642 h 329267"/>
                  <a:gd name="connsiteX117" fmla="*/ 430248 w 696948"/>
                  <a:gd name="connsiteY117" fmla="*/ 288310 h 329267"/>
                  <a:gd name="connsiteX118" fmla="*/ 442631 w 696948"/>
                  <a:gd name="connsiteY118" fmla="*/ 290215 h 329267"/>
                  <a:gd name="connsiteX119" fmla="*/ 451203 w 696948"/>
                  <a:gd name="connsiteY119" fmla="*/ 290215 h 329267"/>
                  <a:gd name="connsiteX120" fmla="*/ 456918 w 696948"/>
                  <a:gd name="connsiteY120" fmla="*/ 294025 h 329267"/>
                  <a:gd name="connsiteX121" fmla="*/ 458823 w 696948"/>
                  <a:gd name="connsiteY121" fmla="*/ 299740 h 329267"/>
                  <a:gd name="connsiteX122" fmla="*/ 458823 w 696948"/>
                  <a:gd name="connsiteY122" fmla="*/ 310217 h 329267"/>
                  <a:gd name="connsiteX123" fmla="*/ 458823 w 696948"/>
                  <a:gd name="connsiteY123" fmla="*/ 314027 h 329267"/>
                  <a:gd name="connsiteX124" fmla="*/ 470253 w 696948"/>
                  <a:gd name="connsiteY124" fmla="*/ 324505 h 329267"/>
                  <a:gd name="connsiteX125" fmla="*/ 478826 w 696948"/>
                  <a:gd name="connsiteY125" fmla="*/ 326410 h 329267"/>
                  <a:gd name="connsiteX126" fmla="*/ 490256 w 696948"/>
                  <a:gd name="connsiteY126" fmla="*/ 325457 h 329267"/>
                  <a:gd name="connsiteX127" fmla="*/ 505496 w 696948"/>
                  <a:gd name="connsiteY127" fmla="*/ 324505 h 329267"/>
                  <a:gd name="connsiteX128" fmla="*/ 514068 w 696948"/>
                  <a:gd name="connsiteY128" fmla="*/ 326410 h 329267"/>
                  <a:gd name="connsiteX129" fmla="*/ 536928 w 696948"/>
                  <a:gd name="connsiteY129" fmla="*/ 328315 h 329267"/>
                  <a:gd name="connsiteX130" fmla="*/ 549311 w 696948"/>
                  <a:gd name="connsiteY130" fmla="*/ 321647 h 329267"/>
                  <a:gd name="connsiteX131" fmla="*/ 555978 w 696948"/>
                  <a:gd name="connsiteY131" fmla="*/ 321647 h 329267"/>
                  <a:gd name="connsiteX132" fmla="*/ 564551 w 696948"/>
                  <a:gd name="connsiteY132" fmla="*/ 326410 h 329267"/>
                  <a:gd name="connsiteX133" fmla="*/ 572171 w 696948"/>
                  <a:gd name="connsiteY133" fmla="*/ 329267 h 329267"/>
                  <a:gd name="connsiteX134" fmla="*/ 583601 w 696948"/>
                  <a:gd name="connsiteY134" fmla="*/ 329267 h 329267"/>
                  <a:gd name="connsiteX135" fmla="*/ 596936 w 696948"/>
                  <a:gd name="connsiteY135" fmla="*/ 321647 h 329267"/>
                  <a:gd name="connsiteX136" fmla="*/ 601698 w 696948"/>
                  <a:gd name="connsiteY136" fmla="*/ 320695 h 329267"/>
                  <a:gd name="connsiteX137" fmla="*/ 615033 w 696948"/>
                  <a:gd name="connsiteY137" fmla="*/ 317837 h 329267"/>
                  <a:gd name="connsiteX138" fmla="*/ 630273 w 696948"/>
                  <a:gd name="connsiteY138" fmla="*/ 311170 h 329267"/>
                  <a:gd name="connsiteX139" fmla="*/ 637893 w 696948"/>
                  <a:gd name="connsiteY139" fmla="*/ 304502 h 329267"/>
                  <a:gd name="connsiteX140" fmla="*/ 639798 w 696948"/>
                  <a:gd name="connsiteY140" fmla="*/ 295930 h 329267"/>
                  <a:gd name="connsiteX141" fmla="*/ 644561 w 696948"/>
                  <a:gd name="connsiteY141" fmla="*/ 289262 h 329267"/>
                  <a:gd name="connsiteX142" fmla="*/ 652181 w 696948"/>
                  <a:gd name="connsiteY142" fmla="*/ 285452 h 329267"/>
                  <a:gd name="connsiteX143" fmla="*/ 655991 w 696948"/>
                  <a:gd name="connsiteY143" fmla="*/ 280690 h 329267"/>
                  <a:gd name="connsiteX144" fmla="*/ 656943 w 696948"/>
                  <a:gd name="connsiteY144" fmla="*/ 269260 h 329267"/>
                  <a:gd name="connsiteX145" fmla="*/ 657896 w 696948"/>
                  <a:gd name="connsiteY145" fmla="*/ 267355 h 329267"/>
                  <a:gd name="connsiteX146" fmla="*/ 664563 w 696948"/>
                  <a:gd name="connsiteY146" fmla="*/ 259735 h 329267"/>
                  <a:gd name="connsiteX147" fmla="*/ 673136 w 696948"/>
                  <a:gd name="connsiteY147" fmla="*/ 255925 h 329267"/>
                  <a:gd name="connsiteX148" fmla="*/ 683613 w 696948"/>
                  <a:gd name="connsiteY148" fmla="*/ 243542 h 329267"/>
                  <a:gd name="connsiteX149" fmla="*/ 687423 w 696948"/>
                  <a:gd name="connsiteY149" fmla="*/ 230207 h 329267"/>
                  <a:gd name="connsiteX150" fmla="*/ 691233 w 696948"/>
                  <a:gd name="connsiteY150" fmla="*/ 223540 h 329267"/>
                  <a:gd name="connsiteX151" fmla="*/ 695043 w 696948"/>
                  <a:gd name="connsiteY151" fmla="*/ 207347 h 329267"/>
                  <a:gd name="connsiteX152" fmla="*/ 695043 w 696948"/>
                  <a:gd name="connsiteY152" fmla="*/ 197822 h 329267"/>
                  <a:gd name="connsiteX153" fmla="*/ 696948 w 696948"/>
                  <a:gd name="connsiteY153" fmla="*/ 182582 h 329267"/>
                  <a:gd name="connsiteX154" fmla="*/ 696948 w 696948"/>
                  <a:gd name="connsiteY154" fmla="*/ 176867 h 329267"/>
                  <a:gd name="connsiteX155" fmla="*/ 694091 w 696948"/>
                  <a:gd name="connsiteY155" fmla="*/ 169247 h 329267"/>
                  <a:gd name="connsiteX156" fmla="*/ 691233 w 696948"/>
                  <a:gd name="connsiteY156" fmla="*/ 162580 h 329267"/>
                  <a:gd name="connsiteX157" fmla="*/ 683613 w 696948"/>
                  <a:gd name="connsiteY157" fmla="*/ 154960 h 329267"/>
                  <a:gd name="connsiteX158" fmla="*/ 675041 w 696948"/>
                  <a:gd name="connsiteY158" fmla="*/ 147340 h 329267"/>
                  <a:gd name="connsiteX159" fmla="*/ 667421 w 696948"/>
                  <a:gd name="connsiteY159" fmla="*/ 142577 h 329267"/>
                  <a:gd name="connsiteX160" fmla="*/ 650276 w 696948"/>
                  <a:gd name="connsiteY160" fmla="*/ 130195 h 329267"/>
                  <a:gd name="connsiteX161" fmla="*/ 637893 w 696948"/>
                  <a:gd name="connsiteY161" fmla="*/ 120670 h 329267"/>
                  <a:gd name="connsiteX162" fmla="*/ 628368 w 696948"/>
                  <a:gd name="connsiteY162" fmla="*/ 105430 h 329267"/>
                  <a:gd name="connsiteX163" fmla="*/ 612176 w 696948"/>
                  <a:gd name="connsiteY163" fmla="*/ 96857 h 329267"/>
                  <a:gd name="connsiteX164" fmla="*/ 597888 w 696948"/>
                  <a:gd name="connsiteY164" fmla="*/ 94952 h 329267"/>
                  <a:gd name="connsiteX165" fmla="*/ 580743 w 696948"/>
                  <a:gd name="connsiteY165" fmla="*/ 79712 h 329267"/>
                  <a:gd name="connsiteX166" fmla="*/ 573123 w 696948"/>
                  <a:gd name="connsiteY166" fmla="*/ 74950 h 329267"/>
                  <a:gd name="connsiteX167" fmla="*/ 565503 w 696948"/>
                  <a:gd name="connsiteY167" fmla="*/ 68282 h 329267"/>
                  <a:gd name="connsiteX168" fmla="*/ 563598 w 696948"/>
                  <a:gd name="connsiteY168" fmla="*/ 58757 h 329267"/>
                  <a:gd name="connsiteX169" fmla="*/ 557883 w 696948"/>
                  <a:gd name="connsiteY169" fmla="*/ 53042 h 329267"/>
                  <a:gd name="connsiteX170" fmla="*/ 555026 w 696948"/>
                  <a:gd name="connsiteY170" fmla="*/ 42565 h 329267"/>
                  <a:gd name="connsiteX171" fmla="*/ 552168 w 696948"/>
                  <a:gd name="connsiteY171" fmla="*/ 35897 h 329267"/>
                  <a:gd name="connsiteX172" fmla="*/ 546453 w 696948"/>
                  <a:gd name="connsiteY172" fmla="*/ 31135 h 329267"/>
                  <a:gd name="connsiteX173" fmla="*/ 541691 w 696948"/>
                  <a:gd name="connsiteY173" fmla="*/ 28277 h 329267"/>
                  <a:gd name="connsiteX174" fmla="*/ 535976 w 696948"/>
                  <a:gd name="connsiteY174" fmla="*/ 22562 h 329267"/>
                  <a:gd name="connsiteX175" fmla="*/ 532166 w 696948"/>
                  <a:gd name="connsiteY175" fmla="*/ 16847 h 329267"/>
                  <a:gd name="connsiteX176" fmla="*/ 523593 w 696948"/>
                  <a:gd name="connsiteY176" fmla="*/ 13990 h 329267"/>
                  <a:gd name="connsiteX177" fmla="*/ 517878 w 696948"/>
                  <a:gd name="connsiteY177" fmla="*/ 13990 h 329267"/>
                  <a:gd name="connsiteX178" fmla="*/ 504543 w 696948"/>
                  <a:gd name="connsiteY178" fmla="*/ 16847 h 329267"/>
                  <a:gd name="connsiteX179" fmla="*/ 499781 w 696948"/>
                  <a:gd name="connsiteY179" fmla="*/ 16847 h 329267"/>
                  <a:gd name="connsiteX180" fmla="*/ 495018 w 696948"/>
                  <a:gd name="connsiteY180" fmla="*/ 18752 h 32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96948" h="329267">
                    <a:moveTo>
                      <a:pt x="495018" y="18752"/>
                    </a:moveTo>
                    <a:cubicBezTo>
                      <a:pt x="495018" y="18752"/>
                      <a:pt x="494066" y="26372"/>
                      <a:pt x="494066" y="30182"/>
                    </a:cubicBezTo>
                    <a:cubicBezTo>
                      <a:pt x="494066" y="33992"/>
                      <a:pt x="494066" y="33992"/>
                      <a:pt x="493113" y="38755"/>
                    </a:cubicBezTo>
                    <a:cubicBezTo>
                      <a:pt x="492161" y="43517"/>
                      <a:pt x="490256" y="51137"/>
                      <a:pt x="488351" y="53995"/>
                    </a:cubicBezTo>
                    <a:cubicBezTo>
                      <a:pt x="486446" y="56852"/>
                      <a:pt x="476921" y="59710"/>
                      <a:pt x="476921" y="61615"/>
                    </a:cubicBezTo>
                    <a:cubicBezTo>
                      <a:pt x="476921" y="63520"/>
                      <a:pt x="477873" y="64472"/>
                      <a:pt x="471206" y="65425"/>
                    </a:cubicBezTo>
                    <a:cubicBezTo>
                      <a:pt x="464538" y="66377"/>
                      <a:pt x="456918" y="66377"/>
                      <a:pt x="456918" y="66377"/>
                    </a:cubicBezTo>
                    <a:lnTo>
                      <a:pt x="447393" y="66377"/>
                    </a:lnTo>
                    <a:lnTo>
                      <a:pt x="444536" y="59710"/>
                    </a:lnTo>
                    <a:lnTo>
                      <a:pt x="439773" y="57805"/>
                    </a:lnTo>
                    <a:lnTo>
                      <a:pt x="435011" y="54947"/>
                    </a:lnTo>
                    <a:cubicBezTo>
                      <a:pt x="435011" y="54947"/>
                      <a:pt x="432153" y="53042"/>
                      <a:pt x="428343" y="52090"/>
                    </a:cubicBezTo>
                    <a:cubicBezTo>
                      <a:pt x="425486" y="51137"/>
                      <a:pt x="415008" y="49232"/>
                      <a:pt x="415008" y="49232"/>
                    </a:cubicBezTo>
                    <a:lnTo>
                      <a:pt x="401673" y="44470"/>
                    </a:lnTo>
                    <a:lnTo>
                      <a:pt x="396911" y="40660"/>
                    </a:lnTo>
                    <a:cubicBezTo>
                      <a:pt x="396911" y="40660"/>
                      <a:pt x="390243" y="35897"/>
                      <a:pt x="395006" y="33992"/>
                    </a:cubicBezTo>
                    <a:cubicBezTo>
                      <a:pt x="399768" y="32087"/>
                      <a:pt x="402626" y="29230"/>
                      <a:pt x="402626" y="29230"/>
                    </a:cubicBezTo>
                    <a:cubicBezTo>
                      <a:pt x="402626" y="29230"/>
                      <a:pt x="409293" y="25420"/>
                      <a:pt x="413103" y="25420"/>
                    </a:cubicBezTo>
                    <a:cubicBezTo>
                      <a:pt x="415961" y="24467"/>
                      <a:pt x="415961" y="31135"/>
                      <a:pt x="421676" y="21610"/>
                    </a:cubicBezTo>
                    <a:cubicBezTo>
                      <a:pt x="427391" y="12085"/>
                      <a:pt x="427391" y="12085"/>
                      <a:pt x="427391" y="12085"/>
                    </a:cubicBezTo>
                    <a:lnTo>
                      <a:pt x="425486" y="8275"/>
                    </a:lnTo>
                    <a:cubicBezTo>
                      <a:pt x="425486" y="8275"/>
                      <a:pt x="419771" y="4465"/>
                      <a:pt x="416913" y="5417"/>
                    </a:cubicBezTo>
                    <a:cubicBezTo>
                      <a:pt x="413103" y="6370"/>
                      <a:pt x="398816" y="6370"/>
                      <a:pt x="398816" y="6370"/>
                    </a:cubicBezTo>
                    <a:lnTo>
                      <a:pt x="389291" y="5417"/>
                    </a:lnTo>
                    <a:lnTo>
                      <a:pt x="379766" y="3512"/>
                    </a:lnTo>
                    <a:cubicBezTo>
                      <a:pt x="379766" y="3512"/>
                      <a:pt x="388338" y="1607"/>
                      <a:pt x="367383" y="1607"/>
                    </a:cubicBezTo>
                    <a:cubicBezTo>
                      <a:pt x="346428" y="1607"/>
                      <a:pt x="339761" y="-1250"/>
                      <a:pt x="339761" y="655"/>
                    </a:cubicBezTo>
                    <a:cubicBezTo>
                      <a:pt x="339761" y="2560"/>
                      <a:pt x="328331" y="4465"/>
                      <a:pt x="328331" y="4465"/>
                    </a:cubicBezTo>
                    <a:cubicBezTo>
                      <a:pt x="328331" y="4465"/>
                      <a:pt x="323568" y="5417"/>
                      <a:pt x="322616" y="8275"/>
                    </a:cubicBezTo>
                    <a:cubicBezTo>
                      <a:pt x="321663" y="10180"/>
                      <a:pt x="317853" y="8275"/>
                      <a:pt x="314996" y="12085"/>
                    </a:cubicBezTo>
                    <a:cubicBezTo>
                      <a:pt x="311186" y="15895"/>
                      <a:pt x="308328" y="13037"/>
                      <a:pt x="306423" y="15895"/>
                    </a:cubicBezTo>
                    <a:cubicBezTo>
                      <a:pt x="304518" y="19705"/>
                      <a:pt x="299756" y="20657"/>
                      <a:pt x="299756" y="20657"/>
                    </a:cubicBezTo>
                    <a:lnTo>
                      <a:pt x="294041" y="24467"/>
                    </a:lnTo>
                    <a:cubicBezTo>
                      <a:pt x="294041" y="24467"/>
                      <a:pt x="294041" y="28277"/>
                      <a:pt x="293088" y="31135"/>
                    </a:cubicBezTo>
                    <a:cubicBezTo>
                      <a:pt x="292136" y="33992"/>
                      <a:pt x="291183" y="36850"/>
                      <a:pt x="287373" y="37802"/>
                    </a:cubicBezTo>
                    <a:cubicBezTo>
                      <a:pt x="284516" y="38755"/>
                      <a:pt x="284516" y="38755"/>
                      <a:pt x="284516" y="38755"/>
                    </a:cubicBezTo>
                    <a:lnTo>
                      <a:pt x="268323" y="38755"/>
                    </a:lnTo>
                    <a:cubicBezTo>
                      <a:pt x="268323" y="38755"/>
                      <a:pt x="273086" y="30182"/>
                      <a:pt x="265466" y="29230"/>
                    </a:cubicBezTo>
                    <a:cubicBezTo>
                      <a:pt x="257846" y="28277"/>
                      <a:pt x="250226" y="27325"/>
                      <a:pt x="250226" y="27325"/>
                    </a:cubicBezTo>
                    <a:lnTo>
                      <a:pt x="242605" y="28277"/>
                    </a:lnTo>
                    <a:lnTo>
                      <a:pt x="227366" y="29230"/>
                    </a:lnTo>
                    <a:cubicBezTo>
                      <a:pt x="227366" y="29230"/>
                      <a:pt x="219746" y="30182"/>
                      <a:pt x="218793" y="33040"/>
                    </a:cubicBezTo>
                    <a:cubicBezTo>
                      <a:pt x="217841" y="34945"/>
                      <a:pt x="208316" y="38755"/>
                      <a:pt x="208316" y="42565"/>
                    </a:cubicBezTo>
                    <a:cubicBezTo>
                      <a:pt x="208316" y="46375"/>
                      <a:pt x="209268" y="43517"/>
                      <a:pt x="208316" y="46375"/>
                    </a:cubicBezTo>
                    <a:cubicBezTo>
                      <a:pt x="207363" y="50185"/>
                      <a:pt x="210221" y="50185"/>
                      <a:pt x="202601" y="53995"/>
                    </a:cubicBezTo>
                    <a:cubicBezTo>
                      <a:pt x="194980" y="57805"/>
                      <a:pt x="199743" y="54947"/>
                      <a:pt x="190218" y="57805"/>
                    </a:cubicBezTo>
                    <a:cubicBezTo>
                      <a:pt x="181646" y="59710"/>
                      <a:pt x="169263" y="58757"/>
                      <a:pt x="169263" y="58757"/>
                    </a:cubicBezTo>
                    <a:lnTo>
                      <a:pt x="157833" y="63520"/>
                    </a:lnTo>
                    <a:lnTo>
                      <a:pt x="155928" y="68282"/>
                    </a:lnTo>
                    <a:lnTo>
                      <a:pt x="142593" y="85427"/>
                    </a:lnTo>
                    <a:lnTo>
                      <a:pt x="137830" y="86380"/>
                    </a:lnTo>
                    <a:lnTo>
                      <a:pt x="128305" y="89237"/>
                    </a:lnTo>
                    <a:lnTo>
                      <a:pt x="122591" y="90190"/>
                    </a:lnTo>
                    <a:cubicBezTo>
                      <a:pt x="122591" y="90190"/>
                      <a:pt x="106398" y="94000"/>
                      <a:pt x="107351" y="96857"/>
                    </a:cubicBezTo>
                    <a:cubicBezTo>
                      <a:pt x="108303" y="99715"/>
                      <a:pt x="100683" y="100667"/>
                      <a:pt x="100683" y="100667"/>
                    </a:cubicBezTo>
                    <a:lnTo>
                      <a:pt x="89253" y="101620"/>
                    </a:lnTo>
                    <a:lnTo>
                      <a:pt x="73061" y="101620"/>
                    </a:lnTo>
                    <a:lnTo>
                      <a:pt x="63536" y="101620"/>
                    </a:lnTo>
                    <a:cubicBezTo>
                      <a:pt x="63536" y="101620"/>
                      <a:pt x="56868" y="102572"/>
                      <a:pt x="52106" y="105430"/>
                    </a:cubicBezTo>
                    <a:cubicBezTo>
                      <a:pt x="47343" y="108287"/>
                      <a:pt x="39723" y="116860"/>
                      <a:pt x="39723" y="116860"/>
                    </a:cubicBezTo>
                    <a:lnTo>
                      <a:pt x="16863" y="120670"/>
                    </a:lnTo>
                    <a:lnTo>
                      <a:pt x="9243" y="121622"/>
                    </a:lnTo>
                    <a:lnTo>
                      <a:pt x="1623" y="128290"/>
                    </a:lnTo>
                    <a:cubicBezTo>
                      <a:pt x="1623" y="128290"/>
                      <a:pt x="-282" y="132100"/>
                      <a:pt x="671" y="134957"/>
                    </a:cubicBezTo>
                    <a:cubicBezTo>
                      <a:pt x="1623" y="137815"/>
                      <a:pt x="-1234" y="138767"/>
                      <a:pt x="671" y="140672"/>
                    </a:cubicBezTo>
                    <a:cubicBezTo>
                      <a:pt x="2576" y="142577"/>
                      <a:pt x="-2187" y="134005"/>
                      <a:pt x="3528" y="145435"/>
                    </a:cubicBezTo>
                    <a:cubicBezTo>
                      <a:pt x="10196" y="156865"/>
                      <a:pt x="10196" y="156865"/>
                      <a:pt x="10196" y="156865"/>
                    </a:cubicBezTo>
                    <a:cubicBezTo>
                      <a:pt x="10196" y="156865"/>
                      <a:pt x="5433" y="152102"/>
                      <a:pt x="10196" y="156865"/>
                    </a:cubicBezTo>
                    <a:cubicBezTo>
                      <a:pt x="14958" y="161627"/>
                      <a:pt x="13053" y="162580"/>
                      <a:pt x="14006" y="165437"/>
                    </a:cubicBezTo>
                    <a:cubicBezTo>
                      <a:pt x="14958" y="168295"/>
                      <a:pt x="10196" y="172105"/>
                      <a:pt x="10196" y="174962"/>
                    </a:cubicBezTo>
                    <a:cubicBezTo>
                      <a:pt x="10196" y="176867"/>
                      <a:pt x="4481" y="180677"/>
                      <a:pt x="7338" y="183535"/>
                    </a:cubicBezTo>
                    <a:cubicBezTo>
                      <a:pt x="10196" y="186392"/>
                      <a:pt x="14958" y="185440"/>
                      <a:pt x="17816" y="189250"/>
                    </a:cubicBezTo>
                    <a:cubicBezTo>
                      <a:pt x="20673" y="193060"/>
                      <a:pt x="23531" y="196870"/>
                      <a:pt x="23531" y="196870"/>
                    </a:cubicBezTo>
                    <a:cubicBezTo>
                      <a:pt x="23531" y="196870"/>
                      <a:pt x="25436" y="197822"/>
                      <a:pt x="25436" y="199727"/>
                    </a:cubicBezTo>
                    <a:cubicBezTo>
                      <a:pt x="25436" y="201632"/>
                      <a:pt x="34961" y="210205"/>
                      <a:pt x="34961" y="210205"/>
                    </a:cubicBezTo>
                    <a:cubicBezTo>
                      <a:pt x="34961" y="210205"/>
                      <a:pt x="34008" y="215920"/>
                      <a:pt x="34008" y="219730"/>
                    </a:cubicBezTo>
                    <a:cubicBezTo>
                      <a:pt x="34008" y="223540"/>
                      <a:pt x="34008" y="229255"/>
                      <a:pt x="34008" y="229255"/>
                    </a:cubicBezTo>
                    <a:cubicBezTo>
                      <a:pt x="34008" y="229255"/>
                      <a:pt x="29246" y="231160"/>
                      <a:pt x="34008" y="235922"/>
                    </a:cubicBezTo>
                    <a:cubicBezTo>
                      <a:pt x="38771" y="240685"/>
                      <a:pt x="35913" y="244495"/>
                      <a:pt x="35913" y="244495"/>
                    </a:cubicBezTo>
                    <a:cubicBezTo>
                      <a:pt x="35913" y="244495"/>
                      <a:pt x="37818" y="247352"/>
                      <a:pt x="35913" y="250210"/>
                    </a:cubicBezTo>
                    <a:cubicBezTo>
                      <a:pt x="34008" y="253067"/>
                      <a:pt x="30198" y="254020"/>
                      <a:pt x="30198" y="257830"/>
                    </a:cubicBezTo>
                    <a:cubicBezTo>
                      <a:pt x="30198" y="261640"/>
                      <a:pt x="36866" y="266402"/>
                      <a:pt x="40676" y="268307"/>
                    </a:cubicBezTo>
                    <a:cubicBezTo>
                      <a:pt x="45438" y="270212"/>
                      <a:pt x="54011" y="273070"/>
                      <a:pt x="54011" y="273070"/>
                    </a:cubicBezTo>
                    <a:cubicBezTo>
                      <a:pt x="54011" y="273070"/>
                      <a:pt x="60678" y="272117"/>
                      <a:pt x="63536" y="273070"/>
                    </a:cubicBezTo>
                    <a:cubicBezTo>
                      <a:pt x="66393" y="274022"/>
                      <a:pt x="69251" y="270212"/>
                      <a:pt x="72108" y="271165"/>
                    </a:cubicBezTo>
                    <a:cubicBezTo>
                      <a:pt x="74966" y="272117"/>
                      <a:pt x="91158" y="267355"/>
                      <a:pt x="94016" y="270212"/>
                    </a:cubicBezTo>
                    <a:cubicBezTo>
                      <a:pt x="96873" y="272117"/>
                      <a:pt x="113066" y="274975"/>
                      <a:pt x="113066" y="274975"/>
                    </a:cubicBezTo>
                    <a:lnTo>
                      <a:pt x="129258" y="269260"/>
                    </a:lnTo>
                    <a:lnTo>
                      <a:pt x="136878" y="265450"/>
                    </a:lnTo>
                    <a:cubicBezTo>
                      <a:pt x="136878" y="265450"/>
                      <a:pt x="146403" y="264497"/>
                      <a:pt x="151166" y="264497"/>
                    </a:cubicBezTo>
                    <a:cubicBezTo>
                      <a:pt x="155928" y="264497"/>
                      <a:pt x="160691" y="266402"/>
                      <a:pt x="160691" y="266402"/>
                    </a:cubicBezTo>
                    <a:cubicBezTo>
                      <a:pt x="160691" y="266402"/>
                      <a:pt x="163548" y="269260"/>
                      <a:pt x="167358" y="269260"/>
                    </a:cubicBezTo>
                    <a:cubicBezTo>
                      <a:pt x="170216" y="269260"/>
                      <a:pt x="172121" y="270212"/>
                      <a:pt x="176883" y="269260"/>
                    </a:cubicBezTo>
                    <a:cubicBezTo>
                      <a:pt x="182598" y="268307"/>
                      <a:pt x="192123" y="267355"/>
                      <a:pt x="192123" y="267355"/>
                    </a:cubicBezTo>
                    <a:lnTo>
                      <a:pt x="198791" y="263545"/>
                    </a:lnTo>
                    <a:lnTo>
                      <a:pt x="200696" y="256877"/>
                    </a:lnTo>
                    <a:cubicBezTo>
                      <a:pt x="200696" y="256877"/>
                      <a:pt x="207363" y="250210"/>
                      <a:pt x="213078" y="248305"/>
                    </a:cubicBezTo>
                    <a:cubicBezTo>
                      <a:pt x="218793" y="247352"/>
                      <a:pt x="226413" y="244495"/>
                      <a:pt x="226413" y="244495"/>
                    </a:cubicBezTo>
                    <a:cubicBezTo>
                      <a:pt x="226413" y="244495"/>
                      <a:pt x="235938" y="244495"/>
                      <a:pt x="239748" y="243542"/>
                    </a:cubicBezTo>
                    <a:cubicBezTo>
                      <a:pt x="242605" y="242590"/>
                      <a:pt x="248321" y="238780"/>
                      <a:pt x="254988" y="238780"/>
                    </a:cubicBezTo>
                    <a:cubicBezTo>
                      <a:pt x="261655" y="238780"/>
                      <a:pt x="268323" y="237827"/>
                      <a:pt x="271181" y="238780"/>
                    </a:cubicBezTo>
                    <a:cubicBezTo>
                      <a:pt x="274038" y="239732"/>
                      <a:pt x="277848" y="240685"/>
                      <a:pt x="283563" y="241637"/>
                    </a:cubicBezTo>
                    <a:cubicBezTo>
                      <a:pt x="289278" y="243542"/>
                      <a:pt x="305471" y="245447"/>
                      <a:pt x="312138" y="245447"/>
                    </a:cubicBezTo>
                    <a:cubicBezTo>
                      <a:pt x="318806" y="245447"/>
                      <a:pt x="323568" y="243542"/>
                      <a:pt x="330236" y="244495"/>
                    </a:cubicBezTo>
                    <a:cubicBezTo>
                      <a:pt x="336903" y="245447"/>
                      <a:pt x="329283" y="240685"/>
                      <a:pt x="344523" y="243542"/>
                    </a:cubicBezTo>
                    <a:cubicBezTo>
                      <a:pt x="359763" y="247352"/>
                      <a:pt x="365478" y="248305"/>
                      <a:pt x="365478" y="248305"/>
                    </a:cubicBezTo>
                    <a:cubicBezTo>
                      <a:pt x="365478" y="248305"/>
                      <a:pt x="373098" y="253067"/>
                      <a:pt x="373098" y="254972"/>
                    </a:cubicBezTo>
                    <a:cubicBezTo>
                      <a:pt x="373098" y="257830"/>
                      <a:pt x="373098" y="259735"/>
                      <a:pt x="373098" y="261640"/>
                    </a:cubicBezTo>
                    <a:cubicBezTo>
                      <a:pt x="373098" y="263545"/>
                      <a:pt x="371193" y="267355"/>
                      <a:pt x="374051" y="268307"/>
                    </a:cubicBezTo>
                    <a:cubicBezTo>
                      <a:pt x="376908" y="269260"/>
                      <a:pt x="383576" y="273070"/>
                      <a:pt x="387386" y="273070"/>
                    </a:cubicBezTo>
                    <a:cubicBezTo>
                      <a:pt x="390243" y="273070"/>
                      <a:pt x="395958" y="273070"/>
                      <a:pt x="395958" y="273070"/>
                    </a:cubicBezTo>
                    <a:lnTo>
                      <a:pt x="400721" y="269260"/>
                    </a:lnTo>
                    <a:lnTo>
                      <a:pt x="404531" y="265450"/>
                    </a:lnTo>
                    <a:cubicBezTo>
                      <a:pt x="404531" y="265450"/>
                      <a:pt x="409293" y="264497"/>
                      <a:pt x="412151" y="264497"/>
                    </a:cubicBezTo>
                    <a:cubicBezTo>
                      <a:pt x="415008" y="265450"/>
                      <a:pt x="413103" y="260687"/>
                      <a:pt x="415008" y="265450"/>
                    </a:cubicBezTo>
                    <a:cubicBezTo>
                      <a:pt x="416913" y="270212"/>
                      <a:pt x="415961" y="273070"/>
                      <a:pt x="415961" y="273070"/>
                    </a:cubicBezTo>
                    <a:cubicBezTo>
                      <a:pt x="415961" y="273070"/>
                      <a:pt x="418818" y="278785"/>
                      <a:pt x="419771" y="281642"/>
                    </a:cubicBezTo>
                    <a:cubicBezTo>
                      <a:pt x="420723" y="284500"/>
                      <a:pt x="430248" y="288310"/>
                      <a:pt x="430248" y="288310"/>
                    </a:cubicBezTo>
                    <a:lnTo>
                      <a:pt x="442631" y="290215"/>
                    </a:lnTo>
                    <a:lnTo>
                      <a:pt x="451203" y="290215"/>
                    </a:lnTo>
                    <a:cubicBezTo>
                      <a:pt x="451203" y="290215"/>
                      <a:pt x="455966" y="292120"/>
                      <a:pt x="456918" y="294025"/>
                    </a:cubicBezTo>
                    <a:cubicBezTo>
                      <a:pt x="457871" y="295930"/>
                      <a:pt x="457871" y="295930"/>
                      <a:pt x="458823" y="299740"/>
                    </a:cubicBezTo>
                    <a:cubicBezTo>
                      <a:pt x="459776" y="303550"/>
                      <a:pt x="458823" y="306407"/>
                      <a:pt x="458823" y="310217"/>
                    </a:cubicBezTo>
                    <a:cubicBezTo>
                      <a:pt x="458823" y="314027"/>
                      <a:pt x="457871" y="309265"/>
                      <a:pt x="458823" y="314027"/>
                    </a:cubicBezTo>
                    <a:cubicBezTo>
                      <a:pt x="459776" y="317837"/>
                      <a:pt x="470253" y="324505"/>
                      <a:pt x="470253" y="324505"/>
                    </a:cubicBezTo>
                    <a:lnTo>
                      <a:pt x="478826" y="326410"/>
                    </a:lnTo>
                    <a:lnTo>
                      <a:pt x="490256" y="325457"/>
                    </a:lnTo>
                    <a:lnTo>
                      <a:pt x="505496" y="324505"/>
                    </a:lnTo>
                    <a:cubicBezTo>
                      <a:pt x="505496" y="324505"/>
                      <a:pt x="502638" y="323552"/>
                      <a:pt x="514068" y="326410"/>
                    </a:cubicBezTo>
                    <a:cubicBezTo>
                      <a:pt x="526451" y="329267"/>
                      <a:pt x="536928" y="328315"/>
                      <a:pt x="536928" y="328315"/>
                    </a:cubicBezTo>
                    <a:lnTo>
                      <a:pt x="549311" y="321647"/>
                    </a:lnTo>
                    <a:lnTo>
                      <a:pt x="555978" y="321647"/>
                    </a:lnTo>
                    <a:lnTo>
                      <a:pt x="564551" y="326410"/>
                    </a:lnTo>
                    <a:lnTo>
                      <a:pt x="572171" y="329267"/>
                    </a:lnTo>
                    <a:lnTo>
                      <a:pt x="583601" y="329267"/>
                    </a:lnTo>
                    <a:cubicBezTo>
                      <a:pt x="583601" y="329267"/>
                      <a:pt x="592173" y="322600"/>
                      <a:pt x="596936" y="321647"/>
                    </a:cubicBezTo>
                    <a:cubicBezTo>
                      <a:pt x="601698" y="320695"/>
                      <a:pt x="588363" y="323552"/>
                      <a:pt x="601698" y="320695"/>
                    </a:cubicBezTo>
                    <a:cubicBezTo>
                      <a:pt x="615033" y="317837"/>
                      <a:pt x="608366" y="319742"/>
                      <a:pt x="615033" y="317837"/>
                    </a:cubicBezTo>
                    <a:cubicBezTo>
                      <a:pt x="621701" y="316885"/>
                      <a:pt x="626463" y="312122"/>
                      <a:pt x="630273" y="311170"/>
                    </a:cubicBezTo>
                    <a:cubicBezTo>
                      <a:pt x="635036" y="310217"/>
                      <a:pt x="637893" y="304502"/>
                      <a:pt x="637893" y="304502"/>
                    </a:cubicBezTo>
                    <a:lnTo>
                      <a:pt x="639798" y="295930"/>
                    </a:lnTo>
                    <a:lnTo>
                      <a:pt x="644561" y="289262"/>
                    </a:lnTo>
                    <a:lnTo>
                      <a:pt x="652181" y="285452"/>
                    </a:lnTo>
                    <a:lnTo>
                      <a:pt x="655991" y="280690"/>
                    </a:lnTo>
                    <a:cubicBezTo>
                      <a:pt x="655991" y="280690"/>
                      <a:pt x="655991" y="271165"/>
                      <a:pt x="656943" y="269260"/>
                    </a:cubicBezTo>
                    <a:cubicBezTo>
                      <a:pt x="657896" y="267355"/>
                      <a:pt x="657896" y="267355"/>
                      <a:pt x="657896" y="267355"/>
                    </a:cubicBezTo>
                    <a:cubicBezTo>
                      <a:pt x="657896" y="267355"/>
                      <a:pt x="661706" y="260687"/>
                      <a:pt x="664563" y="259735"/>
                    </a:cubicBezTo>
                    <a:cubicBezTo>
                      <a:pt x="668373" y="258782"/>
                      <a:pt x="667421" y="263545"/>
                      <a:pt x="673136" y="255925"/>
                    </a:cubicBezTo>
                    <a:cubicBezTo>
                      <a:pt x="678851" y="249257"/>
                      <a:pt x="683613" y="243542"/>
                      <a:pt x="683613" y="243542"/>
                    </a:cubicBezTo>
                    <a:lnTo>
                      <a:pt x="687423" y="230207"/>
                    </a:lnTo>
                    <a:lnTo>
                      <a:pt x="691233" y="223540"/>
                    </a:lnTo>
                    <a:lnTo>
                      <a:pt x="695043" y="207347"/>
                    </a:lnTo>
                    <a:cubicBezTo>
                      <a:pt x="695043" y="207347"/>
                      <a:pt x="693138" y="202585"/>
                      <a:pt x="695043" y="197822"/>
                    </a:cubicBezTo>
                    <a:cubicBezTo>
                      <a:pt x="696948" y="194012"/>
                      <a:pt x="696948" y="182582"/>
                      <a:pt x="696948" y="182582"/>
                    </a:cubicBezTo>
                    <a:lnTo>
                      <a:pt x="696948" y="176867"/>
                    </a:lnTo>
                    <a:lnTo>
                      <a:pt x="694091" y="169247"/>
                    </a:lnTo>
                    <a:lnTo>
                      <a:pt x="691233" y="162580"/>
                    </a:lnTo>
                    <a:cubicBezTo>
                      <a:pt x="691233" y="162580"/>
                      <a:pt x="684566" y="157817"/>
                      <a:pt x="683613" y="154960"/>
                    </a:cubicBezTo>
                    <a:cubicBezTo>
                      <a:pt x="682661" y="152102"/>
                      <a:pt x="675041" y="147340"/>
                      <a:pt x="675041" y="147340"/>
                    </a:cubicBezTo>
                    <a:lnTo>
                      <a:pt x="667421" y="142577"/>
                    </a:lnTo>
                    <a:lnTo>
                      <a:pt x="650276" y="130195"/>
                    </a:lnTo>
                    <a:cubicBezTo>
                      <a:pt x="650276" y="130195"/>
                      <a:pt x="637893" y="122575"/>
                      <a:pt x="637893" y="120670"/>
                    </a:cubicBezTo>
                    <a:cubicBezTo>
                      <a:pt x="637893" y="118765"/>
                      <a:pt x="628368" y="105430"/>
                      <a:pt x="628368" y="105430"/>
                    </a:cubicBezTo>
                    <a:lnTo>
                      <a:pt x="612176" y="96857"/>
                    </a:lnTo>
                    <a:lnTo>
                      <a:pt x="597888" y="94952"/>
                    </a:lnTo>
                    <a:lnTo>
                      <a:pt x="580743" y="79712"/>
                    </a:lnTo>
                    <a:cubicBezTo>
                      <a:pt x="580743" y="79712"/>
                      <a:pt x="575981" y="75902"/>
                      <a:pt x="573123" y="74950"/>
                    </a:cubicBezTo>
                    <a:cubicBezTo>
                      <a:pt x="570266" y="73045"/>
                      <a:pt x="566456" y="71140"/>
                      <a:pt x="565503" y="68282"/>
                    </a:cubicBezTo>
                    <a:cubicBezTo>
                      <a:pt x="564551" y="65425"/>
                      <a:pt x="563598" y="58757"/>
                      <a:pt x="563598" y="58757"/>
                    </a:cubicBezTo>
                    <a:lnTo>
                      <a:pt x="557883" y="53042"/>
                    </a:lnTo>
                    <a:lnTo>
                      <a:pt x="555026" y="42565"/>
                    </a:lnTo>
                    <a:lnTo>
                      <a:pt x="552168" y="35897"/>
                    </a:lnTo>
                    <a:lnTo>
                      <a:pt x="546453" y="31135"/>
                    </a:lnTo>
                    <a:lnTo>
                      <a:pt x="541691" y="28277"/>
                    </a:lnTo>
                    <a:lnTo>
                      <a:pt x="535976" y="22562"/>
                    </a:lnTo>
                    <a:lnTo>
                      <a:pt x="532166" y="16847"/>
                    </a:lnTo>
                    <a:lnTo>
                      <a:pt x="523593" y="13990"/>
                    </a:lnTo>
                    <a:lnTo>
                      <a:pt x="517878" y="13990"/>
                    </a:lnTo>
                    <a:lnTo>
                      <a:pt x="504543" y="16847"/>
                    </a:lnTo>
                    <a:lnTo>
                      <a:pt x="499781" y="16847"/>
                    </a:lnTo>
                    <a:lnTo>
                      <a:pt x="495018" y="187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9" name="Freeform: Shape 128">
                <a:extLst>
                  <a:ext uri="{FF2B5EF4-FFF2-40B4-BE49-F238E27FC236}">
                    <a16:creationId xmlns:a16="http://schemas.microsoft.com/office/drawing/2014/main" id="{B774ADF8-2098-4343-B4E1-0347024F5813}"/>
                  </a:ext>
                </a:extLst>
              </p:cNvPr>
              <p:cNvSpPr/>
              <p:nvPr/>
            </p:nvSpPr>
            <p:spPr>
              <a:xfrm>
                <a:off x="10716339" y="4552679"/>
                <a:ext cx="49796" cy="30856"/>
              </a:xfrm>
              <a:custGeom>
                <a:avLst/>
                <a:gdLst>
                  <a:gd name="connsiteX0" fmla="*/ 43129 w 49796"/>
                  <a:gd name="connsiteY0" fmla="*/ 0 h 30856"/>
                  <a:gd name="connsiteX1" fmla="*/ 34557 w 49796"/>
                  <a:gd name="connsiteY1" fmla="*/ 953 h 30856"/>
                  <a:gd name="connsiteX2" fmla="*/ 16459 w 49796"/>
                  <a:gd name="connsiteY2" fmla="*/ 953 h 30856"/>
                  <a:gd name="connsiteX3" fmla="*/ 8839 w 49796"/>
                  <a:gd name="connsiteY3" fmla="*/ 953 h 30856"/>
                  <a:gd name="connsiteX4" fmla="*/ 2172 w 49796"/>
                  <a:gd name="connsiteY4" fmla="*/ 3810 h 30856"/>
                  <a:gd name="connsiteX5" fmla="*/ 1219 w 49796"/>
                  <a:gd name="connsiteY5" fmla="*/ 7620 h 30856"/>
                  <a:gd name="connsiteX6" fmla="*/ 267 w 49796"/>
                  <a:gd name="connsiteY6" fmla="*/ 17145 h 30856"/>
                  <a:gd name="connsiteX7" fmla="*/ 1219 w 49796"/>
                  <a:gd name="connsiteY7" fmla="*/ 20955 h 30856"/>
                  <a:gd name="connsiteX8" fmla="*/ 2172 w 49796"/>
                  <a:gd name="connsiteY8" fmla="*/ 27622 h 30856"/>
                  <a:gd name="connsiteX9" fmla="*/ 18364 w 49796"/>
                  <a:gd name="connsiteY9" fmla="*/ 30480 h 30856"/>
                  <a:gd name="connsiteX10" fmla="*/ 23127 w 49796"/>
                  <a:gd name="connsiteY10" fmla="*/ 26670 h 30856"/>
                  <a:gd name="connsiteX11" fmla="*/ 26937 w 49796"/>
                  <a:gd name="connsiteY11" fmla="*/ 26670 h 30856"/>
                  <a:gd name="connsiteX12" fmla="*/ 39319 w 49796"/>
                  <a:gd name="connsiteY12" fmla="*/ 22860 h 30856"/>
                  <a:gd name="connsiteX13" fmla="*/ 44082 w 49796"/>
                  <a:gd name="connsiteY13" fmla="*/ 21908 h 30856"/>
                  <a:gd name="connsiteX14" fmla="*/ 48844 w 49796"/>
                  <a:gd name="connsiteY14" fmla="*/ 19050 h 30856"/>
                  <a:gd name="connsiteX15" fmla="*/ 49797 w 49796"/>
                  <a:gd name="connsiteY15" fmla="*/ 12383 h 30856"/>
                  <a:gd name="connsiteX16" fmla="*/ 46939 w 49796"/>
                  <a:gd name="connsiteY16" fmla="*/ 4763 h 30856"/>
                  <a:gd name="connsiteX17" fmla="*/ 43129 w 49796"/>
                  <a:gd name="connsiteY17" fmla="*/ 0 h 3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96" h="30856">
                    <a:moveTo>
                      <a:pt x="43129" y="0"/>
                    </a:moveTo>
                    <a:lnTo>
                      <a:pt x="34557" y="953"/>
                    </a:lnTo>
                    <a:lnTo>
                      <a:pt x="16459" y="953"/>
                    </a:lnTo>
                    <a:lnTo>
                      <a:pt x="8839" y="953"/>
                    </a:lnTo>
                    <a:cubicBezTo>
                      <a:pt x="8839" y="953"/>
                      <a:pt x="3124" y="0"/>
                      <a:pt x="2172" y="3810"/>
                    </a:cubicBezTo>
                    <a:cubicBezTo>
                      <a:pt x="1219" y="7620"/>
                      <a:pt x="1219" y="2858"/>
                      <a:pt x="1219" y="7620"/>
                    </a:cubicBezTo>
                    <a:cubicBezTo>
                      <a:pt x="1219" y="12383"/>
                      <a:pt x="-686" y="14288"/>
                      <a:pt x="267" y="17145"/>
                    </a:cubicBezTo>
                    <a:cubicBezTo>
                      <a:pt x="1219" y="20955"/>
                      <a:pt x="267" y="14288"/>
                      <a:pt x="1219" y="20955"/>
                    </a:cubicBezTo>
                    <a:cubicBezTo>
                      <a:pt x="2172" y="27622"/>
                      <a:pt x="-1638" y="21908"/>
                      <a:pt x="2172" y="27622"/>
                    </a:cubicBezTo>
                    <a:cubicBezTo>
                      <a:pt x="5982" y="32385"/>
                      <a:pt x="18364" y="30480"/>
                      <a:pt x="18364" y="30480"/>
                    </a:cubicBezTo>
                    <a:cubicBezTo>
                      <a:pt x="18364" y="30480"/>
                      <a:pt x="19317" y="26670"/>
                      <a:pt x="23127" y="26670"/>
                    </a:cubicBezTo>
                    <a:cubicBezTo>
                      <a:pt x="26937" y="26670"/>
                      <a:pt x="21222" y="24765"/>
                      <a:pt x="26937" y="26670"/>
                    </a:cubicBezTo>
                    <a:cubicBezTo>
                      <a:pt x="32652" y="28575"/>
                      <a:pt x="39319" y="22860"/>
                      <a:pt x="39319" y="22860"/>
                    </a:cubicBezTo>
                    <a:lnTo>
                      <a:pt x="44082" y="21908"/>
                    </a:lnTo>
                    <a:cubicBezTo>
                      <a:pt x="44082" y="21908"/>
                      <a:pt x="47892" y="20955"/>
                      <a:pt x="48844" y="19050"/>
                    </a:cubicBezTo>
                    <a:cubicBezTo>
                      <a:pt x="49797" y="17145"/>
                      <a:pt x="49797" y="12383"/>
                      <a:pt x="49797" y="12383"/>
                    </a:cubicBezTo>
                    <a:lnTo>
                      <a:pt x="46939" y="4763"/>
                    </a:lnTo>
                    <a:lnTo>
                      <a:pt x="43129"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0" name="Freeform: Shape 129">
                <a:extLst>
                  <a:ext uri="{FF2B5EF4-FFF2-40B4-BE49-F238E27FC236}">
                    <a16:creationId xmlns:a16="http://schemas.microsoft.com/office/drawing/2014/main" id="{878589A0-5A81-43E2-9DD2-0647B00B0DF3}"/>
                  </a:ext>
                </a:extLst>
              </p:cNvPr>
              <p:cNvSpPr/>
              <p:nvPr/>
            </p:nvSpPr>
            <p:spPr>
              <a:xfrm>
                <a:off x="11071889" y="4560299"/>
                <a:ext cx="126682" cy="72389"/>
              </a:xfrm>
              <a:custGeom>
                <a:avLst/>
                <a:gdLst>
                  <a:gd name="connsiteX0" fmla="*/ 126682 w 126682"/>
                  <a:gd name="connsiteY0" fmla="*/ 1905 h 72389"/>
                  <a:gd name="connsiteX1" fmla="*/ 123825 w 126682"/>
                  <a:gd name="connsiteY1" fmla="*/ 10477 h 72389"/>
                  <a:gd name="connsiteX2" fmla="*/ 120968 w 126682"/>
                  <a:gd name="connsiteY2" fmla="*/ 20002 h 72389"/>
                  <a:gd name="connsiteX3" fmla="*/ 114300 w 126682"/>
                  <a:gd name="connsiteY3" fmla="*/ 29527 h 72389"/>
                  <a:gd name="connsiteX4" fmla="*/ 96202 w 126682"/>
                  <a:gd name="connsiteY4" fmla="*/ 37147 h 72389"/>
                  <a:gd name="connsiteX5" fmla="*/ 90488 w 126682"/>
                  <a:gd name="connsiteY5" fmla="*/ 40005 h 72389"/>
                  <a:gd name="connsiteX6" fmla="*/ 83820 w 126682"/>
                  <a:gd name="connsiteY6" fmla="*/ 43815 h 72389"/>
                  <a:gd name="connsiteX7" fmla="*/ 83820 w 126682"/>
                  <a:gd name="connsiteY7" fmla="*/ 47625 h 72389"/>
                  <a:gd name="connsiteX8" fmla="*/ 80010 w 126682"/>
                  <a:gd name="connsiteY8" fmla="*/ 57150 h 72389"/>
                  <a:gd name="connsiteX9" fmla="*/ 75248 w 126682"/>
                  <a:gd name="connsiteY9" fmla="*/ 61913 h 72389"/>
                  <a:gd name="connsiteX10" fmla="*/ 64770 w 126682"/>
                  <a:gd name="connsiteY10" fmla="*/ 67627 h 72389"/>
                  <a:gd name="connsiteX11" fmla="*/ 57150 w 126682"/>
                  <a:gd name="connsiteY11" fmla="*/ 69533 h 72389"/>
                  <a:gd name="connsiteX12" fmla="*/ 40957 w 126682"/>
                  <a:gd name="connsiteY12" fmla="*/ 71438 h 72389"/>
                  <a:gd name="connsiteX13" fmla="*/ 25718 w 126682"/>
                  <a:gd name="connsiteY13" fmla="*/ 72390 h 72389"/>
                  <a:gd name="connsiteX14" fmla="*/ 14288 w 126682"/>
                  <a:gd name="connsiteY14" fmla="*/ 72390 h 72389"/>
                  <a:gd name="connsiteX15" fmla="*/ 1905 w 126682"/>
                  <a:gd name="connsiteY15" fmla="*/ 70485 h 72389"/>
                  <a:gd name="connsiteX16" fmla="*/ 0 w 126682"/>
                  <a:gd name="connsiteY16" fmla="*/ 61913 h 72389"/>
                  <a:gd name="connsiteX17" fmla="*/ 0 w 126682"/>
                  <a:gd name="connsiteY17" fmla="*/ 55245 h 72389"/>
                  <a:gd name="connsiteX18" fmla="*/ 5715 w 126682"/>
                  <a:gd name="connsiteY18" fmla="*/ 48577 h 72389"/>
                  <a:gd name="connsiteX19" fmla="*/ 16193 w 126682"/>
                  <a:gd name="connsiteY19" fmla="*/ 43815 h 72389"/>
                  <a:gd name="connsiteX20" fmla="*/ 24765 w 126682"/>
                  <a:gd name="connsiteY20" fmla="*/ 42863 h 72389"/>
                  <a:gd name="connsiteX21" fmla="*/ 40957 w 126682"/>
                  <a:gd name="connsiteY21" fmla="*/ 39052 h 72389"/>
                  <a:gd name="connsiteX22" fmla="*/ 60007 w 126682"/>
                  <a:gd name="connsiteY22" fmla="*/ 32385 h 72389"/>
                  <a:gd name="connsiteX23" fmla="*/ 73343 w 126682"/>
                  <a:gd name="connsiteY23" fmla="*/ 22860 h 72389"/>
                  <a:gd name="connsiteX24" fmla="*/ 84773 w 126682"/>
                  <a:gd name="connsiteY24" fmla="*/ 9525 h 72389"/>
                  <a:gd name="connsiteX25" fmla="*/ 91440 w 126682"/>
                  <a:gd name="connsiteY25" fmla="*/ 6667 h 72389"/>
                  <a:gd name="connsiteX26" fmla="*/ 97155 w 126682"/>
                  <a:gd name="connsiteY26" fmla="*/ 2858 h 72389"/>
                  <a:gd name="connsiteX27" fmla="*/ 108585 w 126682"/>
                  <a:gd name="connsiteY27" fmla="*/ 0 h 72389"/>
                  <a:gd name="connsiteX28" fmla="*/ 116205 w 126682"/>
                  <a:gd name="connsiteY28" fmla="*/ 0 h 72389"/>
                  <a:gd name="connsiteX29" fmla="*/ 126682 w 126682"/>
                  <a:gd name="connsiteY29" fmla="*/ 1905 h 7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682" h="72389">
                    <a:moveTo>
                      <a:pt x="126682" y="1905"/>
                    </a:moveTo>
                    <a:cubicBezTo>
                      <a:pt x="126682" y="1905"/>
                      <a:pt x="124777" y="7620"/>
                      <a:pt x="123825" y="10477"/>
                    </a:cubicBezTo>
                    <a:cubicBezTo>
                      <a:pt x="123825" y="13335"/>
                      <a:pt x="122873" y="15240"/>
                      <a:pt x="120968" y="20002"/>
                    </a:cubicBezTo>
                    <a:cubicBezTo>
                      <a:pt x="120015" y="23813"/>
                      <a:pt x="122873" y="23813"/>
                      <a:pt x="114300" y="29527"/>
                    </a:cubicBezTo>
                    <a:cubicBezTo>
                      <a:pt x="105727" y="35242"/>
                      <a:pt x="96202" y="37147"/>
                      <a:pt x="96202" y="37147"/>
                    </a:cubicBezTo>
                    <a:cubicBezTo>
                      <a:pt x="96202" y="37147"/>
                      <a:pt x="91440" y="38100"/>
                      <a:pt x="90488" y="40005"/>
                    </a:cubicBezTo>
                    <a:cubicBezTo>
                      <a:pt x="89535" y="41910"/>
                      <a:pt x="83820" y="40005"/>
                      <a:pt x="83820" y="43815"/>
                    </a:cubicBezTo>
                    <a:cubicBezTo>
                      <a:pt x="83820" y="47625"/>
                      <a:pt x="84773" y="42863"/>
                      <a:pt x="83820" y="47625"/>
                    </a:cubicBezTo>
                    <a:cubicBezTo>
                      <a:pt x="82868" y="51435"/>
                      <a:pt x="80010" y="57150"/>
                      <a:pt x="80010" y="57150"/>
                    </a:cubicBezTo>
                    <a:cubicBezTo>
                      <a:pt x="80010" y="57150"/>
                      <a:pt x="80963" y="58102"/>
                      <a:pt x="75248" y="61913"/>
                    </a:cubicBezTo>
                    <a:cubicBezTo>
                      <a:pt x="69532" y="65722"/>
                      <a:pt x="73343" y="65722"/>
                      <a:pt x="64770" y="67627"/>
                    </a:cubicBezTo>
                    <a:cubicBezTo>
                      <a:pt x="57150" y="69533"/>
                      <a:pt x="63818" y="68580"/>
                      <a:pt x="57150" y="69533"/>
                    </a:cubicBezTo>
                    <a:cubicBezTo>
                      <a:pt x="50482" y="70485"/>
                      <a:pt x="40957" y="71438"/>
                      <a:pt x="40957" y="71438"/>
                    </a:cubicBezTo>
                    <a:lnTo>
                      <a:pt x="25718" y="72390"/>
                    </a:lnTo>
                    <a:lnTo>
                      <a:pt x="14288" y="72390"/>
                    </a:lnTo>
                    <a:lnTo>
                      <a:pt x="1905" y="70485"/>
                    </a:lnTo>
                    <a:cubicBezTo>
                      <a:pt x="1905" y="70485"/>
                      <a:pt x="0" y="63817"/>
                      <a:pt x="0" y="61913"/>
                    </a:cubicBezTo>
                    <a:cubicBezTo>
                      <a:pt x="0" y="60008"/>
                      <a:pt x="0" y="55245"/>
                      <a:pt x="0" y="55245"/>
                    </a:cubicBezTo>
                    <a:lnTo>
                      <a:pt x="5715" y="48577"/>
                    </a:lnTo>
                    <a:lnTo>
                      <a:pt x="16193" y="43815"/>
                    </a:lnTo>
                    <a:cubicBezTo>
                      <a:pt x="16193" y="43815"/>
                      <a:pt x="20955" y="42863"/>
                      <a:pt x="24765" y="42863"/>
                    </a:cubicBezTo>
                    <a:cubicBezTo>
                      <a:pt x="29527" y="42863"/>
                      <a:pt x="36195" y="40005"/>
                      <a:pt x="40957" y="39052"/>
                    </a:cubicBezTo>
                    <a:cubicBezTo>
                      <a:pt x="46673" y="38100"/>
                      <a:pt x="56198" y="32385"/>
                      <a:pt x="60007" y="32385"/>
                    </a:cubicBezTo>
                    <a:cubicBezTo>
                      <a:pt x="62865" y="31433"/>
                      <a:pt x="71438" y="25717"/>
                      <a:pt x="73343" y="22860"/>
                    </a:cubicBezTo>
                    <a:cubicBezTo>
                      <a:pt x="75248" y="20002"/>
                      <a:pt x="84773" y="9525"/>
                      <a:pt x="84773" y="9525"/>
                    </a:cubicBezTo>
                    <a:lnTo>
                      <a:pt x="91440" y="6667"/>
                    </a:lnTo>
                    <a:cubicBezTo>
                      <a:pt x="91440" y="6667"/>
                      <a:pt x="85725" y="4763"/>
                      <a:pt x="97155" y="2858"/>
                    </a:cubicBezTo>
                    <a:cubicBezTo>
                      <a:pt x="108585" y="0"/>
                      <a:pt x="108585" y="0"/>
                      <a:pt x="108585" y="0"/>
                    </a:cubicBezTo>
                    <a:lnTo>
                      <a:pt x="116205" y="0"/>
                    </a:lnTo>
                    <a:lnTo>
                      <a:pt x="126682" y="19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9" name="Freeform: Shape 188">
                <a:extLst>
                  <a:ext uri="{FF2B5EF4-FFF2-40B4-BE49-F238E27FC236}">
                    <a16:creationId xmlns:a16="http://schemas.microsoft.com/office/drawing/2014/main" id="{39B57D15-43BA-4FD4-B80D-1294AB741531}"/>
                  </a:ext>
                </a:extLst>
              </p:cNvPr>
              <p:cNvSpPr/>
              <p:nvPr/>
            </p:nvSpPr>
            <p:spPr>
              <a:xfrm>
                <a:off x="11193808" y="4475526"/>
                <a:ext cx="84894" cy="90381"/>
              </a:xfrm>
              <a:custGeom>
                <a:avLst/>
                <a:gdLst>
                  <a:gd name="connsiteX0" fmla="*/ 4763 w 84894"/>
                  <a:gd name="connsiteY0" fmla="*/ 953 h 90381"/>
                  <a:gd name="connsiteX1" fmla="*/ 3810 w 84894"/>
                  <a:gd name="connsiteY1" fmla="*/ 4763 h 90381"/>
                  <a:gd name="connsiteX2" fmla="*/ 6668 w 84894"/>
                  <a:gd name="connsiteY2" fmla="*/ 12383 h 90381"/>
                  <a:gd name="connsiteX3" fmla="*/ 953 w 84894"/>
                  <a:gd name="connsiteY3" fmla="*/ 20003 h 90381"/>
                  <a:gd name="connsiteX4" fmla="*/ 6668 w 84894"/>
                  <a:gd name="connsiteY4" fmla="*/ 27623 h 90381"/>
                  <a:gd name="connsiteX5" fmla="*/ 14288 w 84894"/>
                  <a:gd name="connsiteY5" fmla="*/ 30480 h 90381"/>
                  <a:gd name="connsiteX6" fmla="*/ 19050 w 84894"/>
                  <a:gd name="connsiteY6" fmla="*/ 34290 h 90381"/>
                  <a:gd name="connsiteX7" fmla="*/ 19050 w 84894"/>
                  <a:gd name="connsiteY7" fmla="*/ 45720 h 90381"/>
                  <a:gd name="connsiteX8" fmla="*/ 18098 w 84894"/>
                  <a:gd name="connsiteY8" fmla="*/ 50483 h 90381"/>
                  <a:gd name="connsiteX9" fmla="*/ 12382 w 84894"/>
                  <a:gd name="connsiteY9" fmla="*/ 53340 h 90381"/>
                  <a:gd name="connsiteX10" fmla="*/ 9525 w 84894"/>
                  <a:gd name="connsiteY10" fmla="*/ 60008 h 90381"/>
                  <a:gd name="connsiteX11" fmla="*/ 23813 w 84894"/>
                  <a:gd name="connsiteY11" fmla="*/ 68580 h 90381"/>
                  <a:gd name="connsiteX12" fmla="*/ 24765 w 84894"/>
                  <a:gd name="connsiteY12" fmla="*/ 72390 h 90381"/>
                  <a:gd name="connsiteX13" fmla="*/ 24765 w 84894"/>
                  <a:gd name="connsiteY13" fmla="*/ 79058 h 90381"/>
                  <a:gd name="connsiteX14" fmla="*/ 27623 w 84894"/>
                  <a:gd name="connsiteY14" fmla="*/ 85725 h 90381"/>
                  <a:gd name="connsiteX15" fmla="*/ 35243 w 84894"/>
                  <a:gd name="connsiteY15" fmla="*/ 87630 h 90381"/>
                  <a:gd name="connsiteX16" fmla="*/ 47625 w 84894"/>
                  <a:gd name="connsiteY16" fmla="*/ 89535 h 90381"/>
                  <a:gd name="connsiteX17" fmla="*/ 55245 w 84894"/>
                  <a:gd name="connsiteY17" fmla="*/ 89535 h 90381"/>
                  <a:gd name="connsiteX18" fmla="*/ 60007 w 84894"/>
                  <a:gd name="connsiteY18" fmla="*/ 82868 h 90381"/>
                  <a:gd name="connsiteX19" fmla="*/ 62865 w 84894"/>
                  <a:gd name="connsiteY19" fmla="*/ 73343 h 90381"/>
                  <a:gd name="connsiteX20" fmla="*/ 69532 w 84894"/>
                  <a:gd name="connsiteY20" fmla="*/ 69533 h 90381"/>
                  <a:gd name="connsiteX21" fmla="*/ 78105 w 84894"/>
                  <a:gd name="connsiteY21" fmla="*/ 61913 h 90381"/>
                  <a:gd name="connsiteX22" fmla="*/ 79057 w 84894"/>
                  <a:gd name="connsiteY22" fmla="*/ 50483 h 90381"/>
                  <a:gd name="connsiteX23" fmla="*/ 84773 w 84894"/>
                  <a:gd name="connsiteY23" fmla="*/ 38100 h 90381"/>
                  <a:gd name="connsiteX24" fmla="*/ 75248 w 84894"/>
                  <a:gd name="connsiteY24" fmla="*/ 30480 h 90381"/>
                  <a:gd name="connsiteX25" fmla="*/ 60960 w 84894"/>
                  <a:gd name="connsiteY25" fmla="*/ 30480 h 90381"/>
                  <a:gd name="connsiteX26" fmla="*/ 44768 w 84894"/>
                  <a:gd name="connsiteY26" fmla="*/ 19050 h 90381"/>
                  <a:gd name="connsiteX27" fmla="*/ 33338 w 84894"/>
                  <a:gd name="connsiteY27" fmla="*/ 17145 h 90381"/>
                  <a:gd name="connsiteX28" fmla="*/ 26670 w 84894"/>
                  <a:gd name="connsiteY28" fmla="*/ 14288 h 90381"/>
                  <a:gd name="connsiteX29" fmla="*/ 20955 w 84894"/>
                  <a:gd name="connsiteY29" fmla="*/ 6668 h 90381"/>
                  <a:gd name="connsiteX30" fmla="*/ 16193 w 84894"/>
                  <a:gd name="connsiteY30" fmla="*/ 4763 h 90381"/>
                  <a:gd name="connsiteX31" fmla="*/ 0 w 84894"/>
                  <a:gd name="connsiteY31" fmla="*/ 0 h 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894" h="90381">
                    <a:moveTo>
                      <a:pt x="4763" y="953"/>
                    </a:moveTo>
                    <a:cubicBezTo>
                      <a:pt x="4763" y="953"/>
                      <a:pt x="1905" y="0"/>
                      <a:pt x="3810" y="4763"/>
                    </a:cubicBezTo>
                    <a:cubicBezTo>
                      <a:pt x="5715" y="9525"/>
                      <a:pt x="6668" y="9525"/>
                      <a:pt x="6668" y="12383"/>
                    </a:cubicBezTo>
                    <a:cubicBezTo>
                      <a:pt x="6668" y="15240"/>
                      <a:pt x="0" y="16193"/>
                      <a:pt x="953" y="20003"/>
                    </a:cubicBezTo>
                    <a:cubicBezTo>
                      <a:pt x="1905" y="23813"/>
                      <a:pt x="6668" y="27623"/>
                      <a:pt x="6668" y="27623"/>
                    </a:cubicBezTo>
                    <a:lnTo>
                      <a:pt x="14288" y="30480"/>
                    </a:lnTo>
                    <a:lnTo>
                      <a:pt x="19050" y="34290"/>
                    </a:lnTo>
                    <a:cubicBezTo>
                      <a:pt x="19050" y="34290"/>
                      <a:pt x="19050" y="43815"/>
                      <a:pt x="19050" y="45720"/>
                    </a:cubicBezTo>
                    <a:cubicBezTo>
                      <a:pt x="19050" y="47625"/>
                      <a:pt x="18098" y="50483"/>
                      <a:pt x="18098" y="50483"/>
                    </a:cubicBezTo>
                    <a:cubicBezTo>
                      <a:pt x="18098" y="50483"/>
                      <a:pt x="12382" y="50483"/>
                      <a:pt x="12382" y="53340"/>
                    </a:cubicBezTo>
                    <a:cubicBezTo>
                      <a:pt x="12382" y="56198"/>
                      <a:pt x="8573" y="57150"/>
                      <a:pt x="9525" y="60008"/>
                    </a:cubicBezTo>
                    <a:cubicBezTo>
                      <a:pt x="10478" y="61913"/>
                      <a:pt x="23813" y="68580"/>
                      <a:pt x="23813" y="68580"/>
                    </a:cubicBezTo>
                    <a:cubicBezTo>
                      <a:pt x="23813" y="68580"/>
                      <a:pt x="24765" y="67628"/>
                      <a:pt x="24765" y="72390"/>
                    </a:cubicBezTo>
                    <a:cubicBezTo>
                      <a:pt x="24765" y="76200"/>
                      <a:pt x="20955" y="73343"/>
                      <a:pt x="24765" y="79058"/>
                    </a:cubicBezTo>
                    <a:cubicBezTo>
                      <a:pt x="27623" y="85725"/>
                      <a:pt x="27623" y="85725"/>
                      <a:pt x="27623" y="85725"/>
                    </a:cubicBezTo>
                    <a:cubicBezTo>
                      <a:pt x="27623" y="85725"/>
                      <a:pt x="32385" y="85725"/>
                      <a:pt x="35243" y="87630"/>
                    </a:cubicBezTo>
                    <a:cubicBezTo>
                      <a:pt x="38100" y="89535"/>
                      <a:pt x="47625" y="89535"/>
                      <a:pt x="47625" y="89535"/>
                    </a:cubicBezTo>
                    <a:cubicBezTo>
                      <a:pt x="47625" y="89535"/>
                      <a:pt x="52388" y="91440"/>
                      <a:pt x="55245" y="89535"/>
                    </a:cubicBezTo>
                    <a:cubicBezTo>
                      <a:pt x="58103" y="87630"/>
                      <a:pt x="60007" y="82868"/>
                      <a:pt x="60007" y="82868"/>
                    </a:cubicBezTo>
                    <a:lnTo>
                      <a:pt x="62865" y="73343"/>
                    </a:lnTo>
                    <a:cubicBezTo>
                      <a:pt x="62865" y="73343"/>
                      <a:pt x="66675" y="70485"/>
                      <a:pt x="69532" y="69533"/>
                    </a:cubicBezTo>
                    <a:cubicBezTo>
                      <a:pt x="72390" y="68580"/>
                      <a:pt x="77153" y="63818"/>
                      <a:pt x="78105" y="61913"/>
                    </a:cubicBezTo>
                    <a:cubicBezTo>
                      <a:pt x="79057" y="60008"/>
                      <a:pt x="79057" y="50483"/>
                      <a:pt x="79057" y="50483"/>
                    </a:cubicBezTo>
                    <a:cubicBezTo>
                      <a:pt x="82868" y="45720"/>
                      <a:pt x="83820" y="40958"/>
                      <a:pt x="84773" y="38100"/>
                    </a:cubicBezTo>
                    <a:cubicBezTo>
                      <a:pt x="85725" y="36195"/>
                      <a:pt x="80963" y="29528"/>
                      <a:pt x="75248" y="30480"/>
                    </a:cubicBezTo>
                    <a:cubicBezTo>
                      <a:pt x="69532" y="31433"/>
                      <a:pt x="60960" y="30480"/>
                      <a:pt x="60960" y="30480"/>
                    </a:cubicBezTo>
                    <a:lnTo>
                      <a:pt x="44768" y="19050"/>
                    </a:lnTo>
                    <a:lnTo>
                      <a:pt x="33338" y="17145"/>
                    </a:lnTo>
                    <a:lnTo>
                      <a:pt x="26670" y="14288"/>
                    </a:lnTo>
                    <a:lnTo>
                      <a:pt x="20955" y="6668"/>
                    </a:lnTo>
                    <a:lnTo>
                      <a:pt x="16193" y="4763"/>
                    </a:lnTo>
                    <a:lnTo>
                      <a:pt x="0" y="0"/>
                    </a:ln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2" name="Freeform: Shape 191">
                <a:extLst>
                  <a:ext uri="{FF2B5EF4-FFF2-40B4-BE49-F238E27FC236}">
                    <a16:creationId xmlns:a16="http://schemas.microsoft.com/office/drawing/2014/main" id="{B4E39D2C-30F8-4EFB-94B1-84DFE7064DDC}"/>
                  </a:ext>
                </a:extLst>
              </p:cNvPr>
              <p:cNvSpPr/>
              <p:nvPr/>
            </p:nvSpPr>
            <p:spPr>
              <a:xfrm>
                <a:off x="10425141" y="4101908"/>
                <a:ext cx="44767" cy="14525"/>
              </a:xfrm>
              <a:custGeom>
                <a:avLst/>
                <a:gdLst>
                  <a:gd name="connsiteX0" fmla="*/ 3810 w 44767"/>
                  <a:gd name="connsiteY0" fmla="*/ 6906 h 14525"/>
                  <a:gd name="connsiteX1" fmla="*/ 5715 w 44767"/>
                  <a:gd name="connsiteY1" fmla="*/ 4048 h 14525"/>
                  <a:gd name="connsiteX2" fmla="*/ 10478 w 44767"/>
                  <a:gd name="connsiteY2" fmla="*/ 1191 h 14525"/>
                  <a:gd name="connsiteX3" fmla="*/ 24765 w 44767"/>
                  <a:gd name="connsiteY3" fmla="*/ 238 h 14525"/>
                  <a:gd name="connsiteX4" fmla="*/ 37148 w 44767"/>
                  <a:gd name="connsiteY4" fmla="*/ 2143 h 14525"/>
                  <a:gd name="connsiteX5" fmla="*/ 43815 w 44767"/>
                  <a:gd name="connsiteY5" fmla="*/ 3096 h 14525"/>
                  <a:gd name="connsiteX6" fmla="*/ 44768 w 44767"/>
                  <a:gd name="connsiteY6" fmla="*/ 10716 h 14525"/>
                  <a:gd name="connsiteX7" fmla="*/ 37148 w 44767"/>
                  <a:gd name="connsiteY7" fmla="*/ 11668 h 14525"/>
                  <a:gd name="connsiteX8" fmla="*/ 29528 w 44767"/>
                  <a:gd name="connsiteY8" fmla="*/ 11668 h 14525"/>
                  <a:gd name="connsiteX9" fmla="*/ 18098 w 44767"/>
                  <a:gd name="connsiteY9" fmla="*/ 13573 h 14525"/>
                  <a:gd name="connsiteX10" fmla="*/ 6668 w 44767"/>
                  <a:gd name="connsiteY10" fmla="*/ 14526 h 14525"/>
                  <a:gd name="connsiteX11" fmla="*/ 0 w 44767"/>
                  <a:gd name="connsiteY11" fmla="*/ 10716 h 14525"/>
                  <a:gd name="connsiteX12" fmla="*/ 3810 w 44767"/>
                  <a:gd name="connsiteY12" fmla="*/ 6906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 h="14525">
                    <a:moveTo>
                      <a:pt x="3810" y="6906"/>
                    </a:moveTo>
                    <a:cubicBezTo>
                      <a:pt x="3810" y="6906"/>
                      <a:pt x="3810" y="6906"/>
                      <a:pt x="5715" y="4048"/>
                    </a:cubicBezTo>
                    <a:cubicBezTo>
                      <a:pt x="7620" y="1191"/>
                      <a:pt x="10478" y="3096"/>
                      <a:pt x="10478" y="1191"/>
                    </a:cubicBezTo>
                    <a:cubicBezTo>
                      <a:pt x="10478" y="-714"/>
                      <a:pt x="20003" y="238"/>
                      <a:pt x="24765" y="238"/>
                    </a:cubicBezTo>
                    <a:cubicBezTo>
                      <a:pt x="29528" y="238"/>
                      <a:pt x="37148" y="2143"/>
                      <a:pt x="37148" y="2143"/>
                    </a:cubicBezTo>
                    <a:lnTo>
                      <a:pt x="43815" y="3096"/>
                    </a:lnTo>
                    <a:lnTo>
                      <a:pt x="44768" y="10716"/>
                    </a:lnTo>
                    <a:lnTo>
                      <a:pt x="37148" y="11668"/>
                    </a:lnTo>
                    <a:cubicBezTo>
                      <a:pt x="37148" y="11668"/>
                      <a:pt x="32385" y="11668"/>
                      <a:pt x="29528" y="11668"/>
                    </a:cubicBezTo>
                    <a:cubicBezTo>
                      <a:pt x="26670" y="11668"/>
                      <a:pt x="18098" y="13573"/>
                      <a:pt x="18098" y="13573"/>
                    </a:cubicBezTo>
                    <a:lnTo>
                      <a:pt x="6668" y="14526"/>
                    </a:lnTo>
                    <a:lnTo>
                      <a:pt x="0" y="10716"/>
                    </a:lnTo>
                    <a:lnTo>
                      <a:pt x="3810" y="690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3" name="Freeform: Shape 192">
                <a:extLst>
                  <a:ext uri="{FF2B5EF4-FFF2-40B4-BE49-F238E27FC236}">
                    <a16:creationId xmlns:a16="http://schemas.microsoft.com/office/drawing/2014/main" id="{1644271D-EA1E-44CD-80C2-B5EEEC74BB30}"/>
                  </a:ext>
                </a:extLst>
              </p:cNvPr>
              <p:cNvSpPr/>
              <p:nvPr/>
            </p:nvSpPr>
            <p:spPr>
              <a:xfrm>
                <a:off x="10377374" y="4105004"/>
                <a:ext cx="31575" cy="9525"/>
              </a:xfrm>
              <a:custGeom>
                <a:avLst/>
                <a:gdLst>
                  <a:gd name="connsiteX0" fmla="*/ 21097 w 31575"/>
                  <a:gd name="connsiteY0" fmla="*/ 0 h 9525"/>
                  <a:gd name="connsiteX1" fmla="*/ 14430 w 31575"/>
                  <a:gd name="connsiteY1" fmla="*/ 0 h 9525"/>
                  <a:gd name="connsiteX2" fmla="*/ 2047 w 31575"/>
                  <a:gd name="connsiteY2" fmla="*/ 3810 h 9525"/>
                  <a:gd name="connsiteX3" fmla="*/ 3000 w 31575"/>
                  <a:gd name="connsiteY3" fmla="*/ 5715 h 9525"/>
                  <a:gd name="connsiteX4" fmla="*/ 9667 w 31575"/>
                  <a:gd name="connsiteY4" fmla="*/ 9525 h 9525"/>
                  <a:gd name="connsiteX5" fmla="*/ 18240 w 31575"/>
                  <a:gd name="connsiteY5" fmla="*/ 9525 h 9525"/>
                  <a:gd name="connsiteX6" fmla="*/ 25860 w 31575"/>
                  <a:gd name="connsiteY6" fmla="*/ 9525 h 9525"/>
                  <a:gd name="connsiteX7" fmla="*/ 31575 w 31575"/>
                  <a:gd name="connsiteY7" fmla="*/ 4763 h 9525"/>
                  <a:gd name="connsiteX8" fmla="*/ 24907 w 31575"/>
                  <a:gd name="connsiteY8" fmla="*/ 0 h 9525"/>
                  <a:gd name="connsiteX9" fmla="*/ 21097 w 31575"/>
                  <a:gd name="connsiteY9"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75" h="9525">
                    <a:moveTo>
                      <a:pt x="21097" y="0"/>
                    </a:moveTo>
                    <a:lnTo>
                      <a:pt x="14430" y="0"/>
                    </a:lnTo>
                    <a:cubicBezTo>
                      <a:pt x="14430" y="0"/>
                      <a:pt x="1095" y="1905"/>
                      <a:pt x="2047" y="3810"/>
                    </a:cubicBezTo>
                    <a:cubicBezTo>
                      <a:pt x="3000" y="5715"/>
                      <a:pt x="-3668" y="1905"/>
                      <a:pt x="3000" y="5715"/>
                    </a:cubicBezTo>
                    <a:cubicBezTo>
                      <a:pt x="9667" y="9525"/>
                      <a:pt x="9667" y="9525"/>
                      <a:pt x="9667" y="9525"/>
                    </a:cubicBezTo>
                    <a:lnTo>
                      <a:pt x="18240" y="9525"/>
                    </a:lnTo>
                    <a:lnTo>
                      <a:pt x="25860" y="9525"/>
                    </a:lnTo>
                    <a:lnTo>
                      <a:pt x="31575" y="4763"/>
                    </a:lnTo>
                    <a:lnTo>
                      <a:pt x="24907" y="0"/>
                    </a:lnTo>
                    <a:lnTo>
                      <a:pt x="2109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4" name="Freeform: Shape 193">
                <a:extLst>
                  <a:ext uri="{FF2B5EF4-FFF2-40B4-BE49-F238E27FC236}">
                    <a16:creationId xmlns:a16="http://schemas.microsoft.com/office/drawing/2014/main" id="{3A5DD63C-2F38-4F4E-8EF8-25C6E073F7CD}"/>
                  </a:ext>
                </a:extLst>
              </p:cNvPr>
              <p:cNvSpPr/>
              <p:nvPr/>
            </p:nvSpPr>
            <p:spPr>
              <a:xfrm>
                <a:off x="10232211" y="4156996"/>
                <a:ext cx="22559" cy="13729"/>
              </a:xfrm>
              <a:custGeom>
                <a:avLst/>
                <a:gdLst>
                  <a:gd name="connsiteX0" fmla="*/ 21480 w 22559"/>
                  <a:gd name="connsiteY0" fmla="*/ 6110 h 13729"/>
                  <a:gd name="connsiteX1" fmla="*/ 14813 w 22559"/>
                  <a:gd name="connsiteY1" fmla="*/ 13730 h 13729"/>
                  <a:gd name="connsiteX2" fmla="*/ 2430 w 22559"/>
                  <a:gd name="connsiteY2" fmla="*/ 13730 h 13729"/>
                  <a:gd name="connsiteX3" fmla="*/ 1477 w 22559"/>
                  <a:gd name="connsiteY3" fmla="*/ 2300 h 13729"/>
                  <a:gd name="connsiteX4" fmla="*/ 6240 w 22559"/>
                  <a:gd name="connsiteY4" fmla="*/ 1347 h 13729"/>
                  <a:gd name="connsiteX5" fmla="*/ 15765 w 22559"/>
                  <a:gd name="connsiteY5" fmla="*/ 395 h 13729"/>
                  <a:gd name="connsiteX6" fmla="*/ 21480 w 22559"/>
                  <a:gd name="connsiteY6" fmla="*/ 6110 h 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9" h="13729">
                    <a:moveTo>
                      <a:pt x="21480" y="6110"/>
                    </a:moveTo>
                    <a:lnTo>
                      <a:pt x="14813" y="13730"/>
                    </a:lnTo>
                    <a:lnTo>
                      <a:pt x="2430" y="13730"/>
                    </a:lnTo>
                    <a:cubicBezTo>
                      <a:pt x="2430" y="13730"/>
                      <a:pt x="-2333" y="3252"/>
                      <a:pt x="1477" y="2300"/>
                    </a:cubicBezTo>
                    <a:cubicBezTo>
                      <a:pt x="6240" y="1347"/>
                      <a:pt x="-4237" y="3252"/>
                      <a:pt x="6240" y="1347"/>
                    </a:cubicBezTo>
                    <a:cubicBezTo>
                      <a:pt x="15765" y="395"/>
                      <a:pt x="6240" y="-558"/>
                      <a:pt x="15765" y="395"/>
                    </a:cubicBezTo>
                    <a:cubicBezTo>
                      <a:pt x="26242" y="395"/>
                      <a:pt x="21480" y="6110"/>
                      <a:pt x="21480" y="61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5" name="Freeform: Shape 194">
                <a:extLst>
                  <a:ext uri="{FF2B5EF4-FFF2-40B4-BE49-F238E27FC236}">
                    <a16:creationId xmlns:a16="http://schemas.microsoft.com/office/drawing/2014/main" id="{FA2635D5-66D3-4A61-A8C0-86B9D2B8C8E0}"/>
                  </a:ext>
                </a:extLst>
              </p:cNvPr>
              <p:cNvSpPr/>
              <p:nvPr/>
            </p:nvSpPr>
            <p:spPr>
              <a:xfrm>
                <a:off x="10269928" y="4156438"/>
                <a:ext cx="60915" cy="25479"/>
              </a:xfrm>
              <a:custGeom>
                <a:avLst/>
                <a:gdLst>
                  <a:gd name="connsiteX0" fmla="*/ 35198 w 60915"/>
                  <a:gd name="connsiteY0" fmla="*/ 0 h 25479"/>
                  <a:gd name="connsiteX1" fmla="*/ 28530 w 60915"/>
                  <a:gd name="connsiteY1" fmla="*/ 953 h 25479"/>
                  <a:gd name="connsiteX2" fmla="*/ 16148 w 60915"/>
                  <a:gd name="connsiteY2" fmla="*/ 4763 h 25479"/>
                  <a:gd name="connsiteX3" fmla="*/ 10433 w 60915"/>
                  <a:gd name="connsiteY3" fmla="*/ 13335 h 25479"/>
                  <a:gd name="connsiteX4" fmla="*/ 1860 w 60915"/>
                  <a:gd name="connsiteY4" fmla="*/ 20003 h 25479"/>
                  <a:gd name="connsiteX5" fmla="*/ 2813 w 60915"/>
                  <a:gd name="connsiteY5" fmla="*/ 24765 h 25479"/>
                  <a:gd name="connsiteX6" fmla="*/ 15196 w 60915"/>
                  <a:gd name="connsiteY6" fmla="*/ 24765 h 25479"/>
                  <a:gd name="connsiteX7" fmla="*/ 27578 w 60915"/>
                  <a:gd name="connsiteY7" fmla="*/ 20003 h 25479"/>
                  <a:gd name="connsiteX8" fmla="*/ 35198 w 60915"/>
                  <a:gd name="connsiteY8" fmla="*/ 14288 h 25479"/>
                  <a:gd name="connsiteX9" fmla="*/ 45675 w 60915"/>
                  <a:gd name="connsiteY9" fmla="*/ 10478 h 25479"/>
                  <a:gd name="connsiteX10" fmla="*/ 48533 w 60915"/>
                  <a:gd name="connsiteY10" fmla="*/ 10478 h 25479"/>
                  <a:gd name="connsiteX11" fmla="*/ 59010 w 60915"/>
                  <a:gd name="connsiteY11" fmla="*/ 5715 h 25479"/>
                  <a:gd name="connsiteX12" fmla="*/ 60916 w 60915"/>
                  <a:gd name="connsiteY12" fmla="*/ 1905 h 25479"/>
                  <a:gd name="connsiteX13" fmla="*/ 52343 w 60915"/>
                  <a:gd name="connsiteY13" fmla="*/ 0 h 25479"/>
                  <a:gd name="connsiteX14" fmla="*/ 35198 w 60915"/>
                  <a:gd name="connsiteY14" fmla="*/ 0 h 2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15" h="25479">
                    <a:moveTo>
                      <a:pt x="35198" y="0"/>
                    </a:moveTo>
                    <a:lnTo>
                      <a:pt x="28530" y="953"/>
                    </a:lnTo>
                    <a:cubicBezTo>
                      <a:pt x="21863" y="4763"/>
                      <a:pt x="16148" y="4763"/>
                      <a:pt x="16148" y="4763"/>
                    </a:cubicBezTo>
                    <a:lnTo>
                      <a:pt x="10433" y="13335"/>
                    </a:lnTo>
                    <a:lnTo>
                      <a:pt x="1860" y="20003"/>
                    </a:lnTo>
                    <a:cubicBezTo>
                      <a:pt x="1860" y="20003"/>
                      <a:pt x="-2902" y="23813"/>
                      <a:pt x="2813" y="24765"/>
                    </a:cubicBezTo>
                    <a:cubicBezTo>
                      <a:pt x="8528" y="25718"/>
                      <a:pt x="10433" y="25718"/>
                      <a:pt x="15196" y="24765"/>
                    </a:cubicBezTo>
                    <a:cubicBezTo>
                      <a:pt x="19958" y="23813"/>
                      <a:pt x="27578" y="20003"/>
                      <a:pt x="27578" y="20003"/>
                    </a:cubicBezTo>
                    <a:lnTo>
                      <a:pt x="35198" y="14288"/>
                    </a:lnTo>
                    <a:cubicBezTo>
                      <a:pt x="35198" y="14288"/>
                      <a:pt x="41866" y="10478"/>
                      <a:pt x="45675" y="10478"/>
                    </a:cubicBezTo>
                    <a:cubicBezTo>
                      <a:pt x="48533" y="10478"/>
                      <a:pt x="48533" y="10478"/>
                      <a:pt x="48533" y="10478"/>
                    </a:cubicBezTo>
                    <a:lnTo>
                      <a:pt x="59010" y="5715"/>
                    </a:lnTo>
                    <a:lnTo>
                      <a:pt x="60916" y="1905"/>
                    </a:lnTo>
                    <a:lnTo>
                      <a:pt x="52343" y="0"/>
                    </a:lnTo>
                    <a:lnTo>
                      <a:pt x="35198"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6" name="Freeform: Shape 195">
                <a:extLst>
                  <a:ext uri="{FF2B5EF4-FFF2-40B4-BE49-F238E27FC236}">
                    <a16:creationId xmlns:a16="http://schemas.microsoft.com/office/drawing/2014/main" id="{7814C8D1-1E24-4136-9F58-FE7DF6D45673}"/>
                  </a:ext>
                </a:extLst>
              </p:cNvPr>
              <p:cNvSpPr/>
              <p:nvPr/>
            </p:nvSpPr>
            <p:spPr>
              <a:xfrm>
                <a:off x="8451561" y="3612561"/>
                <a:ext cx="49530" cy="14525"/>
              </a:xfrm>
              <a:custGeom>
                <a:avLst/>
                <a:gdLst>
                  <a:gd name="connsiteX0" fmla="*/ 49530 w 49530"/>
                  <a:gd name="connsiteY0" fmla="*/ 2857 h 14525"/>
                  <a:gd name="connsiteX1" fmla="*/ 39053 w 49530"/>
                  <a:gd name="connsiteY1" fmla="*/ 13335 h 14525"/>
                  <a:gd name="connsiteX2" fmla="*/ 17145 w 49530"/>
                  <a:gd name="connsiteY2" fmla="*/ 14288 h 14525"/>
                  <a:gd name="connsiteX3" fmla="*/ 7620 w 49530"/>
                  <a:gd name="connsiteY3" fmla="*/ 13335 h 14525"/>
                  <a:gd name="connsiteX4" fmla="*/ 1905 w 49530"/>
                  <a:gd name="connsiteY4" fmla="*/ 11430 h 14525"/>
                  <a:gd name="connsiteX5" fmla="*/ 0 w 49530"/>
                  <a:gd name="connsiteY5" fmla="*/ 5715 h 14525"/>
                  <a:gd name="connsiteX6" fmla="*/ 3810 w 49530"/>
                  <a:gd name="connsiteY6" fmla="*/ 1905 h 14525"/>
                  <a:gd name="connsiteX7" fmla="*/ 11430 w 49530"/>
                  <a:gd name="connsiteY7" fmla="*/ 952 h 14525"/>
                  <a:gd name="connsiteX8" fmla="*/ 17145 w 49530"/>
                  <a:gd name="connsiteY8" fmla="*/ 952 h 14525"/>
                  <a:gd name="connsiteX9" fmla="*/ 31433 w 49530"/>
                  <a:gd name="connsiteY9" fmla="*/ 952 h 14525"/>
                  <a:gd name="connsiteX10" fmla="*/ 38100 w 49530"/>
                  <a:gd name="connsiteY10" fmla="*/ 0 h 14525"/>
                  <a:gd name="connsiteX11" fmla="*/ 45720 w 49530"/>
                  <a:gd name="connsiteY11" fmla="*/ 952 h 14525"/>
                  <a:gd name="connsiteX12" fmla="*/ 49530 w 49530"/>
                  <a:gd name="connsiteY12" fmla="*/ 2857 h 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30" h="14525">
                    <a:moveTo>
                      <a:pt x="49530" y="2857"/>
                    </a:moveTo>
                    <a:lnTo>
                      <a:pt x="39053" y="13335"/>
                    </a:lnTo>
                    <a:cubicBezTo>
                      <a:pt x="31433" y="15240"/>
                      <a:pt x="17145" y="14288"/>
                      <a:pt x="17145" y="14288"/>
                    </a:cubicBezTo>
                    <a:lnTo>
                      <a:pt x="7620" y="13335"/>
                    </a:lnTo>
                    <a:lnTo>
                      <a:pt x="1905" y="11430"/>
                    </a:lnTo>
                    <a:lnTo>
                      <a:pt x="0" y="5715"/>
                    </a:lnTo>
                    <a:lnTo>
                      <a:pt x="3810" y="1905"/>
                    </a:lnTo>
                    <a:lnTo>
                      <a:pt x="11430" y="952"/>
                    </a:lnTo>
                    <a:lnTo>
                      <a:pt x="17145" y="952"/>
                    </a:lnTo>
                    <a:lnTo>
                      <a:pt x="31433" y="952"/>
                    </a:lnTo>
                    <a:lnTo>
                      <a:pt x="38100" y="0"/>
                    </a:lnTo>
                    <a:lnTo>
                      <a:pt x="45720" y="952"/>
                    </a:lnTo>
                    <a:lnTo>
                      <a:pt x="49530" y="28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7" name="Freeform: Shape 196">
                <a:extLst>
                  <a:ext uri="{FF2B5EF4-FFF2-40B4-BE49-F238E27FC236}">
                    <a16:creationId xmlns:a16="http://schemas.microsoft.com/office/drawing/2014/main" id="{62CE89B2-9D7D-498F-8824-50F66A6E49B1}"/>
                  </a:ext>
                </a:extLst>
              </p:cNvPr>
              <p:cNvSpPr/>
              <p:nvPr/>
            </p:nvSpPr>
            <p:spPr>
              <a:xfrm>
                <a:off x="8375130" y="3570651"/>
                <a:ext cx="29758" cy="24129"/>
              </a:xfrm>
              <a:custGeom>
                <a:avLst/>
                <a:gdLst>
                  <a:gd name="connsiteX0" fmla="*/ 18328 w 29758"/>
                  <a:gd name="connsiteY0" fmla="*/ 20955 h 24129"/>
                  <a:gd name="connsiteX1" fmla="*/ 6899 w 29758"/>
                  <a:gd name="connsiteY1" fmla="*/ 22860 h 24129"/>
                  <a:gd name="connsiteX2" fmla="*/ 4041 w 29758"/>
                  <a:gd name="connsiteY2" fmla="*/ 22860 h 24129"/>
                  <a:gd name="connsiteX3" fmla="*/ 1184 w 29758"/>
                  <a:gd name="connsiteY3" fmla="*/ 11430 h 24129"/>
                  <a:gd name="connsiteX4" fmla="*/ 4041 w 29758"/>
                  <a:gd name="connsiteY4" fmla="*/ 3810 h 24129"/>
                  <a:gd name="connsiteX5" fmla="*/ 22139 w 29758"/>
                  <a:gd name="connsiteY5" fmla="*/ 0 h 24129"/>
                  <a:gd name="connsiteX6" fmla="*/ 27853 w 29758"/>
                  <a:gd name="connsiteY6" fmla="*/ 1905 h 24129"/>
                  <a:gd name="connsiteX7" fmla="*/ 28806 w 29758"/>
                  <a:gd name="connsiteY7" fmla="*/ 7620 h 24129"/>
                  <a:gd name="connsiteX8" fmla="*/ 29759 w 29758"/>
                  <a:gd name="connsiteY8" fmla="*/ 12382 h 24129"/>
                  <a:gd name="connsiteX9" fmla="*/ 18328 w 29758"/>
                  <a:gd name="connsiteY9" fmla="*/ 20955 h 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58" h="24129">
                    <a:moveTo>
                      <a:pt x="18328" y="20955"/>
                    </a:moveTo>
                    <a:cubicBezTo>
                      <a:pt x="18328" y="20955"/>
                      <a:pt x="10709" y="22860"/>
                      <a:pt x="6899" y="22860"/>
                    </a:cubicBezTo>
                    <a:cubicBezTo>
                      <a:pt x="4041" y="22860"/>
                      <a:pt x="6899" y="25717"/>
                      <a:pt x="4041" y="22860"/>
                    </a:cubicBezTo>
                    <a:cubicBezTo>
                      <a:pt x="1184" y="20002"/>
                      <a:pt x="-1674" y="13335"/>
                      <a:pt x="1184" y="11430"/>
                    </a:cubicBezTo>
                    <a:cubicBezTo>
                      <a:pt x="3089" y="9525"/>
                      <a:pt x="4041" y="3810"/>
                      <a:pt x="4041" y="3810"/>
                    </a:cubicBezTo>
                    <a:lnTo>
                      <a:pt x="22139" y="0"/>
                    </a:lnTo>
                    <a:lnTo>
                      <a:pt x="27853" y="1905"/>
                    </a:lnTo>
                    <a:lnTo>
                      <a:pt x="28806" y="7620"/>
                    </a:lnTo>
                    <a:cubicBezTo>
                      <a:pt x="28806" y="7620"/>
                      <a:pt x="28806" y="9525"/>
                      <a:pt x="29759" y="12382"/>
                    </a:cubicBezTo>
                    <a:cubicBezTo>
                      <a:pt x="29759" y="15240"/>
                      <a:pt x="18328" y="20955"/>
                      <a:pt x="18328" y="2095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8" name="Freeform: Shape 197">
                <a:extLst>
                  <a:ext uri="{FF2B5EF4-FFF2-40B4-BE49-F238E27FC236}">
                    <a16:creationId xmlns:a16="http://schemas.microsoft.com/office/drawing/2014/main" id="{9667391B-BFE5-40A0-80E7-413652ED9341}"/>
                  </a:ext>
                </a:extLst>
              </p:cNvPr>
              <p:cNvSpPr/>
              <p:nvPr/>
            </p:nvSpPr>
            <p:spPr>
              <a:xfrm>
                <a:off x="8062028" y="3367509"/>
                <a:ext cx="76199" cy="55504"/>
              </a:xfrm>
              <a:custGeom>
                <a:avLst/>
                <a:gdLst>
                  <a:gd name="connsiteX0" fmla="*/ 43776 w 76199"/>
                  <a:gd name="connsiteY0" fmla="*/ 48837 h 55504"/>
                  <a:gd name="connsiteX1" fmla="*/ 39013 w 76199"/>
                  <a:gd name="connsiteY1" fmla="*/ 49790 h 55504"/>
                  <a:gd name="connsiteX2" fmla="*/ 32346 w 76199"/>
                  <a:gd name="connsiteY2" fmla="*/ 53600 h 55504"/>
                  <a:gd name="connsiteX3" fmla="*/ 25678 w 76199"/>
                  <a:gd name="connsiteY3" fmla="*/ 55505 h 55504"/>
                  <a:gd name="connsiteX4" fmla="*/ 17105 w 76199"/>
                  <a:gd name="connsiteY4" fmla="*/ 55505 h 55504"/>
                  <a:gd name="connsiteX5" fmla="*/ 10438 w 76199"/>
                  <a:gd name="connsiteY5" fmla="*/ 55505 h 55504"/>
                  <a:gd name="connsiteX6" fmla="*/ 2818 w 76199"/>
                  <a:gd name="connsiteY6" fmla="*/ 54552 h 55504"/>
                  <a:gd name="connsiteX7" fmla="*/ 913 w 76199"/>
                  <a:gd name="connsiteY7" fmla="*/ 40265 h 55504"/>
                  <a:gd name="connsiteX8" fmla="*/ 3771 w 76199"/>
                  <a:gd name="connsiteY8" fmla="*/ 39312 h 55504"/>
                  <a:gd name="connsiteX9" fmla="*/ 11391 w 76199"/>
                  <a:gd name="connsiteY9" fmla="*/ 37407 h 55504"/>
                  <a:gd name="connsiteX10" fmla="*/ 16153 w 76199"/>
                  <a:gd name="connsiteY10" fmla="*/ 29787 h 55504"/>
                  <a:gd name="connsiteX11" fmla="*/ 16153 w 76199"/>
                  <a:gd name="connsiteY11" fmla="*/ 25977 h 55504"/>
                  <a:gd name="connsiteX12" fmla="*/ 10438 w 76199"/>
                  <a:gd name="connsiteY12" fmla="*/ 23120 h 55504"/>
                  <a:gd name="connsiteX13" fmla="*/ 6628 w 76199"/>
                  <a:gd name="connsiteY13" fmla="*/ 16452 h 55504"/>
                  <a:gd name="connsiteX14" fmla="*/ 18058 w 76199"/>
                  <a:gd name="connsiteY14" fmla="*/ 14547 h 55504"/>
                  <a:gd name="connsiteX15" fmla="*/ 23773 w 76199"/>
                  <a:gd name="connsiteY15" fmla="*/ 14547 h 55504"/>
                  <a:gd name="connsiteX16" fmla="*/ 30441 w 76199"/>
                  <a:gd name="connsiteY16" fmla="*/ 5022 h 55504"/>
                  <a:gd name="connsiteX17" fmla="*/ 32346 w 76199"/>
                  <a:gd name="connsiteY17" fmla="*/ 2165 h 55504"/>
                  <a:gd name="connsiteX18" fmla="*/ 47586 w 76199"/>
                  <a:gd name="connsiteY18" fmla="*/ 260 h 55504"/>
                  <a:gd name="connsiteX19" fmla="*/ 53301 w 76199"/>
                  <a:gd name="connsiteY19" fmla="*/ 1212 h 55504"/>
                  <a:gd name="connsiteX20" fmla="*/ 60921 w 76199"/>
                  <a:gd name="connsiteY20" fmla="*/ 260 h 55504"/>
                  <a:gd name="connsiteX21" fmla="*/ 65683 w 76199"/>
                  <a:gd name="connsiteY21" fmla="*/ 1212 h 55504"/>
                  <a:gd name="connsiteX22" fmla="*/ 73303 w 76199"/>
                  <a:gd name="connsiteY22" fmla="*/ 3117 h 55504"/>
                  <a:gd name="connsiteX23" fmla="*/ 75208 w 76199"/>
                  <a:gd name="connsiteY23" fmla="*/ 17405 h 55504"/>
                  <a:gd name="connsiteX24" fmla="*/ 73303 w 76199"/>
                  <a:gd name="connsiteY24" fmla="*/ 23120 h 55504"/>
                  <a:gd name="connsiteX25" fmla="*/ 68541 w 76199"/>
                  <a:gd name="connsiteY25" fmla="*/ 27882 h 55504"/>
                  <a:gd name="connsiteX26" fmla="*/ 64730 w 76199"/>
                  <a:gd name="connsiteY26" fmla="*/ 30740 h 55504"/>
                  <a:gd name="connsiteX27" fmla="*/ 64730 w 76199"/>
                  <a:gd name="connsiteY27" fmla="*/ 40265 h 55504"/>
                  <a:gd name="connsiteX28" fmla="*/ 58063 w 76199"/>
                  <a:gd name="connsiteY28" fmla="*/ 44075 h 55504"/>
                  <a:gd name="connsiteX29" fmla="*/ 43776 w 76199"/>
                  <a:gd name="connsiteY29" fmla="*/ 48837 h 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199" h="55504">
                    <a:moveTo>
                      <a:pt x="43776" y="48837"/>
                    </a:moveTo>
                    <a:lnTo>
                      <a:pt x="39013" y="49790"/>
                    </a:lnTo>
                    <a:lnTo>
                      <a:pt x="32346" y="53600"/>
                    </a:lnTo>
                    <a:lnTo>
                      <a:pt x="25678" y="55505"/>
                    </a:lnTo>
                    <a:lnTo>
                      <a:pt x="17105" y="55505"/>
                    </a:lnTo>
                    <a:lnTo>
                      <a:pt x="10438" y="55505"/>
                    </a:lnTo>
                    <a:cubicBezTo>
                      <a:pt x="2818" y="54552"/>
                      <a:pt x="2818" y="54552"/>
                      <a:pt x="2818" y="54552"/>
                    </a:cubicBezTo>
                    <a:cubicBezTo>
                      <a:pt x="2818" y="54552"/>
                      <a:pt x="-1945" y="41217"/>
                      <a:pt x="913" y="40265"/>
                    </a:cubicBezTo>
                    <a:cubicBezTo>
                      <a:pt x="3771" y="39312"/>
                      <a:pt x="-3849" y="41217"/>
                      <a:pt x="3771" y="39312"/>
                    </a:cubicBezTo>
                    <a:cubicBezTo>
                      <a:pt x="11391" y="37407"/>
                      <a:pt x="11391" y="37407"/>
                      <a:pt x="11391" y="37407"/>
                    </a:cubicBezTo>
                    <a:lnTo>
                      <a:pt x="16153" y="29787"/>
                    </a:lnTo>
                    <a:lnTo>
                      <a:pt x="16153" y="25977"/>
                    </a:lnTo>
                    <a:lnTo>
                      <a:pt x="10438" y="23120"/>
                    </a:lnTo>
                    <a:cubicBezTo>
                      <a:pt x="10438" y="23120"/>
                      <a:pt x="-4802" y="18357"/>
                      <a:pt x="6628" y="16452"/>
                    </a:cubicBezTo>
                    <a:cubicBezTo>
                      <a:pt x="18058" y="14547"/>
                      <a:pt x="12343" y="14547"/>
                      <a:pt x="18058" y="14547"/>
                    </a:cubicBezTo>
                    <a:cubicBezTo>
                      <a:pt x="23773" y="14547"/>
                      <a:pt x="18058" y="17405"/>
                      <a:pt x="23773" y="14547"/>
                    </a:cubicBezTo>
                    <a:cubicBezTo>
                      <a:pt x="29488" y="11690"/>
                      <a:pt x="30441" y="5022"/>
                      <a:pt x="30441" y="5022"/>
                    </a:cubicBezTo>
                    <a:cubicBezTo>
                      <a:pt x="30441" y="5022"/>
                      <a:pt x="27583" y="3117"/>
                      <a:pt x="32346" y="2165"/>
                    </a:cubicBezTo>
                    <a:cubicBezTo>
                      <a:pt x="38061" y="1212"/>
                      <a:pt x="41871" y="-693"/>
                      <a:pt x="47586" y="260"/>
                    </a:cubicBezTo>
                    <a:cubicBezTo>
                      <a:pt x="53301" y="1212"/>
                      <a:pt x="53301" y="1212"/>
                      <a:pt x="53301" y="1212"/>
                    </a:cubicBezTo>
                    <a:cubicBezTo>
                      <a:pt x="53301" y="1212"/>
                      <a:pt x="56158" y="260"/>
                      <a:pt x="60921" y="260"/>
                    </a:cubicBezTo>
                    <a:cubicBezTo>
                      <a:pt x="65683" y="1212"/>
                      <a:pt x="58063" y="-693"/>
                      <a:pt x="65683" y="1212"/>
                    </a:cubicBezTo>
                    <a:cubicBezTo>
                      <a:pt x="73303" y="3117"/>
                      <a:pt x="70446" y="-3550"/>
                      <a:pt x="73303" y="3117"/>
                    </a:cubicBezTo>
                    <a:cubicBezTo>
                      <a:pt x="76161" y="9785"/>
                      <a:pt x="77113" y="11690"/>
                      <a:pt x="75208" y="17405"/>
                    </a:cubicBezTo>
                    <a:cubicBezTo>
                      <a:pt x="73303" y="23120"/>
                      <a:pt x="77113" y="18357"/>
                      <a:pt x="73303" y="23120"/>
                    </a:cubicBezTo>
                    <a:cubicBezTo>
                      <a:pt x="68541" y="27882"/>
                      <a:pt x="72351" y="25025"/>
                      <a:pt x="68541" y="27882"/>
                    </a:cubicBezTo>
                    <a:cubicBezTo>
                      <a:pt x="64730" y="30740"/>
                      <a:pt x="65683" y="21215"/>
                      <a:pt x="64730" y="30740"/>
                    </a:cubicBezTo>
                    <a:cubicBezTo>
                      <a:pt x="64730" y="40265"/>
                      <a:pt x="65683" y="37407"/>
                      <a:pt x="64730" y="40265"/>
                    </a:cubicBezTo>
                    <a:cubicBezTo>
                      <a:pt x="63778" y="43122"/>
                      <a:pt x="58063" y="44075"/>
                      <a:pt x="58063" y="44075"/>
                    </a:cubicBezTo>
                    <a:lnTo>
                      <a:pt x="43776" y="488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9" name="Freeform: Shape 198">
                <a:extLst>
                  <a:ext uri="{FF2B5EF4-FFF2-40B4-BE49-F238E27FC236}">
                    <a16:creationId xmlns:a16="http://schemas.microsoft.com/office/drawing/2014/main" id="{1430523E-4362-44DC-A3D5-DF4DF3BF818B}"/>
                  </a:ext>
                </a:extLst>
              </p:cNvPr>
              <p:cNvSpPr/>
              <p:nvPr/>
            </p:nvSpPr>
            <p:spPr>
              <a:xfrm>
                <a:off x="8121996" y="3315381"/>
                <a:ext cx="139254" cy="131445"/>
              </a:xfrm>
              <a:custGeom>
                <a:avLst/>
                <a:gdLst>
                  <a:gd name="connsiteX0" fmla="*/ 51435 w 139254"/>
                  <a:gd name="connsiteY0" fmla="*/ 81915 h 131445"/>
                  <a:gd name="connsiteX1" fmla="*/ 52388 w 139254"/>
                  <a:gd name="connsiteY1" fmla="*/ 72390 h 131445"/>
                  <a:gd name="connsiteX2" fmla="*/ 52388 w 139254"/>
                  <a:gd name="connsiteY2" fmla="*/ 68580 h 131445"/>
                  <a:gd name="connsiteX3" fmla="*/ 47625 w 139254"/>
                  <a:gd name="connsiteY3" fmla="*/ 63818 h 131445"/>
                  <a:gd name="connsiteX4" fmla="*/ 41910 w 139254"/>
                  <a:gd name="connsiteY4" fmla="*/ 60008 h 131445"/>
                  <a:gd name="connsiteX5" fmla="*/ 35243 w 139254"/>
                  <a:gd name="connsiteY5" fmla="*/ 56198 h 131445"/>
                  <a:gd name="connsiteX6" fmla="*/ 34290 w 139254"/>
                  <a:gd name="connsiteY6" fmla="*/ 52388 h 131445"/>
                  <a:gd name="connsiteX7" fmla="*/ 21908 w 139254"/>
                  <a:gd name="connsiteY7" fmla="*/ 46673 h 131445"/>
                  <a:gd name="connsiteX8" fmla="*/ 17145 w 139254"/>
                  <a:gd name="connsiteY8" fmla="*/ 33338 h 131445"/>
                  <a:gd name="connsiteX9" fmla="*/ 17145 w 139254"/>
                  <a:gd name="connsiteY9" fmla="*/ 25718 h 131445"/>
                  <a:gd name="connsiteX10" fmla="*/ 16193 w 139254"/>
                  <a:gd name="connsiteY10" fmla="*/ 22860 h 131445"/>
                  <a:gd name="connsiteX11" fmla="*/ 10478 w 139254"/>
                  <a:gd name="connsiteY11" fmla="*/ 19050 h 131445"/>
                  <a:gd name="connsiteX12" fmla="*/ 0 w 139254"/>
                  <a:gd name="connsiteY12" fmla="*/ 12383 h 131445"/>
                  <a:gd name="connsiteX13" fmla="*/ 0 w 139254"/>
                  <a:gd name="connsiteY13" fmla="*/ 9525 h 131445"/>
                  <a:gd name="connsiteX14" fmla="*/ 1905 w 139254"/>
                  <a:gd name="connsiteY14" fmla="*/ 6668 h 131445"/>
                  <a:gd name="connsiteX15" fmla="*/ 15240 w 139254"/>
                  <a:gd name="connsiteY15" fmla="*/ 6668 h 131445"/>
                  <a:gd name="connsiteX16" fmla="*/ 18098 w 139254"/>
                  <a:gd name="connsiteY16" fmla="*/ 6668 h 131445"/>
                  <a:gd name="connsiteX17" fmla="*/ 25718 w 139254"/>
                  <a:gd name="connsiteY17" fmla="*/ 1905 h 131445"/>
                  <a:gd name="connsiteX18" fmla="*/ 40958 w 139254"/>
                  <a:gd name="connsiteY18" fmla="*/ 0 h 131445"/>
                  <a:gd name="connsiteX19" fmla="*/ 46673 w 139254"/>
                  <a:gd name="connsiteY19" fmla="*/ 0 h 131445"/>
                  <a:gd name="connsiteX20" fmla="*/ 51435 w 139254"/>
                  <a:gd name="connsiteY20" fmla="*/ 4763 h 131445"/>
                  <a:gd name="connsiteX21" fmla="*/ 62865 w 139254"/>
                  <a:gd name="connsiteY21" fmla="*/ 4763 h 131445"/>
                  <a:gd name="connsiteX22" fmla="*/ 65723 w 139254"/>
                  <a:gd name="connsiteY22" fmla="*/ 9525 h 131445"/>
                  <a:gd name="connsiteX23" fmla="*/ 65723 w 139254"/>
                  <a:gd name="connsiteY23" fmla="*/ 13335 h 131445"/>
                  <a:gd name="connsiteX24" fmla="*/ 72390 w 139254"/>
                  <a:gd name="connsiteY24" fmla="*/ 18098 h 131445"/>
                  <a:gd name="connsiteX25" fmla="*/ 78105 w 139254"/>
                  <a:gd name="connsiteY25" fmla="*/ 20003 h 131445"/>
                  <a:gd name="connsiteX26" fmla="*/ 84773 w 139254"/>
                  <a:gd name="connsiteY26" fmla="*/ 24765 h 131445"/>
                  <a:gd name="connsiteX27" fmla="*/ 73343 w 139254"/>
                  <a:gd name="connsiteY27" fmla="*/ 34290 h 131445"/>
                  <a:gd name="connsiteX28" fmla="*/ 61913 w 139254"/>
                  <a:gd name="connsiteY28" fmla="*/ 35243 h 131445"/>
                  <a:gd name="connsiteX29" fmla="*/ 62865 w 139254"/>
                  <a:gd name="connsiteY29" fmla="*/ 39053 h 131445"/>
                  <a:gd name="connsiteX30" fmla="*/ 76200 w 139254"/>
                  <a:gd name="connsiteY30" fmla="*/ 43815 h 131445"/>
                  <a:gd name="connsiteX31" fmla="*/ 86678 w 139254"/>
                  <a:gd name="connsiteY31" fmla="*/ 54293 h 131445"/>
                  <a:gd name="connsiteX32" fmla="*/ 92393 w 139254"/>
                  <a:gd name="connsiteY32" fmla="*/ 58103 h 131445"/>
                  <a:gd name="connsiteX33" fmla="*/ 101918 w 139254"/>
                  <a:gd name="connsiteY33" fmla="*/ 63818 h 131445"/>
                  <a:gd name="connsiteX34" fmla="*/ 104775 w 139254"/>
                  <a:gd name="connsiteY34" fmla="*/ 71438 h 131445"/>
                  <a:gd name="connsiteX35" fmla="*/ 113348 w 139254"/>
                  <a:gd name="connsiteY35" fmla="*/ 79058 h 131445"/>
                  <a:gd name="connsiteX36" fmla="*/ 135255 w 139254"/>
                  <a:gd name="connsiteY36" fmla="*/ 85725 h 131445"/>
                  <a:gd name="connsiteX37" fmla="*/ 136208 w 139254"/>
                  <a:gd name="connsiteY37" fmla="*/ 88583 h 131445"/>
                  <a:gd name="connsiteX38" fmla="*/ 138113 w 139254"/>
                  <a:gd name="connsiteY38" fmla="*/ 95250 h 131445"/>
                  <a:gd name="connsiteX39" fmla="*/ 139065 w 139254"/>
                  <a:gd name="connsiteY39" fmla="*/ 103823 h 131445"/>
                  <a:gd name="connsiteX40" fmla="*/ 135255 w 139254"/>
                  <a:gd name="connsiteY40" fmla="*/ 111443 h 131445"/>
                  <a:gd name="connsiteX41" fmla="*/ 128588 w 139254"/>
                  <a:gd name="connsiteY41" fmla="*/ 115252 h 131445"/>
                  <a:gd name="connsiteX42" fmla="*/ 121920 w 139254"/>
                  <a:gd name="connsiteY42" fmla="*/ 118110 h 131445"/>
                  <a:gd name="connsiteX43" fmla="*/ 86678 w 139254"/>
                  <a:gd name="connsiteY43" fmla="*/ 121920 h 131445"/>
                  <a:gd name="connsiteX44" fmla="*/ 65723 w 139254"/>
                  <a:gd name="connsiteY44" fmla="*/ 121920 h 131445"/>
                  <a:gd name="connsiteX45" fmla="*/ 60960 w 139254"/>
                  <a:gd name="connsiteY45" fmla="*/ 122873 h 131445"/>
                  <a:gd name="connsiteX46" fmla="*/ 52388 w 139254"/>
                  <a:gd name="connsiteY46" fmla="*/ 125730 h 131445"/>
                  <a:gd name="connsiteX47" fmla="*/ 43815 w 139254"/>
                  <a:gd name="connsiteY47" fmla="*/ 129540 h 131445"/>
                  <a:gd name="connsiteX48" fmla="*/ 29528 w 139254"/>
                  <a:gd name="connsiteY48" fmla="*/ 130493 h 131445"/>
                  <a:gd name="connsiteX49" fmla="*/ 25718 w 139254"/>
                  <a:gd name="connsiteY49" fmla="*/ 131445 h 131445"/>
                  <a:gd name="connsiteX50" fmla="*/ 20003 w 139254"/>
                  <a:gd name="connsiteY50" fmla="*/ 128588 h 131445"/>
                  <a:gd name="connsiteX51" fmla="*/ 20955 w 139254"/>
                  <a:gd name="connsiteY51" fmla="*/ 121920 h 131445"/>
                  <a:gd name="connsiteX52" fmla="*/ 23813 w 139254"/>
                  <a:gd name="connsiteY52" fmla="*/ 121920 h 131445"/>
                  <a:gd name="connsiteX53" fmla="*/ 31433 w 139254"/>
                  <a:gd name="connsiteY53" fmla="*/ 120015 h 131445"/>
                  <a:gd name="connsiteX54" fmla="*/ 37148 w 139254"/>
                  <a:gd name="connsiteY54" fmla="*/ 116205 h 131445"/>
                  <a:gd name="connsiteX55" fmla="*/ 37148 w 139254"/>
                  <a:gd name="connsiteY55" fmla="*/ 112395 h 131445"/>
                  <a:gd name="connsiteX56" fmla="*/ 32385 w 139254"/>
                  <a:gd name="connsiteY56" fmla="*/ 110490 h 131445"/>
                  <a:gd name="connsiteX57" fmla="*/ 27623 w 139254"/>
                  <a:gd name="connsiteY57" fmla="*/ 105727 h 131445"/>
                  <a:gd name="connsiteX58" fmla="*/ 26670 w 139254"/>
                  <a:gd name="connsiteY58" fmla="*/ 101918 h 131445"/>
                  <a:gd name="connsiteX59" fmla="*/ 31433 w 139254"/>
                  <a:gd name="connsiteY59" fmla="*/ 97155 h 131445"/>
                  <a:gd name="connsiteX60" fmla="*/ 35243 w 139254"/>
                  <a:gd name="connsiteY60" fmla="*/ 90488 h 131445"/>
                  <a:gd name="connsiteX61" fmla="*/ 35243 w 139254"/>
                  <a:gd name="connsiteY61" fmla="*/ 88583 h 131445"/>
                  <a:gd name="connsiteX62" fmla="*/ 35243 w 139254"/>
                  <a:gd name="connsiteY62" fmla="*/ 84773 h 131445"/>
                  <a:gd name="connsiteX63" fmla="*/ 51435 w 139254"/>
                  <a:gd name="connsiteY63" fmla="*/ 8191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9254" h="131445">
                    <a:moveTo>
                      <a:pt x="51435" y="81915"/>
                    </a:moveTo>
                    <a:lnTo>
                      <a:pt x="52388" y="72390"/>
                    </a:lnTo>
                    <a:lnTo>
                      <a:pt x="52388" y="68580"/>
                    </a:lnTo>
                    <a:lnTo>
                      <a:pt x="47625" y="63818"/>
                    </a:lnTo>
                    <a:lnTo>
                      <a:pt x="41910" y="60008"/>
                    </a:lnTo>
                    <a:lnTo>
                      <a:pt x="35243" y="56198"/>
                    </a:lnTo>
                    <a:lnTo>
                      <a:pt x="34290" y="52388"/>
                    </a:lnTo>
                    <a:cubicBezTo>
                      <a:pt x="34290" y="52388"/>
                      <a:pt x="25718" y="53340"/>
                      <a:pt x="21908" y="46673"/>
                    </a:cubicBezTo>
                    <a:cubicBezTo>
                      <a:pt x="19050" y="40005"/>
                      <a:pt x="17145" y="33338"/>
                      <a:pt x="17145" y="33338"/>
                    </a:cubicBezTo>
                    <a:lnTo>
                      <a:pt x="17145" y="25718"/>
                    </a:lnTo>
                    <a:lnTo>
                      <a:pt x="16193" y="22860"/>
                    </a:lnTo>
                    <a:lnTo>
                      <a:pt x="10478" y="19050"/>
                    </a:lnTo>
                    <a:lnTo>
                      <a:pt x="0" y="12383"/>
                    </a:lnTo>
                    <a:lnTo>
                      <a:pt x="0" y="9525"/>
                    </a:lnTo>
                    <a:lnTo>
                      <a:pt x="1905" y="6668"/>
                    </a:lnTo>
                    <a:cubicBezTo>
                      <a:pt x="7620" y="6668"/>
                      <a:pt x="11430" y="6668"/>
                      <a:pt x="15240" y="6668"/>
                    </a:cubicBezTo>
                    <a:cubicBezTo>
                      <a:pt x="18098" y="6668"/>
                      <a:pt x="14288" y="8573"/>
                      <a:pt x="18098" y="6668"/>
                    </a:cubicBezTo>
                    <a:cubicBezTo>
                      <a:pt x="22860" y="4763"/>
                      <a:pt x="22860" y="2858"/>
                      <a:pt x="25718" y="1905"/>
                    </a:cubicBezTo>
                    <a:cubicBezTo>
                      <a:pt x="28575" y="953"/>
                      <a:pt x="40958" y="0"/>
                      <a:pt x="40958" y="0"/>
                    </a:cubicBezTo>
                    <a:lnTo>
                      <a:pt x="46673" y="0"/>
                    </a:lnTo>
                    <a:cubicBezTo>
                      <a:pt x="46673" y="0"/>
                      <a:pt x="46673" y="3810"/>
                      <a:pt x="51435" y="4763"/>
                    </a:cubicBezTo>
                    <a:cubicBezTo>
                      <a:pt x="56198" y="5715"/>
                      <a:pt x="60960" y="2858"/>
                      <a:pt x="62865" y="4763"/>
                    </a:cubicBezTo>
                    <a:cubicBezTo>
                      <a:pt x="63818" y="6668"/>
                      <a:pt x="65723" y="6668"/>
                      <a:pt x="65723" y="9525"/>
                    </a:cubicBezTo>
                    <a:cubicBezTo>
                      <a:pt x="65723" y="13335"/>
                      <a:pt x="65723" y="8573"/>
                      <a:pt x="65723" y="13335"/>
                    </a:cubicBezTo>
                    <a:cubicBezTo>
                      <a:pt x="65723" y="17145"/>
                      <a:pt x="66675" y="17145"/>
                      <a:pt x="72390" y="18098"/>
                    </a:cubicBezTo>
                    <a:cubicBezTo>
                      <a:pt x="78105" y="20003"/>
                      <a:pt x="78105" y="20003"/>
                      <a:pt x="78105" y="20003"/>
                    </a:cubicBezTo>
                    <a:cubicBezTo>
                      <a:pt x="78105" y="20003"/>
                      <a:pt x="84773" y="21908"/>
                      <a:pt x="84773" y="24765"/>
                    </a:cubicBezTo>
                    <a:cubicBezTo>
                      <a:pt x="84773" y="26670"/>
                      <a:pt x="73343" y="34290"/>
                      <a:pt x="73343" y="34290"/>
                    </a:cubicBezTo>
                    <a:lnTo>
                      <a:pt x="61913" y="35243"/>
                    </a:lnTo>
                    <a:cubicBezTo>
                      <a:pt x="61913" y="35243"/>
                      <a:pt x="60960" y="36195"/>
                      <a:pt x="62865" y="39053"/>
                    </a:cubicBezTo>
                    <a:cubicBezTo>
                      <a:pt x="64770" y="41910"/>
                      <a:pt x="76200" y="43815"/>
                      <a:pt x="76200" y="43815"/>
                    </a:cubicBezTo>
                    <a:cubicBezTo>
                      <a:pt x="80963" y="48578"/>
                      <a:pt x="85725" y="51435"/>
                      <a:pt x="86678" y="54293"/>
                    </a:cubicBezTo>
                    <a:cubicBezTo>
                      <a:pt x="87630" y="56198"/>
                      <a:pt x="88583" y="55245"/>
                      <a:pt x="92393" y="58103"/>
                    </a:cubicBezTo>
                    <a:cubicBezTo>
                      <a:pt x="95250" y="60960"/>
                      <a:pt x="100013" y="60960"/>
                      <a:pt x="101918" y="63818"/>
                    </a:cubicBezTo>
                    <a:cubicBezTo>
                      <a:pt x="103823" y="66675"/>
                      <a:pt x="96203" y="63818"/>
                      <a:pt x="104775" y="71438"/>
                    </a:cubicBezTo>
                    <a:cubicBezTo>
                      <a:pt x="113348" y="79058"/>
                      <a:pt x="106680" y="77153"/>
                      <a:pt x="113348" y="79058"/>
                    </a:cubicBezTo>
                    <a:cubicBezTo>
                      <a:pt x="120015" y="80963"/>
                      <a:pt x="134303" y="82868"/>
                      <a:pt x="135255" y="85725"/>
                    </a:cubicBezTo>
                    <a:cubicBezTo>
                      <a:pt x="136208" y="88583"/>
                      <a:pt x="136208" y="88583"/>
                      <a:pt x="136208" y="88583"/>
                    </a:cubicBezTo>
                    <a:cubicBezTo>
                      <a:pt x="136208" y="88583"/>
                      <a:pt x="137160" y="92393"/>
                      <a:pt x="138113" y="95250"/>
                    </a:cubicBezTo>
                    <a:cubicBezTo>
                      <a:pt x="139065" y="98108"/>
                      <a:pt x="138113" y="101918"/>
                      <a:pt x="139065" y="103823"/>
                    </a:cubicBezTo>
                    <a:cubicBezTo>
                      <a:pt x="140018" y="105727"/>
                      <a:pt x="137160" y="109538"/>
                      <a:pt x="135255" y="111443"/>
                    </a:cubicBezTo>
                    <a:cubicBezTo>
                      <a:pt x="134303" y="113348"/>
                      <a:pt x="128588" y="115252"/>
                      <a:pt x="128588" y="115252"/>
                    </a:cubicBezTo>
                    <a:cubicBezTo>
                      <a:pt x="128588" y="115252"/>
                      <a:pt x="128588" y="116205"/>
                      <a:pt x="121920" y="118110"/>
                    </a:cubicBezTo>
                    <a:cubicBezTo>
                      <a:pt x="115253" y="120015"/>
                      <a:pt x="100013" y="122873"/>
                      <a:pt x="86678" y="121920"/>
                    </a:cubicBezTo>
                    <a:cubicBezTo>
                      <a:pt x="73343" y="120968"/>
                      <a:pt x="65723" y="121920"/>
                      <a:pt x="65723" y="121920"/>
                    </a:cubicBezTo>
                    <a:lnTo>
                      <a:pt x="60960" y="122873"/>
                    </a:lnTo>
                    <a:lnTo>
                      <a:pt x="52388" y="125730"/>
                    </a:lnTo>
                    <a:lnTo>
                      <a:pt x="43815" y="129540"/>
                    </a:lnTo>
                    <a:cubicBezTo>
                      <a:pt x="43815" y="129540"/>
                      <a:pt x="32385" y="128588"/>
                      <a:pt x="29528" y="130493"/>
                    </a:cubicBezTo>
                    <a:cubicBezTo>
                      <a:pt x="25718" y="131445"/>
                      <a:pt x="25718" y="131445"/>
                      <a:pt x="25718" y="131445"/>
                    </a:cubicBezTo>
                    <a:lnTo>
                      <a:pt x="20003" y="128588"/>
                    </a:lnTo>
                    <a:cubicBezTo>
                      <a:pt x="20003" y="128588"/>
                      <a:pt x="18098" y="121920"/>
                      <a:pt x="20955" y="121920"/>
                    </a:cubicBezTo>
                    <a:cubicBezTo>
                      <a:pt x="23813" y="121920"/>
                      <a:pt x="23813" y="121920"/>
                      <a:pt x="23813" y="121920"/>
                    </a:cubicBezTo>
                    <a:lnTo>
                      <a:pt x="31433" y="120015"/>
                    </a:lnTo>
                    <a:lnTo>
                      <a:pt x="37148" y="116205"/>
                    </a:lnTo>
                    <a:lnTo>
                      <a:pt x="37148" y="112395"/>
                    </a:lnTo>
                    <a:lnTo>
                      <a:pt x="32385" y="110490"/>
                    </a:lnTo>
                    <a:lnTo>
                      <a:pt x="27623" y="105727"/>
                    </a:lnTo>
                    <a:lnTo>
                      <a:pt x="26670" y="101918"/>
                    </a:lnTo>
                    <a:lnTo>
                      <a:pt x="31433" y="97155"/>
                    </a:lnTo>
                    <a:cubicBezTo>
                      <a:pt x="31433" y="97155"/>
                      <a:pt x="35243" y="93345"/>
                      <a:pt x="35243" y="90488"/>
                    </a:cubicBezTo>
                    <a:cubicBezTo>
                      <a:pt x="35243" y="88583"/>
                      <a:pt x="35243" y="91440"/>
                      <a:pt x="35243" y="88583"/>
                    </a:cubicBezTo>
                    <a:cubicBezTo>
                      <a:pt x="35243" y="84773"/>
                      <a:pt x="35243" y="84773"/>
                      <a:pt x="35243" y="84773"/>
                    </a:cubicBezTo>
                    <a:lnTo>
                      <a:pt x="51435" y="8191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0" name="Freeform: Shape 199">
                <a:extLst>
                  <a:ext uri="{FF2B5EF4-FFF2-40B4-BE49-F238E27FC236}">
                    <a16:creationId xmlns:a16="http://schemas.microsoft.com/office/drawing/2014/main" id="{813EE300-D60A-41A3-B76A-BAFA17065737}"/>
                  </a:ext>
                </a:extLst>
              </p:cNvPr>
              <p:cNvSpPr/>
              <p:nvPr/>
            </p:nvSpPr>
            <p:spPr>
              <a:xfrm>
                <a:off x="8785412" y="3643993"/>
                <a:ext cx="34766" cy="12382"/>
              </a:xfrm>
              <a:custGeom>
                <a:avLst/>
                <a:gdLst>
                  <a:gd name="connsiteX0" fmla="*/ 25241 w 34766"/>
                  <a:gd name="connsiteY0" fmla="*/ 11430 h 12382"/>
                  <a:gd name="connsiteX1" fmla="*/ 13811 w 34766"/>
                  <a:gd name="connsiteY1" fmla="*/ 12383 h 12382"/>
                  <a:gd name="connsiteX2" fmla="*/ 7144 w 34766"/>
                  <a:gd name="connsiteY2" fmla="*/ 12383 h 12382"/>
                  <a:gd name="connsiteX3" fmla="*/ 476 w 34766"/>
                  <a:gd name="connsiteY3" fmla="*/ 9525 h 12382"/>
                  <a:gd name="connsiteX4" fmla="*/ 2381 w 34766"/>
                  <a:gd name="connsiteY4" fmla="*/ 4763 h 12382"/>
                  <a:gd name="connsiteX5" fmla="*/ 7144 w 34766"/>
                  <a:gd name="connsiteY5" fmla="*/ 5715 h 12382"/>
                  <a:gd name="connsiteX6" fmla="*/ 14764 w 34766"/>
                  <a:gd name="connsiteY6" fmla="*/ 1905 h 12382"/>
                  <a:gd name="connsiteX7" fmla="*/ 22384 w 34766"/>
                  <a:gd name="connsiteY7" fmla="*/ 952 h 12382"/>
                  <a:gd name="connsiteX8" fmla="*/ 28099 w 34766"/>
                  <a:gd name="connsiteY8" fmla="*/ 0 h 12382"/>
                  <a:gd name="connsiteX9" fmla="*/ 33814 w 34766"/>
                  <a:gd name="connsiteY9" fmla="*/ 1905 h 12382"/>
                  <a:gd name="connsiteX10" fmla="*/ 34766 w 34766"/>
                  <a:gd name="connsiteY10" fmla="*/ 6668 h 12382"/>
                  <a:gd name="connsiteX11" fmla="*/ 30004 w 34766"/>
                  <a:gd name="connsiteY11" fmla="*/ 9525 h 12382"/>
                  <a:gd name="connsiteX12" fmla="*/ 25241 w 34766"/>
                  <a:gd name="connsiteY12" fmla="*/ 11430 h 1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6" h="12382">
                    <a:moveTo>
                      <a:pt x="25241" y="11430"/>
                    </a:moveTo>
                    <a:lnTo>
                      <a:pt x="13811" y="12383"/>
                    </a:lnTo>
                    <a:lnTo>
                      <a:pt x="7144" y="12383"/>
                    </a:lnTo>
                    <a:lnTo>
                      <a:pt x="476" y="9525"/>
                    </a:lnTo>
                    <a:cubicBezTo>
                      <a:pt x="476" y="9525"/>
                      <a:pt x="-1429" y="3810"/>
                      <a:pt x="2381" y="4763"/>
                    </a:cubicBezTo>
                    <a:cubicBezTo>
                      <a:pt x="7144" y="5715"/>
                      <a:pt x="7144" y="5715"/>
                      <a:pt x="7144" y="5715"/>
                    </a:cubicBezTo>
                    <a:cubicBezTo>
                      <a:pt x="7144" y="5715"/>
                      <a:pt x="11906" y="952"/>
                      <a:pt x="14764" y="1905"/>
                    </a:cubicBezTo>
                    <a:cubicBezTo>
                      <a:pt x="17621" y="2858"/>
                      <a:pt x="22384" y="952"/>
                      <a:pt x="22384" y="952"/>
                    </a:cubicBezTo>
                    <a:lnTo>
                      <a:pt x="28099" y="0"/>
                    </a:lnTo>
                    <a:cubicBezTo>
                      <a:pt x="28099" y="0"/>
                      <a:pt x="33814" y="0"/>
                      <a:pt x="33814" y="1905"/>
                    </a:cubicBezTo>
                    <a:cubicBezTo>
                      <a:pt x="33814" y="3810"/>
                      <a:pt x="34766" y="4763"/>
                      <a:pt x="34766" y="6668"/>
                    </a:cubicBezTo>
                    <a:cubicBezTo>
                      <a:pt x="34766" y="8573"/>
                      <a:pt x="30004" y="9525"/>
                      <a:pt x="30004" y="9525"/>
                    </a:cubicBezTo>
                    <a:lnTo>
                      <a:pt x="25241" y="11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1" name="Freeform: Shape 200">
                <a:extLst>
                  <a:ext uri="{FF2B5EF4-FFF2-40B4-BE49-F238E27FC236}">
                    <a16:creationId xmlns:a16="http://schemas.microsoft.com/office/drawing/2014/main" id="{52D1DBF3-F58B-4BCC-8328-A4084587917E}"/>
                  </a:ext>
                </a:extLst>
              </p:cNvPr>
              <p:cNvSpPr/>
              <p:nvPr/>
            </p:nvSpPr>
            <p:spPr>
              <a:xfrm>
                <a:off x="8447641" y="2877241"/>
                <a:ext cx="251759" cy="93335"/>
              </a:xfrm>
              <a:custGeom>
                <a:avLst/>
                <a:gdLst>
                  <a:gd name="connsiteX0" fmla="*/ 176323 w 251759"/>
                  <a:gd name="connsiteY0" fmla="*/ 76190 h 93335"/>
                  <a:gd name="connsiteX1" fmla="*/ 163940 w 251759"/>
                  <a:gd name="connsiteY1" fmla="*/ 74285 h 93335"/>
                  <a:gd name="connsiteX2" fmla="*/ 156320 w 251759"/>
                  <a:gd name="connsiteY2" fmla="*/ 71428 h 93335"/>
                  <a:gd name="connsiteX3" fmla="*/ 156320 w 251759"/>
                  <a:gd name="connsiteY3" fmla="*/ 64760 h 93335"/>
                  <a:gd name="connsiteX4" fmla="*/ 156320 w 251759"/>
                  <a:gd name="connsiteY4" fmla="*/ 61903 h 93335"/>
                  <a:gd name="connsiteX5" fmla="*/ 142033 w 251759"/>
                  <a:gd name="connsiteY5" fmla="*/ 59998 h 93335"/>
                  <a:gd name="connsiteX6" fmla="*/ 132508 w 251759"/>
                  <a:gd name="connsiteY6" fmla="*/ 60950 h 93335"/>
                  <a:gd name="connsiteX7" fmla="*/ 125840 w 251759"/>
                  <a:gd name="connsiteY7" fmla="*/ 63808 h 93335"/>
                  <a:gd name="connsiteX8" fmla="*/ 121078 w 251759"/>
                  <a:gd name="connsiteY8" fmla="*/ 68570 h 93335"/>
                  <a:gd name="connsiteX9" fmla="*/ 104885 w 251759"/>
                  <a:gd name="connsiteY9" fmla="*/ 73333 h 93335"/>
                  <a:gd name="connsiteX10" fmla="*/ 95360 w 251759"/>
                  <a:gd name="connsiteY10" fmla="*/ 82858 h 93335"/>
                  <a:gd name="connsiteX11" fmla="*/ 95360 w 251759"/>
                  <a:gd name="connsiteY11" fmla="*/ 88573 h 93335"/>
                  <a:gd name="connsiteX12" fmla="*/ 86788 w 251759"/>
                  <a:gd name="connsiteY12" fmla="*/ 92383 h 93335"/>
                  <a:gd name="connsiteX13" fmla="*/ 74405 w 251759"/>
                  <a:gd name="connsiteY13" fmla="*/ 93335 h 93335"/>
                  <a:gd name="connsiteX14" fmla="*/ 62975 w 251759"/>
                  <a:gd name="connsiteY14" fmla="*/ 93335 h 93335"/>
                  <a:gd name="connsiteX15" fmla="*/ 53450 w 251759"/>
                  <a:gd name="connsiteY15" fmla="*/ 91430 h 93335"/>
                  <a:gd name="connsiteX16" fmla="*/ 52498 w 251759"/>
                  <a:gd name="connsiteY16" fmla="*/ 88573 h 93335"/>
                  <a:gd name="connsiteX17" fmla="*/ 51545 w 251759"/>
                  <a:gd name="connsiteY17" fmla="*/ 83810 h 93335"/>
                  <a:gd name="connsiteX18" fmla="*/ 49640 w 251759"/>
                  <a:gd name="connsiteY18" fmla="*/ 77143 h 93335"/>
                  <a:gd name="connsiteX19" fmla="*/ 48688 w 251759"/>
                  <a:gd name="connsiteY19" fmla="*/ 73333 h 93335"/>
                  <a:gd name="connsiteX20" fmla="*/ 49640 w 251759"/>
                  <a:gd name="connsiteY20" fmla="*/ 66665 h 93335"/>
                  <a:gd name="connsiteX21" fmla="*/ 51545 w 251759"/>
                  <a:gd name="connsiteY21" fmla="*/ 62855 h 93335"/>
                  <a:gd name="connsiteX22" fmla="*/ 54403 w 251759"/>
                  <a:gd name="connsiteY22" fmla="*/ 62855 h 93335"/>
                  <a:gd name="connsiteX23" fmla="*/ 58213 w 251759"/>
                  <a:gd name="connsiteY23" fmla="*/ 56188 h 93335"/>
                  <a:gd name="connsiteX24" fmla="*/ 58213 w 251759"/>
                  <a:gd name="connsiteY24" fmla="*/ 52378 h 93335"/>
                  <a:gd name="connsiteX25" fmla="*/ 58213 w 251759"/>
                  <a:gd name="connsiteY25" fmla="*/ 48568 h 93335"/>
                  <a:gd name="connsiteX26" fmla="*/ 44878 w 251759"/>
                  <a:gd name="connsiteY26" fmla="*/ 52378 h 93335"/>
                  <a:gd name="connsiteX27" fmla="*/ 43925 w 251759"/>
                  <a:gd name="connsiteY27" fmla="*/ 55235 h 93335"/>
                  <a:gd name="connsiteX28" fmla="*/ 19160 w 251759"/>
                  <a:gd name="connsiteY28" fmla="*/ 59045 h 93335"/>
                  <a:gd name="connsiteX29" fmla="*/ 11540 w 251759"/>
                  <a:gd name="connsiteY29" fmla="*/ 59045 h 93335"/>
                  <a:gd name="connsiteX30" fmla="*/ 2015 w 251759"/>
                  <a:gd name="connsiteY30" fmla="*/ 57140 h 93335"/>
                  <a:gd name="connsiteX31" fmla="*/ 1063 w 251759"/>
                  <a:gd name="connsiteY31" fmla="*/ 46663 h 93335"/>
                  <a:gd name="connsiteX32" fmla="*/ 5825 w 251759"/>
                  <a:gd name="connsiteY32" fmla="*/ 38090 h 93335"/>
                  <a:gd name="connsiteX33" fmla="*/ 5825 w 251759"/>
                  <a:gd name="connsiteY33" fmla="*/ 30470 h 93335"/>
                  <a:gd name="connsiteX34" fmla="*/ 4873 w 251759"/>
                  <a:gd name="connsiteY34" fmla="*/ 27613 h 93335"/>
                  <a:gd name="connsiteX35" fmla="*/ 12493 w 251759"/>
                  <a:gd name="connsiteY35" fmla="*/ 22850 h 93335"/>
                  <a:gd name="connsiteX36" fmla="*/ 26780 w 251759"/>
                  <a:gd name="connsiteY36" fmla="*/ 20945 h 93335"/>
                  <a:gd name="connsiteX37" fmla="*/ 42973 w 251759"/>
                  <a:gd name="connsiteY37" fmla="*/ 19993 h 93335"/>
                  <a:gd name="connsiteX38" fmla="*/ 64880 w 251759"/>
                  <a:gd name="connsiteY38" fmla="*/ 19040 h 93335"/>
                  <a:gd name="connsiteX39" fmla="*/ 87740 w 251759"/>
                  <a:gd name="connsiteY39" fmla="*/ 14278 h 93335"/>
                  <a:gd name="connsiteX40" fmla="*/ 115363 w 251759"/>
                  <a:gd name="connsiteY40" fmla="*/ 14278 h 93335"/>
                  <a:gd name="connsiteX41" fmla="*/ 129650 w 251759"/>
                  <a:gd name="connsiteY41" fmla="*/ 7610 h 93335"/>
                  <a:gd name="connsiteX42" fmla="*/ 138223 w 251759"/>
                  <a:gd name="connsiteY42" fmla="*/ 2848 h 93335"/>
                  <a:gd name="connsiteX43" fmla="*/ 149653 w 251759"/>
                  <a:gd name="connsiteY43" fmla="*/ 1895 h 93335"/>
                  <a:gd name="connsiteX44" fmla="*/ 165845 w 251759"/>
                  <a:gd name="connsiteY44" fmla="*/ 6658 h 93335"/>
                  <a:gd name="connsiteX45" fmla="*/ 182038 w 251759"/>
                  <a:gd name="connsiteY45" fmla="*/ 9515 h 93335"/>
                  <a:gd name="connsiteX46" fmla="*/ 203945 w 251759"/>
                  <a:gd name="connsiteY46" fmla="*/ 8563 h 93335"/>
                  <a:gd name="connsiteX47" fmla="*/ 215375 w 251759"/>
                  <a:gd name="connsiteY47" fmla="*/ 8563 h 93335"/>
                  <a:gd name="connsiteX48" fmla="*/ 241093 w 251759"/>
                  <a:gd name="connsiteY48" fmla="*/ 8563 h 93335"/>
                  <a:gd name="connsiteX49" fmla="*/ 249665 w 251759"/>
                  <a:gd name="connsiteY49" fmla="*/ 10468 h 93335"/>
                  <a:gd name="connsiteX50" fmla="*/ 251570 w 251759"/>
                  <a:gd name="connsiteY50" fmla="*/ 17135 h 93335"/>
                  <a:gd name="connsiteX51" fmla="*/ 247760 w 251759"/>
                  <a:gd name="connsiteY51" fmla="*/ 23803 h 93335"/>
                  <a:gd name="connsiteX52" fmla="*/ 239188 w 251759"/>
                  <a:gd name="connsiteY52" fmla="*/ 26660 h 93335"/>
                  <a:gd name="connsiteX53" fmla="*/ 216328 w 251759"/>
                  <a:gd name="connsiteY53" fmla="*/ 27613 h 93335"/>
                  <a:gd name="connsiteX54" fmla="*/ 203945 w 251759"/>
                  <a:gd name="connsiteY54" fmla="*/ 30470 h 93335"/>
                  <a:gd name="connsiteX55" fmla="*/ 175370 w 251759"/>
                  <a:gd name="connsiteY55" fmla="*/ 30470 h 93335"/>
                  <a:gd name="connsiteX56" fmla="*/ 162035 w 251759"/>
                  <a:gd name="connsiteY56" fmla="*/ 28565 h 93335"/>
                  <a:gd name="connsiteX57" fmla="*/ 148700 w 251759"/>
                  <a:gd name="connsiteY57" fmla="*/ 21898 h 93335"/>
                  <a:gd name="connsiteX58" fmla="*/ 134413 w 251759"/>
                  <a:gd name="connsiteY58" fmla="*/ 22850 h 93335"/>
                  <a:gd name="connsiteX59" fmla="*/ 134413 w 251759"/>
                  <a:gd name="connsiteY59" fmla="*/ 24755 h 93335"/>
                  <a:gd name="connsiteX60" fmla="*/ 134413 w 251759"/>
                  <a:gd name="connsiteY60" fmla="*/ 27613 h 93335"/>
                  <a:gd name="connsiteX61" fmla="*/ 147748 w 251759"/>
                  <a:gd name="connsiteY61" fmla="*/ 29518 h 93335"/>
                  <a:gd name="connsiteX62" fmla="*/ 157273 w 251759"/>
                  <a:gd name="connsiteY62" fmla="*/ 34280 h 93335"/>
                  <a:gd name="connsiteX63" fmla="*/ 165845 w 251759"/>
                  <a:gd name="connsiteY63" fmla="*/ 39043 h 93335"/>
                  <a:gd name="connsiteX64" fmla="*/ 179180 w 251759"/>
                  <a:gd name="connsiteY64" fmla="*/ 39995 h 93335"/>
                  <a:gd name="connsiteX65" fmla="*/ 183943 w 251759"/>
                  <a:gd name="connsiteY65" fmla="*/ 43805 h 93335"/>
                  <a:gd name="connsiteX66" fmla="*/ 187753 w 251759"/>
                  <a:gd name="connsiteY66" fmla="*/ 52378 h 93335"/>
                  <a:gd name="connsiteX67" fmla="*/ 201088 w 251759"/>
                  <a:gd name="connsiteY67" fmla="*/ 58093 h 93335"/>
                  <a:gd name="connsiteX68" fmla="*/ 220138 w 251759"/>
                  <a:gd name="connsiteY68" fmla="*/ 59998 h 93335"/>
                  <a:gd name="connsiteX69" fmla="*/ 227758 w 251759"/>
                  <a:gd name="connsiteY69" fmla="*/ 61903 h 93335"/>
                  <a:gd name="connsiteX70" fmla="*/ 229663 w 251759"/>
                  <a:gd name="connsiteY70" fmla="*/ 64760 h 93335"/>
                  <a:gd name="connsiteX71" fmla="*/ 232520 w 251759"/>
                  <a:gd name="connsiteY71" fmla="*/ 68570 h 93335"/>
                  <a:gd name="connsiteX72" fmla="*/ 222995 w 251759"/>
                  <a:gd name="connsiteY72" fmla="*/ 72380 h 93335"/>
                  <a:gd name="connsiteX73" fmla="*/ 211565 w 251759"/>
                  <a:gd name="connsiteY73" fmla="*/ 73333 h 93335"/>
                  <a:gd name="connsiteX74" fmla="*/ 202993 w 251759"/>
                  <a:gd name="connsiteY74" fmla="*/ 72380 h 93335"/>
                  <a:gd name="connsiteX75" fmla="*/ 182038 w 251759"/>
                  <a:gd name="connsiteY75" fmla="*/ 76190 h 93335"/>
                  <a:gd name="connsiteX76" fmla="*/ 176323 w 251759"/>
                  <a:gd name="connsiteY76" fmla="*/ 76190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51759" h="93335">
                    <a:moveTo>
                      <a:pt x="176323" y="76190"/>
                    </a:moveTo>
                    <a:cubicBezTo>
                      <a:pt x="176323" y="76190"/>
                      <a:pt x="167750" y="74285"/>
                      <a:pt x="163940" y="74285"/>
                    </a:cubicBezTo>
                    <a:cubicBezTo>
                      <a:pt x="161083" y="73333"/>
                      <a:pt x="156320" y="71428"/>
                      <a:pt x="156320" y="71428"/>
                    </a:cubicBezTo>
                    <a:lnTo>
                      <a:pt x="156320" y="64760"/>
                    </a:lnTo>
                    <a:lnTo>
                      <a:pt x="156320" y="61903"/>
                    </a:lnTo>
                    <a:cubicBezTo>
                      <a:pt x="148700" y="59998"/>
                      <a:pt x="145843" y="58093"/>
                      <a:pt x="142033" y="59998"/>
                    </a:cubicBezTo>
                    <a:cubicBezTo>
                      <a:pt x="139175" y="60950"/>
                      <a:pt x="132508" y="60950"/>
                      <a:pt x="132508" y="60950"/>
                    </a:cubicBezTo>
                    <a:lnTo>
                      <a:pt x="125840" y="63808"/>
                    </a:lnTo>
                    <a:cubicBezTo>
                      <a:pt x="125840" y="63808"/>
                      <a:pt x="124888" y="65713"/>
                      <a:pt x="121078" y="68570"/>
                    </a:cubicBezTo>
                    <a:cubicBezTo>
                      <a:pt x="117268" y="71428"/>
                      <a:pt x="108695" y="66665"/>
                      <a:pt x="104885" y="73333"/>
                    </a:cubicBezTo>
                    <a:cubicBezTo>
                      <a:pt x="100123" y="80000"/>
                      <a:pt x="95360" y="82858"/>
                      <a:pt x="95360" y="82858"/>
                    </a:cubicBezTo>
                    <a:lnTo>
                      <a:pt x="95360" y="88573"/>
                    </a:lnTo>
                    <a:lnTo>
                      <a:pt x="86788" y="92383"/>
                    </a:lnTo>
                    <a:lnTo>
                      <a:pt x="74405" y="93335"/>
                    </a:lnTo>
                    <a:lnTo>
                      <a:pt x="62975" y="93335"/>
                    </a:lnTo>
                    <a:lnTo>
                      <a:pt x="53450" y="91430"/>
                    </a:lnTo>
                    <a:lnTo>
                      <a:pt x="52498" y="88573"/>
                    </a:lnTo>
                    <a:lnTo>
                      <a:pt x="51545" y="83810"/>
                    </a:lnTo>
                    <a:lnTo>
                      <a:pt x="49640" y="77143"/>
                    </a:lnTo>
                    <a:lnTo>
                      <a:pt x="48688" y="73333"/>
                    </a:lnTo>
                    <a:lnTo>
                      <a:pt x="49640" y="66665"/>
                    </a:lnTo>
                    <a:cubicBezTo>
                      <a:pt x="49640" y="66665"/>
                      <a:pt x="48688" y="62855"/>
                      <a:pt x="51545" y="62855"/>
                    </a:cubicBezTo>
                    <a:cubicBezTo>
                      <a:pt x="54403" y="62855"/>
                      <a:pt x="54403" y="62855"/>
                      <a:pt x="54403" y="62855"/>
                    </a:cubicBezTo>
                    <a:lnTo>
                      <a:pt x="58213" y="56188"/>
                    </a:lnTo>
                    <a:lnTo>
                      <a:pt x="58213" y="52378"/>
                    </a:lnTo>
                    <a:lnTo>
                      <a:pt x="58213" y="48568"/>
                    </a:lnTo>
                    <a:cubicBezTo>
                      <a:pt x="50593" y="49520"/>
                      <a:pt x="45830" y="49520"/>
                      <a:pt x="44878" y="52378"/>
                    </a:cubicBezTo>
                    <a:cubicBezTo>
                      <a:pt x="43925" y="55235"/>
                      <a:pt x="43925" y="55235"/>
                      <a:pt x="43925" y="55235"/>
                    </a:cubicBezTo>
                    <a:lnTo>
                      <a:pt x="19160" y="59045"/>
                    </a:lnTo>
                    <a:cubicBezTo>
                      <a:pt x="19160" y="59045"/>
                      <a:pt x="14398" y="59045"/>
                      <a:pt x="11540" y="59045"/>
                    </a:cubicBezTo>
                    <a:cubicBezTo>
                      <a:pt x="8683" y="59045"/>
                      <a:pt x="2015" y="57140"/>
                      <a:pt x="2015" y="57140"/>
                    </a:cubicBezTo>
                    <a:cubicBezTo>
                      <a:pt x="2015" y="57140"/>
                      <a:pt x="-1795" y="49520"/>
                      <a:pt x="1063" y="46663"/>
                    </a:cubicBezTo>
                    <a:cubicBezTo>
                      <a:pt x="4873" y="43805"/>
                      <a:pt x="4873" y="39995"/>
                      <a:pt x="5825" y="38090"/>
                    </a:cubicBezTo>
                    <a:cubicBezTo>
                      <a:pt x="6778" y="36185"/>
                      <a:pt x="5825" y="30470"/>
                      <a:pt x="5825" y="30470"/>
                    </a:cubicBezTo>
                    <a:lnTo>
                      <a:pt x="4873" y="27613"/>
                    </a:lnTo>
                    <a:cubicBezTo>
                      <a:pt x="4873" y="27613"/>
                      <a:pt x="6778" y="22850"/>
                      <a:pt x="12493" y="22850"/>
                    </a:cubicBezTo>
                    <a:cubicBezTo>
                      <a:pt x="18208" y="22850"/>
                      <a:pt x="22018" y="20945"/>
                      <a:pt x="26780" y="20945"/>
                    </a:cubicBezTo>
                    <a:cubicBezTo>
                      <a:pt x="31543" y="20945"/>
                      <a:pt x="35353" y="19993"/>
                      <a:pt x="42973" y="19993"/>
                    </a:cubicBezTo>
                    <a:cubicBezTo>
                      <a:pt x="50593" y="20945"/>
                      <a:pt x="58213" y="19040"/>
                      <a:pt x="64880" y="19040"/>
                    </a:cubicBezTo>
                    <a:cubicBezTo>
                      <a:pt x="71548" y="19993"/>
                      <a:pt x="80120" y="14278"/>
                      <a:pt x="87740" y="14278"/>
                    </a:cubicBezTo>
                    <a:cubicBezTo>
                      <a:pt x="95360" y="14278"/>
                      <a:pt x="107743" y="13325"/>
                      <a:pt x="115363" y="14278"/>
                    </a:cubicBezTo>
                    <a:cubicBezTo>
                      <a:pt x="122983" y="15230"/>
                      <a:pt x="129650" y="7610"/>
                      <a:pt x="129650" y="7610"/>
                    </a:cubicBezTo>
                    <a:cubicBezTo>
                      <a:pt x="129650" y="7610"/>
                      <a:pt x="133460" y="2848"/>
                      <a:pt x="138223" y="2848"/>
                    </a:cubicBezTo>
                    <a:cubicBezTo>
                      <a:pt x="143938" y="2848"/>
                      <a:pt x="132508" y="-2867"/>
                      <a:pt x="149653" y="1895"/>
                    </a:cubicBezTo>
                    <a:cubicBezTo>
                      <a:pt x="165845" y="6658"/>
                      <a:pt x="165845" y="6658"/>
                      <a:pt x="165845" y="6658"/>
                    </a:cubicBezTo>
                    <a:cubicBezTo>
                      <a:pt x="165845" y="6658"/>
                      <a:pt x="176323" y="9515"/>
                      <a:pt x="182038" y="9515"/>
                    </a:cubicBezTo>
                    <a:cubicBezTo>
                      <a:pt x="187753" y="9515"/>
                      <a:pt x="203945" y="8563"/>
                      <a:pt x="203945" y="8563"/>
                    </a:cubicBezTo>
                    <a:cubicBezTo>
                      <a:pt x="203945" y="8563"/>
                      <a:pt x="209660" y="7610"/>
                      <a:pt x="215375" y="8563"/>
                    </a:cubicBezTo>
                    <a:cubicBezTo>
                      <a:pt x="221090" y="9515"/>
                      <a:pt x="236330" y="7610"/>
                      <a:pt x="241093" y="8563"/>
                    </a:cubicBezTo>
                    <a:cubicBezTo>
                      <a:pt x="245855" y="9515"/>
                      <a:pt x="249665" y="10468"/>
                      <a:pt x="249665" y="10468"/>
                    </a:cubicBezTo>
                    <a:cubicBezTo>
                      <a:pt x="249665" y="10468"/>
                      <a:pt x="250618" y="14278"/>
                      <a:pt x="251570" y="17135"/>
                    </a:cubicBezTo>
                    <a:cubicBezTo>
                      <a:pt x="252523" y="20945"/>
                      <a:pt x="249665" y="21898"/>
                      <a:pt x="247760" y="23803"/>
                    </a:cubicBezTo>
                    <a:cubicBezTo>
                      <a:pt x="246808" y="25708"/>
                      <a:pt x="239188" y="26660"/>
                      <a:pt x="239188" y="26660"/>
                    </a:cubicBezTo>
                    <a:lnTo>
                      <a:pt x="216328" y="27613"/>
                    </a:lnTo>
                    <a:lnTo>
                      <a:pt x="203945" y="30470"/>
                    </a:lnTo>
                    <a:lnTo>
                      <a:pt x="175370" y="30470"/>
                    </a:lnTo>
                    <a:lnTo>
                      <a:pt x="162035" y="28565"/>
                    </a:lnTo>
                    <a:lnTo>
                      <a:pt x="148700" y="21898"/>
                    </a:lnTo>
                    <a:cubicBezTo>
                      <a:pt x="148700" y="21898"/>
                      <a:pt x="134413" y="19993"/>
                      <a:pt x="134413" y="22850"/>
                    </a:cubicBezTo>
                    <a:cubicBezTo>
                      <a:pt x="134413" y="24755"/>
                      <a:pt x="134413" y="24755"/>
                      <a:pt x="134413" y="24755"/>
                    </a:cubicBezTo>
                    <a:cubicBezTo>
                      <a:pt x="134413" y="24755"/>
                      <a:pt x="129650" y="25708"/>
                      <a:pt x="134413" y="27613"/>
                    </a:cubicBezTo>
                    <a:cubicBezTo>
                      <a:pt x="139175" y="29518"/>
                      <a:pt x="143938" y="27613"/>
                      <a:pt x="147748" y="29518"/>
                    </a:cubicBezTo>
                    <a:cubicBezTo>
                      <a:pt x="150605" y="31423"/>
                      <a:pt x="153463" y="31423"/>
                      <a:pt x="157273" y="34280"/>
                    </a:cubicBezTo>
                    <a:cubicBezTo>
                      <a:pt x="162035" y="36185"/>
                      <a:pt x="159178" y="38090"/>
                      <a:pt x="165845" y="39043"/>
                    </a:cubicBezTo>
                    <a:cubicBezTo>
                      <a:pt x="172513" y="39995"/>
                      <a:pt x="174418" y="35233"/>
                      <a:pt x="179180" y="39995"/>
                    </a:cubicBezTo>
                    <a:cubicBezTo>
                      <a:pt x="183943" y="43805"/>
                      <a:pt x="182990" y="39043"/>
                      <a:pt x="183943" y="43805"/>
                    </a:cubicBezTo>
                    <a:cubicBezTo>
                      <a:pt x="184895" y="49520"/>
                      <a:pt x="184895" y="50473"/>
                      <a:pt x="187753" y="52378"/>
                    </a:cubicBezTo>
                    <a:cubicBezTo>
                      <a:pt x="190610" y="54283"/>
                      <a:pt x="201088" y="58093"/>
                      <a:pt x="201088" y="58093"/>
                    </a:cubicBezTo>
                    <a:lnTo>
                      <a:pt x="220138" y="59998"/>
                    </a:lnTo>
                    <a:cubicBezTo>
                      <a:pt x="220138" y="59998"/>
                      <a:pt x="225853" y="59045"/>
                      <a:pt x="227758" y="61903"/>
                    </a:cubicBezTo>
                    <a:cubicBezTo>
                      <a:pt x="229663" y="64760"/>
                      <a:pt x="226805" y="60950"/>
                      <a:pt x="229663" y="64760"/>
                    </a:cubicBezTo>
                    <a:cubicBezTo>
                      <a:pt x="232520" y="68570"/>
                      <a:pt x="232520" y="65713"/>
                      <a:pt x="232520" y="68570"/>
                    </a:cubicBezTo>
                    <a:cubicBezTo>
                      <a:pt x="232520" y="71428"/>
                      <a:pt x="226805" y="71428"/>
                      <a:pt x="222995" y="72380"/>
                    </a:cubicBezTo>
                    <a:cubicBezTo>
                      <a:pt x="218233" y="73333"/>
                      <a:pt x="211565" y="73333"/>
                      <a:pt x="211565" y="73333"/>
                    </a:cubicBezTo>
                    <a:lnTo>
                      <a:pt x="202993" y="72380"/>
                    </a:lnTo>
                    <a:lnTo>
                      <a:pt x="182038" y="76190"/>
                    </a:lnTo>
                    <a:lnTo>
                      <a:pt x="176323" y="7619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2" name="Freeform: Shape 201">
                <a:extLst>
                  <a:ext uri="{FF2B5EF4-FFF2-40B4-BE49-F238E27FC236}">
                    <a16:creationId xmlns:a16="http://schemas.microsoft.com/office/drawing/2014/main" id="{7AAE21AF-84B8-4AF7-A4F5-89E0795AD8D6}"/>
                  </a:ext>
                </a:extLst>
              </p:cNvPr>
              <p:cNvSpPr/>
              <p:nvPr/>
            </p:nvSpPr>
            <p:spPr>
              <a:xfrm>
                <a:off x="9058304" y="2871622"/>
                <a:ext cx="56780" cy="22754"/>
              </a:xfrm>
              <a:custGeom>
                <a:avLst/>
                <a:gdLst>
                  <a:gd name="connsiteX0" fmla="*/ 50482 w 56780"/>
                  <a:gd name="connsiteY0" fmla="*/ 17039 h 22754"/>
                  <a:gd name="connsiteX1" fmla="*/ 45720 w 56780"/>
                  <a:gd name="connsiteY1" fmla="*/ 21802 h 22754"/>
                  <a:gd name="connsiteX2" fmla="*/ 33338 w 56780"/>
                  <a:gd name="connsiteY2" fmla="*/ 22754 h 22754"/>
                  <a:gd name="connsiteX3" fmla="*/ 24765 w 56780"/>
                  <a:gd name="connsiteY3" fmla="*/ 21802 h 22754"/>
                  <a:gd name="connsiteX4" fmla="*/ 11430 w 56780"/>
                  <a:gd name="connsiteY4" fmla="*/ 19897 h 22754"/>
                  <a:gd name="connsiteX5" fmla="*/ 5715 w 56780"/>
                  <a:gd name="connsiteY5" fmla="*/ 16087 h 22754"/>
                  <a:gd name="connsiteX6" fmla="*/ 5715 w 56780"/>
                  <a:gd name="connsiteY6" fmla="*/ 9419 h 22754"/>
                  <a:gd name="connsiteX7" fmla="*/ 0 w 56780"/>
                  <a:gd name="connsiteY7" fmla="*/ 6562 h 22754"/>
                  <a:gd name="connsiteX8" fmla="*/ 12382 w 56780"/>
                  <a:gd name="connsiteY8" fmla="*/ 2752 h 22754"/>
                  <a:gd name="connsiteX9" fmla="*/ 32385 w 56780"/>
                  <a:gd name="connsiteY9" fmla="*/ 847 h 22754"/>
                  <a:gd name="connsiteX10" fmla="*/ 55245 w 56780"/>
                  <a:gd name="connsiteY10" fmla="*/ 847 h 22754"/>
                  <a:gd name="connsiteX11" fmla="*/ 56197 w 56780"/>
                  <a:gd name="connsiteY11" fmla="*/ 5609 h 22754"/>
                  <a:gd name="connsiteX12" fmla="*/ 50482 w 56780"/>
                  <a:gd name="connsiteY12" fmla="*/ 17039 h 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80" h="22754">
                    <a:moveTo>
                      <a:pt x="50482" y="17039"/>
                    </a:moveTo>
                    <a:cubicBezTo>
                      <a:pt x="50482" y="17039"/>
                      <a:pt x="51435" y="20849"/>
                      <a:pt x="45720" y="21802"/>
                    </a:cubicBezTo>
                    <a:cubicBezTo>
                      <a:pt x="40005" y="22754"/>
                      <a:pt x="33338" y="22754"/>
                      <a:pt x="33338" y="22754"/>
                    </a:cubicBezTo>
                    <a:lnTo>
                      <a:pt x="24765" y="21802"/>
                    </a:lnTo>
                    <a:lnTo>
                      <a:pt x="11430" y="19897"/>
                    </a:lnTo>
                    <a:lnTo>
                      <a:pt x="5715" y="16087"/>
                    </a:lnTo>
                    <a:lnTo>
                      <a:pt x="5715" y="9419"/>
                    </a:lnTo>
                    <a:lnTo>
                      <a:pt x="0" y="6562"/>
                    </a:lnTo>
                    <a:cubicBezTo>
                      <a:pt x="0" y="6562"/>
                      <a:pt x="5715" y="3704"/>
                      <a:pt x="12382" y="2752"/>
                    </a:cubicBezTo>
                    <a:cubicBezTo>
                      <a:pt x="19050" y="1799"/>
                      <a:pt x="32385" y="847"/>
                      <a:pt x="32385" y="847"/>
                    </a:cubicBezTo>
                    <a:cubicBezTo>
                      <a:pt x="32385" y="847"/>
                      <a:pt x="53340" y="-1058"/>
                      <a:pt x="55245" y="847"/>
                    </a:cubicBezTo>
                    <a:cubicBezTo>
                      <a:pt x="57150" y="2752"/>
                      <a:pt x="55245" y="3704"/>
                      <a:pt x="56197" y="5609"/>
                    </a:cubicBezTo>
                    <a:cubicBezTo>
                      <a:pt x="59055" y="8467"/>
                      <a:pt x="50482" y="17039"/>
                      <a:pt x="50482" y="170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3" name="Freeform: Shape 202">
                <a:extLst>
                  <a:ext uri="{FF2B5EF4-FFF2-40B4-BE49-F238E27FC236}">
                    <a16:creationId xmlns:a16="http://schemas.microsoft.com/office/drawing/2014/main" id="{56300A4E-E75B-46F5-8AB5-9C15BC3ABD89}"/>
                  </a:ext>
                </a:extLst>
              </p:cNvPr>
              <p:cNvSpPr/>
              <p:nvPr/>
            </p:nvSpPr>
            <p:spPr>
              <a:xfrm>
                <a:off x="9201686" y="2869293"/>
                <a:ext cx="54949" cy="34309"/>
              </a:xfrm>
              <a:custGeom>
                <a:avLst/>
                <a:gdLst>
                  <a:gd name="connsiteX0" fmla="*/ 26163 w 54949"/>
                  <a:gd name="connsiteY0" fmla="*/ 6985 h 34309"/>
                  <a:gd name="connsiteX1" fmla="*/ 9971 w 54949"/>
                  <a:gd name="connsiteY1" fmla="*/ 1270 h 34309"/>
                  <a:gd name="connsiteX2" fmla="*/ 4255 w 54949"/>
                  <a:gd name="connsiteY2" fmla="*/ 1270 h 34309"/>
                  <a:gd name="connsiteX3" fmla="*/ 446 w 54949"/>
                  <a:gd name="connsiteY3" fmla="*/ 7938 h 34309"/>
                  <a:gd name="connsiteX4" fmla="*/ 2350 w 54949"/>
                  <a:gd name="connsiteY4" fmla="*/ 10795 h 34309"/>
                  <a:gd name="connsiteX5" fmla="*/ 7113 w 54949"/>
                  <a:gd name="connsiteY5" fmla="*/ 13652 h 34309"/>
                  <a:gd name="connsiteX6" fmla="*/ 8065 w 54949"/>
                  <a:gd name="connsiteY6" fmla="*/ 20320 h 34309"/>
                  <a:gd name="connsiteX7" fmla="*/ 3303 w 54949"/>
                  <a:gd name="connsiteY7" fmla="*/ 33655 h 34309"/>
                  <a:gd name="connsiteX8" fmla="*/ 15685 w 54949"/>
                  <a:gd name="connsiteY8" fmla="*/ 32702 h 34309"/>
                  <a:gd name="connsiteX9" fmla="*/ 29973 w 54949"/>
                  <a:gd name="connsiteY9" fmla="*/ 31750 h 34309"/>
                  <a:gd name="connsiteX10" fmla="*/ 35688 w 54949"/>
                  <a:gd name="connsiteY10" fmla="*/ 29845 h 34309"/>
                  <a:gd name="connsiteX11" fmla="*/ 43308 w 54949"/>
                  <a:gd name="connsiteY11" fmla="*/ 31750 h 34309"/>
                  <a:gd name="connsiteX12" fmla="*/ 48071 w 54949"/>
                  <a:gd name="connsiteY12" fmla="*/ 31750 h 34309"/>
                  <a:gd name="connsiteX13" fmla="*/ 52833 w 54949"/>
                  <a:gd name="connsiteY13" fmla="*/ 24130 h 34309"/>
                  <a:gd name="connsiteX14" fmla="*/ 52833 w 54949"/>
                  <a:gd name="connsiteY14" fmla="*/ 16510 h 34309"/>
                  <a:gd name="connsiteX15" fmla="*/ 44260 w 54949"/>
                  <a:gd name="connsiteY15" fmla="*/ 13652 h 34309"/>
                  <a:gd name="connsiteX16" fmla="*/ 30925 w 54949"/>
                  <a:gd name="connsiteY16" fmla="*/ 14605 h 34309"/>
                  <a:gd name="connsiteX17" fmla="*/ 26163 w 54949"/>
                  <a:gd name="connsiteY17" fmla="*/ 6985 h 3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949" h="34309">
                    <a:moveTo>
                      <a:pt x="26163" y="6985"/>
                    </a:moveTo>
                    <a:lnTo>
                      <a:pt x="9971" y="1270"/>
                    </a:lnTo>
                    <a:cubicBezTo>
                      <a:pt x="9971" y="1270"/>
                      <a:pt x="5208" y="-1587"/>
                      <a:pt x="4255" y="1270"/>
                    </a:cubicBezTo>
                    <a:cubicBezTo>
                      <a:pt x="3303" y="4127"/>
                      <a:pt x="-1460" y="5080"/>
                      <a:pt x="446" y="7938"/>
                    </a:cubicBezTo>
                    <a:cubicBezTo>
                      <a:pt x="2350" y="10795"/>
                      <a:pt x="-1460" y="7938"/>
                      <a:pt x="2350" y="10795"/>
                    </a:cubicBezTo>
                    <a:cubicBezTo>
                      <a:pt x="7113" y="13652"/>
                      <a:pt x="7113" y="13652"/>
                      <a:pt x="7113" y="13652"/>
                    </a:cubicBezTo>
                    <a:cubicBezTo>
                      <a:pt x="7113" y="13652"/>
                      <a:pt x="9971" y="16510"/>
                      <a:pt x="8065" y="20320"/>
                    </a:cubicBezTo>
                    <a:cubicBezTo>
                      <a:pt x="6160" y="24130"/>
                      <a:pt x="-2412" y="32702"/>
                      <a:pt x="3303" y="33655"/>
                    </a:cubicBezTo>
                    <a:cubicBezTo>
                      <a:pt x="9018" y="35560"/>
                      <a:pt x="9018" y="32702"/>
                      <a:pt x="15685" y="32702"/>
                    </a:cubicBezTo>
                    <a:cubicBezTo>
                      <a:pt x="22353" y="33655"/>
                      <a:pt x="29973" y="31750"/>
                      <a:pt x="29973" y="31750"/>
                    </a:cubicBezTo>
                    <a:cubicBezTo>
                      <a:pt x="29973" y="31750"/>
                      <a:pt x="31878" y="27940"/>
                      <a:pt x="35688" y="29845"/>
                    </a:cubicBezTo>
                    <a:cubicBezTo>
                      <a:pt x="38546" y="31750"/>
                      <a:pt x="43308" y="31750"/>
                      <a:pt x="43308" y="31750"/>
                    </a:cubicBezTo>
                    <a:cubicBezTo>
                      <a:pt x="43308" y="31750"/>
                      <a:pt x="43308" y="34607"/>
                      <a:pt x="48071" y="31750"/>
                    </a:cubicBezTo>
                    <a:cubicBezTo>
                      <a:pt x="52833" y="28893"/>
                      <a:pt x="52833" y="24130"/>
                      <a:pt x="52833" y="24130"/>
                    </a:cubicBezTo>
                    <a:cubicBezTo>
                      <a:pt x="52833" y="24130"/>
                      <a:pt x="57596" y="18415"/>
                      <a:pt x="52833" y="16510"/>
                    </a:cubicBezTo>
                    <a:cubicBezTo>
                      <a:pt x="48071" y="14605"/>
                      <a:pt x="52833" y="13652"/>
                      <a:pt x="44260" y="13652"/>
                    </a:cubicBezTo>
                    <a:cubicBezTo>
                      <a:pt x="35688" y="13652"/>
                      <a:pt x="30925" y="14605"/>
                      <a:pt x="30925" y="14605"/>
                    </a:cubicBezTo>
                    <a:lnTo>
                      <a:pt x="26163" y="69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4" name="Freeform: Shape 203">
                <a:extLst>
                  <a:ext uri="{FF2B5EF4-FFF2-40B4-BE49-F238E27FC236}">
                    <a16:creationId xmlns:a16="http://schemas.microsoft.com/office/drawing/2014/main" id="{C72EFB9C-044F-4C34-8C83-C3E9FDD70D6F}"/>
                  </a:ext>
                </a:extLst>
              </p:cNvPr>
              <p:cNvSpPr/>
              <p:nvPr/>
            </p:nvSpPr>
            <p:spPr>
              <a:xfrm>
                <a:off x="9276426" y="2869611"/>
                <a:ext cx="103883" cy="23812"/>
              </a:xfrm>
              <a:custGeom>
                <a:avLst/>
                <a:gdLst>
                  <a:gd name="connsiteX0" fmla="*/ 94297 w 103883"/>
                  <a:gd name="connsiteY0" fmla="*/ 17145 h 23812"/>
                  <a:gd name="connsiteX1" fmla="*/ 82868 w 103883"/>
                  <a:gd name="connsiteY1" fmla="*/ 20955 h 23812"/>
                  <a:gd name="connsiteX2" fmla="*/ 61913 w 103883"/>
                  <a:gd name="connsiteY2" fmla="*/ 20955 h 23812"/>
                  <a:gd name="connsiteX3" fmla="*/ 53340 w 103883"/>
                  <a:gd name="connsiteY3" fmla="*/ 20955 h 23812"/>
                  <a:gd name="connsiteX4" fmla="*/ 44768 w 103883"/>
                  <a:gd name="connsiteY4" fmla="*/ 21908 h 23812"/>
                  <a:gd name="connsiteX5" fmla="*/ 32385 w 103883"/>
                  <a:gd name="connsiteY5" fmla="*/ 22860 h 23812"/>
                  <a:gd name="connsiteX6" fmla="*/ 22860 w 103883"/>
                  <a:gd name="connsiteY6" fmla="*/ 23813 h 23812"/>
                  <a:gd name="connsiteX7" fmla="*/ 10478 w 103883"/>
                  <a:gd name="connsiteY7" fmla="*/ 21908 h 23812"/>
                  <a:gd name="connsiteX8" fmla="*/ 4763 w 103883"/>
                  <a:gd name="connsiteY8" fmla="*/ 20002 h 23812"/>
                  <a:gd name="connsiteX9" fmla="*/ 0 w 103883"/>
                  <a:gd name="connsiteY9" fmla="*/ 18097 h 23812"/>
                  <a:gd name="connsiteX10" fmla="*/ 1905 w 103883"/>
                  <a:gd name="connsiteY10" fmla="*/ 13335 h 23812"/>
                  <a:gd name="connsiteX11" fmla="*/ 7620 w 103883"/>
                  <a:gd name="connsiteY11" fmla="*/ 11430 h 23812"/>
                  <a:gd name="connsiteX12" fmla="*/ 12382 w 103883"/>
                  <a:gd name="connsiteY12" fmla="*/ 6667 h 23812"/>
                  <a:gd name="connsiteX13" fmla="*/ 30480 w 103883"/>
                  <a:gd name="connsiteY13" fmla="*/ 3810 h 23812"/>
                  <a:gd name="connsiteX14" fmla="*/ 46672 w 103883"/>
                  <a:gd name="connsiteY14" fmla="*/ 2858 h 23812"/>
                  <a:gd name="connsiteX15" fmla="*/ 66675 w 103883"/>
                  <a:gd name="connsiteY15" fmla="*/ 1905 h 23812"/>
                  <a:gd name="connsiteX16" fmla="*/ 80010 w 103883"/>
                  <a:gd name="connsiteY16" fmla="*/ 952 h 23812"/>
                  <a:gd name="connsiteX17" fmla="*/ 89535 w 103883"/>
                  <a:gd name="connsiteY17" fmla="*/ 0 h 23812"/>
                  <a:gd name="connsiteX18" fmla="*/ 101918 w 103883"/>
                  <a:gd name="connsiteY18" fmla="*/ 1905 h 23812"/>
                  <a:gd name="connsiteX19" fmla="*/ 103822 w 103883"/>
                  <a:gd name="connsiteY19" fmla="*/ 8572 h 23812"/>
                  <a:gd name="connsiteX20" fmla="*/ 94297 w 103883"/>
                  <a:gd name="connsiteY20" fmla="*/ 17145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883" h="23812">
                    <a:moveTo>
                      <a:pt x="94297" y="17145"/>
                    </a:moveTo>
                    <a:cubicBezTo>
                      <a:pt x="82868" y="20955"/>
                      <a:pt x="89535" y="20002"/>
                      <a:pt x="82868" y="20955"/>
                    </a:cubicBezTo>
                    <a:cubicBezTo>
                      <a:pt x="76200" y="21908"/>
                      <a:pt x="61913" y="20955"/>
                      <a:pt x="61913" y="20955"/>
                    </a:cubicBezTo>
                    <a:lnTo>
                      <a:pt x="53340" y="20955"/>
                    </a:lnTo>
                    <a:lnTo>
                      <a:pt x="44768" y="21908"/>
                    </a:lnTo>
                    <a:lnTo>
                      <a:pt x="32385" y="22860"/>
                    </a:lnTo>
                    <a:lnTo>
                      <a:pt x="22860" y="23813"/>
                    </a:lnTo>
                    <a:lnTo>
                      <a:pt x="10478" y="21908"/>
                    </a:lnTo>
                    <a:lnTo>
                      <a:pt x="4763" y="20002"/>
                    </a:lnTo>
                    <a:lnTo>
                      <a:pt x="0" y="18097"/>
                    </a:lnTo>
                    <a:lnTo>
                      <a:pt x="1905" y="13335"/>
                    </a:lnTo>
                    <a:cubicBezTo>
                      <a:pt x="7620" y="11430"/>
                      <a:pt x="7620" y="11430"/>
                      <a:pt x="7620" y="11430"/>
                    </a:cubicBezTo>
                    <a:cubicBezTo>
                      <a:pt x="7620" y="11430"/>
                      <a:pt x="-953" y="8572"/>
                      <a:pt x="12382" y="6667"/>
                    </a:cubicBezTo>
                    <a:cubicBezTo>
                      <a:pt x="25718" y="4763"/>
                      <a:pt x="26670" y="3810"/>
                      <a:pt x="30480" y="3810"/>
                    </a:cubicBezTo>
                    <a:cubicBezTo>
                      <a:pt x="33338" y="3810"/>
                      <a:pt x="42863" y="1905"/>
                      <a:pt x="46672" y="2858"/>
                    </a:cubicBezTo>
                    <a:cubicBezTo>
                      <a:pt x="51435" y="3810"/>
                      <a:pt x="66675" y="1905"/>
                      <a:pt x="66675" y="1905"/>
                    </a:cubicBezTo>
                    <a:lnTo>
                      <a:pt x="80010" y="952"/>
                    </a:lnTo>
                    <a:cubicBezTo>
                      <a:pt x="80010" y="952"/>
                      <a:pt x="86678" y="0"/>
                      <a:pt x="89535" y="0"/>
                    </a:cubicBezTo>
                    <a:cubicBezTo>
                      <a:pt x="92393" y="0"/>
                      <a:pt x="101918" y="1905"/>
                      <a:pt x="101918" y="1905"/>
                    </a:cubicBezTo>
                    <a:cubicBezTo>
                      <a:pt x="101918" y="1905"/>
                      <a:pt x="103822" y="3810"/>
                      <a:pt x="103822" y="8572"/>
                    </a:cubicBezTo>
                    <a:cubicBezTo>
                      <a:pt x="104775" y="12383"/>
                      <a:pt x="94297" y="17145"/>
                      <a:pt x="94297" y="171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5" name="Freeform: Shape 204">
                <a:extLst>
                  <a:ext uri="{FF2B5EF4-FFF2-40B4-BE49-F238E27FC236}">
                    <a16:creationId xmlns:a16="http://schemas.microsoft.com/office/drawing/2014/main" id="{B590F886-41C8-4949-813B-21C89DB20578}"/>
                  </a:ext>
                </a:extLst>
              </p:cNvPr>
              <p:cNvSpPr/>
              <p:nvPr/>
            </p:nvSpPr>
            <p:spPr>
              <a:xfrm>
                <a:off x="9131646" y="2973963"/>
                <a:ext cx="307657" cy="137583"/>
              </a:xfrm>
              <a:custGeom>
                <a:avLst/>
                <a:gdLst>
                  <a:gd name="connsiteX0" fmla="*/ 307658 w 307657"/>
                  <a:gd name="connsiteY0" fmla="*/ 7091 h 137583"/>
                  <a:gd name="connsiteX1" fmla="*/ 303848 w 307657"/>
                  <a:gd name="connsiteY1" fmla="*/ 12806 h 137583"/>
                  <a:gd name="connsiteX2" fmla="*/ 296228 w 307657"/>
                  <a:gd name="connsiteY2" fmla="*/ 16616 h 137583"/>
                  <a:gd name="connsiteX3" fmla="*/ 269558 w 307657"/>
                  <a:gd name="connsiteY3" fmla="*/ 18521 h 137583"/>
                  <a:gd name="connsiteX4" fmla="*/ 261938 w 307657"/>
                  <a:gd name="connsiteY4" fmla="*/ 18521 h 137583"/>
                  <a:gd name="connsiteX5" fmla="*/ 252413 w 307657"/>
                  <a:gd name="connsiteY5" fmla="*/ 19473 h 137583"/>
                  <a:gd name="connsiteX6" fmla="*/ 243840 w 307657"/>
                  <a:gd name="connsiteY6" fmla="*/ 21378 h 137583"/>
                  <a:gd name="connsiteX7" fmla="*/ 239078 w 307657"/>
                  <a:gd name="connsiteY7" fmla="*/ 25188 h 137583"/>
                  <a:gd name="connsiteX8" fmla="*/ 232410 w 307657"/>
                  <a:gd name="connsiteY8" fmla="*/ 28998 h 137583"/>
                  <a:gd name="connsiteX9" fmla="*/ 210503 w 307657"/>
                  <a:gd name="connsiteY9" fmla="*/ 29951 h 137583"/>
                  <a:gd name="connsiteX10" fmla="*/ 182880 w 307657"/>
                  <a:gd name="connsiteY10" fmla="*/ 30903 h 137583"/>
                  <a:gd name="connsiteX11" fmla="*/ 171450 w 307657"/>
                  <a:gd name="connsiteY11" fmla="*/ 34713 h 137583"/>
                  <a:gd name="connsiteX12" fmla="*/ 159068 w 307657"/>
                  <a:gd name="connsiteY12" fmla="*/ 41381 h 137583"/>
                  <a:gd name="connsiteX13" fmla="*/ 141923 w 307657"/>
                  <a:gd name="connsiteY13" fmla="*/ 55668 h 137583"/>
                  <a:gd name="connsiteX14" fmla="*/ 135255 w 307657"/>
                  <a:gd name="connsiteY14" fmla="*/ 58526 h 137583"/>
                  <a:gd name="connsiteX15" fmla="*/ 125730 w 307657"/>
                  <a:gd name="connsiteY15" fmla="*/ 62336 h 137583"/>
                  <a:gd name="connsiteX16" fmla="*/ 110490 w 307657"/>
                  <a:gd name="connsiteY16" fmla="*/ 69956 h 137583"/>
                  <a:gd name="connsiteX17" fmla="*/ 100013 w 307657"/>
                  <a:gd name="connsiteY17" fmla="*/ 74718 h 137583"/>
                  <a:gd name="connsiteX18" fmla="*/ 93345 w 307657"/>
                  <a:gd name="connsiteY18" fmla="*/ 76623 h 137583"/>
                  <a:gd name="connsiteX19" fmla="*/ 86678 w 307657"/>
                  <a:gd name="connsiteY19" fmla="*/ 78528 h 137583"/>
                  <a:gd name="connsiteX20" fmla="*/ 80010 w 307657"/>
                  <a:gd name="connsiteY20" fmla="*/ 83291 h 137583"/>
                  <a:gd name="connsiteX21" fmla="*/ 74295 w 307657"/>
                  <a:gd name="connsiteY21" fmla="*/ 87101 h 137583"/>
                  <a:gd name="connsiteX22" fmla="*/ 69533 w 307657"/>
                  <a:gd name="connsiteY22" fmla="*/ 91863 h 137583"/>
                  <a:gd name="connsiteX23" fmla="*/ 68580 w 307657"/>
                  <a:gd name="connsiteY23" fmla="*/ 104246 h 137583"/>
                  <a:gd name="connsiteX24" fmla="*/ 70485 w 307657"/>
                  <a:gd name="connsiteY24" fmla="*/ 110913 h 137583"/>
                  <a:gd name="connsiteX25" fmla="*/ 83820 w 307657"/>
                  <a:gd name="connsiteY25" fmla="*/ 118533 h 137583"/>
                  <a:gd name="connsiteX26" fmla="*/ 87630 w 307657"/>
                  <a:gd name="connsiteY26" fmla="*/ 128058 h 137583"/>
                  <a:gd name="connsiteX27" fmla="*/ 90488 w 307657"/>
                  <a:gd name="connsiteY27" fmla="*/ 129963 h 137583"/>
                  <a:gd name="connsiteX28" fmla="*/ 89535 w 307657"/>
                  <a:gd name="connsiteY28" fmla="*/ 134726 h 137583"/>
                  <a:gd name="connsiteX29" fmla="*/ 80010 w 307657"/>
                  <a:gd name="connsiteY29" fmla="*/ 136631 h 137583"/>
                  <a:gd name="connsiteX30" fmla="*/ 71438 w 307657"/>
                  <a:gd name="connsiteY30" fmla="*/ 137583 h 137583"/>
                  <a:gd name="connsiteX31" fmla="*/ 56198 w 307657"/>
                  <a:gd name="connsiteY31" fmla="*/ 135678 h 137583"/>
                  <a:gd name="connsiteX32" fmla="*/ 36195 w 307657"/>
                  <a:gd name="connsiteY32" fmla="*/ 128058 h 137583"/>
                  <a:gd name="connsiteX33" fmla="*/ 20955 w 307657"/>
                  <a:gd name="connsiteY33" fmla="*/ 125201 h 137583"/>
                  <a:gd name="connsiteX34" fmla="*/ 11430 w 307657"/>
                  <a:gd name="connsiteY34" fmla="*/ 125201 h 137583"/>
                  <a:gd name="connsiteX35" fmla="*/ 4763 w 307657"/>
                  <a:gd name="connsiteY35" fmla="*/ 123296 h 137583"/>
                  <a:gd name="connsiteX36" fmla="*/ 3810 w 307657"/>
                  <a:gd name="connsiteY36" fmla="*/ 120438 h 137583"/>
                  <a:gd name="connsiteX37" fmla="*/ 0 w 307657"/>
                  <a:gd name="connsiteY37" fmla="*/ 105198 h 137583"/>
                  <a:gd name="connsiteX38" fmla="*/ 4763 w 307657"/>
                  <a:gd name="connsiteY38" fmla="*/ 98531 h 137583"/>
                  <a:gd name="connsiteX39" fmla="*/ 11430 w 307657"/>
                  <a:gd name="connsiteY39" fmla="*/ 92816 h 137583"/>
                  <a:gd name="connsiteX40" fmla="*/ 19050 w 307657"/>
                  <a:gd name="connsiteY40" fmla="*/ 89006 h 137583"/>
                  <a:gd name="connsiteX41" fmla="*/ 23813 w 307657"/>
                  <a:gd name="connsiteY41" fmla="*/ 88053 h 137583"/>
                  <a:gd name="connsiteX42" fmla="*/ 47625 w 307657"/>
                  <a:gd name="connsiteY42" fmla="*/ 75671 h 137583"/>
                  <a:gd name="connsiteX43" fmla="*/ 60008 w 307657"/>
                  <a:gd name="connsiteY43" fmla="*/ 67098 h 137583"/>
                  <a:gd name="connsiteX44" fmla="*/ 71438 w 307657"/>
                  <a:gd name="connsiteY44" fmla="*/ 50906 h 137583"/>
                  <a:gd name="connsiteX45" fmla="*/ 80010 w 307657"/>
                  <a:gd name="connsiteY45" fmla="*/ 45191 h 137583"/>
                  <a:gd name="connsiteX46" fmla="*/ 90488 w 307657"/>
                  <a:gd name="connsiteY46" fmla="*/ 40428 h 137583"/>
                  <a:gd name="connsiteX47" fmla="*/ 98108 w 307657"/>
                  <a:gd name="connsiteY47" fmla="*/ 40428 h 137583"/>
                  <a:gd name="connsiteX48" fmla="*/ 112395 w 307657"/>
                  <a:gd name="connsiteY48" fmla="*/ 35666 h 137583"/>
                  <a:gd name="connsiteX49" fmla="*/ 121920 w 307657"/>
                  <a:gd name="connsiteY49" fmla="*/ 32808 h 137583"/>
                  <a:gd name="connsiteX50" fmla="*/ 137160 w 307657"/>
                  <a:gd name="connsiteY50" fmla="*/ 26141 h 137583"/>
                  <a:gd name="connsiteX51" fmla="*/ 148590 w 307657"/>
                  <a:gd name="connsiteY51" fmla="*/ 22331 h 137583"/>
                  <a:gd name="connsiteX52" fmla="*/ 157163 w 307657"/>
                  <a:gd name="connsiteY52" fmla="*/ 20426 h 137583"/>
                  <a:gd name="connsiteX53" fmla="*/ 171450 w 307657"/>
                  <a:gd name="connsiteY53" fmla="*/ 18521 h 137583"/>
                  <a:gd name="connsiteX54" fmla="*/ 183833 w 307657"/>
                  <a:gd name="connsiteY54" fmla="*/ 18521 h 137583"/>
                  <a:gd name="connsiteX55" fmla="*/ 208598 w 307657"/>
                  <a:gd name="connsiteY55" fmla="*/ 15663 h 137583"/>
                  <a:gd name="connsiteX56" fmla="*/ 220980 w 307657"/>
                  <a:gd name="connsiteY56" fmla="*/ 11853 h 137583"/>
                  <a:gd name="connsiteX57" fmla="*/ 234315 w 307657"/>
                  <a:gd name="connsiteY57" fmla="*/ 8043 h 137583"/>
                  <a:gd name="connsiteX58" fmla="*/ 237173 w 307657"/>
                  <a:gd name="connsiteY58" fmla="*/ 7091 h 137583"/>
                  <a:gd name="connsiteX59" fmla="*/ 241935 w 307657"/>
                  <a:gd name="connsiteY59" fmla="*/ 3281 h 137583"/>
                  <a:gd name="connsiteX60" fmla="*/ 262890 w 307657"/>
                  <a:gd name="connsiteY60" fmla="*/ 3281 h 137583"/>
                  <a:gd name="connsiteX61" fmla="*/ 268605 w 307657"/>
                  <a:gd name="connsiteY61" fmla="*/ 2328 h 137583"/>
                  <a:gd name="connsiteX62" fmla="*/ 293370 w 307657"/>
                  <a:gd name="connsiteY62" fmla="*/ 423 h 137583"/>
                  <a:gd name="connsiteX63" fmla="*/ 300990 w 307657"/>
                  <a:gd name="connsiteY63" fmla="*/ 423 h 137583"/>
                  <a:gd name="connsiteX64" fmla="*/ 307658 w 307657"/>
                  <a:gd name="connsiteY64" fmla="*/ 7091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07657" h="137583">
                    <a:moveTo>
                      <a:pt x="307658" y="7091"/>
                    </a:moveTo>
                    <a:cubicBezTo>
                      <a:pt x="307658" y="8996"/>
                      <a:pt x="303848" y="12806"/>
                      <a:pt x="303848" y="12806"/>
                    </a:cubicBezTo>
                    <a:cubicBezTo>
                      <a:pt x="303848" y="12806"/>
                      <a:pt x="302895" y="14711"/>
                      <a:pt x="296228" y="16616"/>
                    </a:cubicBezTo>
                    <a:cubicBezTo>
                      <a:pt x="289560" y="18521"/>
                      <a:pt x="269558" y="18521"/>
                      <a:pt x="269558" y="18521"/>
                    </a:cubicBezTo>
                    <a:lnTo>
                      <a:pt x="261938" y="18521"/>
                    </a:lnTo>
                    <a:lnTo>
                      <a:pt x="252413" y="19473"/>
                    </a:lnTo>
                    <a:cubicBezTo>
                      <a:pt x="252413" y="19473"/>
                      <a:pt x="247650" y="17568"/>
                      <a:pt x="243840" y="21378"/>
                    </a:cubicBezTo>
                    <a:cubicBezTo>
                      <a:pt x="239078" y="25188"/>
                      <a:pt x="239078" y="25188"/>
                      <a:pt x="239078" y="25188"/>
                    </a:cubicBezTo>
                    <a:lnTo>
                      <a:pt x="232410" y="28998"/>
                    </a:lnTo>
                    <a:cubicBezTo>
                      <a:pt x="232410" y="28998"/>
                      <a:pt x="213360" y="29951"/>
                      <a:pt x="210503" y="29951"/>
                    </a:cubicBezTo>
                    <a:cubicBezTo>
                      <a:pt x="207645" y="29951"/>
                      <a:pt x="182880" y="30903"/>
                      <a:pt x="182880" y="30903"/>
                    </a:cubicBezTo>
                    <a:lnTo>
                      <a:pt x="171450" y="34713"/>
                    </a:lnTo>
                    <a:lnTo>
                      <a:pt x="159068" y="41381"/>
                    </a:lnTo>
                    <a:cubicBezTo>
                      <a:pt x="159068" y="41381"/>
                      <a:pt x="144780" y="53763"/>
                      <a:pt x="141923" y="55668"/>
                    </a:cubicBezTo>
                    <a:cubicBezTo>
                      <a:pt x="140018" y="57573"/>
                      <a:pt x="137160" y="56621"/>
                      <a:pt x="135255" y="58526"/>
                    </a:cubicBezTo>
                    <a:cubicBezTo>
                      <a:pt x="133350" y="60431"/>
                      <a:pt x="126683" y="59478"/>
                      <a:pt x="125730" y="62336"/>
                    </a:cubicBezTo>
                    <a:cubicBezTo>
                      <a:pt x="124778" y="65193"/>
                      <a:pt x="111443" y="68051"/>
                      <a:pt x="110490" y="69956"/>
                    </a:cubicBezTo>
                    <a:cubicBezTo>
                      <a:pt x="109538" y="71861"/>
                      <a:pt x="100013" y="74718"/>
                      <a:pt x="100013" y="74718"/>
                    </a:cubicBezTo>
                    <a:lnTo>
                      <a:pt x="93345" y="76623"/>
                    </a:lnTo>
                    <a:cubicBezTo>
                      <a:pt x="93345" y="76623"/>
                      <a:pt x="88583" y="75671"/>
                      <a:pt x="86678" y="78528"/>
                    </a:cubicBezTo>
                    <a:cubicBezTo>
                      <a:pt x="84773" y="81386"/>
                      <a:pt x="85725" y="79481"/>
                      <a:pt x="80010" y="83291"/>
                    </a:cubicBezTo>
                    <a:cubicBezTo>
                      <a:pt x="74295" y="87101"/>
                      <a:pt x="79058" y="82338"/>
                      <a:pt x="74295" y="87101"/>
                    </a:cubicBezTo>
                    <a:cubicBezTo>
                      <a:pt x="69533" y="91863"/>
                      <a:pt x="73343" y="86148"/>
                      <a:pt x="69533" y="91863"/>
                    </a:cubicBezTo>
                    <a:cubicBezTo>
                      <a:pt x="65723" y="98531"/>
                      <a:pt x="65723" y="97578"/>
                      <a:pt x="68580" y="104246"/>
                    </a:cubicBezTo>
                    <a:cubicBezTo>
                      <a:pt x="70485" y="110913"/>
                      <a:pt x="70485" y="110913"/>
                      <a:pt x="70485" y="110913"/>
                    </a:cubicBezTo>
                    <a:lnTo>
                      <a:pt x="83820" y="118533"/>
                    </a:lnTo>
                    <a:cubicBezTo>
                      <a:pt x="83820" y="118533"/>
                      <a:pt x="84773" y="126153"/>
                      <a:pt x="87630" y="128058"/>
                    </a:cubicBezTo>
                    <a:cubicBezTo>
                      <a:pt x="90488" y="129963"/>
                      <a:pt x="89535" y="128058"/>
                      <a:pt x="90488" y="129963"/>
                    </a:cubicBezTo>
                    <a:cubicBezTo>
                      <a:pt x="91440" y="130916"/>
                      <a:pt x="89535" y="134726"/>
                      <a:pt x="89535" y="134726"/>
                    </a:cubicBezTo>
                    <a:lnTo>
                      <a:pt x="80010" y="136631"/>
                    </a:lnTo>
                    <a:lnTo>
                      <a:pt x="71438" y="137583"/>
                    </a:lnTo>
                    <a:lnTo>
                      <a:pt x="56198" y="135678"/>
                    </a:lnTo>
                    <a:lnTo>
                      <a:pt x="36195" y="128058"/>
                    </a:lnTo>
                    <a:cubicBezTo>
                      <a:pt x="30480" y="125201"/>
                      <a:pt x="26670" y="125201"/>
                      <a:pt x="20955" y="125201"/>
                    </a:cubicBezTo>
                    <a:cubicBezTo>
                      <a:pt x="15240" y="125201"/>
                      <a:pt x="11430" y="125201"/>
                      <a:pt x="11430" y="125201"/>
                    </a:cubicBezTo>
                    <a:lnTo>
                      <a:pt x="4763" y="123296"/>
                    </a:lnTo>
                    <a:cubicBezTo>
                      <a:pt x="4763" y="123296"/>
                      <a:pt x="6668" y="129963"/>
                      <a:pt x="3810" y="120438"/>
                    </a:cubicBezTo>
                    <a:cubicBezTo>
                      <a:pt x="953" y="110913"/>
                      <a:pt x="0" y="105198"/>
                      <a:pt x="0" y="105198"/>
                    </a:cubicBezTo>
                    <a:cubicBezTo>
                      <a:pt x="0" y="105198"/>
                      <a:pt x="953" y="98531"/>
                      <a:pt x="4763" y="98531"/>
                    </a:cubicBezTo>
                    <a:cubicBezTo>
                      <a:pt x="7620" y="98531"/>
                      <a:pt x="8573" y="92816"/>
                      <a:pt x="11430" y="92816"/>
                    </a:cubicBezTo>
                    <a:cubicBezTo>
                      <a:pt x="14288" y="92816"/>
                      <a:pt x="14288" y="90911"/>
                      <a:pt x="19050" y="89006"/>
                    </a:cubicBezTo>
                    <a:cubicBezTo>
                      <a:pt x="23813" y="88053"/>
                      <a:pt x="14288" y="89958"/>
                      <a:pt x="23813" y="88053"/>
                    </a:cubicBezTo>
                    <a:cubicBezTo>
                      <a:pt x="32385" y="85196"/>
                      <a:pt x="40958" y="78528"/>
                      <a:pt x="47625" y="75671"/>
                    </a:cubicBezTo>
                    <a:cubicBezTo>
                      <a:pt x="54293" y="72813"/>
                      <a:pt x="55245" y="69003"/>
                      <a:pt x="60008" y="67098"/>
                    </a:cubicBezTo>
                    <a:cubicBezTo>
                      <a:pt x="64770" y="65193"/>
                      <a:pt x="71438" y="50906"/>
                      <a:pt x="71438" y="50906"/>
                    </a:cubicBezTo>
                    <a:cubicBezTo>
                      <a:pt x="71438" y="50906"/>
                      <a:pt x="76200" y="47096"/>
                      <a:pt x="80010" y="45191"/>
                    </a:cubicBezTo>
                    <a:cubicBezTo>
                      <a:pt x="84773" y="43286"/>
                      <a:pt x="81915" y="40428"/>
                      <a:pt x="90488" y="40428"/>
                    </a:cubicBezTo>
                    <a:cubicBezTo>
                      <a:pt x="98108" y="40428"/>
                      <a:pt x="90488" y="43286"/>
                      <a:pt x="98108" y="40428"/>
                    </a:cubicBezTo>
                    <a:cubicBezTo>
                      <a:pt x="105728" y="37571"/>
                      <a:pt x="112395" y="35666"/>
                      <a:pt x="112395" y="35666"/>
                    </a:cubicBezTo>
                    <a:lnTo>
                      <a:pt x="121920" y="32808"/>
                    </a:lnTo>
                    <a:cubicBezTo>
                      <a:pt x="121920" y="32808"/>
                      <a:pt x="132398" y="26141"/>
                      <a:pt x="137160" y="26141"/>
                    </a:cubicBezTo>
                    <a:cubicBezTo>
                      <a:pt x="142875" y="25188"/>
                      <a:pt x="144780" y="24236"/>
                      <a:pt x="148590" y="22331"/>
                    </a:cubicBezTo>
                    <a:cubicBezTo>
                      <a:pt x="151448" y="21378"/>
                      <a:pt x="154305" y="20426"/>
                      <a:pt x="157163" y="20426"/>
                    </a:cubicBezTo>
                    <a:cubicBezTo>
                      <a:pt x="160020" y="20426"/>
                      <a:pt x="168593" y="17568"/>
                      <a:pt x="171450" y="18521"/>
                    </a:cubicBezTo>
                    <a:cubicBezTo>
                      <a:pt x="174308" y="19473"/>
                      <a:pt x="183833" y="18521"/>
                      <a:pt x="183833" y="18521"/>
                    </a:cubicBezTo>
                    <a:cubicBezTo>
                      <a:pt x="183833" y="18521"/>
                      <a:pt x="203835" y="14711"/>
                      <a:pt x="208598" y="15663"/>
                    </a:cubicBezTo>
                    <a:cubicBezTo>
                      <a:pt x="213360" y="15663"/>
                      <a:pt x="215265" y="11853"/>
                      <a:pt x="220980" y="11853"/>
                    </a:cubicBezTo>
                    <a:cubicBezTo>
                      <a:pt x="226695" y="11853"/>
                      <a:pt x="230505" y="8043"/>
                      <a:pt x="234315" y="8043"/>
                    </a:cubicBezTo>
                    <a:cubicBezTo>
                      <a:pt x="237173" y="7091"/>
                      <a:pt x="237173" y="7091"/>
                      <a:pt x="237173" y="7091"/>
                    </a:cubicBezTo>
                    <a:lnTo>
                      <a:pt x="241935" y="3281"/>
                    </a:lnTo>
                    <a:lnTo>
                      <a:pt x="262890" y="3281"/>
                    </a:lnTo>
                    <a:lnTo>
                      <a:pt x="268605" y="2328"/>
                    </a:lnTo>
                    <a:lnTo>
                      <a:pt x="293370" y="423"/>
                    </a:lnTo>
                    <a:cubicBezTo>
                      <a:pt x="293370" y="423"/>
                      <a:pt x="296228" y="-529"/>
                      <a:pt x="300990" y="423"/>
                    </a:cubicBezTo>
                    <a:cubicBezTo>
                      <a:pt x="303848" y="423"/>
                      <a:pt x="307658" y="7091"/>
                      <a:pt x="307658" y="70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6" name="Freeform: Shape 205">
                <a:extLst>
                  <a:ext uri="{FF2B5EF4-FFF2-40B4-BE49-F238E27FC236}">
                    <a16:creationId xmlns:a16="http://schemas.microsoft.com/office/drawing/2014/main" id="{26A1FBA5-D3FB-46BE-82C9-3ABAB179CDFE}"/>
                  </a:ext>
                </a:extLst>
              </p:cNvPr>
              <p:cNvSpPr/>
              <p:nvPr/>
            </p:nvSpPr>
            <p:spPr>
              <a:xfrm>
                <a:off x="9073544" y="3125834"/>
                <a:ext cx="28769" cy="20002"/>
              </a:xfrm>
              <a:custGeom>
                <a:avLst/>
                <a:gdLst>
                  <a:gd name="connsiteX0" fmla="*/ 26670 w 28769"/>
                  <a:gd name="connsiteY0" fmla="*/ 16193 h 20002"/>
                  <a:gd name="connsiteX1" fmla="*/ 18097 w 28769"/>
                  <a:gd name="connsiteY1" fmla="*/ 17145 h 20002"/>
                  <a:gd name="connsiteX2" fmla="*/ 9525 w 28769"/>
                  <a:gd name="connsiteY2" fmla="*/ 20002 h 20002"/>
                  <a:gd name="connsiteX3" fmla="*/ 952 w 28769"/>
                  <a:gd name="connsiteY3" fmla="*/ 18097 h 20002"/>
                  <a:gd name="connsiteX4" fmla="*/ 0 w 28769"/>
                  <a:gd name="connsiteY4" fmla="*/ 12382 h 20002"/>
                  <a:gd name="connsiteX5" fmla="*/ 1905 w 28769"/>
                  <a:gd name="connsiteY5" fmla="*/ 8572 h 20002"/>
                  <a:gd name="connsiteX6" fmla="*/ 5715 w 28769"/>
                  <a:gd name="connsiteY6" fmla="*/ 5715 h 20002"/>
                  <a:gd name="connsiteX7" fmla="*/ 6667 w 28769"/>
                  <a:gd name="connsiteY7" fmla="*/ 1905 h 20002"/>
                  <a:gd name="connsiteX8" fmla="*/ 16192 w 28769"/>
                  <a:gd name="connsiteY8" fmla="*/ 0 h 20002"/>
                  <a:gd name="connsiteX9" fmla="*/ 28575 w 28769"/>
                  <a:gd name="connsiteY9" fmla="*/ 3810 h 20002"/>
                  <a:gd name="connsiteX10" fmla="*/ 26670 w 28769"/>
                  <a:gd name="connsiteY10" fmla="*/ 16193 h 2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769" h="20002">
                    <a:moveTo>
                      <a:pt x="26670" y="16193"/>
                    </a:moveTo>
                    <a:cubicBezTo>
                      <a:pt x="26670" y="16193"/>
                      <a:pt x="26670" y="15240"/>
                      <a:pt x="18097" y="17145"/>
                    </a:cubicBezTo>
                    <a:cubicBezTo>
                      <a:pt x="9525" y="20002"/>
                      <a:pt x="9525" y="20002"/>
                      <a:pt x="9525" y="20002"/>
                    </a:cubicBezTo>
                    <a:lnTo>
                      <a:pt x="952" y="18097"/>
                    </a:lnTo>
                    <a:lnTo>
                      <a:pt x="0" y="12382"/>
                    </a:lnTo>
                    <a:lnTo>
                      <a:pt x="1905" y="8572"/>
                    </a:lnTo>
                    <a:lnTo>
                      <a:pt x="5715" y="5715"/>
                    </a:lnTo>
                    <a:cubicBezTo>
                      <a:pt x="5715" y="5715"/>
                      <a:pt x="2857" y="1905"/>
                      <a:pt x="6667" y="1905"/>
                    </a:cubicBezTo>
                    <a:cubicBezTo>
                      <a:pt x="11430" y="952"/>
                      <a:pt x="16192" y="0"/>
                      <a:pt x="16192" y="0"/>
                    </a:cubicBezTo>
                    <a:lnTo>
                      <a:pt x="28575" y="3810"/>
                    </a:lnTo>
                    <a:cubicBezTo>
                      <a:pt x="29527" y="6668"/>
                      <a:pt x="26670" y="16193"/>
                      <a:pt x="26670" y="161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7" name="Freeform: Shape 206">
                <a:extLst>
                  <a:ext uri="{FF2B5EF4-FFF2-40B4-BE49-F238E27FC236}">
                    <a16:creationId xmlns:a16="http://schemas.microsoft.com/office/drawing/2014/main" id="{6CFA2EE3-7891-423C-AA32-7EEAA79C7300}"/>
                  </a:ext>
                </a:extLst>
              </p:cNvPr>
              <p:cNvSpPr/>
              <p:nvPr/>
            </p:nvSpPr>
            <p:spPr>
              <a:xfrm>
                <a:off x="9956437" y="2920199"/>
                <a:ext cx="107142" cy="38946"/>
              </a:xfrm>
              <a:custGeom>
                <a:avLst/>
                <a:gdLst>
                  <a:gd name="connsiteX0" fmla="*/ 102944 w 107142"/>
                  <a:gd name="connsiteY0" fmla="*/ 29422 h 38946"/>
                  <a:gd name="connsiteX1" fmla="*/ 86751 w 107142"/>
                  <a:gd name="connsiteY1" fmla="*/ 32279 h 38946"/>
                  <a:gd name="connsiteX2" fmla="*/ 68654 w 107142"/>
                  <a:gd name="connsiteY2" fmla="*/ 32279 h 38946"/>
                  <a:gd name="connsiteX3" fmla="*/ 53414 w 107142"/>
                  <a:gd name="connsiteY3" fmla="*/ 33232 h 38946"/>
                  <a:gd name="connsiteX4" fmla="*/ 38174 w 107142"/>
                  <a:gd name="connsiteY4" fmla="*/ 33232 h 38946"/>
                  <a:gd name="connsiteX5" fmla="*/ 24839 w 107142"/>
                  <a:gd name="connsiteY5" fmla="*/ 36089 h 38946"/>
                  <a:gd name="connsiteX6" fmla="*/ 16267 w 107142"/>
                  <a:gd name="connsiteY6" fmla="*/ 37042 h 38946"/>
                  <a:gd name="connsiteX7" fmla="*/ 7694 w 107142"/>
                  <a:gd name="connsiteY7" fmla="*/ 38947 h 38946"/>
                  <a:gd name="connsiteX8" fmla="*/ 74 w 107142"/>
                  <a:gd name="connsiteY8" fmla="*/ 35137 h 38946"/>
                  <a:gd name="connsiteX9" fmla="*/ 5789 w 107142"/>
                  <a:gd name="connsiteY9" fmla="*/ 27517 h 38946"/>
                  <a:gd name="connsiteX10" fmla="*/ 19124 w 107142"/>
                  <a:gd name="connsiteY10" fmla="*/ 22754 h 38946"/>
                  <a:gd name="connsiteX11" fmla="*/ 22934 w 107142"/>
                  <a:gd name="connsiteY11" fmla="*/ 14182 h 38946"/>
                  <a:gd name="connsiteX12" fmla="*/ 29601 w 107142"/>
                  <a:gd name="connsiteY12" fmla="*/ 10372 h 38946"/>
                  <a:gd name="connsiteX13" fmla="*/ 35317 w 107142"/>
                  <a:gd name="connsiteY13" fmla="*/ 8467 h 38946"/>
                  <a:gd name="connsiteX14" fmla="*/ 43889 w 107142"/>
                  <a:gd name="connsiteY14" fmla="*/ 2752 h 38946"/>
                  <a:gd name="connsiteX15" fmla="*/ 66749 w 107142"/>
                  <a:gd name="connsiteY15" fmla="*/ 847 h 38946"/>
                  <a:gd name="connsiteX16" fmla="*/ 73417 w 107142"/>
                  <a:gd name="connsiteY16" fmla="*/ 847 h 38946"/>
                  <a:gd name="connsiteX17" fmla="*/ 79132 w 107142"/>
                  <a:gd name="connsiteY17" fmla="*/ 2752 h 38946"/>
                  <a:gd name="connsiteX18" fmla="*/ 83894 w 107142"/>
                  <a:gd name="connsiteY18" fmla="*/ 7514 h 38946"/>
                  <a:gd name="connsiteX19" fmla="*/ 92467 w 107142"/>
                  <a:gd name="connsiteY19" fmla="*/ 12277 h 38946"/>
                  <a:gd name="connsiteX20" fmla="*/ 100086 w 107142"/>
                  <a:gd name="connsiteY20" fmla="*/ 14182 h 38946"/>
                  <a:gd name="connsiteX21" fmla="*/ 104849 w 107142"/>
                  <a:gd name="connsiteY21" fmla="*/ 17039 h 38946"/>
                  <a:gd name="connsiteX22" fmla="*/ 106754 w 107142"/>
                  <a:gd name="connsiteY22" fmla="*/ 20849 h 38946"/>
                  <a:gd name="connsiteX23" fmla="*/ 102944 w 107142"/>
                  <a:gd name="connsiteY23" fmla="*/ 29422 h 3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42" h="38946">
                    <a:moveTo>
                      <a:pt x="102944" y="29422"/>
                    </a:moveTo>
                    <a:lnTo>
                      <a:pt x="86751" y="32279"/>
                    </a:lnTo>
                    <a:lnTo>
                      <a:pt x="68654" y="32279"/>
                    </a:lnTo>
                    <a:lnTo>
                      <a:pt x="53414" y="33232"/>
                    </a:lnTo>
                    <a:cubicBezTo>
                      <a:pt x="53414" y="33232"/>
                      <a:pt x="38174" y="31327"/>
                      <a:pt x="38174" y="33232"/>
                    </a:cubicBezTo>
                    <a:cubicBezTo>
                      <a:pt x="38174" y="35137"/>
                      <a:pt x="29601" y="34184"/>
                      <a:pt x="24839" y="36089"/>
                    </a:cubicBezTo>
                    <a:cubicBezTo>
                      <a:pt x="20076" y="37994"/>
                      <a:pt x="18171" y="35137"/>
                      <a:pt x="16267" y="37042"/>
                    </a:cubicBezTo>
                    <a:cubicBezTo>
                      <a:pt x="14361" y="38947"/>
                      <a:pt x="7694" y="38947"/>
                      <a:pt x="7694" y="38947"/>
                    </a:cubicBezTo>
                    <a:cubicBezTo>
                      <a:pt x="7694" y="38947"/>
                      <a:pt x="-879" y="37994"/>
                      <a:pt x="74" y="35137"/>
                    </a:cubicBezTo>
                    <a:cubicBezTo>
                      <a:pt x="1026" y="32279"/>
                      <a:pt x="1979" y="29422"/>
                      <a:pt x="5789" y="27517"/>
                    </a:cubicBezTo>
                    <a:cubicBezTo>
                      <a:pt x="9599" y="25612"/>
                      <a:pt x="19124" y="22754"/>
                      <a:pt x="19124" y="22754"/>
                    </a:cubicBezTo>
                    <a:lnTo>
                      <a:pt x="22934" y="14182"/>
                    </a:lnTo>
                    <a:lnTo>
                      <a:pt x="29601" y="10372"/>
                    </a:lnTo>
                    <a:lnTo>
                      <a:pt x="35317" y="8467"/>
                    </a:lnTo>
                    <a:cubicBezTo>
                      <a:pt x="35317" y="8467"/>
                      <a:pt x="34364" y="4657"/>
                      <a:pt x="43889" y="2752"/>
                    </a:cubicBezTo>
                    <a:cubicBezTo>
                      <a:pt x="53414" y="1799"/>
                      <a:pt x="66749" y="847"/>
                      <a:pt x="66749" y="847"/>
                    </a:cubicBezTo>
                    <a:cubicBezTo>
                      <a:pt x="66749" y="847"/>
                      <a:pt x="67701" y="-1058"/>
                      <a:pt x="73417" y="847"/>
                    </a:cubicBezTo>
                    <a:cubicBezTo>
                      <a:pt x="79132" y="2752"/>
                      <a:pt x="74369" y="-1058"/>
                      <a:pt x="79132" y="2752"/>
                    </a:cubicBezTo>
                    <a:cubicBezTo>
                      <a:pt x="83894" y="7514"/>
                      <a:pt x="83894" y="7514"/>
                      <a:pt x="83894" y="7514"/>
                    </a:cubicBezTo>
                    <a:lnTo>
                      <a:pt x="92467" y="12277"/>
                    </a:lnTo>
                    <a:lnTo>
                      <a:pt x="100086" y="14182"/>
                    </a:lnTo>
                    <a:lnTo>
                      <a:pt x="104849" y="17039"/>
                    </a:lnTo>
                    <a:cubicBezTo>
                      <a:pt x="104849" y="17039"/>
                      <a:pt x="103896" y="13229"/>
                      <a:pt x="106754" y="20849"/>
                    </a:cubicBezTo>
                    <a:cubicBezTo>
                      <a:pt x="108659" y="27517"/>
                      <a:pt x="102944" y="29422"/>
                      <a:pt x="102944" y="294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8" name="Freeform: Shape 207">
                <a:extLst>
                  <a:ext uri="{FF2B5EF4-FFF2-40B4-BE49-F238E27FC236}">
                    <a16:creationId xmlns:a16="http://schemas.microsoft.com/office/drawing/2014/main" id="{27CA3436-B0B0-4725-956C-40D344FF2468}"/>
                  </a:ext>
                </a:extLst>
              </p:cNvPr>
              <p:cNvSpPr/>
              <p:nvPr/>
            </p:nvSpPr>
            <p:spPr>
              <a:xfrm>
                <a:off x="9831581" y="2868658"/>
                <a:ext cx="121119" cy="65193"/>
              </a:xfrm>
              <a:custGeom>
                <a:avLst/>
                <a:gdLst>
                  <a:gd name="connsiteX0" fmla="*/ 114452 w 121119"/>
                  <a:gd name="connsiteY0" fmla="*/ 63818 h 65193"/>
                  <a:gd name="connsiteX1" fmla="*/ 94450 w 121119"/>
                  <a:gd name="connsiteY1" fmla="*/ 64770 h 65193"/>
                  <a:gd name="connsiteX2" fmla="*/ 79210 w 121119"/>
                  <a:gd name="connsiteY2" fmla="*/ 64770 h 65193"/>
                  <a:gd name="connsiteX3" fmla="*/ 65875 w 121119"/>
                  <a:gd name="connsiteY3" fmla="*/ 64770 h 65193"/>
                  <a:gd name="connsiteX4" fmla="*/ 58255 w 121119"/>
                  <a:gd name="connsiteY4" fmla="*/ 63818 h 65193"/>
                  <a:gd name="connsiteX5" fmla="*/ 44920 w 121119"/>
                  <a:gd name="connsiteY5" fmla="*/ 63818 h 65193"/>
                  <a:gd name="connsiteX6" fmla="*/ 39205 w 121119"/>
                  <a:gd name="connsiteY6" fmla="*/ 63818 h 65193"/>
                  <a:gd name="connsiteX7" fmla="*/ 36348 w 121119"/>
                  <a:gd name="connsiteY7" fmla="*/ 60960 h 65193"/>
                  <a:gd name="connsiteX8" fmla="*/ 33490 w 121119"/>
                  <a:gd name="connsiteY8" fmla="*/ 55245 h 65193"/>
                  <a:gd name="connsiteX9" fmla="*/ 33490 w 121119"/>
                  <a:gd name="connsiteY9" fmla="*/ 51435 h 65193"/>
                  <a:gd name="connsiteX10" fmla="*/ 37300 w 121119"/>
                  <a:gd name="connsiteY10" fmla="*/ 45720 h 65193"/>
                  <a:gd name="connsiteX11" fmla="*/ 41110 w 121119"/>
                  <a:gd name="connsiteY11" fmla="*/ 40958 h 65193"/>
                  <a:gd name="connsiteX12" fmla="*/ 41110 w 121119"/>
                  <a:gd name="connsiteY12" fmla="*/ 37148 h 65193"/>
                  <a:gd name="connsiteX13" fmla="*/ 33490 w 121119"/>
                  <a:gd name="connsiteY13" fmla="*/ 35243 h 65193"/>
                  <a:gd name="connsiteX14" fmla="*/ 24917 w 121119"/>
                  <a:gd name="connsiteY14" fmla="*/ 40005 h 65193"/>
                  <a:gd name="connsiteX15" fmla="*/ 24917 w 121119"/>
                  <a:gd name="connsiteY15" fmla="*/ 41910 h 65193"/>
                  <a:gd name="connsiteX16" fmla="*/ 20155 w 121119"/>
                  <a:gd name="connsiteY16" fmla="*/ 44768 h 65193"/>
                  <a:gd name="connsiteX17" fmla="*/ 9677 w 121119"/>
                  <a:gd name="connsiteY17" fmla="*/ 48578 h 65193"/>
                  <a:gd name="connsiteX18" fmla="*/ 1105 w 121119"/>
                  <a:gd name="connsiteY18" fmla="*/ 46673 h 65193"/>
                  <a:gd name="connsiteX19" fmla="*/ 152 w 121119"/>
                  <a:gd name="connsiteY19" fmla="*/ 41910 h 65193"/>
                  <a:gd name="connsiteX20" fmla="*/ 152 w 121119"/>
                  <a:gd name="connsiteY20" fmla="*/ 36195 h 65193"/>
                  <a:gd name="connsiteX21" fmla="*/ 152 w 121119"/>
                  <a:gd name="connsiteY21" fmla="*/ 29528 h 65193"/>
                  <a:gd name="connsiteX22" fmla="*/ 2057 w 121119"/>
                  <a:gd name="connsiteY22" fmla="*/ 25717 h 65193"/>
                  <a:gd name="connsiteX23" fmla="*/ 9677 w 121119"/>
                  <a:gd name="connsiteY23" fmla="*/ 14288 h 65193"/>
                  <a:gd name="connsiteX24" fmla="*/ 17298 w 121119"/>
                  <a:gd name="connsiteY24" fmla="*/ 4763 h 65193"/>
                  <a:gd name="connsiteX25" fmla="*/ 44920 w 121119"/>
                  <a:gd name="connsiteY25" fmla="*/ 2858 h 65193"/>
                  <a:gd name="connsiteX26" fmla="*/ 56350 w 121119"/>
                  <a:gd name="connsiteY26" fmla="*/ 0 h 65193"/>
                  <a:gd name="connsiteX27" fmla="*/ 72542 w 121119"/>
                  <a:gd name="connsiteY27" fmla="*/ 953 h 65193"/>
                  <a:gd name="connsiteX28" fmla="*/ 81115 w 121119"/>
                  <a:gd name="connsiteY28" fmla="*/ 6667 h 65193"/>
                  <a:gd name="connsiteX29" fmla="*/ 83020 w 121119"/>
                  <a:gd name="connsiteY29" fmla="*/ 12383 h 65193"/>
                  <a:gd name="connsiteX30" fmla="*/ 80163 w 121119"/>
                  <a:gd name="connsiteY30" fmla="*/ 22860 h 65193"/>
                  <a:gd name="connsiteX31" fmla="*/ 73495 w 121119"/>
                  <a:gd name="connsiteY31" fmla="*/ 26670 h 65193"/>
                  <a:gd name="connsiteX32" fmla="*/ 85877 w 121119"/>
                  <a:gd name="connsiteY32" fmla="*/ 31433 h 65193"/>
                  <a:gd name="connsiteX33" fmla="*/ 94450 w 121119"/>
                  <a:gd name="connsiteY33" fmla="*/ 32385 h 65193"/>
                  <a:gd name="connsiteX34" fmla="*/ 108738 w 121119"/>
                  <a:gd name="connsiteY34" fmla="*/ 34290 h 65193"/>
                  <a:gd name="connsiteX35" fmla="*/ 118263 w 121119"/>
                  <a:gd name="connsiteY35" fmla="*/ 37148 h 65193"/>
                  <a:gd name="connsiteX36" fmla="*/ 119215 w 121119"/>
                  <a:gd name="connsiteY36" fmla="*/ 40958 h 65193"/>
                  <a:gd name="connsiteX37" fmla="*/ 121120 w 121119"/>
                  <a:gd name="connsiteY37" fmla="*/ 45720 h 65193"/>
                  <a:gd name="connsiteX38" fmla="*/ 120167 w 121119"/>
                  <a:gd name="connsiteY38" fmla="*/ 52388 h 65193"/>
                  <a:gd name="connsiteX39" fmla="*/ 114452 w 121119"/>
                  <a:gd name="connsiteY39" fmla="*/ 63818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1119" h="65193">
                    <a:moveTo>
                      <a:pt x="114452" y="63818"/>
                    </a:moveTo>
                    <a:cubicBezTo>
                      <a:pt x="104927" y="64770"/>
                      <a:pt x="102070" y="64770"/>
                      <a:pt x="94450" y="64770"/>
                    </a:cubicBezTo>
                    <a:cubicBezTo>
                      <a:pt x="86830" y="65723"/>
                      <a:pt x="79210" y="64770"/>
                      <a:pt x="79210" y="64770"/>
                    </a:cubicBezTo>
                    <a:cubicBezTo>
                      <a:pt x="79210" y="64770"/>
                      <a:pt x="69685" y="63818"/>
                      <a:pt x="65875" y="64770"/>
                    </a:cubicBezTo>
                    <a:cubicBezTo>
                      <a:pt x="62065" y="65723"/>
                      <a:pt x="58255" y="63818"/>
                      <a:pt x="58255" y="63818"/>
                    </a:cubicBezTo>
                    <a:lnTo>
                      <a:pt x="44920" y="63818"/>
                    </a:lnTo>
                    <a:lnTo>
                      <a:pt x="39205" y="63818"/>
                    </a:lnTo>
                    <a:lnTo>
                      <a:pt x="36348" y="60960"/>
                    </a:lnTo>
                    <a:lnTo>
                      <a:pt x="33490" y="55245"/>
                    </a:lnTo>
                    <a:lnTo>
                      <a:pt x="33490" y="51435"/>
                    </a:lnTo>
                    <a:lnTo>
                      <a:pt x="37300" y="45720"/>
                    </a:lnTo>
                    <a:lnTo>
                      <a:pt x="41110" y="40958"/>
                    </a:lnTo>
                    <a:lnTo>
                      <a:pt x="41110" y="37148"/>
                    </a:lnTo>
                    <a:lnTo>
                      <a:pt x="33490" y="35243"/>
                    </a:lnTo>
                    <a:cubicBezTo>
                      <a:pt x="33490" y="35243"/>
                      <a:pt x="24917" y="38100"/>
                      <a:pt x="24917" y="40005"/>
                    </a:cubicBezTo>
                    <a:cubicBezTo>
                      <a:pt x="24917" y="41910"/>
                      <a:pt x="29680" y="39053"/>
                      <a:pt x="24917" y="41910"/>
                    </a:cubicBezTo>
                    <a:cubicBezTo>
                      <a:pt x="20155" y="44768"/>
                      <a:pt x="25870" y="40958"/>
                      <a:pt x="20155" y="44768"/>
                    </a:cubicBezTo>
                    <a:cubicBezTo>
                      <a:pt x="14440" y="48578"/>
                      <a:pt x="9677" y="48578"/>
                      <a:pt x="9677" y="48578"/>
                    </a:cubicBezTo>
                    <a:lnTo>
                      <a:pt x="1105" y="46673"/>
                    </a:lnTo>
                    <a:lnTo>
                      <a:pt x="152" y="41910"/>
                    </a:lnTo>
                    <a:lnTo>
                      <a:pt x="152" y="36195"/>
                    </a:lnTo>
                    <a:lnTo>
                      <a:pt x="152" y="29528"/>
                    </a:lnTo>
                    <a:cubicBezTo>
                      <a:pt x="152" y="29528"/>
                      <a:pt x="-800" y="26670"/>
                      <a:pt x="2057" y="25717"/>
                    </a:cubicBezTo>
                    <a:cubicBezTo>
                      <a:pt x="4915" y="24765"/>
                      <a:pt x="9677" y="14288"/>
                      <a:pt x="9677" y="14288"/>
                    </a:cubicBezTo>
                    <a:lnTo>
                      <a:pt x="17298" y="4763"/>
                    </a:lnTo>
                    <a:cubicBezTo>
                      <a:pt x="26823" y="4763"/>
                      <a:pt x="40157" y="2858"/>
                      <a:pt x="44920" y="2858"/>
                    </a:cubicBezTo>
                    <a:cubicBezTo>
                      <a:pt x="49682" y="2858"/>
                      <a:pt x="51588" y="0"/>
                      <a:pt x="56350" y="0"/>
                    </a:cubicBezTo>
                    <a:cubicBezTo>
                      <a:pt x="61113" y="0"/>
                      <a:pt x="72542" y="953"/>
                      <a:pt x="72542" y="953"/>
                    </a:cubicBezTo>
                    <a:lnTo>
                      <a:pt x="81115" y="6667"/>
                    </a:lnTo>
                    <a:cubicBezTo>
                      <a:pt x="81115" y="6667"/>
                      <a:pt x="82067" y="8573"/>
                      <a:pt x="83020" y="12383"/>
                    </a:cubicBezTo>
                    <a:cubicBezTo>
                      <a:pt x="83973" y="16192"/>
                      <a:pt x="80163" y="22860"/>
                      <a:pt x="80163" y="22860"/>
                    </a:cubicBezTo>
                    <a:lnTo>
                      <a:pt x="73495" y="26670"/>
                    </a:lnTo>
                    <a:lnTo>
                      <a:pt x="85877" y="31433"/>
                    </a:lnTo>
                    <a:cubicBezTo>
                      <a:pt x="85877" y="31433"/>
                      <a:pt x="90640" y="31433"/>
                      <a:pt x="94450" y="32385"/>
                    </a:cubicBezTo>
                    <a:cubicBezTo>
                      <a:pt x="99213" y="33338"/>
                      <a:pt x="108738" y="34290"/>
                      <a:pt x="108738" y="34290"/>
                    </a:cubicBezTo>
                    <a:cubicBezTo>
                      <a:pt x="108738" y="34290"/>
                      <a:pt x="117310" y="33338"/>
                      <a:pt x="118263" y="37148"/>
                    </a:cubicBezTo>
                    <a:cubicBezTo>
                      <a:pt x="119215" y="40958"/>
                      <a:pt x="117310" y="36195"/>
                      <a:pt x="119215" y="40958"/>
                    </a:cubicBezTo>
                    <a:cubicBezTo>
                      <a:pt x="121120" y="45720"/>
                      <a:pt x="121120" y="45720"/>
                      <a:pt x="121120" y="45720"/>
                    </a:cubicBezTo>
                    <a:cubicBezTo>
                      <a:pt x="121120" y="45720"/>
                      <a:pt x="121120" y="45720"/>
                      <a:pt x="120167" y="52388"/>
                    </a:cubicBezTo>
                    <a:cubicBezTo>
                      <a:pt x="120167" y="60960"/>
                      <a:pt x="114452" y="63818"/>
                      <a:pt x="114452" y="638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9" name="Freeform: Shape 208">
                <a:extLst>
                  <a:ext uri="{FF2B5EF4-FFF2-40B4-BE49-F238E27FC236}">
                    <a16:creationId xmlns:a16="http://schemas.microsoft.com/office/drawing/2014/main" id="{7CAB08F4-9D58-4902-BF11-F3FE71017EC4}"/>
                  </a:ext>
                </a:extLst>
              </p:cNvPr>
              <p:cNvSpPr/>
              <p:nvPr/>
            </p:nvSpPr>
            <p:spPr>
              <a:xfrm>
                <a:off x="10608974" y="3005430"/>
                <a:ext cx="90212" cy="42298"/>
              </a:xfrm>
              <a:custGeom>
                <a:avLst/>
                <a:gdLst>
                  <a:gd name="connsiteX0" fmla="*/ 64770 w 90212"/>
                  <a:gd name="connsiteY0" fmla="*/ 27059 h 42298"/>
                  <a:gd name="connsiteX1" fmla="*/ 52388 w 90212"/>
                  <a:gd name="connsiteY1" fmla="*/ 27059 h 42298"/>
                  <a:gd name="connsiteX2" fmla="*/ 45720 w 90212"/>
                  <a:gd name="connsiteY2" fmla="*/ 30869 h 42298"/>
                  <a:gd name="connsiteX3" fmla="*/ 43815 w 90212"/>
                  <a:gd name="connsiteY3" fmla="*/ 37536 h 42298"/>
                  <a:gd name="connsiteX4" fmla="*/ 37147 w 90212"/>
                  <a:gd name="connsiteY4" fmla="*/ 41346 h 42298"/>
                  <a:gd name="connsiteX5" fmla="*/ 29527 w 90212"/>
                  <a:gd name="connsiteY5" fmla="*/ 42299 h 42298"/>
                  <a:gd name="connsiteX6" fmla="*/ 21907 w 90212"/>
                  <a:gd name="connsiteY6" fmla="*/ 38489 h 42298"/>
                  <a:gd name="connsiteX7" fmla="*/ 20002 w 90212"/>
                  <a:gd name="connsiteY7" fmla="*/ 31821 h 42298"/>
                  <a:gd name="connsiteX8" fmla="*/ 6667 w 90212"/>
                  <a:gd name="connsiteY8" fmla="*/ 27059 h 42298"/>
                  <a:gd name="connsiteX9" fmla="*/ 0 w 90212"/>
                  <a:gd name="connsiteY9" fmla="*/ 20391 h 42298"/>
                  <a:gd name="connsiteX10" fmla="*/ 0 w 90212"/>
                  <a:gd name="connsiteY10" fmla="*/ 16581 h 42298"/>
                  <a:gd name="connsiteX11" fmla="*/ 0 w 90212"/>
                  <a:gd name="connsiteY11" fmla="*/ 6104 h 42298"/>
                  <a:gd name="connsiteX12" fmla="*/ 3810 w 90212"/>
                  <a:gd name="connsiteY12" fmla="*/ 2294 h 42298"/>
                  <a:gd name="connsiteX13" fmla="*/ 20002 w 90212"/>
                  <a:gd name="connsiteY13" fmla="*/ 1341 h 42298"/>
                  <a:gd name="connsiteX14" fmla="*/ 37147 w 90212"/>
                  <a:gd name="connsiteY14" fmla="*/ 3246 h 42298"/>
                  <a:gd name="connsiteX15" fmla="*/ 49530 w 90212"/>
                  <a:gd name="connsiteY15" fmla="*/ 4199 h 42298"/>
                  <a:gd name="connsiteX16" fmla="*/ 68580 w 90212"/>
                  <a:gd name="connsiteY16" fmla="*/ 389 h 42298"/>
                  <a:gd name="connsiteX17" fmla="*/ 80963 w 90212"/>
                  <a:gd name="connsiteY17" fmla="*/ 2294 h 42298"/>
                  <a:gd name="connsiteX18" fmla="*/ 86677 w 90212"/>
                  <a:gd name="connsiteY18" fmla="*/ 11819 h 42298"/>
                  <a:gd name="connsiteX19" fmla="*/ 88582 w 90212"/>
                  <a:gd name="connsiteY19" fmla="*/ 18486 h 42298"/>
                  <a:gd name="connsiteX20" fmla="*/ 84772 w 90212"/>
                  <a:gd name="connsiteY20" fmla="*/ 24201 h 42298"/>
                  <a:gd name="connsiteX21" fmla="*/ 64770 w 90212"/>
                  <a:gd name="connsiteY21" fmla="*/ 27059 h 4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12" h="42298">
                    <a:moveTo>
                      <a:pt x="64770" y="27059"/>
                    </a:moveTo>
                    <a:lnTo>
                      <a:pt x="52388" y="27059"/>
                    </a:lnTo>
                    <a:cubicBezTo>
                      <a:pt x="52388" y="27059"/>
                      <a:pt x="46672" y="28011"/>
                      <a:pt x="45720" y="30869"/>
                    </a:cubicBezTo>
                    <a:cubicBezTo>
                      <a:pt x="44767" y="32774"/>
                      <a:pt x="44767" y="34679"/>
                      <a:pt x="43815" y="37536"/>
                    </a:cubicBezTo>
                    <a:cubicBezTo>
                      <a:pt x="42863" y="40394"/>
                      <a:pt x="37147" y="41346"/>
                      <a:pt x="37147" y="41346"/>
                    </a:cubicBezTo>
                    <a:lnTo>
                      <a:pt x="29527" y="42299"/>
                    </a:lnTo>
                    <a:lnTo>
                      <a:pt x="21907" y="38489"/>
                    </a:lnTo>
                    <a:lnTo>
                      <a:pt x="20002" y="31821"/>
                    </a:lnTo>
                    <a:lnTo>
                      <a:pt x="6667" y="27059"/>
                    </a:lnTo>
                    <a:lnTo>
                      <a:pt x="0" y="20391"/>
                    </a:lnTo>
                    <a:lnTo>
                      <a:pt x="0" y="16581"/>
                    </a:lnTo>
                    <a:lnTo>
                      <a:pt x="0" y="6104"/>
                    </a:lnTo>
                    <a:lnTo>
                      <a:pt x="3810" y="2294"/>
                    </a:lnTo>
                    <a:lnTo>
                      <a:pt x="20002" y="1341"/>
                    </a:lnTo>
                    <a:lnTo>
                      <a:pt x="37147" y="3246"/>
                    </a:lnTo>
                    <a:cubicBezTo>
                      <a:pt x="37147" y="3246"/>
                      <a:pt x="44767" y="4199"/>
                      <a:pt x="49530" y="4199"/>
                    </a:cubicBezTo>
                    <a:cubicBezTo>
                      <a:pt x="54292" y="4199"/>
                      <a:pt x="56197" y="-1516"/>
                      <a:pt x="68580" y="389"/>
                    </a:cubicBezTo>
                    <a:cubicBezTo>
                      <a:pt x="80963" y="2294"/>
                      <a:pt x="77152" y="-2469"/>
                      <a:pt x="80963" y="2294"/>
                    </a:cubicBezTo>
                    <a:cubicBezTo>
                      <a:pt x="83820" y="7056"/>
                      <a:pt x="83820" y="6104"/>
                      <a:pt x="86677" y="11819"/>
                    </a:cubicBezTo>
                    <a:cubicBezTo>
                      <a:pt x="88582" y="18486"/>
                      <a:pt x="92392" y="12771"/>
                      <a:pt x="88582" y="18486"/>
                    </a:cubicBezTo>
                    <a:cubicBezTo>
                      <a:pt x="84772" y="24201"/>
                      <a:pt x="84772" y="24201"/>
                      <a:pt x="84772" y="24201"/>
                    </a:cubicBezTo>
                    <a:lnTo>
                      <a:pt x="64770" y="270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0" name="Freeform: Shape 209">
                <a:extLst>
                  <a:ext uri="{FF2B5EF4-FFF2-40B4-BE49-F238E27FC236}">
                    <a16:creationId xmlns:a16="http://schemas.microsoft.com/office/drawing/2014/main" id="{FCC465EF-3469-497A-893D-0C004FC0D05C}"/>
                  </a:ext>
                </a:extLst>
              </p:cNvPr>
              <p:cNvSpPr/>
              <p:nvPr/>
            </p:nvSpPr>
            <p:spPr>
              <a:xfrm>
                <a:off x="10709582" y="3014391"/>
                <a:ext cx="41313" cy="23107"/>
              </a:xfrm>
              <a:custGeom>
                <a:avLst/>
                <a:gdLst>
                  <a:gd name="connsiteX0" fmla="*/ 10834 w 41313"/>
                  <a:gd name="connsiteY0" fmla="*/ 0 h 23107"/>
                  <a:gd name="connsiteX1" fmla="*/ 356 w 41313"/>
                  <a:gd name="connsiteY1" fmla="*/ 3810 h 23107"/>
                  <a:gd name="connsiteX2" fmla="*/ 1309 w 41313"/>
                  <a:gd name="connsiteY2" fmla="*/ 11430 h 23107"/>
                  <a:gd name="connsiteX3" fmla="*/ 4167 w 41313"/>
                  <a:gd name="connsiteY3" fmla="*/ 19050 h 23107"/>
                  <a:gd name="connsiteX4" fmla="*/ 17501 w 41313"/>
                  <a:gd name="connsiteY4" fmla="*/ 22860 h 23107"/>
                  <a:gd name="connsiteX5" fmla="*/ 23217 w 41313"/>
                  <a:gd name="connsiteY5" fmla="*/ 21907 h 23107"/>
                  <a:gd name="connsiteX6" fmla="*/ 34646 w 41313"/>
                  <a:gd name="connsiteY6" fmla="*/ 20955 h 23107"/>
                  <a:gd name="connsiteX7" fmla="*/ 41314 w 41313"/>
                  <a:gd name="connsiteY7" fmla="*/ 17145 h 23107"/>
                  <a:gd name="connsiteX8" fmla="*/ 41314 w 41313"/>
                  <a:gd name="connsiteY8" fmla="*/ 12382 h 23107"/>
                  <a:gd name="connsiteX9" fmla="*/ 41314 w 41313"/>
                  <a:gd name="connsiteY9" fmla="*/ 8572 h 23107"/>
                  <a:gd name="connsiteX10" fmla="*/ 41314 w 41313"/>
                  <a:gd name="connsiteY10" fmla="*/ 4763 h 23107"/>
                  <a:gd name="connsiteX11" fmla="*/ 33694 w 41313"/>
                  <a:gd name="connsiteY11" fmla="*/ 2857 h 23107"/>
                  <a:gd name="connsiteX12" fmla="*/ 30836 w 41313"/>
                  <a:gd name="connsiteY12" fmla="*/ 2857 h 23107"/>
                  <a:gd name="connsiteX13" fmla="*/ 22264 w 41313"/>
                  <a:gd name="connsiteY13" fmla="*/ 2857 h 23107"/>
                  <a:gd name="connsiteX14" fmla="*/ 10834 w 41313"/>
                  <a:gd name="connsiteY14" fmla="*/ 0 h 2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13" h="23107">
                    <a:moveTo>
                      <a:pt x="10834" y="0"/>
                    </a:moveTo>
                    <a:cubicBezTo>
                      <a:pt x="7976" y="953"/>
                      <a:pt x="-596" y="953"/>
                      <a:pt x="356" y="3810"/>
                    </a:cubicBezTo>
                    <a:cubicBezTo>
                      <a:pt x="1309" y="6668"/>
                      <a:pt x="-1549" y="6668"/>
                      <a:pt x="1309" y="11430"/>
                    </a:cubicBezTo>
                    <a:cubicBezTo>
                      <a:pt x="4167" y="16193"/>
                      <a:pt x="1309" y="16193"/>
                      <a:pt x="4167" y="19050"/>
                    </a:cubicBezTo>
                    <a:cubicBezTo>
                      <a:pt x="7024" y="21907"/>
                      <a:pt x="11786" y="23813"/>
                      <a:pt x="17501" y="22860"/>
                    </a:cubicBezTo>
                    <a:cubicBezTo>
                      <a:pt x="23217" y="21907"/>
                      <a:pt x="23217" y="21907"/>
                      <a:pt x="23217" y="21907"/>
                    </a:cubicBezTo>
                    <a:cubicBezTo>
                      <a:pt x="23217" y="21907"/>
                      <a:pt x="29884" y="20955"/>
                      <a:pt x="34646" y="20955"/>
                    </a:cubicBezTo>
                    <a:cubicBezTo>
                      <a:pt x="39409" y="20955"/>
                      <a:pt x="41314" y="17145"/>
                      <a:pt x="41314" y="17145"/>
                    </a:cubicBezTo>
                    <a:lnTo>
                      <a:pt x="41314" y="12382"/>
                    </a:lnTo>
                    <a:lnTo>
                      <a:pt x="41314" y="8572"/>
                    </a:lnTo>
                    <a:lnTo>
                      <a:pt x="41314" y="4763"/>
                    </a:lnTo>
                    <a:cubicBezTo>
                      <a:pt x="41314" y="4763"/>
                      <a:pt x="37504" y="2857"/>
                      <a:pt x="33694" y="2857"/>
                    </a:cubicBezTo>
                    <a:cubicBezTo>
                      <a:pt x="30836" y="2857"/>
                      <a:pt x="34646" y="2857"/>
                      <a:pt x="30836" y="2857"/>
                    </a:cubicBezTo>
                    <a:cubicBezTo>
                      <a:pt x="26074" y="2857"/>
                      <a:pt x="22264" y="2857"/>
                      <a:pt x="22264" y="2857"/>
                    </a:cubicBezTo>
                    <a:lnTo>
                      <a:pt x="10834"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1" name="Freeform: Shape 210">
                <a:extLst>
                  <a:ext uri="{FF2B5EF4-FFF2-40B4-BE49-F238E27FC236}">
                    <a16:creationId xmlns:a16="http://schemas.microsoft.com/office/drawing/2014/main" id="{7C3032A1-3477-4E4C-B6EC-A4753759F3F2}"/>
                  </a:ext>
                </a:extLst>
              </p:cNvPr>
              <p:cNvSpPr/>
              <p:nvPr/>
            </p:nvSpPr>
            <p:spPr>
              <a:xfrm>
                <a:off x="10768021" y="3017422"/>
                <a:ext cx="59075" cy="29190"/>
              </a:xfrm>
              <a:custGeom>
                <a:avLst/>
                <a:gdLst>
                  <a:gd name="connsiteX0" fmla="*/ 24786 w 59075"/>
                  <a:gd name="connsiteY0" fmla="*/ 779 h 29190"/>
                  <a:gd name="connsiteX1" fmla="*/ 6688 w 59075"/>
                  <a:gd name="connsiteY1" fmla="*/ 779 h 29190"/>
                  <a:gd name="connsiteX2" fmla="*/ 3830 w 59075"/>
                  <a:gd name="connsiteY2" fmla="*/ 1731 h 29190"/>
                  <a:gd name="connsiteX3" fmla="*/ 1925 w 59075"/>
                  <a:gd name="connsiteY3" fmla="*/ 5541 h 29190"/>
                  <a:gd name="connsiteX4" fmla="*/ 1925 w 59075"/>
                  <a:gd name="connsiteY4" fmla="*/ 14114 h 29190"/>
                  <a:gd name="connsiteX5" fmla="*/ 10498 w 59075"/>
                  <a:gd name="connsiteY5" fmla="*/ 18876 h 29190"/>
                  <a:gd name="connsiteX6" fmla="*/ 12403 w 59075"/>
                  <a:gd name="connsiteY6" fmla="*/ 21734 h 29190"/>
                  <a:gd name="connsiteX7" fmla="*/ 29548 w 59075"/>
                  <a:gd name="connsiteY7" fmla="*/ 26496 h 29190"/>
                  <a:gd name="connsiteX8" fmla="*/ 42883 w 59075"/>
                  <a:gd name="connsiteY8" fmla="*/ 26496 h 29190"/>
                  <a:gd name="connsiteX9" fmla="*/ 45741 w 59075"/>
                  <a:gd name="connsiteY9" fmla="*/ 28401 h 29190"/>
                  <a:gd name="connsiteX10" fmla="*/ 58123 w 59075"/>
                  <a:gd name="connsiteY10" fmla="*/ 19829 h 29190"/>
                  <a:gd name="connsiteX11" fmla="*/ 59075 w 59075"/>
                  <a:gd name="connsiteY11" fmla="*/ 13161 h 29190"/>
                  <a:gd name="connsiteX12" fmla="*/ 52408 w 59075"/>
                  <a:gd name="connsiteY12" fmla="*/ 8399 h 29190"/>
                  <a:gd name="connsiteX13" fmla="*/ 39073 w 59075"/>
                  <a:gd name="connsiteY13" fmla="*/ 9351 h 29190"/>
                  <a:gd name="connsiteX14" fmla="*/ 26691 w 59075"/>
                  <a:gd name="connsiteY14" fmla="*/ 9351 h 29190"/>
                  <a:gd name="connsiteX15" fmla="*/ 24786 w 59075"/>
                  <a:gd name="connsiteY15" fmla="*/ 779 h 2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075" h="29190">
                    <a:moveTo>
                      <a:pt x="24786" y="779"/>
                    </a:moveTo>
                    <a:cubicBezTo>
                      <a:pt x="24786" y="779"/>
                      <a:pt x="10498" y="-174"/>
                      <a:pt x="6688" y="779"/>
                    </a:cubicBezTo>
                    <a:cubicBezTo>
                      <a:pt x="3830" y="1731"/>
                      <a:pt x="5736" y="-2079"/>
                      <a:pt x="3830" y="1731"/>
                    </a:cubicBezTo>
                    <a:cubicBezTo>
                      <a:pt x="1925" y="5541"/>
                      <a:pt x="2878" y="-174"/>
                      <a:pt x="1925" y="5541"/>
                    </a:cubicBezTo>
                    <a:cubicBezTo>
                      <a:pt x="973" y="11256"/>
                      <a:pt x="-1884" y="11256"/>
                      <a:pt x="1925" y="14114"/>
                    </a:cubicBezTo>
                    <a:cubicBezTo>
                      <a:pt x="4783" y="16971"/>
                      <a:pt x="8593" y="16019"/>
                      <a:pt x="10498" y="18876"/>
                    </a:cubicBezTo>
                    <a:cubicBezTo>
                      <a:pt x="12403" y="21734"/>
                      <a:pt x="5736" y="16019"/>
                      <a:pt x="12403" y="21734"/>
                    </a:cubicBezTo>
                    <a:cubicBezTo>
                      <a:pt x="19070" y="27449"/>
                      <a:pt x="29548" y="26496"/>
                      <a:pt x="29548" y="26496"/>
                    </a:cubicBezTo>
                    <a:cubicBezTo>
                      <a:pt x="29548" y="26496"/>
                      <a:pt x="39073" y="25544"/>
                      <a:pt x="42883" y="26496"/>
                    </a:cubicBezTo>
                    <a:cubicBezTo>
                      <a:pt x="45741" y="28401"/>
                      <a:pt x="34311" y="30306"/>
                      <a:pt x="45741" y="28401"/>
                    </a:cubicBezTo>
                    <a:cubicBezTo>
                      <a:pt x="58123" y="25544"/>
                      <a:pt x="58123" y="19829"/>
                      <a:pt x="58123" y="19829"/>
                    </a:cubicBezTo>
                    <a:lnTo>
                      <a:pt x="59075" y="13161"/>
                    </a:lnTo>
                    <a:cubicBezTo>
                      <a:pt x="59075" y="13161"/>
                      <a:pt x="59075" y="7446"/>
                      <a:pt x="52408" y="8399"/>
                    </a:cubicBezTo>
                    <a:cubicBezTo>
                      <a:pt x="45741" y="9351"/>
                      <a:pt x="39073" y="9351"/>
                      <a:pt x="39073" y="9351"/>
                    </a:cubicBezTo>
                    <a:cubicBezTo>
                      <a:pt x="39073" y="9351"/>
                      <a:pt x="27643" y="11256"/>
                      <a:pt x="26691" y="9351"/>
                    </a:cubicBezTo>
                    <a:cubicBezTo>
                      <a:pt x="26691" y="5541"/>
                      <a:pt x="24786" y="779"/>
                      <a:pt x="24786" y="7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2" name="Freeform: Shape 211">
                <a:extLst>
                  <a:ext uri="{FF2B5EF4-FFF2-40B4-BE49-F238E27FC236}">
                    <a16:creationId xmlns:a16="http://schemas.microsoft.com/office/drawing/2014/main" id="{E974C2E7-72AB-4D35-A0BA-6908130CC25A}"/>
                  </a:ext>
                </a:extLst>
              </p:cNvPr>
              <p:cNvSpPr/>
              <p:nvPr/>
            </p:nvSpPr>
            <p:spPr>
              <a:xfrm>
                <a:off x="10663113" y="3054396"/>
                <a:ext cx="47167" cy="18097"/>
              </a:xfrm>
              <a:custGeom>
                <a:avLst/>
                <a:gdLst>
                  <a:gd name="connsiteX0" fmla="*/ 42063 w 47167"/>
                  <a:gd name="connsiteY0" fmla="*/ 14288 h 18097"/>
                  <a:gd name="connsiteX1" fmla="*/ 37300 w 47167"/>
                  <a:gd name="connsiteY1" fmla="*/ 16192 h 18097"/>
                  <a:gd name="connsiteX2" fmla="*/ 25870 w 47167"/>
                  <a:gd name="connsiteY2" fmla="*/ 18097 h 18097"/>
                  <a:gd name="connsiteX3" fmla="*/ 19202 w 47167"/>
                  <a:gd name="connsiteY3" fmla="*/ 17145 h 18097"/>
                  <a:gd name="connsiteX4" fmla="*/ 11582 w 47167"/>
                  <a:gd name="connsiteY4" fmla="*/ 16192 h 18097"/>
                  <a:gd name="connsiteX5" fmla="*/ 6820 w 47167"/>
                  <a:gd name="connsiteY5" fmla="*/ 14288 h 18097"/>
                  <a:gd name="connsiteX6" fmla="*/ 2057 w 47167"/>
                  <a:gd name="connsiteY6" fmla="*/ 10477 h 18097"/>
                  <a:gd name="connsiteX7" fmla="*/ 152 w 47167"/>
                  <a:gd name="connsiteY7" fmla="*/ 6667 h 18097"/>
                  <a:gd name="connsiteX8" fmla="*/ 2057 w 47167"/>
                  <a:gd name="connsiteY8" fmla="*/ 2857 h 18097"/>
                  <a:gd name="connsiteX9" fmla="*/ 9677 w 47167"/>
                  <a:gd name="connsiteY9" fmla="*/ 952 h 18097"/>
                  <a:gd name="connsiteX10" fmla="*/ 16345 w 47167"/>
                  <a:gd name="connsiteY10" fmla="*/ 0 h 18097"/>
                  <a:gd name="connsiteX11" fmla="*/ 25870 w 47167"/>
                  <a:gd name="connsiteY11" fmla="*/ 1905 h 18097"/>
                  <a:gd name="connsiteX12" fmla="*/ 33490 w 47167"/>
                  <a:gd name="connsiteY12" fmla="*/ 1905 h 18097"/>
                  <a:gd name="connsiteX13" fmla="*/ 44920 w 47167"/>
                  <a:gd name="connsiteY13" fmla="*/ 1905 h 18097"/>
                  <a:gd name="connsiteX14" fmla="*/ 46825 w 47167"/>
                  <a:gd name="connsiteY14" fmla="*/ 3810 h 18097"/>
                  <a:gd name="connsiteX15" fmla="*/ 42063 w 47167"/>
                  <a:gd name="connsiteY15" fmla="*/ 14288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7" h="18097">
                    <a:moveTo>
                      <a:pt x="42063" y="14288"/>
                    </a:moveTo>
                    <a:lnTo>
                      <a:pt x="37300" y="16192"/>
                    </a:lnTo>
                    <a:lnTo>
                      <a:pt x="25870" y="18097"/>
                    </a:lnTo>
                    <a:lnTo>
                      <a:pt x="19202" y="17145"/>
                    </a:lnTo>
                    <a:lnTo>
                      <a:pt x="11582" y="16192"/>
                    </a:lnTo>
                    <a:lnTo>
                      <a:pt x="6820" y="14288"/>
                    </a:lnTo>
                    <a:lnTo>
                      <a:pt x="2057" y="10477"/>
                    </a:lnTo>
                    <a:lnTo>
                      <a:pt x="152" y="6667"/>
                    </a:lnTo>
                    <a:cubicBezTo>
                      <a:pt x="152" y="6667"/>
                      <a:pt x="-800" y="2857"/>
                      <a:pt x="2057" y="2857"/>
                    </a:cubicBezTo>
                    <a:cubicBezTo>
                      <a:pt x="4915" y="2857"/>
                      <a:pt x="9677" y="952"/>
                      <a:pt x="9677" y="952"/>
                    </a:cubicBezTo>
                    <a:lnTo>
                      <a:pt x="16345" y="0"/>
                    </a:lnTo>
                    <a:lnTo>
                      <a:pt x="25870" y="1905"/>
                    </a:lnTo>
                    <a:cubicBezTo>
                      <a:pt x="25870" y="1905"/>
                      <a:pt x="28727" y="952"/>
                      <a:pt x="33490" y="1905"/>
                    </a:cubicBezTo>
                    <a:cubicBezTo>
                      <a:pt x="38252" y="2857"/>
                      <a:pt x="42063" y="0"/>
                      <a:pt x="44920" y="1905"/>
                    </a:cubicBezTo>
                    <a:cubicBezTo>
                      <a:pt x="46825" y="3810"/>
                      <a:pt x="46825" y="0"/>
                      <a:pt x="46825" y="3810"/>
                    </a:cubicBezTo>
                    <a:cubicBezTo>
                      <a:pt x="48730" y="7620"/>
                      <a:pt x="42063" y="14288"/>
                      <a:pt x="42063" y="142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3" name="Freeform: Shape 212">
                <a:extLst>
                  <a:ext uri="{FF2B5EF4-FFF2-40B4-BE49-F238E27FC236}">
                    <a16:creationId xmlns:a16="http://schemas.microsoft.com/office/drawing/2014/main" id="{2AA644FB-2D59-4903-84D6-09B5600A7206}"/>
                  </a:ext>
                </a:extLst>
              </p:cNvPr>
              <p:cNvSpPr/>
              <p:nvPr/>
            </p:nvSpPr>
            <p:spPr>
              <a:xfrm>
                <a:off x="9559319" y="3084876"/>
                <a:ext cx="2857" cy="952"/>
              </a:xfrm>
              <a:custGeom>
                <a:avLst/>
                <a:gdLst>
                  <a:gd name="connsiteX0" fmla="*/ 2857 w 2857"/>
                  <a:gd name="connsiteY0" fmla="*/ 0 h 952"/>
                  <a:gd name="connsiteX1" fmla="*/ 0 w 2857"/>
                  <a:gd name="connsiteY1" fmla="*/ 953 h 952"/>
                  <a:gd name="connsiteX2" fmla="*/ 2857 w 2857"/>
                  <a:gd name="connsiteY2" fmla="*/ 0 h 952"/>
                </a:gdLst>
                <a:ahLst/>
                <a:cxnLst>
                  <a:cxn ang="0">
                    <a:pos x="connsiteX0" y="connsiteY0"/>
                  </a:cxn>
                  <a:cxn ang="0">
                    <a:pos x="connsiteX1" y="connsiteY1"/>
                  </a:cxn>
                  <a:cxn ang="0">
                    <a:pos x="connsiteX2" y="connsiteY2"/>
                  </a:cxn>
                </a:cxnLst>
                <a:rect l="l" t="t" r="r" b="b"/>
                <a:pathLst>
                  <a:path w="2857" h="952">
                    <a:moveTo>
                      <a:pt x="2857" y="0"/>
                    </a:moveTo>
                    <a:cubicBezTo>
                      <a:pt x="1905" y="0"/>
                      <a:pt x="952" y="953"/>
                      <a:pt x="0" y="953"/>
                    </a:cubicBezTo>
                    <a:cubicBezTo>
                      <a:pt x="952" y="953"/>
                      <a:pt x="1905" y="953"/>
                      <a:pt x="285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4" name="Freeform: Shape 213">
                <a:extLst>
                  <a:ext uri="{FF2B5EF4-FFF2-40B4-BE49-F238E27FC236}">
                    <a16:creationId xmlns:a16="http://schemas.microsoft.com/office/drawing/2014/main" id="{35191CCD-671E-444E-BDB4-4D1B7CFDDFDE}"/>
                  </a:ext>
                </a:extLst>
              </p:cNvPr>
              <p:cNvSpPr/>
              <p:nvPr/>
            </p:nvSpPr>
            <p:spPr>
              <a:xfrm>
                <a:off x="9562705" y="3084876"/>
                <a:ext cx="423" cy="9525"/>
              </a:xfrm>
              <a:custGeom>
                <a:avLst/>
                <a:gdLst>
                  <a:gd name="connsiteX0" fmla="*/ 423 w 423"/>
                  <a:gd name="connsiteY0" fmla="*/ 0 h 9525"/>
                  <a:gd name="connsiteX1" fmla="*/ 423 w 423"/>
                  <a:gd name="connsiteY1" fmla="*/ 0 h 9525"/>
                  <a:gd name="connsiteX2" fmla="*/ 423 w 423"/>
                  <a:gd name="connsiteY2" fmla="*/ 0 h 9525"/>
                </a:gdLst>
                <a:ahLst/>
                <a:cxnLst>
                  <a:cxn ang="0">
                    <a:pos x="connsiteX0" y="connsiteY0"/>
                  </a:cxn>
                  <a:cxn ang="0">
                    <a:pos x="connsiteX1" y="connsiteY1"/>
                  </a:cxn>
                  <a:cxn ang="0">
                    <a:pos x="connsiteX2" y="connsiteY2"/>
                  </a:cxn>
                </a:cxnLst>
                <a:rect l="l" t="t" r="r" b="b"/>
                <a:pathLst>
                  <a:path w="423" h="9525">
                    <a:moveTo>
                      <a:pt x="423" y="0"/>
                    </a:moveTo>
                    <a:cubicBezTo>
                      <a:pt x="423" y="0"/>
                      <a:pt x="-529" y="0"/>
                      <a:pt x="423" y="0"/>
                    </a:cubicBezTo>
                    <a:cubicBezTo>
                      <a:pt x="-529" y="0"/>
                      <a:pt x="423" y="0"/>
                      <a:pt x="42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5" name="Freeform: Shape 214">
                <a:extLst>
                  <a:ext uri="{FF2B5EF4-FFF2-40B4-BE49-F238E27FC236}">
                    <a16:creationId xmlns:a16="http://schemas.microsoft.com/office/drawing/2014/main" id="{720F6453-B439-4E35-9769-57B549B4867E}"/>
                  </a:ext>
                </a:extLst>
              </p:cNvPr>
              <p:cNvSpPr/>
              <p:nvPr/>
            </p:nvSpPr>
            <p:spPr>
              <a:xfrm>
                <a:off x="9558219" y="3085829"/>
                <a:ext cx="1099" cy="423"/>
              </a:xfrm>
              <a:custGeom>
                <a:avLst/>
                <a:gdLst>
                  <a:gd name="connsiteX0" fmla="*/ 1100 w 1099"/>
                  <a:gd name="connsiteY0" fmla="*/ 0 h 423"/>
                  <a:gd name="connsiteX1" fmla="*/ 1100 w 1099"/>
                  <a:gd name="connsiteY1" fmla="*/ 0 h 423"/>
                  <a:gd name="connsiteX2" fmla="*/ 1100 w 1099"/>
                  <a:gd name="connsiteY2" fmla="*/ 0 h 423"/>
                </a:gdLst>
                <a:ahLst/>
                <a:cxnLst>
                  <a:cxn ang="0">
                    <a:pos x="connsiteX0" y="connsiteY0"/>
                  </a:cxn>
                  <a:cxn ang="0">
                    <a:pos x="connsiteX1" y="connsiteY1"/>
                  </a:cxn>
                  <a:cxn ang="0">
                    <a:pos x="connsiteX2" y="connsiteY2"/>
                  </a:cxn>
                </a:cxnLst>
                <a:rect l="l" t="t" r="r" b="b"/>
                <a:pathLst>
                  <a:path w="1099" h="423">
                    <a:moveTo>
                      <a:pt x="1100" y="0"/>
                    </a:moveTo>
                    <a:cubicBezTo>
                      <a:pt x="147" y="0"/>
                      <a:pt x="-805" y="953"/>
                      <a:pt x="1100" y="0"/>
                    </a:cubicBezTo>
                    <a:lnTo>
                      <a:pt x="11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6" name="Freeform: Shape 215">
                <a:extLst>
                  <a:ext uri="{FF2B5EF4-FFF2-40B4-BE49-F238E27FC236}">
                    <a16:creationId xmlns:a16="http://schemas.microsoft.com/office/drawing/2014/main" id="{BB04C641-6589-422A-9F4E-85AFECC08433}"/>
                  </a:ext>
                </a:extLst>
              </p:cNvPr>
              <p:cNvSpPr/>
              <p:nvPr/>
            </p:nvSpPr>
            <p:spPr>
              <a:xfrm>
                <a:off x="7936258" y="2977201"/>
                <a:ext cx="3574732" cy="1473560"/>
              </a:xfrm>
              <a:custGeom>
                <a:avLst/>
                <a:gdLst>
                  <a:gd name="connsiteX0" fmla="*/ 3568065 w 3574732"/>
                  <a:gd name="connsiteY0" fmla="*/ 231500 h 1473560"/>
                  <a:gd name="connsiteX1" fmla="*/ 3562350 w 3574732"/>
                  <a:gd name="connsiteY1" fmla="*/ 230548 h 1473560"/>
                  <a:gd name="connsiteX2" fmla="*/ 3549015 w 3574732"/>
                  <a:gd name="connsiteY2" fmla="*/ 230548 h 1473560"/>
                  <a:gd name="connsiteX3" fmla="*/ 3529965 w 3574732"/>
                  <a:gd name="connsiteY3" fmla="*/ 230548 h 1473560"/>
                  <a:gd name="connsiteX4" fmla="*/ 3511868 w 3574732"/>
                  <a:gd name="connsiteY4" fmla="*/ 233405 h 1473560"/>
                  <a:gd name="connsiteX5" fmla="*/ 3504248 w 3574732"/>
                  <a:gd name="connsiteY5" fmla="*/ 231500 h 1473560"/>
                  <a:gd name="connsiteX6" fmla="*/ 3489960 w 3574732"/>
                  <a:gd name="connsiteY6" fmla="*/ 225785 h 1473560"/>
                  <a:gd name="connsiteX7" fmla="*/ 3489008 w 3574732"/>
                  <a:gd name="connsiteY7" fmla="*/ 222928 h 1473560"/>
                  <a:gd name="connsiteX8" fmla="*/ 3480435 w 3574732"/>
                  <a:gd name="connsiteY8" fmla="*/ 214355 h 1473560"/>
                  <a:gd name="connsiteX9" fmla="*/ 3476625 w 3574732"/>
                  <a:gd name="connsiteY9" fmla="*/ 206735 h 1473560"/>
                  <a:gd name="connsiteX10" fmla="*/ 3462338 w 3574732"/>
                  <a:gd name="connsiteY10" fmla="*/ 201973 h 1473560"/>
                  <a:gd name="connsiteX11" fmla="*/ 3456623 w 3574732"/>
                  <a:gd name="connsiteY11" fmla="*/ 198163 h 1473560"/>
                  <a:gd name="connsiteX12" fmla="*/ 3442335 w 3574732"/>
                  <a:gd name="connsiteY12" fmla="*/ 194353 h 1473560"/>
                  <a:gd name="connsiteX13" fmla="*/ 3441383 w 3574732"/>
                  <a:gd name="connsiteY13" fmla="*/ 191495 h 1473560"/>
                  <a:gd name="connsiteX14" fmla="*/ 3419475 w 3574732"/>
                  <a:gd name="connsiteY14" fmla="*/ 185780 h 1473560"/>
                  <a:gd name="connsiteX15" fmla="*/ 3406140 w 3574732"/>
                  <a:gd name="connsiteY15" fmla="*/ 180065 h 1473560"/>
                  <a:gd name="connsiteX16" fmla="*/ 3389948 w 3574732"/>
                  <a:gd name="connsiteY16" fmla="*/ 177208 h 1473560"/>
                  <a:gd name="connsiteX17" fmla="*/ 3362325 w 3574732"/>
                  <a:gd name="connsiteY17" fmla="*/ 172445 h 1473560"/>
                  <a:gd name="connsiteX18" fmla="*/ 3348990 w 3574732"/>
                  <a:gd name="connsiteY18" fmla="*/ 172445 h 1473560"/>
                  <a:gd name="connsiteX19" fmla="*/ 3334703 w 3574732"/>
                  <a:gd name="connsiteY19" fmla="*/ 172445 h 1473560"/>
                  <a:gd name="connsiteX20" fmla="*/ 3318510 w 3574732"/>
                  <a:gd name="connsiteY20" fmla="*/ 172445 h 1473560"/>
                  <a:gd name="connsiteX21" fmla="*/ 3301365 w 3574732"/>
                  <a:gd name="connsiteY21" fmla="*/ 170540 h 1473560"/>
                  <a:gd name="connsiteX22" fmla="*/ 3277553 w 3574732"/>
                  <a:gd name="connsiteY22" fmla="*/ 166730 h 1473560"/>
                  <a:gd name="connsiteX23" fmla="*/ 3255645 w 3574732"/>
                  <a:gd name="connsiteY23" fmla="*/ 168635 h 1473560"/>
                  <a:gd name="connsiteX24" fmla="*/ 3247073 w 3574732"/>
                  <a:gd name="connsiteY24" fmla="*/ 170540 h 1473560"/>
                  <a:gd name="connsiteX25" fmla="*/ 3244215 w 3574732"/>
                  <a:gd name="connsiteY25" fmla="*/ 184828 h 1473560"/>
                  <a:gd name="connsiteX26" fmla="*/ 3238500 w 3574732"/>
                  <a:gd name="connsiteY26" fmla="*/ 185780 h 1473560"/>
                  <a:gd name="connsiteX27" fmla="*/ 3219450 w 3574732"/>
                  <a:gd name="connsiteY27" fmla="*/ 180065 h 1473560"/>
                  <a:gd name="connsiteX28" fmla="*/ 3221355 w 3574732"/>
                  <a:gd name="connsiteY28" fmla="*/ 172445 h 1473560"/>
                  <a:gd name="connsiteX29" fmla="*/ 3218498 w 3574732"/>
                  <a:gd name="connsiteY29" fmla="*/ 162920 h 1473560"/>
                  <a:gd name="connsiteX30" fmla="*/ 3197543 w 3574732"/>
                  <a:gd name="connsiteY30" fmla="*/ 162920 h 1473560"/>
                  <a:gd name="connsiteX31" fmla="*/ 3176588 w 3574732"/>
                  <a:gd name="connsiteY31" fmla="*/ 166730 h 1473560"/>
                  <a:gd name="connsiteX32" fmla="*/ 3168015 w 3574732"/>
                  <a:gd name="connsiteY32" fmla="*/ 168635 h 1473560"/>
                  <a:gd name="connsiteX33" fmla="*/ 3148965 w 3574732"/>
                  <a:gd name="connsiteY33" fmla="*/ 169588 h 1473560"/>
                  <a:gd name="connsiteX34" fmla="*/ 3138488 w 3574732"/>
                  <a:gd name="connsiteY34" fmla="*/ 169588 h 1473560"/>
                  <a:gd name="connsiteX35" fmla="*/ 3098483 w 3574732"/>
                  <a:gd name="connsiteY35" fmla="*/ 168635 h 1473560"/>
                  <a:gd name="connsiteX36" fmla="*/ 3076575 w 3574732"/>
                  <a:gd name="connsiteY36" fmla="*/ 165778 h 1473560"/>
                  <a:gd name="connsiteX37" fmla="*/ 3063240 w 3574732"/>
                  <a:gd name="connsiteY37" fmla="*/ 157205 h 1473560"/>
                  <a:gd name="connsiteX38" fmla="*/ 3055620 w 3574732"/>
                  <a:gd name="connsiteY38" fmla="*/ 150538 h 1473560"/>
                  <a:gd name="connsiteX39" fmla="*/ 3049905 w 3574732"/>
                  <a:gd name="connsiteY39" fmla="*/ 147680 h 1473560"/>
                  <a:gd name="connsiteX40" fmla="*/ 3016568 w 3574732"/>
                  <a:gd name="connsiteY40" fmla="*/ 147680 h 1473560"/>
                  <a:gd name="connsiteX41" fmla="*/ 3002280 w 3574732"/>
                  <a:gd name="connsiteY41" fmla="*/ 147680 h 1473560"/>
                  <a:gd name="connsiteX42" fmla="*/ 2980373 w 3574732"/>
                  <a:gd name="connsiteY42" fmla="*/ 144823 h 1473560"/>
                  <a:gd name="connsiteX43" fmla="*/ 2952750 w 3574732"/>
                  <a:gd name="connsiteY43" fmla="*/ 141965 h 1473560"/>
                  <a:gd name="connsiteX44" fmla="*/ 2938463 w 3574732"/>
                  <a:gd name="connsiteY44" fmla="*/ 137203 h 1473560"/>
                  <a:gd name="connsiteX45" fmla="*/ 2919413 w 3574732"/>
                  <a:gd name="connsiteY45" fmla="*/ 131488 h 1473560"/>
                  <a:gd name="connsiteX46" fmla="*/ 2913698 w 3574732"/>
                  <a:gd name="connsiteY46" fmla="*/ 129583 h 1473560"/>
                  <a:gd name="connsiteX47" fmla="*/ 2892743 w 3574732"/>
                  <a:gd name="connsiteY47" fmla="*/ 128630 h 1473560"/>
                  <a:gd name="connsiteX48" fmla="*/ 2873693 w 3574732"/>
                  <a:gd name="connsiteY48" fmla="*/ 126725 h 1473560"/>
                  <a:gd name="connsiteX49" fmla="*/ 2868930 w 3574732"/>
                  <a:gd name="connsiteY49" fmla="*/ 124820 h 1473560"/>
                  <a:gd name="connsiteX50" fmla="*/ 2851785 w 3574732"/>
                  <a:gd name="connsiteY50" fmla="*/ 120058 h 1473560"/>
                  <a:gd name="connsiteX51" fmla="*/ 2834640 w 3574732"/>
                  <a:gd name="connsiteY51" fmla="*/ 115295 h 1473560"/>
                  <a:gd name="connsiteX52" fmla="*/ 2817495 w 3574732"/>
                  <a:gd name="connsiteY52" fmla="*/ 113390 h 1473560"/>
                  <a:gd name="connsiteX53" fmla="*/ 2800350 w 3574732"/>
                  <a:gd name="connsiteY53" fmla="*/ 112438 h 1473560"/>
                  <a:gd name="connsiteX54" fmla="*/ 2785110 w 3574732"/>
                  <a:gd name="connsiteY54" fmla="*/ 114343 h 1473560"/>
                  <a:gd name="connsiteX55" fmla="*/ 2761298 w 3574732"/>
                  <a:gd name="connsiteY55" fmla="*/ 113390 h 1473560"/>
                  <a:gd name="connsiteX56" fmla="*/ 2740343 w 3574732"/>
                  <a:gd name="connsiteY56" fmla="*/ 113390 h 1473560"/>
                  <a:gd name="connsiteX57" fmla="*/ 2718435 w 3574732"/>
                  <a:gd name="connsiteY57" fmla="*/ 121963 h 1473560"/>
                  <a:gd name="connsiteX58" fmla="*/ 2713673 w 3574732"/>
                  <a:gd name="connsiteY58" fmla="*/ 121963 h 1473560"/>
                  <a:gd name="connsiteX59" fmla="*/ 2708910 w 3574732"/>
                  <a:gd name="connsiteY59" fmla="*/ 126725 h 1473560"/>
                  <a:gd name="connsiteX60" fmla="*/ 2704148 w 3574732"/>
                  <a:gd name="connsiteY60" fmla="*/ 133393 h 1473560"/>
                  <a:gd name="connsiteX61" fmla="*/ 2692718 w 3574732"/>
                  <a:gd name="connsiteY61" fmla="*/ 133393 h 1473560"/>
                  <a:gd name="connsiteX62" fmla="*/ 2676525 w 3574732"/>
                  <a:gd name="connsiteY62" fmla="*/ 133393 h 1473560"/>
                  <a:gd name="connsiteX63" fmla="*/ 2654618 w 3574732"/>
                  <a:gd name="connsiteY63" fmla="*/ 133393 h 1473560"/>
                  <a:gd name="connsiteX64" fmla="*/ 2646998 w 3574732"/>
                  <a:gd name="connsiteY64" fmla="*/ 139108 h 1473560"/>
                  <a:gd name="connsiteX65" fmla="*/ 2635568 w 3574732"/>
                  <a:gd name="connsiteY65" fmla="*/ 140060 h 1473560"/>
                  <a:gd name="connsiteX66" fmla="*/ 2616518 w 3574732"/>
                  <a:gd name="connsiteY66" fmla="*/ 140060 h 1473560"/>
                  <a:gd name="connsiteX67" fmla="*/ 2606040 w 3574732"/>
                  <a:gd name="connsiteY67" fmla="*/ 133393 h 1473560"/>
                  <a:gd name="connsiteX68" fmla="*/ 2606040 w 3574732"/>
                  <a:gd name="connsiteY68" fmla="*/ 130535 h 1473560"/>
                  <a:gd name="connsiteX69" fmla="*/ 2597468 w 3574732"/>
                  <a:gd name="connsiteY69" fmla="*/ 128630 h 1473560"/>
                  <a:gd name="connsiteX70" fmla="*/ 2586038 w 3574732"/>
                  <a:gd name="connsiteY70" fmla="*/ 128630 h 1473560"/>
                  <a:gd name="connsiteX71" fmla="*/ 2578418 w 3574732"/>
                  <a:gd name="connsiteY71" fmla="*/ 132440 h 1473560"/>
                  <a:gd name="connsiteX72" fmla="*/ 2572703 w 3574732"/>
                  <a:gd name="connsiteY72" fmla="*/ 141965 h 1473560"/>
                  <a:gd name="connsiteX73" fmla="*/ 2562225 w 3574732"/>
                  <a:gd name="connsiteY73" fmla="*/ 141965 h 1473560"/>
                  <a:gd name="connsiteX74" fmla="*/ 2545080 w 3574732"/>
                  <a:gd name="connsiteY74" fmla="*/ 139108 h 1473560"/>
                  <a:gd name="connsiteX75" fmla="*/ 2530793 w 3574732"/>
                  <a:gd name="connsiteY75" fmla="*/ 130535 h 1473560"/>
                  <a:gd name="connsiteX76" fmla="*/ 2527935 w 3574732"/>
                  <a:gd name="connsiteY76" fmla="*/ 117200 h 1473560"/>
                  <a:gd name="connsiteX77" fmla="*/ 2526983 w 3574732"/>
                  <a:gd name="connsiteY77" fmla="*/ 109580 h 1473560"/>
                  <a:gd name="connsiteX78" fmla="*/ 2521268 w 3574732"/>
                  <a:gd name="connsiteY78" fmla="*/ 104818 h 1473560"/>
                  <a:gd name="connsiteX79" fmla="*/ 2506980 w 3574732"/>
                  <a:gd name="connsiteY79" fmla="*/ 100055 h 1473560"/>
                  <a:gd name="connsiteX80" fmla="*/ 2499360 w 3574732"/>
                  <a:gd name="connsiteY80" fmla="*/ 98150 h 1473560"/>
                  <a:gd name="connsiteX81" fmla="*/ 2480310 w 3574732"/>
                  <a:gd name="connsiteY81" fmla="*/ 95293 h 1473560"/>
                  <a:gd name="connsiteX82" fmla="*/ 2450783 w 3574732"/>
                  <a:gd name="connsiteY82" fmla="*/ 94340 h 1473560"/>
                  <a:gd name="connsiteX83" fmla="*/ 2443163 w 3574732"/>
                  <a:gd name="connsiteY83" fmla="*/ 97198 h 1473560"/>
                  <a:gd name="connsiteX84" fmla="*/ 2430780 w 3574732"/>
                  <a:gd name="connsiteY84" fmla="*/ 104818 h 1473560"/>
                  <a:gd name="connsiteX85" fmla="*/ 2426018 w 3574732"/>
                  <a:gd name="connsiteY85" fmla="*/ 103865 h 1473560"/>
                  <a:gd name="connsiteX86" fmla="*/ 2407920 w 3574732"/>
                  <a:gd name="connsiteY86" fmla="*/ 103865 h 1473560"/>
                  <a:gd name="connsiteX87" fmla="*/ 2391728 w 3574732"/>
                  <a:gd name="connsiteY87" fmla="*/ 101008 h 1473560"/>
                  <a:gd name="connsiteX88" fmla="*/ 2375535 w 3574732"/>
                  <a:gd name="connsiteY88" fmla="*/ 96245 h 1473560"/>
                  <a:gd name="connsiteX89" fmla="*/ 2370773 w 3574732"/>
                  <a:gd name="connsiteY89" fmla="*/ 93388 h 1473560"/>
                  <a:gd name="connsiteX90" fmla="*/ 2359343 w 3574732"/>
                  <a:gd name="connsiteY90" fmla="*/ 90530 h 1473560"/>
                  <a:gd name="connsiteX91" fmla="*/ 2347913 w 3574732"/>
                  <a:gd name="connsiteY91" fmla="*/ 90530 h 1473560"/>
                  <a:gd name="connsiteX92" fmla="*/ 2339340 w 3574732"/>
                  <a:gd name="connsiteY92" fmla="*/ 90530 h 1473560"/>
                  <a:gd name="connsiteX93" fmla="*/ 2328863 w 3574732"/>
                  <a:gd name="connsiteY93" fmla="*/ 90530 h 1473560"/>
                  <a:gd name="connsiteX94" fmla="*/ 2314575 w 3574732"/>
                  <a:gd name="connsiteY94" fmla="*/ 91483 h 1473560"/>
                  <a:gd name="connsiteX95" fmla="*/ 2304098 w 3574732"/>
                  <a:gd name="connsiteY95" fmla="*/ 91483 h 1473560"/>
                  <a:gd name="connsiteX96" fmla="*/ 2292668 w 3574732"/>
                  <a:gd name="connsiteY96" fmla="*/ 91483 h 1473560"/>
                  <a:gd name="connsiteX97" fmla="*/ 2279333 w 3574732"/>
                  <a:gd name="connsiteY97" fmla="*/ 88625 h 1473560"/>
                  <a:gd name="connsiteX98" fmla="*/ 2262188 w 3574732"/>
                  <a:gd name="connsiteY98" fmla="*/ 85768 h 1473560"/>
                  <a:gd name="connsiteX99" fmla="*/ 2237423 w 3574732"/>
                  <a:gd name="connsiteY99" fmla="*/ 84815 h 1473560"/>
                  <a:gd name="connsiteX100" fmla="*/ 2232660 w 3574732"/>
                  <a:gd name="connsiteY100" fmla="*/ 82910 h 1473560"/>
                  <a:gd name="connsiteX101" fmla="*/ 2225040 w 3574732"/>
                  <a:gd name="connsiteY101" fmla="*/ 82910 h 1473560"/>
                  <a:gd name="connsiteX102" fmla="*/ 2213610 w 3574732"/>
                  <a:gd name="connsiteY102" fmla="*/ 85768 h 1473560"/>
                  <a:gd name="connsiteX103" fmla="*/ 2189798 w 3574732"/>
                  <a:gd name="connsiteY103" fmla="*/ 94340 h 1473560"/>
                  <a:gd name="connsiteX104" fmla="*/ 2170748 w 3574732"/>
                  <a:gd name="connsiteY104" fmla="*/ 95293 h 1473560"/>
                  <a:gd name="connsiteX105" fmla="*/ 2159318 w 3574732"/>
                  <a:gd name="connsiteY105" fmla="*/ 99103 h 1473560"/>
                  <a:gd name="connsiteX106" fmla="*/ 2141220 w 3574732"/>
                  <a:gd name="connsiteY106" fmla="*/ 104818 h 1473560"/>
                  <a:gd name="connsiteX107" fmla="*/ 2127885 w 3574732"/>
                  <a:gd name="connsiteY107" fmla="*/ 103865 h 1473560"/>
                  <a:gd name="connsiteX108" fmla="*/ 2117408 w 3574732"/>
                  <a:gd name="connsiteY108" fmla="*/ 101008 h 1473560"/>
                  <a:gd name="connsiteX109" fmla="*/ 2123123 w 3574732"/>
                  <a:gd name="connsiteY109" fmla="*/ 96245 h 1473560"/>
                  <a:gd name="connsiteX110" fmla="*/ 2146935 w 3574732"/>
                  <a:gd name="connsiteY110" fmla="*/ 90530 h 1473560"/>
                  <a:gd name="connsiteX111" fmla="*/ 2162175 w 3574732"/>
                  <a:gd name="connsiteY111" fmla="*/ 84815 h 1473560"/>
                  <a:gd name="connsiteX112" fmla="*/ 2170748 w 3574732"/>
                  <a:gd name="connsiteY112" fmla="*/ 81958 h 1473560"/>
                  <a:gd name="connsiteX113" fmla="*/ 2194560 w 3574732"/>
                  <a:gd name="connsiteY113" fmla="*/ 67670 h 1473560"/>
                  <a:gd name="connsiteX114" fmla="*/ 2205038 w 3574732"/>
                  <a:gd name="connsiteY114" fmla="*/ 67670 h 1473560"/>
                  <a:gd name="connsiteX115" fmla="*/ 2222183 w 3574732"/>
                  <a:gd name="connsiteY115" fmla="*/ 67670 h 1473560"/>
                  <a:gd name="connsiteX116" fmla="*/ 2241233 w 3574732"/>
                  <a:gd name="connsiteY116" fmla="*/ 67670 h 1473560"/>
                  <a:gd name="connsiteX117" fmla="*/ 2265045 w 3574732"/>
                  <a:gd name="connsiteY117" fmla="*/ 61955 h 1473560"/>
                  <a:gd name="connsiteX118" fmla="*/ 2266950 w 3574732"/>
                  <a:gd name="connsiteY118" fmla="*/ 55288 h 1473560"/>
                  <a:gd name="connsiteX119" fmla="*/ 2265998 w 3574732"/>
                  <a:gd name="connsiteY119" fmla="*/ 45763 h 1473560"/>
                  <a:gd name="connsiteX120" fmla="*/ 2263140 w 3574732"/>
                  <a:gd name="connsiteY120" fmla="*/ 38143 h 1473560"/>
                  <a:gd name="connsiteX121" fmla="*/ 2257425 w 3574732"/>
                  <a:gd name="connsiteY121" fmla="*/ 25760 h 1473560"/>
                  <a:gd name="connsiteX122" fmla="*/ 2241233 w 3574732"/>
                  <a:gd name="connsiteY122" fmla="*/ 22903 h 1473560"/>
                  <a:gd name="connsiteX123" fmla="*/ 2225040 w 3574732"/>
                  <a:gd name="connsiteY123" fmla="*/ 19093 h 1473560"/>
                  <a:gd name="connsiteX124" fmla="*/ 2216468 w 3574732"/>
                  <a:gd name="connsiteY124" fmla="*/ 19093 h 1473560"/>
                  <a:gd name="connsiteX125" fmla="*/ 2211705 w 3574732"/>
                  <a:gd name="connsiteY125" fmla="*/ 18140 h 1473560"/>
                  <a:gd name="connsiteX126" fmla="*/ 2195513 w 3574732"/>
                  <a:gd name="connsiteY126" fmla="*/ 19093 h 1473560"/>
                  <a:gd name="connsiteX127" fmla="*/ 2182178 w 3574732"/>
                  <a:gd name="connsiteY127" fmla="*/ 17188 h 1473560"/>
                  <a:gd name="connsiteX128" fmla="*/ 2161223 w 3574732"/>
                  <a:gd name="connsiteY128" fmla="*/ 16235 h 1473560"/>
                  <a:gd name="connsiteX129" fmla="*/ 2142173 w 3574732"/>
                  <a:gd name="connsiteY129" fmla="*/ 16235 h 1473560"/>
                  <a:gd name="connsiteX130" fmla="*/ 2131695 w 3574732"/>
                  <a:gd name="connsiteY130" fmla="*/ 13378 h 1473560"/>
                  <a:gd name="connsiteX131" fmla="*/ 2130743 w 3574732"/>
                  <a:gd name="connsiteY131" fmla="*/ 1948 h 1473560"/>
                  <a:gd name="connsiteX132" fmla="*/ 2120265 w 3574732"/>
                  <a:gd name="connsiteY132" fmla="*/ 995 h 1473560"/>
                  <a:gd name="connsiteX133" fmla="*/ 2093595 w 3574732"/>
                  <a:gd name="connsiteY133" fmla="*/ 1948 h 1473560"/>
                  <a:gd name="connsiteX134" fmla="*/ 2074545 w 3574732"/>
                  <a:gd name="connsiteY134" fmla="*/ 995 h 1473560"/>
                  <a:gd name="connsiteX135" fmla="*/ 2057400 w 3574732"/>
                  <a:gd name="connsiteY135" fmla="*/ 43 h 1473560"/>
                  <a:gd name="connsiteX136" fmla="*/ 2052638 w 3574732"/>
                  <a:gd name="connsiteY136" fmla="*/ 14330 h 1473560"/>
                  <a:gd name="connsiteX137" fmla="*/ 2052638 w 3574732"/>
                  <a:gd name="connsiteY137" fmla="*/ 19093 h 1473560"/>
                  <a:gd name="connsiteX138" fmla="*/ 2049780 w 3574732"/>
                  <a:gd name="connsiteY138" fmla="*/ 22903 h 1473560"/>
                  <a:gd name="connsiteX139" fmla="*/ 2038350 w 3574732"/>
                  <a:gd name="connsiteY139" fmla="*/ 27665 h 1473560"/>
                  <a:gd name="connsiteX140" fmla="*/ 2026920 w 3574732"/>
                  <a:gd name="connsiteY140" fmla="*/ 31475 h 1473560"/>
                  <a:gd name="connsiteX141" fmla="*/ 2010728 w 3574732"/>
                  <a:gd name="connsiteY141" fmla="*/ 33380 h 1473560"/>
                  <a:gd name="connsiteX142" fmla="*/ 1985963 w 3574732"/>
                  <a:gd name="connsiteY142" fmla="*/ 36238 h 1473560"/>
                  <a:gd name="connsiteX143" fmla="*/ 1981200 w 3574732"/>
                  <a:gd name="connsiteY143" fmla="*/ 35285 h 1473560"/>
                  <a:gd name="connsiteX144" fmla="*/ 1960245 w 3574732"/>
                  <a:gd name="connsiteY144" fmla="*/ 34333 h 1473560"/>
                  <a:gd name="connsiteX145" fmla="*/ 1949768 w 3574732"/>
                  <a:gd name="connsiteY145" fmla="*/ 34333 h 1473560"/>
                  <a:gd name="connsiteX146" fmla="*/ 1939290 w 3574732"/>
                  <a:gd name="connsiteY146" fmla="*/ 35285 h 1473560"/>
                  <a:gd name="connsiteX147" fmla="*/ 1918335 w 3574732"/>
                  <a:gd name="connsiteY147" fmla="*/ 39095 h 1473560"/>
                  <a:gd name="connsiteX148" fmla="*/ 1897380 w 3574732"/>
                  <a:gd name="connsiteY148" fmla="*/ 42905 h 1473560"/>
                  <a:gd name="connsiteX149" fmla="*/ 1873568 w 3574732"/>
                  <a:gd name="connsiteY149" fmla="*/ 46715 h 1473560"/>
                  <a:gd name="connsiteX150" fmla="*/ 1855470 w 3574732"/>
                  <a:gd name="connsiteY150" fmla="*/ 47668 h 1473560"/>
                  <a:gd name="connsiteX151" fmla="*/ 1850708 w 3574732"/>
                  <a:gd name="connsiteY151" fmla="*/ 47668 h 1473560"/>
                  <a:gd name="connsiteX152" fmla="*/ 1825943 w 3574732"/>
                  <a:gd name="connsiteY152" fmla="*/ 54335 h 1473560"/>
                  <a:gd name="connsiteX153" fmla="*/ 1812608 w 3574732"/>
                  <a:gd name="connsiteY153" fmla="*/ 58145 h 1473560"/>
                  <a:gd name="connsiteX154" fmla="*/ 1804035 w 3574732"/>
                  <a:gd name="connsiteY154" fmla="*/ 65765 h 1473560"/>
                  <a:gd name="connsiteX155" fmla="*/ 1795463 w 3574732"/>
                  <a:gd name="connsiteY155" fmla="*/ 74338 h 1473560"/>
                  <a:gd name="connsiteX156" fmla="*/ 1786890 w 3574732"/>
                  <a:gd name="connsiteY156" fmla="*/ 76243 h 1473560"/>
                  <a:gd name="connsiteX157" fmla="*/ 1770698 w 3574732"/>
                  <a:gd name="connsiteY157" fmla="*/ 80053 h 1473560"/>
                  <a:gd name="connsiteX158" fmla="*/ 1755458 w 3574732"/>
                  <a:gd name="connsiteY158" fmla="*/ 86720 h 1473560"/>
                  <a:gd name="connsiteX159" fmla="*/ 1728788 w 3574732"/>
                  <a:gd name="connsiteY159" fmla="*/ 87673 h 1473560"/>
                  <a:gd name="connsiteX160" fmla="*/ 1721168 w 3574732"/>
                  <a:gd name="connsiteY160" fmla="*/ 87673 h 1473560"/>
                  <a:gd name="connsiteX161" fmla="*/ 1712595 w 3574732"/>
                  <a:gd name="connsiteY161" fmla="*/ 88625 h 1473560"/>
                  <a:gd name="connsiteX162" fmla="*/ 1709738 w 3574732"/>
                  <a:gd name="connsiteY162" fmla="*/ 93388 h 1473560"/>
                  <a:gd name="connsiteX163" fmla="*/ 1704975 w 3574732"/>
                  <a:gd name="connsiteY163" fmla="*/ 102913 h 1473560"/>
                  <a:gd name="connsiteX164" fmla="*/ 1704975 w 3574732"/>
                  <a:gd name="connsiteY164" fmla="*/ 108628 h 1473560"/>
                  <a:gd name="connsiteX165" fmla="*/ 1703070 w 3574732"/>
                  <a:gd name="connsiteY165" fmla="*/ 115295 h 1473560"/>
                  <a:gd name="connsiteX166" fmla="*/ 1701165 w 3574732"/>
                  <a:gd name="connsiteY166" fmla="*/ 123868 h 1473560"/>
                  <a:gd name="connsiteX167" fmla="*/ 1698308 w 3574732"/>
                  <a:gd name="connsiteY167" fmla="*/ 127678 h 1473560"/>
                  <a:gd name="connsiteX168" fmla="*/ 1675448 w 3574732"/>
                  <a:gd name="connsiteY168" fmla="*/ 121010 h 1473560"/>
                  <a:gd name="connsiteX169" fmla="*/ 1674495 w 3574732"/>
                  <a:gd name="connsiteY169" fmla="*/ 114343 h 1473560"/>
                  <a:gd name="connsiteX170" fmla="*/ 1666875 w 3574732"/>
                  <a:gd name="connsiteY170" fmla="*/ 111485 h 1473560"/>
                  <a:gd name="connsiteX171" fmla="*/ 1652588 w 3574732"/>
                  <a:gd name="connsiteY171" fmla="*/ 111485 h 1473560"/>
                  <a:gd name="connsiteX172" fmla="*/ 1644968 w 3574732"/>
                  <a:gd name="connsiteY172" fmla="*/ 111485 h 1473560"/>
                  <a:gd name="connsiteX173" fmla="*/ 1637348 w 3574732"/>
                  <a:gd name="connsiteY173" fmla="*/ 121963 h 1473560"/>
                  <a:gd name="connsiteX174" fmla="*/ 1626870 w 3574732"/>
                  <a:gd name="connsiteY174" fmla="*/ 124820 h 1473560"/>
                  <a:gd name="connsiteX175" fmla="*/ 1626870 w 3574732"/>
                  <a:gd name="connsiteY175" fmla="*/ 127678 h 1473560"/>
                  <a:gd name="connsiteX176" fmla="*/ 1624013 w 3574732"/>
                  <a:gd name="connsiteY176" fmla="*/ 133393 h 1473560"/>
                  <a:gd name="connsiteX177" fmla="*/ 1609725 w 3574732"/>
                  <a:gd name="connsiteY177" fmla="*/ 130535 h 1473560"/>
                  <a:gd name="connsiteX178" fmla="*/ 1605915 w 3574732"/>
                  <a:gd name="connsiteY178" fmla="*/ 120058 h 1473560"/>
                  <a:gd name="connsiteX179" fmla="*/ 1607820 w 3574732"/>
                  <a:gd name="connsiteY179" fmla="*/ 109580 h 1473560"/>
                  <a:gd name="connsiteX180" fmla="*/ 1606868 w 3574732"/>
                  <a:gd name="connsiteY180" fmla="*/ 103865 h 1473560"/>
                  <a:gd name="connsiteX181" fmla="*/ 1599248 w 3574732"/>
                  <a:gd name="connsiteY181" fmla="*/ 111485 h 1473560"/>
                  <a:gd name="connsiteX182" fmla="*/ 1584008 w 3574732"/>
                  <a:gd name="connsiteY182" fmla="*/ 119105 h 1473560"/>
                  <a:gd name="connsiteX183" fmla="*/ 1575435 w 3574732"/>
                  <a:gd name="connsiteY183" fmla="*/ 128630 h 1473560"/>
                  <a:gd name="connsiteX184" fmla="*/ 1572578 w 3574732"/>
                  <a:gd name="connsiteY184" fmla="*/ 133393 h 1473560"/>
                  <a:gd name="connsiteX185" fmla="*/ 1572578 w 3574732"/>
                  <a:gd name="connsiteY185" fmla="*/ 146728 h 1473560"/>
                  <a:gd name="connsiteX186" fmla="*/ 1585913 w 3574732"/>
                  <a:gd name="connsiteY186" fmla="*/ 154348 h 1473560"/>
                  <a:gd name="connsiteX187" fmla="*/ 1591628 w 3574732"/>
                  <a:gd name="connsiteY187" fmla="*/ 157205 h 1473560"/>
                  <a:gd name="connsiteX188" fmla="*/ 1592580 w 3574732"/>
                  <a:gd name="connsiteY188" fmla="*/ 162920 h 1473560"/>
                  <a:gd name="connsiteX189" fmla="*/ 1589723 w 3574732"/>
                  <a:gd name="connsiteY189" fmla="*/ 168635 h 1473560"/>
                  <a:gd name="connsiteX190" fmla="*/ 1587818 w 3574732"/>
                  <a:gd name="connsiteY190" fmla="*/ 177208 h 1473560"/>
                  <a:gd name="connsiteX191" fmla="*/ 1593533 w 3574732"/>
                  <a:gd name="connsiteY191" fmla="*/ 177208 h 1473560"/>
                  <a:gd name="connsiteX192" fmla="*/ 1604010 w 3574732"/>
                  <a:gd name="connsiteY192" fmla="*/ 180065 h 1473560"/>
                  <a:gd name="connsiteX193" fmla="*/ 1602105 w 3574732"/>
                  <a:gd name="connsiteY193" fmla="*/ 184828 h 1473560"/>
                  <a:gd name="connsiteX194" fmla="*/ 1599248 w 3574732"/>
                  <a:gd name="connsiteY194" fmla="*/ 191495 h 1473560"/>
                  <a:gd name="connsiteX195" fmla="*/ 1589723 w 3574732"/>
                  <a:gd name="connsiteY195" fmla="*/ 202925 h 1473560"/>
                  <a:gd name="connsiteX196" fmla="*/ 1584008 w 3574732"/>
                  <a:gd name="connsiteY196" fmla="*/ 208640 h 1473560"/>
                  <a:gd name="connsiteX197" fmla="*/ 1579245 w 3574732"/>
                  <a:gd name="connsiteY197" fmla="*/ 213403 h 1473560"/>
                  <a:gd name="connsiteX198" fmla="*/ 1574483 w 3574732"/>
                  <a:gd name="connsiteY198" fmla="*/ 215308 h 1473560"/>
                  <a:gd name="connsiteX199" fmla="*/ 1564005 w 3574732"/>
                  <a:gd name="connsiteY199" fmla="*/ 225785 h 1473560"/>
                  <a:gd name="connsiteX200" fmla="*/ 1555433 w 3574732"/>
                  <a:gd name="connsiteY200" fmla="*/ 229595 h 1473560"/>
                  <a:gd name="connsiteX201" fmla="*/ 1542098 w 3574732"/>
                  <a:gd name="connsiteY201" fmla="*/ 234358 h 1473560"/>
                  <a:gd name="connsiteX202" fmla="*/ 1537335 w 3574732"/>
                  <a:gd name="connsiteY202" fmla="*/ 239120 h 1473560"/>
                  <a:gd name="connsiteX203" fmla="*/ 1526858 w 3574732"/>
                  <a:gd name="connsiteY203" fmla="*/ 241025 h 1473560"/>
                  <a:gd name="connsiteX204" fmla="*/ 1521143 w 3574732"/>
                  <a:gd name="connsiteY204" fmla="*/ 237215 h 1473560"/>
                  <a:gd name="connsiteX205" fmla="*/ 1525905 w 3574732"/>
                  <a:gd name="connsiteY205" fmla="*/ 232453 h 1473560"/>
                  <a:gd name="connsiteX206" fmla="*/ 1539240 w 3574732"/>
                  <a:gd name="connsiteY206" fmla="*/ 225785 h 1473560"/>
                  <a:gd name="connsiteX207" fmla="*/ 1552575 w 3574732"/>
                  <a:gd name="connsiteY207" fmla="*/ 218165 h 1473560"/>
                  <a:gd name="connsiteX208" fmla="*/ 1560195 w 3574732"/>
                  <a:gd name="connsiteY208" fmla="*/ 206735 h 1473560"/>
                  <a:gd name="connsiteX209" fmla="*/ 1563053 w 3574732"/>
                  <a:gd name="connsiteY209" fmla="*/ 198163 h 1473560"/>
                  <a:gd name="connsiteX210" fmla="*/ 1562100 w 3574732"/>
                  <a:gd name="connsiteY210" fmla="*/ 193400 h 1473560"/>
                  <a:gd name="connsiteX211" fmla="*/ 1561148 w 3574732"/>
                  <a:gd name="connsiteY211" fmla="*/ 186733 h 1473560"/>
                  <a:gd name="connsiteX212" fmla="*/ 1558290 w 3574732"/>
                  <a:gd name="connsiteY212" fmla="*/ 176255 h 1473560"/>
                  <a:gd name="connsiteX213" fmla="*/ 1561148 w 3574732"/>
                  <a:gd name="connsiteY213" fmla="*/ 166730 h 1473560"/>
                  <a:gd name="connsiteX214" fmla="*/ 1554480 w 3574732"/>
                  <a:gd name="connsiteY214" fmla="*/ 156253 h 1473560"/>
                  <a:gd name="connsiteX215" fmla="*/ 1557338 w 3574732"/>
                  <a:gd name="connsiteY215" fmla="*/ 144823 h 1473560"/>
                  <a:gd name="connsiteX216" fmla="*/ 1550670 w 3574732"/>
                  <a:gd name="connsiteY216" fmla="*/ 130535 h 1473560"/>
                  <a:gd name="connsiteX217" fmla="*/ 1553528 w 3574732"/>
                  <a:gd name="connsiteY217" fmla="*/ 122915 h 1473560"/>
                  <a:gd name="connsiteX218" fmla="*/ 1558290 w 3574732"/>
                  <a:gd name="connsiteY218" fmla="*/ 116248 h 1473560"/>
                  <a:gd name="connsiteX219" fmla="*/ 1557338 w 3574732"/>
                  <a:gd name="connsiteY219" fmla="*/ 107675 h 1473560"/>
                  <a:gd name="connsiteX220" fmla="*/ 1549718 w 3574732"/>
                  <a:gd name="connsiteY220" fmla="*/ 104818 h 1473560"/>
                  <a:gd name="connsiteX221" fmla="*/ 1525905 w 3574732"/>
                  <a:gd name="connsiteY221" fmla="*/ 104818 h 1473560"/>
                  <a:gd name="connsiteX222" fmla="*/ 1517333 w 3574732"/>
                  <a:gd name="connsiteY222" fmla="*/ 107675 h 1473560"/>
                  <a:gd name="connsiteX223" fmla="*/ 1505903 w 3574732"/>
                  <a:gd name="connsiteY223" fmla="*/ 110533 h 1473560"/>
                  <a:gd name="connsiteX224" fmla="*/ 1501140 w 3574732"/>
                  <a:gd name="connsiteY224" fmla="*/ 116248 h 1473560"/>
                  <a:gd name="connsiteX225" fmla="*/ 1485900 w 3574732"/>
                  <a:gd name="connsiteY225" fmla="*/ 128630 h 1473560"/>
                  <a:gd name="connsiteX226" fmla="*/ 1477328 w 3574732"/>
                  <a:gd name="connsiteY226" fmla="*/ 130535 h 1473560"/>
                  <a:gd name="connsiteX227" fmla="*/ 1469708 w 3574732"/>
                  <a:gd name="connsiteY227" fmla="*/ 141013 h 1473560"/>
                  <a:gd name="connsiteX228" fmla="*/ 1462088 w 3574732"/>
                  <a:gd name="connsiteY228" fmla="*/ 150538 h 1473560"/>
                  <a:gd name="connsiteX229" fmla="*/ 1463040 w 3574732"/>
                  <a:gd name="connsiteY229" fmla="*/ 162920 h 1473560"/>
                  <a:gd name="connsiteX230" fmla="*/ 1471613 w 3574732"/>
                  <a:gd name="connsiteY230" fmla="*/ 165778 h 1473560"/>
                  <a:gd name="connsiteX231" fmla="*/ 1474470 w 3574732"/>
                  <a:gd name="connsiteY231" fmla="*/ 174350 h 1473560"/>
                  <a:gd name="connsiteX232" fmla="*/ 1478280 w 3574732"/>
                  <a:gd name="connsiteY232" fmla="*/ 181018 h 1473560"/>
                  <a:gd name="connsiteX233" fmla="*/ 1483043 w 3574732"/>
                  <a:gd name="connsiteY233" fmla="*/ 184828 h 1473560"/>
                  <a:gd name="connsiteX234" fmla="*/ 1497330 w 3574732"/>
                  <a:gd name="connsiteY234" fmla="*/ 188638 h 1473560"/>
                  <a:gd name="connsiteX235" fmla="*/ 1497330 w 3574732"/>
                  <a:gd name="connsiteY235" fmla="*/ 175303 h 1473560"/>
                  <a:gd name="connsiteX236" fmla="*/ 1495425 w 3574732"/>
                  <a:gd name="connsiteY236" fmla="*/ 179113 h 1473560"/>
                  <a:gd name="connsiteX237" fmla="*/ 1479233 w 3574732"/>
                  <a:gd name="connsiteY237" fmla="*/ 177208 h 1473560"/>
                  <a:gd name="connsiteX238" fmla="*/ 1465898 w 3574732"/>
                  <a:gd name="connsiteY238" fmla="*/ 175303 h 1473560"/>
                  <a:gd name="connsiteX239" fmla="*/ 1455420 w 3574732"/>
                  <a:gd name="connsiteY239" fmla="*/ 169588 h 1473560"/>
                  <a:gd name="connsiteX240" fmla="*/ 1449705 w 3574732"/>
                  <a:gd name="connsiteY240" fmla="*/ 164825 h 1473560"/>
                  <a:gd name="connsiteX241" fmla="*/ 1441133 w 3574732"/>
                  <a:gd name="connsiteY241" fmla="*/ 159110 h 1473560"/>
                  <a:gd name="connsiteX242" fmla="*/ 1427798 w 3574732"/>
                  <a:gd name="connsiteY242" fmla="*/ 155300 h 1473560"/>
                  <a:gd name="connsiteX243" fmla="*/ 1403033 w 3574732"/>
                  <a:gd name="connsiteY243" fmla="*/ 150538 h 1473560"/>
                  <a:gd name="connsiteX244" fmla="*/ 1394460 w 3574732"/>
                  <a:gd name="connsiteY244" fmla="*/ 150538 h 1473560"/>
                  <a:gd name="connsiteX245" fmla="*/ 1383983 w 3574732"/>
                  <a:gd name="connsiteY245" fmla="*/ 149585 h 1473560"/>
                  <a:gd name="connsiteX246" fmla="*/ 1369695 w 3574732"/>
                  <a:gd name="connsiteY246" fmla="*/ 148633 h 1473560"/>
                  <a:gd name="connsiteX247" fmla="*/ 1348740 w 3574732"/>
                  <a:gd name="connsiteY247" fmla="*/ 144823 h 1473560"/>
                  <a:gd name="connsiteX248" fmla="*/ 1341120 w 3574732"/>
                  <a:gd name="connsiteY248" fmla="*/ 141013 h 1473560"/>
                  <a:gd name="connsiteX249" fmla="*/ 1330643 w 3574732"/>
                  <a:gd name="connsiteY249" fmla="*/ 141013 h 1473560"/>
                  <a:gd name="connsiteX250" fmla="*/ 1327785 w 3574732"/>
                  <a:gd name="connsiteY250" fmla="*/ 147680 h 1473560"/>
                  <a:gd name="connsiteX251" fmla="*/ 1338263 w 3574732"/>
                  <a:gd name="connsiteY251" fmla="*/ 152443 h 1473560"/>
                  <a:gd name="connsiteX252" fmla="*/ 1346835 w 3574732"/>
                  <a:gd name="connsiteY252" fmla="*/ 158158 h 1473560"/>
                  <a:gd name="connsiteX253" fmla="*/ 1346835 w 3574732"/>
                  <a:gd name="connsiteY253" fmla="*/ 163873 h 1473560"/>
                  <a:gd name="connsiteX254" fmla="*/ 1342073 w 3574732"/>
                  <a:gd name="connsiteY254" fmla="*/ 167683 h 1473560"/>
                  <a:gd name="connsiteX255" fmla="*/ 1331595 w 3574732"/>
                  <a:gd name="connsiteY255" fmla="*/ 168635 h 1473560"/>
                  <a:gd name="connsiteX256" fmla="*/ 1320165 w 3574732"/>
                  <a:gd name="connsiteY256" fmla="*/ 170540 h 1473560"/>
                  <a:gd name="connsiteX257" fmla="*/ 1308735 w 3574732"/>
                  <a:gd name="connsiteY257" fmla="*/ 170540 h 1473560"/>
                  <a:gd name="connsiteX258" fmla="*/ 1292543 w 3574732"/>
                  <a:gd name="connsiteY258" fmla="*/ 171493 h 1473560"/>
                  <a:gd name="connsiteX259" fmla="*/ 1274445 w 3574732"/>
                  <a:gd name="connsiteY259" fmla="*/ 174350 h 1473560"/>
                  <a:gd name="connsiteX260" fmla="*/ 1265873 w 3574732"/>
                  <a:gd name="connsiteY260" fmla="*/ 175303 h 1473560"/>
                  <a:gd name="connsiteX261" fmla="*/ 1255395 w 3574732"/>
                  <a:gd name="connsiteY261" fmla="*/ 176255 h 1473560"/>
                  <a:gd name="connsiteX262" fmla="*/ 1244918 w 3574732"/>
                  <a:gd name="connsiteY262" fmla="*/ 175303 h 1473560"/>
                  <a:gd name="connsiteX263" fmla="*/ 1231583 w 3574732"/>
                  <a:gd name="connsiteY263" fmla="*/ 171493 h 1473560"/>
                  <a:gd name="connsiteX264" fmla="*/ 1226820 w 3574732"/>
                  <a:gd name="connsiteY264" fmla="*/ 168635 h 1473560"/>
                  <a:gd name="connsiteX265" fmla="*/ 1221105 w 3574732"/>
                  <a:gd name="connsiteY265" fmla="*/ 168635 h 1473560"/>
                  <a:gd name="connsiteX266" fmla="*/ 1194435 w 3574732"/>
                  <a:gd name="connsiteY266" fmla="*/ 171493 h 1473560"/>
                  <a:gd name="connsiteX267" fmla="*/ 1185863 w 3574732"/>
                  <a:gd name="connsiteY267" fmla="*/ 177208 h 1473560"/>
                  <a:gd name="connsiteX268" fmla="*/ 1161098 w 3574732"/>
                  <a:gd name="connsiteY268" fmla="*/ 184828 h 1473560"/>
                  <a:gd name="connsiteX269" fmla="*/ 1153478 w 3574732"/>
                  <a:gd name="connsiteY269" fmla="*/ 187685 h 1473560"/>
                  <a:gd name="connsiteX270" fmla="*/ 1134428 w 3574732"/>
                  <a:gd name="connsiteY270" fmla="*/ 196258 h 1473560"/>
                  <a:gd name="connsiteX271" fmla="*/ 1121093 w 3574732"/>
                  <a:gd name="connsiteY271" fmla="*/ 196258 h 1473560"/>
                  <a:gd name="connsiteX272" fmla="*/ 1113473 w 3574732"/>
                  <a:gd name="connsiteY272" fmla="*/ 201973 h 1473560"/>
                  <a:gd name="connsiteX273" fmla="*/ 1097280 w 3574732"/>
                  <a:gd name="connsiteY273" fmla="*/ 199115 h 1473560"/>
                  <a:gd name="connsiteX274" fmla="*/ 1088708 w 3574732"/>
                  <a:gd name="connsiteY274" fmla="*/ 191495 h 1473560"/>
                  <a:gd name="connsiteX275" fmla="*/ 1087755 w 3574732"/>
                  <a:gd name="connsiteY275" fmla="*/ 188638 h 1473560"/>
                  <a:gd name="connsiteX276" fmla="*/ 1099185 w 3574732"/>
                  <a:gd name="connsiteY276" fmla="*/ 188638 h 1473560"/>
                  <a:gd name="connsiteX277" fmla="*/ 1121093 w 3574732"/>
                  <a:gd name="connsiteY277" fmla="*/ 181018 h 1473560"/>
                  <a:gd name="connsiteX278" fmla="*/ 1087755 w 3574732"/>
                  <a:gd name="connsiteY278" fmla="*/ 179113 h 1473560"/>
                  <a:gd name="connsiteX279" fmla="*/ 1071563 w 3574732"/>
                  <a:gd name="connsiteY279" fmla="*/ 179113 h 1473560"/>
                  <a:gd name="connsiteX280" fmla="*/ 1062990 w 3574732"/>
                  <a:gd name="connsiteY280" fmla="*/ 182923 h 1473560"/>
                  <a:gd name="connsiteX281" fmla="*/ 1058228 w 3574732"/>
                  <a:gd name="connsiteY281" fmla="*/ 190543 h 1473560"/>
                  <a:gd name="connsiteX282" fmla="*/ 1055370 w 3574732"/>
                  <a:gd name="connsiteY282" fmla="*/ 203878 h 1473560"/>
                  <a:gd name="connsiteX283" fmla="*/ 1048703 w 3574732"/>
                  <a:gd name="connsiteY283" fmla="*/ 218165 h 1473560"/>
                  <a:gd name="connsiteX284" fmla="*/ 1034415 w 3574732"/>
                  <a:gd name="connsiteY284" fmla="*/ 214355 h 1473560"/>
                  <a:gd name="connsiteX285" fmla="*/ 1025843 w 3574732"/>
                  <a:gd name="connsiteY285" fmla="*/ 216260 h 1473560"/>
                  <a:gd name="connsiteX286" fmla="*/ 1021080 w 3574732"/>
                  <a:gd name="connsiteY286" fmla="*/ 219118 h 1473560"/>
                  <a:gd name="connsiteX287" fmla="*/ 1010603 w 3574732"/>
                  <a:gd name="connsiteY287" fmla="*/ 224833 h 1473560"/>
                  <a:gd name="connsiteX288" fmla="*/ 1002983 w 3574732"/>
                  <a:gd name="connsiteY288" fmla="*/ 225785 h 1473560"/>
                  <a:gd name="connsiteX289" fmla="*/ 997268 w 3574732"/>
                  <a:gd name="connsiteY289" fmla="*/ 227690 h 1473560"/>
                  <a:gd name="connsiteX290" fmla="*/ 995363 w 3574732"/>
                  <a:gd name="connsiteY290" fmla="*/ 233405 h 1473560"/>
                  <a:gd name="connsiteX291" fmla="*/ 990600 w 3574732"/>
                  <a:gd name="connsiteY291" fmla="*/ 240073 h 1473560"/>
                  <a:gd name="connsiteX292" fmla="*/ 980123 w 3574732"/>
                  <a:gd name="connsiteY292" fmla="*/ 246740 h 1473560"/>
                  <a:gd name="connsiteX293" fmla="*/ 969645 w 3574732"/>
                  <a:gd name="connsiteY293" fmla="*/ 245788 h 1473560"/>
                  <a:gd name="connsiteX294" fmla="*/ 958215 w 3574732"/>
                  <a:gd name="connsiteY294" fmla="*/ 241978 h 1473560"/>
                  <a:gd name="connsiteX295" fmla="*/ 950595 w 3574732"/>
                  <a:gd name="connsiteY295" fmla="*/ 239120 h 1473560"/>
                  <a:gd name="connsiteX296" fmla="*/ 940118 w 3574732"/>
                  <a:gd name="connsiteY296" fmla="*/ 238168 h 1473560"/>
                  <a:gd name="connsiteX297" fmla="*/ 932498 w 3574732"/>
                  <a:gd name="connsiteY297" fmla="*/ 241978 h 1473560"/>
                  <a:gd name="connsiteX298" fmla="*/ 933450 w 3574732"/>
                  <a:gd name="connsiteY298" fmla="*/ 250550 h 1473560"/>
                  <a:gd name="connsiteX299" fmla="*/ 949643 w 3574732"/>
                  <a:gd name="connsiteY299" fmla="*/ 258170 h 1473560"/>
                  <a:gd name="connsiteX300" fmla="*/ 925830 w 3574732"/>
                  <a:gd name="connsiteY300" fmla="*/ 257218 h 1473560"/>
                  <a:gd name="connsiteX301" fmla="*/ 908685 w 3574732"/>
                  <a:gd name="connsiteY301" fmla="*/ 248645 h 1473560"/>
                  <a:gd name="connsiteX302" fmla="*/ 908685 w 3574732"/>
                  <a:gd name="connsiteY302" fmla="*/ 245788 h 1473560"/>
                  <a:gd name="connsiteX303" fmla="*/ 907733 w 3574732"/>
                  <a:gd name="connsiteY303" fmla="*/ 238168 h 1473560"/>
                  <a:gd name="connsiteX304" fmla="*/ 907733 w 3574732"/>
                  <a:gd name="connsiteY304" fmla="*/ 231500 h 1473560"/>
                  <a:gd name="connsiteX305" fmla="*/ 907733 w 3574732"/>
                  <a:gd name="connsiteY305" fmla="*/ 225785 h 1473560"/>
                  <a:gd name="connsiteX306" fmla="*/ 887730 w 3574732"/>
                  <a:gd name="connsiteY306" fmla="*/ 215308 h 1473560"/>
                  <a:gd name="connsiteX307" fmla="*/ 892493 w 3574732"/>
                  <a:gd name="connsiteY307" fmla="*/ 215308 h 1473560"/>
                  <a:gd name="connsiteX308" fmla="*/ 895350 w 3574732"/>
                  <a:gd name="connsiteY308" fmla="*/ 215308 h 1473560"/>
                  <a:gd name="connsiteX309" fmla="*/ 902970 w 3574732"/>
                  <a:gd name="connsiteY309" fmla="*/ 216260 h 1473560"/>
                  <a:gd name="connsiteX310" fmla="*/ 923925 w 3574732"/>
                  <a:gd name="connsiteY310" fmla="*/ 218165 h 1473560"/>
                  <a:gd name="connsiteX311" fmla="*/ 942975 w 3574732"/>
                  <a:gd name="connsiteY311" fmla="*/ 215308 h 1473560"/>
                  <a:gd name="connsiteX312" fmla="*/ 951548 w 3574732"/>
                  <a:gd name="connsiteY312" fmla="*/ 215308 h 1473560"/>
                  <a:gd name="connsiteX313" fmla="*/ 962025 w 3574732"/>
                  <a:gd name="connsiteY313" fmla="*/ 217213 h 1473560"/>
                  <a:gd name="connsiteX314" fmla="*/ 983933 w 3574732"/>
                  <a:gd name="connsiteY314" fmla="*/ 219118 h 1473560"/>
                  <a:gd name="connsiteX315" fmla="*/ 1002030 w 3574732"/>
                  <a:gd name="connsiteY315" fmla="*/ 213403 h 1473560"/>
                  <a:gd name="connsiteX316" fmla="*/ 1007745 w 3574732"/>
                  <a:gd name="connsiteY316" fmla="*/ 201973 h 1473560"/>
                  <a:gd name="connsiteX317" fmla="*/ 1001078 w 3574732"/>
                  <a:gd name="connsiteY317" fmla="*/ 189590 h 1473560"/>
                  <a:gd name="connsiteX318" fmla="*/ 984885 w 3574732"/>
                  <a:gd name="connsiteY318" fmla="*/ 185780 h 1473560"/>
                  <a:gd name="connsiteX319" fmla="*/ 968693 w 3574732"/>
                  <a:gd name="connsiteY319" fmla="*/ 179113 h 1473560"/>
                  <a:gd name="connsiteX320" fmla="*/ 952500 w 3574732"/>
                  <a:gd name="connsiteY320" fmla="*/ 173398 h 1473560"/>
                  <a:gd name="connsiteX321" fmla="*/ 942023 w 3574732"/>
                  <a:gd name="connsiteY321" fmla="*/ 169588 h 1473560"/>
                  <a:gd name="connsiteX322" fmla="*/ 927735 w 3574732"/>
                  <a:gd name="connsiteY322" fmla="*/ 166730 h 1473560"/>
                  <a:gd name="connsiteX323" fmla="*/ 916305 w 3574732"/>
                  <a:gd name="connsiteY323" fmla="*/ 163873 h 1473560"/>
                  <a:gd name="connsiteX324" fmla="*/ 896303 w 3574732"/>
                  <a:gd name="connsiteY324" fmla="*/ 159110 h 1473560"/>
                  <a:gd name="connsiteX325" fmla="*/ 887730 w 3574732"/>
                  <a:gd name="connsiteY325" fmla="*/ 155300 h 1473560"/>
                  <a:gd name="connsiteX326" fmla="*/ 868680 w 3574732"/>
                  <a:gd name="connsiteY326" fmla="*/ 151490 h 1473560"/>
                  <a:gd name="connsiteX327" fmla="*/ 851535 w 3574732"/>
                  <a:gd name="connsiteY327" fmla="*/ 146728 h 1473560"/>
                  <a:gd name="connsiteX328" fmla="*/ 834390 w 3574732"/>
                  <a:gd name="connsiteY328" fmla="*/ 139108 h 1473560"/>
                  <a:gd name="connsiteX329" fmla="*/ 818198 w 3574732"/>
                  <a:gd name="connsiteY329" fmla="*/ 137203 h 1473560"/>
                  <a:gd name="connsiteX330" fmla="*/ 787718 w 3574732"/>
                  <a:gd name="connsiteY330" fmla="*/ 136250 h 1473560"/>
                  <a:gd name="connsiteX331" fmla="*/ 760095 w 3574732"/>
                  <a:gd name="connsiteY331" fmla="*/ 133393 h 1473560"/>
                  <a:gd name="connsiteX332" fmla="*/ 754380 w 3574732"/>
                  <a:gd name="connsiteY332" fmla="*/ 133393 h 1473560"/>
                  <a:gd name="connsiteX333" fmla="*/ 736283 w 3574732"/>
                  <a:gd name="connsiteY333" fmla="*/ 134345 h 1473560"/>
                  <a:gd name="connsiteX334" fmla="*/ 715328 w 3574732"/>
                  <a:gd name="connsiteY334" fmla="*/ 135298 h 1473560"/>
                  <a:gd name="connsiteX335" fmla="*/ 701993 w 3574732"/>
                  <a:gd name="connsiteY335" fmla="*/ 140060 h 1473560"/>
                  <a:gd name="connsiteX336" fmla="*/ 690563 w 3574732"/>
                  <a:gd name="connsiteY336" fmla="*/ 140060 h 1473560"/>
                  <a:gd name="connsiteX337" fmla="*/ 684848 w 3574732"/>
                  <a:gd name="connsiteY337" fmla="*/ 140060 h 1473560"/>
                  <a:gd name="connsiteX338" fmla="*/ 670560 w 3574732"/>
                  <a:gd name="connsiteY338" fmla="*/ 141965 h 1473560"/>
                  <a:gd name="connsiteX339" fmla="*/ 662940 w 3574732"/>
                  <a:gd name="connsiteY339" fmla="*/ 142918 h 1473560"/>
                  <a:gd name="connsiteX340" fmla="*/ 652463 w 3574732"/>
                  <a:gd name="connsiteY340" fmla="*/ 147680 h 1473560"/>
                  <a:gd name="connsiteX341" fmla="*/ 637223 w 3574732"/>
                  <a:gd name="connsiteY341" fmla="*/ 153395 h 1473560"/>
                  <a:gd name="connsiteX342" fmla="*/ 619125 w 3574732"/>
                  <a:gd name="connsiteY342" fmla="*/ 158158 h 1473560"/>
                  <a:gd name="connsiteX343" fmla="*/ 605790 w 3574732"/>
                  <a:gd name="connsiteY343" fmla="*/ 161968 h 1473560"/>
                  <a:gd name="connsiteX344" fmla="*/ 598170 w 3574732"/>
                  <a:gd name="connsiteY344" fmla="*/ 165778 h 1473560"/>
                  <a:gd name="connsiteX345" fmla="*/ 587693 w 3574732"/>
                  <a:gd name="connsiteY345" fmla="*/ 170540 h 1473560"/>
                  <a:gd name="connsiteX346" fmla="*/ 579120 w 3574732"/>
                  <a:gd name="connsiteY346" fmla="*/ 180065 h 1473560"/>
                  <a:gd name="connsiteX347" fmla="*/ 576263 w 3574732"/>
                  <a:gd name="connsiteY347" fmla="*/ 183875 h 1473560"/>
                  <a:gd name="connsiteX348" fmla="*/ 560070 w 3574732"/>
                  <a:gd name="connsiteY348" fmla="*/ 195305 h 1473560"/>
                  <a:gd name="connsiteX349" fmla="*/ 551498 w 3574732"/>
                  <a:gd name="connsiteY349" fmla="*/ 200068 h 1473560"/>
                  <a:gd name="connsiteX350" fmla="*/ 535305 w 3574732"/>
                  <a:gd name="connsiteY350" fmla="*/ 208640 h 1473560"/>
                  <a:gd name="connsiteX351" fmla="*/ 524828 w 3574732"/>
                  <a:gd name="connsiteY351" fmla="*/ 220070 h 1473560"/>
                  <a:gd name="connsiteX352" fmla="*/ 520065 w 3574732"/>
                  <a:gd name="connsiteY352" fmla="*/ 227690 h 1473560"/>
                  <a:gd name="connsiteX353" fmla="*/ 512445 w 3574732"/>
                  <a:gd name="connsiteY353" fmla="*/ 237215 h 1473560"/>
                  <a:gd name="connsiteX354" fmla="*/ 494348 w 3574732"/>
                  <a:gd name="connsiteY354" fmla="*/ 245788 h 1473560"/>
                  <a:gd name="connsiteX355" fmla="*/ 478155 w 3574732"/>
                  <a:gd name="connsiteY355" fmla="*/ 257218 h 1473560"/>
                  <a:gd name="connsiteX356" fmla="*/ 467678 w 3574732"/>
                  <a:gd name="connsiteY356" fmla="*/ 259123 h 1473560"/>
                  <a:gd name="connsiteX357" fmla="*/ 457200 w 3574732"/>
                  <a:gd name="connsiteY357" fmla="*/ 265790 h 1473560"/>
                  <a:gd name="connsiteX358" fmla="*/ 439103 w 3574732"/>
                  <a:gd name="connsiteY358" fmla="*/ 268648 h 1473560"/>
                  <a:gd name="connsiteX359" fmla="*/ 428625 w 3574732"/>
                  <a:gd name="connsiteY359" fmla="*/ 274363 h 1473560"/>
                  <a:gd name="connsiteX360" fmla="*/ 422910 w 3574732"/>
                  <a:gd name="connsiteY360" fmla="*/ 278173 h 1473560"/>
                  <a:gd name="connsiteX361" fmla="*/ 415290 w 3574732"/>
                  <a:gd name="connsiteY361" fmla="*/ 283888 h 1473560"/>
                  <a:gd name="connsiteX362" fmla="*/ 409575 w 3574732"/>
                  <a:gd name="connsiteY362" fmla="*/ 286745 h 1473560"/>
                  <a:gd name="connsiteX363" fmla="*/ 401003 w 3574732"/>
                  <a:gd name="connsiteY363" fmla="*/ 295318 h 1473560"/>
                  <a:gd name="connsiteX364" fmla="*/ 395288 w 3574732"/>
                  <a:gd name="connsiteY364" fmla="*/ 304843 h 1473560"/>
                  <a:gd name="connsiteX365" fmla="*/ 398145 w 3574732"/>
                  <a:gd name="connsiteY365" fmla="*/ 317225 h 1473560"/>
                  <a:gd name="connsiteX366" fmla="*/ 401003 w 3574732"/>
                  <a:gd name="connsiteY366" fmla="*/ 329608 h 1473560"/>
                  <a:gd name="connsiteX367" fmla="*/ 401003 w 3574732"/>
                  <a:gd name="connsiteY367" fmla="*/ 334370 h 1473560"/>
                  <a:gd name="connsiteX368" fmla="*/ 405765 w 3574732"/>
                  <a:gd name="connsiteY368" fmla="*/ 338180 h 1473560"/>
                  <a:gd name="connsiteX369" fmla="*/ 411480 w 3574732"/>
                  <a:gd name="connsiteY369" fmla="*/ 342943 h 1473560"/>
                  <a:gd name="connsiteX370" fmla="*/ 414338 w 3574732"/>
                  <a:gd name="connsiteY370" fmla="*/ 351515 h 1473560"/>
                  <a:gd name="connsiteX371" fmla="*/ 420053 w 3574732"/>
                  <a:gd name="connsiteY371" fmla="*/ 361993 h 1473560"/>
                  <a:gd name="connsiteX372" fmla="*/ 427673 w 3574732"/>
                  <a:gd name="connsiteY372" fmla="*/ 361993 h 1473560"/>
                  <a:gd name="connsiteX373" fmla="*/ 443865 w 3574732"/>
                  <a:gd name="connsiteY373" fmla="*/ 360088 h 1473560"/>
                  <a:gd name="connsiteX374" fmla="*/ 452438 w 3574732"/>
                  <a:gd name="connsiteY374" fmla="*/ 355325 h 1473560"/>
                  <a:gd name="connsiteX375" fmla="*/ 460058 w 3574732"/>
                  <a:gd name="connsiteY375" fmla="*/ 352468 h 1473560"/>
                  <a:gd name="connsiteX376" fmla="*/ 462915 w 3574732"/>
                  <a:gd name="connsiteY376" fmla="*/ 348658 h 1473560"/>
                  <a:gd name="connsiteX377" fmla="*/ 467678 w 3574732"/>
                  <a:gd name="connsiteY377" fmla="*/ 343895 h 1473560"/>
                  <a:gd name="connsiteX378" fmla="*/ 478155 w 3574732"/>
                  <a:gd name="connsiteY378" fmla="*/ 341990 h 1473560"/>
                  <a:gd name="connsiteX379" fmla="*/ 483870 w 3574732"/>
                  <a:gd name="connsiteY379" fmla="*/ 341038 h 1473560"/>
                  <a:gd name="connsiteX380" fmla="*/ 492443 w 3574732"/>
                  <a:gd name="connsiteY380" fmla="*/ 341990 h 1473560"/>
                  <a:gd name="connsiteX381" fmla="*/ 493395 w 3574732"/>
                  <a:gd name="connsiteY381" fmla="*/ 351515 h 1473560"/>
                  <a:gd name="connsiteX382" fmla="*/ 499110 w 3574732"/>
                  <a:gd name="connsiteY382" fmla="*/ 358183 h 1473560"/>
                  <a:gd name="connsiteX383" fmla="*/ 504825 w 3574732"/>
                  <a:gd name="connsiteY383" fmla="*/ 363898 h 1473560"/>
                  <a:gd name="connsiteX384" fmla="*/ 512445 w 3574732"/>
                  <a:gd name="connsiteY384" fmla="*/ 367708 h 1473560"/>
                  <a:gd name="connsiteX385" fmla="*/ 522923 w 3574732"/>
                  <a:gd name="connsiteY385" fmla="*/ 377233 h 1473560"/>
                  <a:gd name="connsiteX386" fmla="*/ 521018 w 3574732"/>
                  <a:gd name="connsiteY386" fmla="*/ 384853 h 1473560"/>
                  <a:gd name="connsiteX387" fmla="*/ 523875 w 3574732"/>
                  <a:gd name="connsiteY387" fmla="*/ 395330 h 1473560"/>
                  <a:gd name="connsiteX388" fmla="*/ 538163 w 3574732"/>
                  <a:gd name="connsiteY388" fmla="*/ 399140 h 1473560"/>
                  <a:gd name="connsiteX389" fmla="*/ 549593 w 3574732"/>
                  <a:gd name="connsiteY389" fmla="*/ 398188 h 1473560"/>
                  <a:gd name="connsiteX390" fmla="*/ 558165 w 3574732"/>
                  <a:gd name="connsiteY390" fmla="*/ 393425 h 1473560"/>
                  <a:gd name="connsiteX391" fmla="*/ 569595 w 3574732"/>
                  <a:gd name="connsiteY391" fmla="*/ 389615 h 1473560"/>
                  <a:gd name="connsiteX392" fmla="*/ 580073 w 3574732"/>
                  <a:gd name="connsiteY392" fmla="*/ 382948 h 1473560"/>
                  <a:gd name="connsiteX393" fmla="*/ 585788 w 3574732"/>
                  <a:gd name="connsiteY393" fmla="*/ 379138 h 1473560"/>
                  <a:gd name="connsiteX394" fmla="*/ 585788 w 3574732"/>
                  <a:gd name="connsiteY394" fmla="*/ 373423 h 1473560"/>
                  <a:gd name="connsiteX395" fmla="*/ 596265 w 3574732"/>
                  <a:gd name="connsiteY395" fmla="*/ 361993 h 1473560"/>
                  <a:gd name="connsiteX396" fmla="*/ 601028 w 3574732"/>
                  <a:gd name="connsiteY396" fmla="*/ 355325 h 1473560"/>
                  <a:gd name="connsiteX397" fmla="*/ 606743 w 3574732"/>
                  <a:gd name="connsiteY397" fmla="*/ 348658 h 1473560"/>
                  <a:gd name="connsiteX398" fmla="*/ 614363 w 3574732"/>
                  <a:gd name="connsiteY398" fmla="*/ 341990 h 1473560"/>
                  <a:gd name="connsiteX399" fmla="*/ 620078 w 3574732"/>
                  <a:gd name="connsiteY399" fmla="*/ 337228 h 1473560"/>
                  <a:gd name="connsiteX400" fmla="*/ 621983 w 3574732"/>
                  <a:gd name="connsiteY400" fmla="*/ 323893 h 1473560"/>
                  <a:gd name="connsiteX401" fmla="*/ 621983 w 3574732"/>
                  <a:gd name="connsiteY401" fmla="*/ 319130 h 1473560"/>
                  <a:gd name="connsiteX402" fmla="*/ 616268 w 3574732"/>
                  <a:gd name="connsiteY402" fmla="*/ 318178 h 1473560"/>
                  <a:gd name="connsiteX403" fmla="*/ 604838 w 3574732"/>
                  <a:gd name="connsiteY403" fmla="*/ 317225 h 1473560"/>
                  <a:gd name="connsiteX404" fmla="*/ 599123 w 3574732"/>
                  <a:gd name="connsiteY404" fmla="*/ 314368 h 1473560"/>
                  <a:gd name="connsiteX405" fmla="*/ 599123 w 3574732"/>
                  <a:gd name="connsiteY405" fmla="*/ 307700 h 1473560"/>
                  <a:gd name="connsiteX406" fmla="*/ 601028 w 3574732"/>
                  <a:gd name="connsiteY406" fmla="*/ 301033 h 1473560"/>
                  <a:gd name="connsiteX407" fmla="*/ 614363 w 3574732"/>
                  <a:gd name="connsiteY407" fmla="*/ 291508 h 1473560"/>
                  <a:gd name="connsiteX408" fmla="*/ 622935 w 3574732"/>
                  <a:gd name="connsiteY408" fmla="*/ 287698 h 1473560"/>
                  <a:gd name="connsiteX409" fmla="*/ 636270 w 3574732"/>
                  <a:gd name="connsiteY409" fmla="*/ 277220 h 1473560"/>
                  <a:gd name="connsiteX410" fmla="*/ 641033 w 3574732"/>
                  <a:gd name="connsiteY410" fmla="*/ 273410 h 1473560"/>
                  <a:gd name="connsiteX411" fmla="*/ 649605 w 3574732"/>
                  <a:gd name="connsiteY411" fmla="*/ 265790 h 1473560"/>
                  <a:gd name="connsiteX412" fmla="*/ 658178 w 3574732"/>
                  <a:gd name="connsiteY412" fmla="*/ 260075 h 1473560"/>
                  <a:gd name="connsiteX413" fmla="*/ 661035 w 3574732"/>
                  <a:gd name="connsiteY413" fmla="*/ 250550 h 1473560"/>
                  <a:gd name="connsiteX414" fmla="*/ 662940 w 3574732"/>
                  <a:gd name="connsiteY414" fmla="*/ 245788 h 1473560"/>
                  <a:gd name="connsiteX415" fmla="*/ 668655 w 3574732"/>
                  <a:gd name="connsiteY415" fmla="*/ 240073 h 1473560"/>
                  <a:gd name="connsiteX416" fmla="*/ 680085 w 3574732"/>
                  <a:gd name="connsiteY416" fmla="*/ 233405 h 1473560"/>
                  <a:gd name="connsiteX417" fmla="*/ 688658 w 3574732"/>
                  <a:gd name="connsiteY417" fmla="*/ 231500 h 1473560"/>
                  <a:gd name="connsiteX418" fmla="*/ 696278 w 3574732"/>
                  <a:gd name="connsiteY418" fmla="*/ 228643 h 1473560"/>
                  <a:gd name="connsiteX419" fmla="*/ 707708 w 3574732"/>
                  <a:gd name="connsiteY419" fmla="*/ 227690 h 1473560"/>
                  <a:gd name="connsiteX420" fmla="*/ 719138 w 3574732"/>
                  <a:gd name="connsiteY420" fmla="*/ 228643 h 1473560"/>
                  <a:gd name="connsiteX421" fmla="*/ 733425 w 3574732"/>
                  <a:gd name="connsiteY421" fmla="*/ 231500 h 1473560"/>
                  <a:gd name="connsiteX422" fmla="*/ 733425 w 3574732"/>
                  <a:gd name="connsiteY422" fmla="*/ 237215 h 1473560"/>
                  <a:gd name="connsiteX423" fmla="*/ 730568 w 3574732"/>
                  <a:gd name="connsiteY423" fmla="*/ 244835 h 1473560"/>
                  <a:gd name="connsiteX424" fmla="*/ 727710 w 3574732"/>
                  <a:gd name="connsiteY424" fmla="*/ 251503 h 1473560"/>
                  <a:gd name="connsiteX425" fmla="*/ 724853 w 3574732"/>
                  <a:gd name="connsiteY425" fmla="*/ 256265 h 1473560"/>
                  <a:gd name="connsiteX426" fmla="*/ 720090 w 3574732"/>
                  <a:gd name="connsiteY426" fmla="*/ 261028 h 1473560"/>
                  <a:gd name="connsiteX427" fmla="*/ 701993 w 3574732"/>
                  <a:gd name="connsiteY427" fmla="*/ 266743 h 1473560"/>
                  <a:gd name="connsiteX428" fmla="*/ 685800 w 3574732"/>
                  <a:gd name="connsiteY428" fmla="*/ 271505 h 1473560"/>
                  <a:gd name="connsiteX429" fmla="*/ 678180 w 3574732"/>
                  <a:gd name="connsiteY429" fmla="*/ 275315 h 1473560"/>
                  <a:gd name="connsiteX430" fmla="*/ 678180 w 3574732"/>
                  <a:gd name="connsiteY430" fmla="*/ 281030 h 1473560"/>
                  <a:gd name="connsiteX431" fmla="*/ 676275 w 3574732"/>
                  <a:gd name="connsiteY431" fmla="*/ 291508 h 1473560"/>
                  <a:gd name="connsiteX432" fmla="*/ 677228 w 3574732"/>
                  <a:gd name="connsiteY432" fmla="*/ 301033 h 1473560"/>
                  <a:gd name="connsiteX433" fmla="*/ 672465 w 3574732"/>
                  <a:gd name="connsiteY433" fmla="*/ 311510 h 1473560"/>
                  <a:gd name="connsiteX434" fmla="*/ 678180 w 3574732"/>
                  <a:gd name="connsiteY434" fmla="*/ 321988 h 1473560"/>
                  <a:gd name="connsiteX435" fmla="*/ 683895 w 3574732"/>
                  <a:gd name="connsiteY435" fmla="*/ 324845 h 1473560"/>
                  <a:gd name="connsiteX436" fmla="*/ 695325 w 3574732"/>
                  <a:gd name="connsiteY436" fmla="*/ 324845 h 1473560"/>
                  <a:gd name="connsiteX437" fmla="*/ 705803 w 3574732"/>
                  <a:gd name="connsiteY437" fmla="*/ 328655 h 1473560"/>
                  <a:gd name="connsiteX438" fmla="*/ 720090 w 3574732"/>
                  <a:gd name="connsiteY438" fmla="*/ 329608 h 1473560"/>
                  <a:gd name="connsiteX439" fmla="*/ 733425 w 3574732"/>
                  <a:gd name="connsiteY439" fmla="*/ 328655 h 1473560"/>
                  <a:gd name="connsiteX440" fmla="*/ 743903 w 3574732"/>
                  <a:gd name="connsiteY440" fmla="*/ 326750 h 1473560"/>
                  <a:gd name="connsiteX441" fmla="*/ 752475 w 3574732"/>
                  <a:gd name="connsiteY441" fmla="*/ 323893 h 1473560"/>
                  <a:gd name="connsiteX442" fmla="*/ 760095 w 3574732"/>
                  <a:gd name="connsiteY442" fmla="*/ 323893 h 1473560"/>
                  <a:gd name="connsiteX443" fmla="*/ 779145 w 3574732"/>
                  <a:gd name="connsiteY443" fmla="*/ 323893 h 1473560"/>
                  <a:gd name="connsiteX444" fmla="*/ 793433 w 3574732"/>
                  <a:gd name="connsiteY444" fmla="*/ 324845 h 1473560"/>
                  <a:gd name="connsiteX445" fmla="*/ 796290 w 3574732"/>
                  <a:gd name="connsiteY445" fmla="*/ 328655 h 1473560"/>
                  <a:gd name="connsiteX446" fmla="*/ 790575 w 3574732"/>
                  <a:gd name="connsiteY446" fmla="*/ 337228 h 1473560"/>
                  <a:gd name="connsiteX447" fmla="*/ 782003 w 3574732"/>
                  <a:gd name="connsiteY447" fmla="*/ 337228 h 1473560"/>
                  <a:gd name="connsiteX448" fmla="*/ 776288 w 3574732"/>
                  <a:gd name="connsiteY448" fmla="*/ 339133 h 1473560"/>
                  <a:gd name="connsiteX449" fmla="*/ 758190 w 3574732"/>
                  <a:gd name="connsiteY449" fmla="*/ 340085 h 1473560"/>
                  <a:gd name="connsiteX450" fmla="*/ 740093 w 3574732"/>
                  <a:gd name="connsiteY450" fmla="*/ 341990 h 1473560"/>
                  <a:gd name="connsiteX451" fmla="*/ 725805 w 3574732"/>
                  <a:gd name="connsiteY451" fmla="*/ 343895 h 1473560"/>
                  <a:gd name="connsiteX452" fmla="*/ 721043 w 3574732"/>
                  <a:gd name="connsiteY452" fmla="*/ 347705 h 1473560"/>
                  <a:gd name="connsiteX453" fmla="*/ 719138 w 3574732"/>
                  <a:gd name="connsiteY453" fmla="*/ 353420 h 1473560"/>
                  <a:gd name="connsiteX454" fmla="*/ 713423 w 3574732"/>
                  <a:gd name="connsiteY454" fmla="*/ 360088 h 1473560"/>
                  <a:gd name="connsiteX455" fmla="*/ 705803 w 3574732"/>
                  <a:gd name="connsiteY455" fmla="*/ 368660 h 1473560"/>
                  <a:gd name="connsiteX456" fmla="*/ 695325 w 3574732"/>
                  <a:gd name="connsiteY456" fmla="*/ 370565 h 1473560"/>
                  <a:gd name="connsiteX457" fmla="*/ 687705 w 3574732"/>
                  <a:gd name="connsiteY457" fmla="*/ 370565 h 1473560"/>
                  <a:gd name="connsiteX458" fmla="*/ 674370 w 3574732"/>
                  <a:gd name="connsiteY458" fmla="*/ 372470 h 1473560"/>
                  <a:gd name="connsiteX459" fmla="*/ 669608 w 3574732"/>
                  <a:gd name="connsiteY459" fmla="*/ 378185 h 1473560"/>
                  <a:gd name="connsiteX460" fmla="*/ 664845 w 3574732"/>
                  <a:gd name="connsiteY460" fmla="*/ 382948 h 1473560"/>
                  <a:gd name="connsiteX461" fmla="*/ 662940 w 3574732"/>
                  <a:gd name="connsiteY461" fmla="*/ 388663 h 1473560"/>
                  <a:gd name="connsiteX462" fmla="*/ 657225 w 3574732"/>
                  <a:gd name="connsiteY462" fmla="*/ 398188 h 1473560"/>
                  <a:gd name="connsiteX463" fmla="*/ 649605 w 3574732"/>
                  <a:gd name="connsiteY463" fmla="*/ 404855 h 1473560"/>
                  <a:gd name="connsiteX464" fmla="*/ 627698 w 3574732"/>
                  <a:gd name="connsiteY464" fmla="*/ 409618 h 1473560"/>
                  <a:gd name="connsiteX465" fmla="*/ 600075 w 3574732"/>
                  <a:gd name="connsiteY465" fmla="*/ 414380 h 1473560"/>
                  <a:gd name="connsiteX466" fmla="*/ 594360 w 3574732"/>
                  <a:gd name="connsiteY466" fmla="*/ 414380 h 1473560"/>
                  <a:gd name="connsiteX467" fmla="*/ 578168 w 3574732"/>
                  <a:gd name="connsiteY467" fmla="*/ 415333 h 1473560"/>
                  <a:gd name="connsiteX468" fmla="*/ 560070 w 3574732"/>
                  <a:gd name="connsiteY468" fmla="*/ 417238 h 1473560"/>
                  <a:gd name="connsiteX469" fmla="*/ 551498 w 3574732"/>
                  <a:gd name="connsiteY469" fmla="*/ 418190 h 1473560"/>
                  <a:gd name="connsiteX470" fmla="*/ 540068 w 3574732"/>
                  <a:gd name="connsiteY470" fmla="*/ 417238 h 1473560"/>
                  <a:gd name="connsiteX471" fmla="*/ 523875 w 3574732"/>
                  <a:gd name="connsiteY471" fmla="*/ 414380 h 1473560"/>
                  <a:gd name="connsiteX472" fmla="*/ 506730 w 3574732"/>
                  <a:gd name="connsiteY472" fmla="*/ 413428 h 1473560"/>
                  <a:gd name="connsiteX473" fmla="*/ 498158 w 3574732"/>
                  <a:gd name="connsiteY473" fmla="*/ 413428 h 1473560"/>
                  <a:gd name="connsiteX474" fmla="*/ 486728 w 3574732"/>
                  <a:gd name="connsiteY474" fmla="*/ 413428 h 1473560"/>
                  <a:gd name="connsiteX475" fmla="*/ 481965 w 3574732"/>
                  <a:gd name="connsiteY475" fmla="*/ 407713 h 1473560"/>
                  <a:gd name="connsiteX476" fmla="*/ 498158 w 3574732"/>
                  <a:gd name="connsiteY476" fmla="*/ 401045 h 1473560"/>
                  <a:gd name="connsiteX477" fmla="*/ 493395 w 3574732"/>
                  <a:gd name="connsiteY477" fmla="*/ 395330 h 1473560"/>
                  <a:gd name="connsiteX478" fmla="*/ 484823 w 3574732"/>
                  <a:gd name="connsiteY478" fmla="*/ 391520 h 1473560"/>
                  <a:gd name="connsiteX479" fmla="*/ 484823 w 3574732"/>
                  <a:gd name="connsiteY479" fmla="*/ 386758 h 1473560"/>
                  <a:gd name="connsiteX480" fmla="*/ 477203 w 3574732"/>
                  <a:gd name="connsiteY480" fmla="*/ 376280 h 1473560"/>
                  <a:gd name="connsiteX481" fmla="*/ 474345 w 3574732"/>
                  <a:gd name="connsiteY481" fmla="*/ 369613 h 1473560"/>
                  <a:gd name="connsiteX482" fmla="*/ 466725 w 3574732"/>
                  <a:gd name="connsiteY482" fmla="*/ 368660 h 1473560"/>
                  <a:gd name="connsiteX483" fmla="*/ 461010 w 3574732"/>
                  <a:gd name="connsiteY483" fmla="*/ 374375 h 1473560"/>
                  <a:gd name="connsiteX484" fmla="*/ 450533 w 3574732"/>
                  <a:gd name="connsiteY484" fmla="*/ 377233 h 1473560"/>
                  <a:gd name="connsiteX485" fmla="*/ 445770 w 3574732"/>
                  <a:gd name="connsiteY485" fmla="*/ 381995 h 1473560"/>
                  <a:gd name="connsiteX486" fmla="*/ 443865 w 3574732"/>
                  <a:gd name="connsiteY486" fmla="*/ 390568 h 1473560"/>
                  <a:gd name="connsiteX487" fmla="*/ 443865 w 3574732"/>
                  <a:gd name="connsiteY487" fmla="*/ 399140 h 1473560"/>
                  <a:gd name="connsiteX488" fmla="*/ 446723 w 3574732"/>
                  <a:gd name="connsiteY488" fmla="*/ 408665 h 1473560"/>
                  <a:gd name="connsiteX489" fmla="*/ 449580 w 3574732"/>
                  <a:gd name="connsiteY489" fmla="*/ 403903 h 1473560"/>
                  <a:gd name="connsiteX490" fmla="*/ 446723 w 3574732"/>
                  <a:gd name="connsiteY490" fmla="*/ 414380 h 1473560"/>
                  <a:gd name="connsiteX491" fmla="*/ 435293 w 3574732"/>
                  <a:gd name="connsiteY491" fmla="*/ 416285 h 1473560"/>
                  <a:gd name="connsiteX492" fmla="*/ 430530 w 3574732"/>
                  <a:gd name="connsiteY492" fmla="*/ 416285 h 1473560"/>
                  <a:gd name="connsiteX493" fmla="*/ 420053 w 3574732"/>
                  <a:gd name="connsiteY493" fmla="*/ 417238 h 1473560"/>
                  <a:gd name="connsiteX494" fmla="*/ 411480 w 3574732"/>
                  <a:gd name="connsiteY494" fmla="*/ 417238 h 1473560"/>
                  <a:gd name="connsiteX495" fmla="*/ 389573 w 3574732"/>
                  <a:gd name="connsiteY495" fmla="*/ 421048 h 1473560"/>
                  <a:gd name="connsiteX496" fmla="*/ 383858 w 3574732"/>
                  <a:gd name="connsiteY496" fmla="*/ 427715 h 1473560"/>
                  <a:gd name="connsiteX497" fmla="*/ 379095 w 3574732"/>
                  <a:gd name="connsiteY497" fmla="*/ 433430 h 1473560"/>
                  <a:gd name="connsiteX498" fmla="*/ 376238 w 3574732"/>
                  <a:gd name="connsiteY498" fmla="*/ 440098 h 1473560"/>
                  <a:gd name="connsiteX499" fmla="*/ 362903 w 3574732"/>
                  <a:gd name="connsiteY499" fmla="*/ 447718 h 1473560"/>
                  <a:gd name="connsiteX500" fmla="*/ 348615 w 3574732"/>
                  <a:gd name="connsiteY500" fmla="*/ 451528 h 1473560"/>
                  <a:gd name="connsiteX501" fmla="*/ 340043 w 3574732"/>
                  <a:gd name="connsiteY501" fmla="*/ 457243 h 1473560"/>
                  <a:gd name="connsiteX502" fmla="*/ 334328 w 3574732"/>
                  <a:gd name="connsiteY502" fmla="*/ 464863 h 1473560"/>
                  <a:gd name="connsiteX503" fmla="*/ 328613 w 3574732"/>
                  <a:gd name="connsiteY503" fmla="*/ 468673 h 1473560"/>
                  <a:gd name="connsiteX504" fmla="*/ 312420 w 3574732"/>
                  <a:gd name="connsiteY504" fmla="*/ 472483 h 1473560"/>
                  <a:gd name="connsiteX505" fmla="*/ 299085 w 3574732"/>
                  <a:gd name="connsiteY505" fmla="*/ 477245 h 1473560"/>
                  <a:gd name="connsiteX506" fmla="*/ 293370 w 3574732"/>
                  <a:gd name="connsiteY506" fmla="*/ 480103 h 1473560"/>
                  <a:gd name="connsiteX507" fmla="*/ 282893 w 3574732"/>
                  <a:gd name="connsiteY507" fmla="*/ 481055 h 1473560"/>
                  <a:gd name="connsiteX508" fmla="*/ 275273 w 3574732"/>
                  <a:gd name="connsiteY508" fmla="*/ 484865 h 1473560"/>
                  <a:gd name="connsiteX509" fmla="*/ 260033 w 3574732"/>
                  <a:gd name="connsiteY509" fmla="*/ 489628 h 1473560"/>
                  <a:gd name="connsiteX510" fmla="*/ 248603 w 3574732"/>
                  <a:gd name="connsiteY510" fmla="*/ 489628 h 1473560"/>
                  <a:gd name="connsiteX511" fmla="*/ 224790 w 3574732"/>
                  <a:gd name="connsiteY511" fmla="*/ 490580 h 1473560"/>
                  <a:gd name="connsiteX512" fmla="*/ 214313 w 3574732"/>
                  <a:gd name="connsiteY512" fmla="*/ 496295 h 1473560"/>
                  <a:gd name="connsiteX513" fmla="*/ 217170 w 3574732"/>
                  <a:gd name="connsiteY513" fmla="*/ 500105 h 1473560"/>
                  <a:gd name="connsiteX514" fmla="*/ 222885 w 3574732"/>
                  <a:gd name="connsiteY514" fmla="*/ 502963 h 1473560"/>
                  <a:gd name="connsiteX515" fmla="*/ 228600 w 3574732"/>
                  <a:gd name="connsiteY515" fmla="*/ 505820 h 1473560"/>
                  <a:gd name="connsiteX516" fmla="*/ 234315 w 3574732"/>
                  <a:gd name="connsiteY516" fmla="*/ 506773 h 1473560"/>
                  <a:gd name="connsiteX517" fmla="*/ 245745 w 3574732"/>
                  <a:gd name="connsiteY517" fmla="*/ 508678 h 1473560"/>
                  <a:gd name="connsiteX518" fmla="*/ 254318 w 3574732"/>
                  <a:gd name="connsiteY518" fmla="*/ 509630 h 1473560"/>
                  <a:gd name="connsiteX519" fmla="*/ 273368 w 3574732"/>
                  <a:gd name="connsiteY519" fmla="*/ 520108 h 1473560"/>
                  <a:gd name="connsiteX520" fmla="*/ 276225 w 3574732"/>
                  <a:gd name="connsiteY520" fmla="*/ 524870 h 1473560"/>
                  <a:gd name="connsiteX521" fmla="*/ 276225 w 3574732"/>
                  <a:gd name="connsiteY521" fmla="*/ 532490 h 1473560"/>
                  <a:gd name="connsiteX522" fmla="*/ 276225 w 3574732"/>
                  <a:gd name="connsiteY522" fmla="*/ 538205 h 1473560"/>
                  <a:gd name="connsiteX523" fmla="*/ 273368 w 3574732"/>
                  <a:gd name="connsiteY523" fmla="*/ 550588 h 1473560"/>
                  <a:gd name="connsiteX524" fmla="*/ 268605 w 3574732"/>
                  <a:gd name="connsiteY524" fmla="*/ 561065 h 1473560"/>
                  <a:gd name="connsiteX525" fmla="*/ 262890 w 3574732"/>
                  <a:gd name="connsiteY525" fmla="*/ 562018 h 1473560"/>
                  <a:gd name="connsiteX526" fmla="*/ 257175 w 3574732"/>
                  <a:gd name="connsiteY526" fmla="*/ 562018 h 1473560"/>
                  <a:gd name="connsiteX527" fmla="*/ 246698 w 3574732"/>
                  <a:gd name="connsiteY527" fmla="*/ 564875 h 1473560"/>
                  <a:gd name="connsiteX528" fmla="*/ 236220 w 3574732"/>
                  <a:gd name="connsiteY528" fmla="*/ 564875 h 1473560"/>
                  <a:gd name="connsiteX529" fmla="*/ 225743 w 3574732"/>
                  <a:gd name="connsiteY529" fmla="*/ 564875 h 1473560"/>
                  <a:gd name="connsiteX530" fmla="*/ 206693 w 3574732"/>
                  <a:gd name="connsiteY530" fmla="*/ 564875 h 1473560"/>
                  <a:gd name="connsiteX531" fmla="*/ 192405 w 3574732"/>
                  <a:gd name="connsiteY531" fmla="*/ 563923 h 1473560"/>
                  <a:gd name="connsiteX532" fmla="*/ 186690 w 3574732"/>
                  <a:gd name="connsiteY532" fmla="*/ 561065 h 1473560"/>
                  <a:gd name="connsiteX533" fmla="*/ 178118 w 3574732"/>
                  <a:gd name="connsiteY533" fmla="*/ 560113 h 1473560"/>
                  <a:gd name="connsiteX534" fmla="*/ 170498 w 3574732"/>
                  <a:gd name="connsiteY534" fmla="*/ 560113 h 1473560"/>
                  <a:gd name="connsiteX535" fmla="*/ 161925 w 3574732"/>
                  <a:gd name="connsiteY535" fmla="*/ 562018 h 1473560"/>
                  <a:gd name="connsiteX536" fmla="*/ 153353 w 3574732"/>
                  <a:gd name="connsiteY536" fmla="*/ 564875 h 1473560"/>
                  <a:gd name="connsiteX537" fmla="*/ 151448 w 3574732"/>
                  <a:gd name="connsiteY537" fmla="*/ 570590 h 1473560"/>
                  <a:gd name="connsiteX538" fmla="*/ 149543 w 3574732"/>
                  <a:gd name="connsiteY538" fmla="*/ 581068 h 1473560"/>
                  <a:gd name="connsiteX539" fmla="*/ 144780 w 3574732"/>
                  <a:gd name="connsiteY539" fmla="*/ 586783 h 1473560"/>
                  <a:gd name="connsiteX540" fmla="*/ 141923 w 3574732"/>
                  <a:gd name="connsiteY540" fmla="*/ 592498 h 1473560"/>
                  <a:gd name="connsiteX541" fmla="*/ 144780 w 3574732"/>
                  <a:gd name="connsiteY541" fmla="*/ 602975 h 1473560"/>
                  <a:gd name="connsiteX542" fmla="*/ 145733 w 3574732"/>
                  <a:gd name="connsiteY542" fmla="*/ 611548 h 1473560"/>
                  <a:gd name="connsiteX543" fmla="*/ 143828 w 3574732"/>
                  <a:gd name="connsiteY543" fmla="*/ 624883 h 1473560"/>
                  <a:gd name="connsiteX544" fmla="*/ 144780 w 3574732"/>
                  <a:gd name="connsiteY544" fmla="*/ 631550 h 1473560"/>
                  <a:gd name="connsiteX545" fmla="*/ 145733 w 3574732"/>
                  <a:gd name="connsiteY545" fmla="*/ 642028 h 1473560"/>
                  <a:gd name="connsiteX546" fmla="*/ 167640 w 3574732"/>
                  <a:gd name="connsiteY546" fmla="*/ 647743 h 1473560"/>
                  <a:gd name="connsiteX547" fmla="*/ 188595 w 3574732"/>
                  <a:gd name="connsiteY547" fmla="*/ 649648 h 1473560"/>
                  <a:gd name="connsiteX548" fmla="*/ 204788 w 3574732"/>
                  <a:gd name="connsiteY548" fmla="*/ 648695 h 1473560"/>
                  <a:gd name="connsiteX549" fmla="*/ 223838 w 3574732"/>
                  <a:gd name="connsiteY549" fmla="*/ 646790 h 1473560"/>
                  <a:gd name="connsiteX550" fmla="*/ 237173 w 3574732"/>
                  <a:gd name="connsiteY550" fmla="*/ 647743 h 1473560"/>
                  <a:gd name="connsiteX551" fmla="*/ 251460 w 3574732"/>
                  <a:gd name="connsiteY551" fmla="*/ 644885 h 1473560"/>
                  <a:gd name="connsiteX552" fmla="*/ 260033 w 3574732"/>
                  <a:gd name="connsiteY552" fmla="*/ 642980 h 1473560"/>
                  <a:gd name="connsiteX553" fmla="*/ 265748 w 3574732"/>
                  <a:gd name="connsiteY553" fmla="*/ 642028 h 1473560"/>
                  <a:gd name="connsiteX554" fmla="*/ 280988 w 3574732"/>
                  <a:gd name="connsiteY554" fmla="*/ 635360 h 1473560"/>
                  <a:gd name="connsiteX555" fmla="*/ 286703 w 3574732"/>
                  <a:gd name="connsiteY555" fmla="*/ 633455 h 1473560"/>
                  <a:gd name="connsiteX556" fmla="*/ 292418 w 3574732"/>
                  <a:gd name="connsiteY556" fmla="*/ 629645 h 1473560"/>
                  <a:gd name="connsiteX557" fmla="*/ 302895 w 3574732"/>
                  <a:gd name="connsiteY557" fmla="*/ 622978 h 1473560"/>
                  <a:gd name="connsiteX558" fmla="*/ 302895 w 3574732"/>
                  <a:gd name="connsiteY558" fmla="*/ 617263 h 1473560"/>
                  <a:gd name="connsiteX559" fmla="*/ 305753 w 3574732"/>
                  <a:gd name="connsiteY559" fmla="*/ 608690 h 1473560"/>
                  <a:gd name="connsiteX560" fmla="*/ 313373 w 3574732"/>
                  <a:gd name="connsiteY560" fmla="*/ 607738 h 1473560"/>
                  <a:gd name="connsiteX561" fmla="*/ 319088 w 3574732"/>
                  <a:gd name="connsiteY561" fmla="*/ 602975 h 1473560"/>
                  <a:gd name="connsiteX562" fmla="*/ 320993 w 3574732"/>
                  <a:gd name="connsiteY562" fmla="*/ 597260 h 1473560"/>
                  <a:gd name="connsiteX563" fmla="*/ 326708 w 3574732"/>
                  <a:gd name="connsiteY563" fmla="*/ 593450 h 1473560"/>
                  <a:gd name="connsiteX564" fmla="*/ 344805 w 3574732"/>
                  <a:gd name="connsiteY564" fmla="*/ 589640 h 1473560"/>
                  <a:gd name="connsiteX565" fmla="*/ 353378 w 3574732"/>
                  <a:gd name="connsiteY565" fmla="*/ 582020 h 1473560"/>
                  <a:gd name="connsiteX566" fmla="*/ 359093 w 3574732"/>
                  <a:gd name="connsiteY566" fmla="*/ 579163 h 1473560"/>
                  <a:gd name="connsiteX567" fmla="*/ 361950 w 3574732"/>
                  <a:gd name="connsiteY567" fmla="*/ 574400 h 1473560"/>
                  <a:gd name="connsiteX568" fmla="*/ 366713 w 3574732"/>
                  <a:gd name="connsiteY568" fmla="*/ 570590 h 1473560"/>
                  <a:gd name="connsiteX569" fmla="*/ 368618 w 3574732"/>
                  <a:gd name="connsiteY569" fmla="*/ 566780 h 1473560"/>
                  <a:gd name="connsiteX570" fmla="*/ 374333 w 3574732"/>
                  <a:gd name="connsiteY570" fmla="*/ 562018 h 1473560"/>
                  <a:gd name="connsiteX571" fmla="*/ 382905 w 3574732"/>
                  <a:gd name="connsiteY571" fmla="*/ 563923 h 1473560"/>
                  <a:gd name="connsiteX572" fmla="*/ 388620 w 3574732"/>
                  <a:gd name="connsiteY572" fmla="*/ 563923 h 1473560"/>
                  <a:gd name="connsiteX573" fmla="*/ 391478 w 3574732"/>
                  <a:gd name="connsiteY573" fmla="*/ 568685 h 1473560"/>
                  <a:gd name="connsiteX574" fmla="*/ 397193 w 3574732"/>
                  <a:gd name="connsiteY574" fmla="*/ 571543 h 1473560"/>
                  <a:gd name="connsiteX575" fmla="*/ 404813 w 3574732"/>
                  <a:gd name="connsiteY575" fmla="*/ 573448 h 1473560"/>
                  <a:gd name="connsiteX576" fmla="*/ 410528 w 3574732"/>
                  <a:gd name="connsiteY576" fmla="*/ 572495 h 1473560"/>
                  <a:gd name="connsiteX577" fmla="*/ 416243 w 3574732"/>
                  <a:gd name="connsiteY577" fmla="*/ 571543 h 1473560"/>
                  <a:gd name="connsiteX578" fmla="*/ 426720 w 3574732"/>
                  <a:gd name="connsiteY578" fmla="*/ 565828 h 1473560"/>
                  <a:gd name="connsiteX579" fmla="*/ 434340 w 3574732"/>
                  <a:gd name="connsiteY579" fmla="*/ 560113 h 1473560"/>
                  <a:gd name="connsiteX580" fmla="*/ 440055 w 3574732"/>
                  <a:gd name="connsiteY580" fmla="*/ 557255 h 1473560"/>
                  <a:gd name="connsiteX581" fmla="*/ 447675 w 3574732"/>
                  <a:gd name="connsiteY581" fmla="*/ 553445 h 1473560"/>
                  <a:gd name="connsiteX582" fmla="*/ 455295 w 3574732"/>
                  <a:gd name="connsiteY582" fmla="*/ 554398 h 1473560"/>
                  <a:gd name="connsiteX583" fmla="*/ 462915 w 3574732"/>
                  <a:gd name="connsiteY583" fmla="*/ 554398 h 1473560"/>
                  <a:gd name="connsiteX584" fmla="*/ 468630 w 3574732"/>
                  <a:gd name="connsiteY584" fmla="*/ 556303 h 1473560"/>
                  <a:gd name="connsiteX585" fmla="*/ 474345 w 3574732"/>
                  <a:gd name="connsiteY585" fmla="*/ 558208 h 1473560"/>
                  <a:gd name="connsiteX586" fmla="*/ 482918 w 3574732"/>
                  <a:gd name="connsiteY586" fmla="*/ 562018 h 1473560"/>
                  <a:gd name="connsiteX587" fmla="*/ 493395 w 3574732"/>
                  <a:gd name="connsiteY587" fmla="*/ 568685 h 1473560"/>
                  <a:gd name="connsiteX588" fmla="*/ 496253 w 3574732"/>
                  <a:gd name="connsiteY588" fmla="*/ 574400 h 1473560"/>
                  <a:gd name="connsiteX589" fmla="*/ 504825 w 3574732"/>
                  <a:gd name="connsiteY589" fmla="*/ 580115 h 1473560"/>
                  <a:gd name="connsiteX590" fmla="*/ 512445 w 3574732"/>
                  <a:gd name="connsiteY590" fmla="*/ 585830 h 1473560"/>
                  <a:gd name="connsiteX591" fmla="*/ 521018 w 3574732"/>
                  <a:gd name="connsiteY591" fmla="*/ 592498 h 1473560"/>
                  <a:gd name="connsiteX592" fmla="*/ 526733 w 3574732"/>
                  <a:gd name="connsiteY592" fmla="*/ 594403 h 1473560"/>
                  <a:gd name="connsiteX593" fmla="*/ 537210 w 3574732"/>
                  <a:gd name="connsiteY593" fmla="*/ 598213 h 1473560"/>
                  <a:gd name="connsiteX594" fmla="*/ 551498 w 3574732"/>
                  <a:gd name="connsiteY594" fmla="*/ 603928 h 1473560"/>
                  <a:gd name="connsiteX595" fmla="*/ 560070 w 3574732"/>
                  <a:gd name="connsiteY595" fmla="*/ 605833 h 1473560"/>
                  <a:gd name="connsiteX596" fmla="*/ 561023 w 3574732"/>
                  <a:gd name="connsiteY596" fmla="*/ 610595 h 1473560"/>
                  <a:gd name="connsiteX597" fmla="*/ 563880 w 3574732"/>
                  <a:gd name="connsiteY597" fmla="*/ 615358 h 1473560"/>
                  <a:gd name="connsiteX598" fmla="*/ 566738 w 3574732"/>
                  <a:gd name="connsiteY598" fmla="*/ 620120 h 1473560"/>
                  <a:gd name="connsiteX599" fmla="*/ 567690 w 3574732"/>
                  <a:gd name="connsiteY599" fmla="*/ 626788 h 1473560"/>
                  <a:gd name="connsiteX600" fmla="*/ 575310 w 3574732"/>
                  <a:gd name="connsiteY600" fmla="*/ 629645 h 1473560"/>
                  <a:gd name="connsiteX601" fmla="*/ 581025 w 3574732"/>
                  <a:gd name="connsiteY601" fmla="*/ 630598 h 1473560"/>
                  <a:gd name="connsiteX602" fmla="*/ 589598 w 3574732"/>
                  <a:gd name="connsiteY602" fmla="*/ 627740 h 1473560"/>
                  <a:gd name="connsiteX603" fmla="*/ 589598 w 3574732"/>
                  <a:gd name="connsiteY603" fmla="*/ 620120 h 1473560"/>
                  <a:gd name="connsiteX604" fmla="*/ 589598 w 3574732"/>
                  <a:gd name="connsiteY604" fmla="*/ 612500 h 1473560"/>
                  <a:gd name="connsiteX605" fmla="*/ 589598 w 3574732"/>
                  <a:gd name="connsiteY605" fmla="*/ 609643 h 1473560"/>
                  <a:gd name="connsiteX606" fmla="*/ 589598 w 3574732"/>
                  <a:gd name="connsiteY606" fmla="*/ 608690 h 1473560"/>
                  <a:gd name="connsiteX607" fmla="*/ 589598 w 3574732"/>
                  <a:gd name="connsiteY607" fmla="*/ 608690 h 1473560"/>
                  <a:gd name="connsiteX608" fmla="*/ 588645 w 3574732"/>
                  <a:gd name="connsiteY608" fmla="*/ 604880 h 1473560"/>
                  <a:gd name="connsiteX609" fmla="*/ 594360 w 3574732"/>
                  <a:gd name="connsiteY609" fmla="*/ 602023 h 1473560"/>
                  <a:gd name="connsiteX610" fmla="*/ 601980 w 3574732"/>
                  <a:gd name="connsiteY610" fmla="*/ 597260 h 1473560"/>
                  <a:gd name="connsiteX611" fmla="*/ 598170 w 3574732"/>
                  <a:gd name="connsiteY611" fmla="*/ 590593 h 1473560"/>
                  <a:gd name="connsiteX612" fmla="*/ 592455 w 3574732"/>
                  <a:gd name="connsiteY612" fmla="*/ 589640 h 1473560"/>
                  <a:gd name="connsiteX613" fmla="*/ 584835 w 3574732"/>
                  <a:gd name="connsiteY613" fmla="*/ 587735 h 1473560"/>
                  <a:gd name="connsiteX614" fmla="*/ 579120 w 3574732"/>
                  <a:gd name="connsiteY614" fmla="*/ 586783 h 1473560"/>
                  <a:gd name="connsiteX615" fmla="*/ 573405 w 3574732"/>
                  <a:gd name="connsiteY615" fmla="*/ 584878 h 1473560"/>
                  <a:gd name="connsiteX616" fmla="*/ 561975 w 3574732"/>
                  <a:gd name="connsiteY616" fmla="*/ 578210 h 1473560"/>
                  <a:gd name="connsiteX617" fmla="*/ 557213 w 3574732"/>
                  <a:gd name="connsiteY617" fmla="*/ 576305 h 1473560"/>
                  <a:gd name="connsiteX618" fmla="*/ 549593 w 3574732"/>
                  <a:gd name="connsiteY618" fmla="*/ 571543 h 1473560"/>
                  <a:gd name="connsiteX619" fmla="*/ 532448 w 3574732"/>
                  <a:gd name="connsiteY619" fmla="*/ 562018 h 1473560"/>
                  <a:gd name="connsiteX620" fmla="*/ 521018 w 3574732"/>
                  <a:gd name="connsiteY620" fmla="*/ 556303 h 1473560"/>
                  <a:gd name="connsiteX621" fmla="*/ 514350 w 3574732"/>
                  <a:gd name="connsiteY621" fmla="*/ 545825 h 1473560"/>
                  <a:gd name="connsiteX622" fmla="*/ 514350 w 3574732"/>
                  <a:gd name="connsiteY622" fmla="*/ 541063 h 1473560"/>
                  <a:gd name="connsiteX623" fmla="*/ 519113 w 3574732"/>
                  <a:gd name="connsiteY623" fmla="*/ 536300 h 1473560"/>
                  <a:gd name="connsiteX624" fmla="*/ 541020 w 3574732"/>
                  <a:gd name="connsiteY624" fmla="*/ 540110 h 1473560"/>
                  <a:gd name="connsiteX625" fmla="*/ 546735 w 3574732"/>
                  <a:gd name="connsiteY625" fmla="*/ 542015 h 1473560"/>
                  <a:gd name="connsiteX626" fmla="*/ 554355 w 3574732"/>
                  <a:gd name="connsiteY626" fmla="*/ 545825 h 1473560"/>
                  <a:gd name="connsiteX627" fmla="*/ 560070 w 3574732"/>
                  <a:gd name="connsiteY627" fmla="*/ 549635 h 1473560"/>
                  <a:gd name="connsiteX628" fmla="*/ 574358 w 3574732"/>
                  <a:gd name="connsiteY628" fmla="*/ 554398 h 1473560"/>
                  <a:gd name="connsiteX629" fmla="*/ 584835 w 3574732"/>
                  <a:gd name="connsiteY629" fmla="*/ 559160 h 1473560"/>
                  <a:gd name="connsiteX630" fmla="*/ 592455 w 3574732"/>
                  <a:gd name="connsiteY630" fmla="*/ 563923 h 1473560"/>
                  <a:gd name="connsiteX631" fmla="*/ 608648 w 3574732"/>
                  <a:gd name="connsiteY631" fmla="*/ 569638 h 1473560"/>
                  <a:gd name="connsiteX632" fmla="*/ 617220 w 3574732"/>
                  <a:gd name="connsiteY632" fmla="*/ 578210 h 1473560"/>
                  <a:gd name="connsiteX633" fmla="*/ 621030 w 3574732"/>
                  <a:gd name="connsiteY633" fmla="*/ 584878 h 1473560"/>
                  <a:gd name="connsiteX634" fmla="*/ 628650 w 3574732"/>
                  <a:gd name="connsiteY634" fmla="*/ 591545 h 1473560"/>
                  <a:gd name="connsiteX635" fmla="*/ 632460 w 3574732"/>
                  <a:gd name="connsiteY635" fmla="*/ 597260 h 1473560"/>
                  <a:gd name="connsiteX636" fmla="*/ 637223 w 3574732"/>
                  <a:gd name="connsiteY636" fmla="*/ 603928 h 1473560"/>
                  <a:gd name="connsiteX637" fmla="*/ 638175 w 3574732"/>
                  <a:gd name="connsiteY637" fmla="*/ 611548 h 1473560"/>
                  <a:gd name="connsiteX638" fmla="*/ 641033 w 3574732"/>
                  <a:gd name="connsiteY638" fmla="*/ 616310 h 1473560"/>
                  <a:gd name="connsiteX639" fmla="*/ 649605 w 3574732"/>
                  <a:gd name="connsiteY639" fmla="*/ 622025 h 1473560"/>
                  <a:gd name="connsiteX640" fmla="*/ 653415 w 3574732"/>
                  <a:gd name="connsiteY640" fmla="*/ 626788 h 1473560"/>
                  <a:gd name="connsiteX641" fmla="*/ 661988 w 3574732"/>
                  <a:gd name="connsiteY641" fmla="*/ 631550 h 1473560"/>
                  <a:gd name="connsiteX642" fmla="*/ 667703 w 3574732"/>
                  <a:gd name="connsiteY642" fmla="*/ 636313 h 1473560"/>
                  <a:gd name="connsiteX643" fmla="*/ 667703 w 3574732"/>
                  <a:gd name="connsiteY643" fmla="*/ 642028 h 1473560"/>
                  <a:gd name="connsiteX644" fmla="*/ 670560 w 3574732"/>
                  <a:gd name="connsiteY644" fmla="*/ 650600 h 1473560"/>
                  <a:gd name="connsiteX645" fmla="*/ 678180 w 3574732"/>
                  <a:gd name="connsiteY645" fmla="*/ 652505 h 1473560"/>
                  <a:gd name="connsiteX646" fmla="*/ 688658 w 3574732"/>
                  <a:gd name="connsiteY646" fmla="*/ 652505 h 1473560"/>
                  <a:gd name="connsiteX647" fmla="*/ 701993 w 3574732"/>
                  <a:gd name="connsiteY647" fmla="*/ 648695 h 1473560"/>
                  <a:gd name="connsiteX648" fmla="*/ 704850 w 3574732"/>
                  <a:gd name="connsiteY648" fmla="*/ 645838 h 1473560"/>
                  <a:gd name="connsiteX649" fmla="*/ 710565 w 3574732"/>
                  <a:gd name="connsiteY649" fmla="*/ 642980 h 1473560"/>
                  <a:gd name="connsiteX650" fmla="*/ 715328 w 3574732"/>
                  <a:gd name="connsiteY650" fmla="*/ 638218 h 1473560"/>
                  <a:gd name="connsiteX651" fmla="*/ 715328 w 3574732"/>
                  <a:gd name="connsiteY651" fmla="*/ 632503 h 1473560"/>
                  <a:gd name="connsiteX652" fmla="*/ 715328 w 3574732"/>
                  <a:gd name="connsiteY652" fmla="*/ 625835 h 1473560"/>
                  <a:gd name="connsiteX653" fmla="*/ 712470 w 3574732"/>
                  <a:gd name="connsiteY653" fmla="*/ 621073 h 1473560"/>
                  <a:gd name="connsiteX654" fmla="*/ 712470 w 3574732"/>
                  <a:gd name="connsiteY654" fmla="*/ 616310 h 1473560"/>
                  <a:gd name="connsiteX655" fmla="*/ 711518 w 3574732"/>
                  <a:gd name="connsiteY655" fmla="*/ 611548 h 1473560"/>
                  <a:gd name="connsiteX656" fmla="*/ 713423 w 3574732"/>
                  <a:gd name="connsiteY656" fmla="*/ 604880 h 1473560"/>
                  <a:gd name="connsiteX657" fmla="*/ 719138 w 3574732"/>
                  <a:gd name="connsiteY657" fmla="*/ 601070 h 1473560"/>
                  <a:gd name="connsiteX658" fmla="*/ 741045 w 3574732"/>
                  <a:gd name="connsiteY658" fmla="*/ 602975 h 1473560"/>
                  <a:gd name="connsiteX659" fmla="*/ 748665 w 3574732"/>
                  <a:gd name="connsiteY659" fmla="*/ 607738 h 1473560"/>
                  <a:gd name="connsiteX660" fmla="*/ 749618 w 3574732"/>
                  <a:gd name="connsiteY660" fmla="*/ 612500 h 1473560"/>
                  <a:gd name="connsiteX661" fmla="*/ 753428 w 3574732"/>
                  <a:gd name="connsiteY661" fmla="*/ 623930 h 1473560"/>
                  <a:gd name="connsiteX662" fmla="*/ 756285 w 3574732"/>
                  <a:gd name="connsiteY662" fmla="*/ 630598 h 1473560"/>
                  <a:gd name="connsiteX663" fmla="*/ 763905 w 3574732"/>
                  <a:gd name="connsiteY663" fmla="*/ 637265 h 1473560"/>
                  <a:gd name="connsiteX664" fmla="*/ 772478 w 3574732"/>
                  <a:gd name="connsiteY664" fmla="*/ 641075 h 1473560"/>
                  <a:gd name="connsiteX665" fmla="*/ 773430 w 3574732"/>
                  <a:gd name="connsiteY665" fmla="*/ 644885 h 1473560"/>
                  <a:gd name="connsiteX666" fmla="*/ 783908 w 3574732"/>
                  <a:gd name="connsiteY666" fmla="*/ 646790 h 1473560"/>
                  <a:gd name="connsiteX667" fmla="*/ 801053 w 3574732"/>
                  <a:gd name="connsiteY667" fmla="*/ 650600 h 1473560"/>
                  <a:gd name="connsiteX668" fmla="*/ 812483 w 3574732"/>
                  <a:gd name="connsiteY668" fmla="*/ 651553 h 1473560"/>
                  <a:gd name="connsiteX669" fmla="*/ 826770 w 3574732"/>
                  <a:gd name="connsiteY669" fmla="*/ 651553 h 1473560"/>
                  <a:gd name="connsiteX670" fmla="*/ 840105 w 3574732"/>
                  <a:gd name="connsiteY670" fmla="*/ 651553 h 1473560"/>
                  <a:gd name="connsiteX671" fmla="*/ 848678 w 3574732"/>
                  <a:gd name="connsiteY671" fmla="*/ 651553 h 1473560"/>
                  <a:gd name="connsiteX672" fmla="*/ 862965 w 3574732"/>
                  <a:gd name="connsiteY672" fmla="*/ 650600 h 1473560"/>
                  <a:gd name="connsiteX673" fmla="*/ 874395 w 3574732"/>
                  <a:gd name="connsiteY673" fmla="*/ 650600 h 1473560"/>
                  <a:gd name="connsiteX674" fmla="*/ 887730 w 3574732"/>
                  <a:gd name="connsiteY674" fmla="*/ 650600 h 1473560"/>
                  <a:gd name="connsiteX675" fmla="*/ 896303 w 3574732"/>
                  <a:gd name="connsiteY675" fmla="*/ 653458 h 1473560"/>
                  <a:gd name="connsiteX676" fmla="*/ 904875 w 3574732"/>
                  <a:gd name="connsiteY676" fmla="*/ 660125 h 1473560"/>
                  <a:gd name="connsiteX677" fmla="*/ 918210 w 3574732"/>
                  <a:gd name="connsiteY677" fmla="*/ 662983 h 1473560"/>
                  <a:gd name="connsiteX678" fmla="*/ 918210 w 3574732"/>
                  <a:gd name="connsiteY678" fmla="*/ 666793 h 1473560"/>
                  <a:gd name="connsiteX679" fmla="*/ 918210 w 3574732"/>
                  <a:gd name="connsiteY679" fmla="*/ 673460 h 1473560"/>
                  <a:gd name="connsiteX680" fmla="*/ 912495 w 3574732"/>
                  <a:gd name="connsiteY680" fmla="*/ 677270 h 1473560"/>
                  <a:gd name="connsiteX681" fmla="*/ 904875 w 3574732"/>
                  <a:gd name="connsiteY681" fmla="*/ 681080 h 1473560"/>
                  <a:gd name="connsiteX682" fmla="*/ 902018 w 3574732"/>
                  <a:gd name="connsiteY682" fmla="*/ 684890 h 1473560"/>
                  <a:gd name="connsiteX683" fmla="*/ 896303 w 3574732"/>
                  <a:gd name="connsiteY683" fmla="*/ 691558 h 1473560"/>
                  <a:gd name="connsiteX684" fmla="*/ 894398 w 3574732"/>
                  <a:gd name="connsiteY684" fmla="*/ 702035 h 1473560"/>
                  <a:gd name="connsiteX685" fmla="*/ 894398 w 3574732"/>
                  <a:gd name="connsiteY685" fmla="*/ 711560 h 1473560"/>
                  <a:gd name="connsiteX686" fmla="*/ 889635 w 3574732"/>
                  <a:gd name="connsiteY686" fmla="*/ 717275 h 1473560"/>
                  <a:gd name="connsiteX687" fmla="*/ 881063 w 3574732"/>
                  <a:gd name="connsiteY687" fmla="*/ 720133 h 1473560"/>
                  <a:gd name="connsiteX688" fmla="*/ 862013 w 3574732"/>
                  <a:gd name="connsiteY688" fmla="*/ 722038 h 1473560"/>
                  <a:gd name="connsiteX689" fmla="*/ 850583 w 3574732"/>
                  <a:gd name="connsiteY689" fmla="*/ 722038 h 1473560"/>
                  <a:gd name="connsiteX690" fmla="*/ 842963 w 3574732"/>
                  <a:gd name="connsiteY690" fmla="*/ 721085 h 1473560"/>
                  <a:gd name="connsiteX691" fmla="*/ 834390 w 3574732"/>
                  <a:gd name="connsiteY691" fmla="*/ 724895 h 1473560"/>
                  <a:gd name="connsiteX692" fmla="*/ 807720 w 3574732"/>
                  <a:gd name="connsiteY692" fmla="*/ 727753 h 1473560"/>
                  <a:gd name="connsiteX693" fmla="*/ 793433 w 3574732"/>
                  <a:gd name="connsiteY693" fmla="*/ 727753 h 1473560"/>
                  <a:gd name="connsiteX694" fmla="*/ 771525 w 3574732"/>
                  <a:gd name="connsiteY694" fmla="*/ 725848 h 1473560"/>
                  <a:gd name="connsiteX695" fmla="*/ 758190 w 3574732"/>
                  <a:gd name="connsiteY695" fmla="*/ 723943 h 1473560"/>
                  <a:gd name="connsiteX696" fmla="*/ 750570 w 3574732"/>
                  <a:gd name="connsiteY696" fmla="*/ 722038 h 1473560"/>
                  <a:gd name="connsiteX697" fmla="*/ 734378 w 3574732"/>
                  <a:gd name="connsiteY697" fmla="*/ 720133 h 1473560"/>
                  <a:gd name="connsiteX698" fmla="*/ 718185 w 3574732"/>
                  <a:gd name="connsiteY698" fmla="*/ 715370 h 1473560"/>
                  <a:gd name="connsiteX699" fmla="*/ 706755 w 3574732"/>
                  <a:gd name="connsiteY699" fmla="*/ 714418 h 1473560"/>
                  <a:gd name="connsiteX700" fmla="*/ 684848 w 3574732"/>
                  <a:gd name="connsiteY700" fmla="*/ 711560 h 1473560"/>
                  <a:gd name="connsiteX701" fmla="*/ 667703 w 3574732"/>
                  <a:gd name="connsiteY701" fmla="*/ 711560 h 1473560"/>
                  <a:gd name="connsiteX702" fmla="*/ 651510 w 3574732"/>
                  <a:gd name="connsiteY702" fmla="*/ 713465 h 1473560"/>
                  <a:gd name="connsiteX703" fmla="*/ 648653 w 3574732"/>
                  <a:gd name="connsiteY703" fmla="*/ 719180 h 1473560"/>
                  <a:gd name="connsiteX704" fmla="*/ 632460 w 3574732"/>
                  <a:gd name="connsiteY704" fmla="*/ 728705 h 1473560"/>
                  <a:gd name="connsiteX705" fmla="*/ 607695 w 3574732"/>
                  <a:gd name="connsiteY705" fmla="*/ 726800 h 1473560"/>
                  <a:gd name="connsiteX706" fmla="*/ 596265 w 3574732"/>
                  <a:gd name="connsiteY706" fmla="*/ 723943 h 1473560"/>
                  <a:gd name="connsiteX707" fmla="*/ 585788 w 3574732"/>
                  <a:gd name="connsiteY707" fmla="*/ 721085 h 1473560"/>
                  <a:gd name="connsiteX708" fmla="*/ 571500 w 3574732"/>
                  <a:gd name="connsiteY708" fmla="*/ 717275 h 1473560"/>
                  <a:gd name="connsiteX709" fmla="*/ 560070 w 3574732"/>
                  <a:gd name="connsiteY709" fmla="*/ 714418 h 1473560"/>
                  <a:gd name="connsiteX710" fmla="*/ 548640 w 3574732"/>
                  <a:gd name="connsiteY710" fmla="*/ 710608 h 1473560"/>
                  <a:gd name="connsiteX711" fmla="*/ 537210 w 3574732"/>
                  <a:gd name="connsiteY711" fmla="*/ 707750 h 1473560"/>
                  <a:gd name="connsiteX712" fmla="*/ 521018 w 3574732"/>
                  <a:gd name="connsiteY712" fmla="*/ 704893 h 1473560"/>
                  <a:gd name="connsiteX713" fmla="*/ 515303 w 3574732"/>
                  <a:gd name="connsiteY713" fmla="*/ 701083 h 1473560"/>
                  <a:gd name="connsiteX714" fmla="*/ 507683 w 3574732"/>
                  <a:gd name="connsiteY714" fmla="*/ 697273 h 1473560"/>
                  <a:gd name="connsiteX715" fmla="*/ 501968 w 3574732"/>
                  <a:gd name="connsiteY715" fmla="*/ 697273 h 1473560"/>
                  <a:gd name="connsiteX716" fmla="*/ 494348 w 3574732"/>
                  <a:gd name="connsiteY716" fmla="*/ 694415 h 1473560"/>
                  <a:gd name="connsiteX717" fmla="*/ 488633 w 3574732"/>
                  <a:gd name="connsiteY717" fmla="*/ 689653 h 1473560"/>
                  <a:gd name="connsiteX718" fmla="*/ 482918 w 3574732"/>
                  <a:gd name="connsiteY718" fmla="*/ 681080 h 1473560"/>
                  <a:gd name="connsiteX719" fmla="*/ 482918 w 3574732"/>
                  <a:gd name="connsiteY719" fmla="*/ 675365 h 1473560"/>
                  <a:gd name="connsiteX720" fmla="*/ 485775 w 3574732"/>
                  <a:gd name="connsiteY720" fmla="*/ 662983 h 1473560"/>
                  <a:gd name="connsiteX721" fmla="*/ 484823 w 3574732"/>
                  <a:gd name="connsiteY721" fmla="*/ 655363 h 1473560"/>
                  <a:gd name="connsiteX722" fmla="*/ 480060 w 3574732"/>
                  <a:gd name="connsiteY722" fmla="*/ 651553 h 1473560"/>
                  <a:gd name="connsiteX723" fmla="*/ 461010 w 3574732"/>
                  <a:gd name="connsiteY723" fmla="*/ 652505 h 1473560"/>
                  <a:gd name="connsiteX724" fmla="*/ 450533 w 3574732"/>
                  <a:gd name="connsiteY724" fmla="*/ 652505 h 1473560"/>
                  <a:gd name="connsiteX725" fmla="*/ 440055 w 3574732"/>
                  <a:gd name="connsiteY725" fmla="*/ 652505 h 1473560"/>
                  <a:gd name="connsiteX726" fmla="*/ 421005 w 3574732"/>
                  <a:gd name="connsiteY726" fmla="*/ 651553 h 1473560"/>
                  <a:gd name="connsiteX727" fmla="*/ 410528 w 3574732"/>
                  <a:gd name="connsiteY727" fmla="*/ 651553 h 1473560"/>
                  <a:gd name="connsiteX728" fmla="*/ 402908 w 3574732"/>
                  <a:gd name="connsiteY728" fmla="*/ 650600 h 1473560"/>
                  <a:gd name="connsiteX729" fmla="*/ 392430 w 3574732"/>
                  <a:gd name="connsiteY729" fmla="*/ 650600 h 1473560"/>
                  <a:gd name="connsiteX730" fmla="*/ 373380 w 3574732"/>
                  <a:gd name="connsiteY730" fmla="*/ 650600 h 1473560"/>
                  <a:gd name="connsiteX731" fmla="*/ 365760 w 3574732"/>
                  <a:gd name="connsiteY731" fmla="*/ 650600 h 1473560"/>
                  <a:gd name="connsiteX732" fmla="*/ 352425 w 3574732"/>
                  <a:gd name="connsiteY732" fmla="*/ 650600 h 1473560"/>
                  <a:gd name="connsiteX733" fmla="*/ 339090 w 3574732"/>
                  <a:gd name="connsiteY733" fmla="*/ 650600 h 1473560"/>
                  <a:gd name="connsiteX734" fmla="*/ 330518 w 3574732"/>
                  <a:gd name="connsiteY734" fmla="*/ 653458 h 1473560"/>
                  <a:gd name="connsiteX735" fmla="*/ 324803 w 3574732"/>
                  <a:gd name="connsiteY735" fmla="*/ 658220 h 1473560"/>
                  <a:gd name="connsiteX736" fmla="*/ 316230 w 3574732"/>
                  <a:gd name="connsiteY736" fmla="*/ 659173 h 1473560"/>
                  <a:gd name="connsiteX737" fmla="*/ 304800 w 3574732"/>
                  <a:gd name="connsiteY737" fmla="*/ 662030 h 1473560"/>
                  <a:gd name="connsiteX738" fmla="*/ 294323 w 3574732"/>
                  <a:gd name="connsiteY738" fmla="*/ 662983 h 1473560"/>
                  <a:gd name="connsiteX739" fmla="*/ 288608 w 3574732"/>
                  <a:gd name="connsiteY739" fmla="*/ 663935 h 1473560"/>
                  <a:gd name="connsiteX740" fmla="*/ 280988 w 3574732"/>
                  <a:gd name="connsiteY740" fmla="*/ 667745 h 1473560"/>
                  <a:gd name="connsiteX741" fmla="*/ 261938 w 3574732"/>
                  <a:gd name="connsiteY741" fmla="*/ 670603 h 1473560"/>
                  <a:gd name="connsiteX742" fmla="*/ 254318 w 3574732"/>
                  <a:gd name="connsiteY742" fmla="*/ 671555 h 1473560"/>
                  <a:gd name="connsiteX743" fmla="*/ 238125 w 3574732"/>
                  <a:gd name="connsiteY743" fmla="*/ 679175 h 1473560"/>
                  <a:gd name="connsiteX744" fmla="*/ 219075 w 3574732"/>
                  <a:gd name="connsiteY744" fmla="*/ 674413 h 1473560"/>
                  <a:gd name="connsiteX745" fmla="*/ 205740 w 3574732"/>
                  <a:gd name="connsiteY745" fmla="*/ 674413 h 1473560"/>
                  <a:gd name="connsiteX746" fmla="*/ 200025 w 3574732"/>
                  <a:gd name="connsiteY746" fmla="*/ 678223 h 1473560"/>
                  <a:gd name="connsiteX747" fmla="*/ 188595 w 3574732"/>
                  <a:gd name="connsiteY747" fmla="*/ 681080 h 1473560"/>
                  <a:gd name="connsiteX748" fmla="*/ 177165 w 3574732"/>
                  <a:gd name="connsiteY748" fmla="*/ 684890 h 1473560"/>
                  <a:gd name="connsiteX749" fmla="*/ 168593 w 3574732"/>
                  <a:gd name="connsiteY749" fmla="*/ 691558 h 1473560"/>
                  <a:gd name="connsiteX750" fmla="*/ 160020 w 3574732"/>
                  <a:gd name="connsiteY750" fmla="*/ 692510 h 1473560"/>
                  <a:gd name="connsiteX751" fmla="*/ 155258 w 3574732"/>
                  <a:gd name="connsiteY751" fmla="*/ 693463 h 1473560"/>
                  <a:gd name="connsiteX752" fmla="*/ 149543 w 3574732"/>
                  <a:gd name="connsiteY752" fmla="*/ 695368 h 1473560"/>
                  <a:gd name="connsiteX753" fmla="*/ 146685 w 3574732"/>
                  <a:gd name="connsiteY753" fmla="*/ 701083 h 1473560"/>
                  <a:gd name="connsiteX754" fmla="*/ 141923 w 3574732"/>
                  <a:gd name="connsiteY754" fmla="*/ 706798 h 1473560"/>
                  <a:gd name="connsiteX755" fmla="*/ 136208 w 3574732"/>
                  <a:gd name="connsiteY755" fmla="*/ 711560 h 1473560"/>
                  <a:gd name="connsiteX756" fmla="*/ 131445 w 3574732"/>
                  <a:gd name="connsiteY756" fmla="*/ 721085 h 1473560"/>
                  <a:gd name="connsiteX757" fmla="*/ 128588 w 3574732"/>
                  <a:gd name="connsiteY757" fmla="*/ 729658 h 1473560"/>
                  <a:gd name="connsiteX758" fmla="*/ 122873 w 3574732"/>
                  <a:gd name="connsiteY758" fmla="*/ 740135 h 1473560"/>
                  <a:gd name="connsiteX759" fmla="*/ 115253 w 3574732"/>
                  <a:gd name="connsiteY759" fmla="*/ 744898 h 1473560"/>
                  <a:gd name="connsiteX760" fmla="*/ 104775 w 3574732"/>
                  <a:gd name="connsiteY760" fmla="*/ 749660 h 1473560"/>
                  <a:gd name="connsiteX761" fmla="*/ 97155 w 3574732"/>
                  <a:gd name="connsiteY761" fmla="*/ 746803 h 1473560"/>
                  <a:gd name="connsiteX762" fmla="*/ 81915 w 3574732"/>
                  <a:gd name="connsiteY762" fmla="*/ 754423 h 1473560"/>
                  <a:gd name="connsiteX763" fmla="*/ 76200 w 3574732"/>
                  <a:gd name="connsiteY763" fmla="*/ 756328 h 1473560"/>
                  <a:gd name="connsiteX764" fmla="*/ 68580 w 3574732"/>
                  <a:gd name="connsiteY764" fmla="*/ 762995 h 1473560"/>
                  <a:gd name="connsiteX765" fmla="*/ 63818 w 3574732"/>
                  <a:gd name="connsiteY765" fmla="*/ 767758 h 1473560"/>
                  <a:gd name="connsiteX766" fmla="*/ 56198 w 3574732"/>
                  <a:gd name="connsiteY766" fmla="*/ 781093 h 1473560"/>
                  <a:gd name="connsiteX767" fmla="*/ 51435 w 3574732"/>
                  <a:gd name="connsiteY767" fmla="*/ 782045 h 1473560"/>
                  <a:gd name="connsiteX768" fmla="*/ 40958 w 3574732"/>
                  <a:gd name="connsiteY768" fmla="*/ 787760 h 1473560"/>
                  <a:gd name="connsiteX769" fmla="*/ 25718 w 3574732"/>
                  <a:gd name="connsiteY769" fmla="*/ 794428 h 1473560"/>
                  <a:gd name="connsiteX770" fmla="*/ 18098 w 3574732"/>
                  <a:gd name="connsiteY770" fmla="*/ 802048 h 1473560"/>
                  <a:gd name="connsiteX771" fmla="*/ 12383 w 3574732"/>
                  <a:gd name="connsiteY771" fmla="*/ 815383 h 1473560"/>
                  <a:gd name="connsiteX772" fmla="*/ 6668 w 3574732"/>
                  <a:gd name="connsiteY772" fmla="*/ 823955 h 1473560"/>
                  <a:gd name="connsiteX773" fmla="*/ 6668 w 3574732"/>
                  <a:gd name="connsiteY773" fmla="*/ 834433 h 1473560"/>
                  <a:gd name="connsiteX774" fmla="*/ 6668 w 3574732"/>
                  <a:gd name="connsiteY774" fmla="*/ 839195 h 1473560"/>
                  <a:gd name="connsiteX775" fmla="*/ 6668 w 3574732"/>
                  <a:gd name="connsiteY775" fmla="*/ 850625 h 1473560"/>
                  <a:gd name="connsiteX776" fmla="*/ 9525 w 3574732"/>
                  <a:gd name="connsiteY776" fmla="*/ 864913 h 1473560"/>
                  <a:gd name="connsiteX777" fmla="*/ 9525 w 3574732"/>
                  <a:gd name="connsiteY777" fmla="*/ 874438 h 1473560"/>
                  <a:gd name="connsiteX778" fmla="*/ 7620 w 3574732"/>
                  <a:gd name="connsiteY778" fmla="*/ 888725 h 1473560"/>
                  <a:gd name="connsiteX779" fmla="*/ 5715 w 3574732"/>
                  <a:gd name="connsiteY779" fmla="*/ 894440 h 1473560"/>
                  <a:gd name="connsiteX780" fmla="*/ 2858 w 3574732"/>
                  <a:gd name="connsiteY780" fmla="*/ 908728 h 1473560"/>
                  <a:gd name="connsiteX781" fmla="*/ 0 w 3574732"/>
                  <a:gd name="connsiteY781" fmla="*/ 919205 h 1473560"/>
                  <a:gd name="connsiteX782" fmla="*/ 5715 w 3574732"/>
                  <a:gd name="connsiteY782" fmla="*/ 929683 h 1473560"/>
                  <a:gd name="connsiteX783" fmla="*/ 8573 w 3574732"/>
                  <a:gd name="connsiteY783" fmla="*/ 938255 h 1473560"/>
                  <a:gd name="connsiteX784" fmla="*/ 24765 w 3574732"/>
                  <a:gd name="connsiteY784" fmla="*/ 944923 h 1473560"/>
                  <a:gd name="connsiteX785" fmla="*/ 32385 w 3574732"/>
                  <a:gd name="connsiteY785" fmla="*/ 949685 h 1473560"/>
                  <a:gd name="connsiteX786" fmla="*/ 42863 w 3574732"/>
                  <a:gd name="connsiteY786" fmla="*/ 961115 h 1473560"/>
                  <a:gd name="connsiteX787" fmla="*/ 56198 w 3574732"/>
                  <a:gd name="connsiteY787" fmla="*/ 968735 h 1473560"/>
                  <a:gd name="connsiteX788" fmla="*/ 61913 w 3574732"/>
                  <a:gd name="connsiteY788" fmla="*/ 973498 h 1473560"/>
                  <a:gd name="connsiteX789" fmla="*/ 75248 w 3574732"/>
                  <a:gd name="connsiteY789" fmla="*/ 980165 h 1473560"/>
                  <a:gd name="connsiteX790" fmla="*/ 86678 w 3574732"/>
                  <a:gd name="connsiteY790" fmla="*/ 985880 h 1473560"/>
                  <a:gd name="connsiteX791" fmla="*/ 95250 w 3574732"/>
                  <a:gd name="connsiteY791" fmla="*/ 993500 h 1473560"/>
                  <a:gd name="connsiteX792" fmla="*/ 114300 w 3574732"/>
                  <a:gd name="connsiteY792" fmla="*/ 1001120 h 1473560"/>
                  <a:gd name="connsiteX793" fmla="*/ 120015 w 3574732"/>
                  <a:gd name="connsiteY793" fmla="*/ 1009693 h 1473560"/>
                  <a:gd name="connsiteX794" fmla="*/ 137160 w 3574732"/>
                  <a:gd name="connsiteY794" fmla="*/ 1020170 h 1473560"/>
                  <a:gd name="connsiteX795" fmla="*/ 147638 w 3574732"/>
                  <a:gd name="connsiteY795" fmla="*/ 1026838 h 1473560"/>
                  <a:gd name="connsiteX796" fmla="*/ 165735 w 3574732"/>
                  <a:gd name="connsiteY796" fmla="*/ 1026838 h 1473560"/>
                  <a:gd name="connsiteX797" fmla="*/ 184785 w 3574732"/>
                  <a:gd name="connsiteY797" fmla="*/ 1023028 h 1473560"/>
                  <a:gd name="connsiteX798" fmla="*/ 190500 w 3574732"/>
                  <a:gd name="connsiteY798" fmla="*/ 1021123 h 1473560"/>
                  <a:gd name="connsiteX799" fmla="*/ 201930 w 3574732"/>
                  <a:gd name="connsiteY799" fmla="*/ 1019218 h 1473560"/>
                  <a:gd name="connsiteX800" fmla="*/ 207645 w 3574732"/>
                  <a:gd name="connsiteY800" fmla="*/ 1019218 h 1473560"/>
                  <a:gd name="connsiteX801" fmla="*/ 216218 w 3574732"/>
                  <a:gd name="connsiteY801" fmla="*/ 1019218 h 1473560"/>
                  <a:gd name="connsiteX802" fmla="*/ 224790 w 3574732"/>
                  <a:gd name="connsiteY802" fmla="*/ 1019218 h 1473560"/>
                  <a:gd name="connsiteX803" fmla="*/ 233363 w 3574732"/>
                  <a:gd name="connsiteY803" fmla="*/ 1021123 h 1473560"/>
                  <a:gd name="connsiteX804" fmla="*/ 249555 w 3574732"/>
                  <a:gd name="connsiteY804" fmla="*/ 1021123 h 1473560"/>
                  <a:gd name="connsiteX805" fmla="*/ 258128 w 3574732"/>
                  <a:gd name="connsiteY805" fmla="*/ 1020170 h 1473560"/>
                  <a:gd name="connsiteX806" fmla="*/ 279083 w 3574732"/>
                  <a:gd name="connsiteY806" fmla="*/ 1018265 h 1473560"/>
                  <a:gd name="connsiteX807" fmla="*/ 295275 w 3574732"/>
                  <a:gd name="connsiteY807" fmla="*/ 1013503 h 1473560"/>
                  <a:gd name="connsiteX808" fmla="*/ 306705 w 3574732"/>
                  <a:gd name="connsiteY808" fmla="*/ 1006835 h 1473560"/>
                  <a:gd name="connsiteX809" fmla="*/ 314325 w 3574732"/>
                  <a:gd name="connsiteY809" fmla="*/ 1003025 h 1473560"/>
                  <a:gd name="connsiteX810" fmla="*/ 320040 w 3574732"/>
                  <a:gd name="connsiteY810" fmla="*/ 1002073 h 1473560"/>
                  <a:gd name="connsiteX811" fmla="*/ 334328 w 3574732"/>
                  <a:gd name="connsiteY811" fmla="*/ 1002073 h 1473560"/>
                  <a:gd name="connsiteX812" fmla="*/ 347663 w 3574732"/>
                  <a:gd name="connsiteY812" fmla="*/ 1003978 h 1473560"/>
                  <a:gd name="connsiteX813" fmla="*/ 358140 w 3574732"/>
                  <a:gd name="connsiteY813" fmla="*/ 1005883 h 1473560"/>
                  <a:gd name="connsiteX814" fmla="*/ 366713 w 3574732"/>
                  <a:gd name="connsiteY814" fmla="*/ 1006835 h 1473560"/>
                  <a:gd name="connsiteX815" fmla="*/ 377190 w 3574732"/>
                  <a:gd name="connsiteY815" fmla="*/ 1008740 h 1473560"/>
                  <a:gd name="connsiteX816" fmla="*/ 385763 w 3574732"/>
                  <a:gd name="connsiteY816" fmla="*/ 1014455 h 1473560"/>
                  <a:gd name="connsiteX817" fmla="*/ 394335 w 3574732"/>
                  <a:gd name="connsiteY817" fmla="*/ 1021123 h 1473560"/>
                  <a:gd name="connsiteX818" fmla="*/ 404813 w 3574732"/>
                  <a:gd name="connsiteY818" fmla="*/ 1023980 h 1473560"/>
                  <a:gd name="connsiteX819" fmla="*/ 412433 w 3574732"/>
                  <a:gd name="connsiteY819" fmla="*/ 1025885 h 1473560"/>
                  <a:gd name="connsiteX820" fmla="*/ 429578 w 3574732"/>
                  <a:gd name="connsiteY820" fmla="*/ 1027790 h 1473560"/>
                  <a:gd name="connsiteX821" fmla="*/ 437198 w 3574732"/>
                  <a:gd name="connsiteY821" fmla="*/ 1027790 h 1473560"/>
                  <a:gd name="connsiteX822" fmla="*/ 450533 w 3574732"/>
                  <a:gd name="connsiteY822" fmla="*/ 1030648 h 1473560"/>
                  <a:gd name="connsiteX823" fmla="*/ 451485 w 3574732"/>
                  <a:gd name="connsiteY823" fmla="*/ 1036363 h 1473560"/>
                  <a:gd name="connsiteX824" fmla="*/ 451485 w 3574732"/>
                  <a:gd name="connsiteY824" fmla="*/ 1045888 h 1473560"/>
                  <a:gd name="connsiteX825" fmla="*/ 451485 w 3574732"/>
                  <a:gd name="connsiteY825" fmla="*/ 1055413 h 1473560"/>
                  <a:gd name="connsiteX826" fmla="*/ 451485 w 3574732"/>
                  <a:gd name="connsiteY826" fmla="*/ 1066843 h 1473560"/>
                  <a:gd name="connsiteX827" fmla="*/ 449580 w 3574732"/>
                  <a:gd name="connsiteY827" fmla="*/ 1076368 h 1473560"/>
                  <a:gd name="connsiteX828" fmla="*/ 447675 w 3574732"/>
                  <a:gd name="connsiteY828" fmla="*/ 1087798 h 1473560"/>
                  <a:gd name="connsiteX829" fmla="*/ 447675 w 3574732"/>
                  <a:gd name="connsiteY829" fmla="*/ 1095418 h 1473560"/>
                  <a:gd name="connsiteX830" fmla="*/ 450533 w 3574732"/>
                  <a:gd name="connsiteY830" fmla="*/ 1102085 h 1473560"/>
                  <a:gd name="connsiteX831" fmla="*/ 458153 w 3574732"/>
                  <a:gd name="connsiteY831" fmla="*/ 1108753 h 1473560"/>
                  <a:gd name="connsiteX832" fmla="*/ 465773 w 3574732"/>
                  <a:gd name="connsiteY832" fmla="*/ 1112563 h 1473560"/>
                  <a:gd name="connsiteX833" fmla="*/ 474345 w 3574732"/>
                  <a:gd name="connsiteY833" fmla="*/ 1113515 h 1473560"/>
                  <a:gd name="connsiteX834" fmla="*/ 487680 w 3574732"/>
                  <a:gd name="connsiteY834" fmla="*/ 1123040 h 1473560"/>
                  <a:gd name="connsiteX835" fmla="*/ 493395 w 3574732"/>
                  <a:gd name="connsiteY835" fmla="*/ 1129708 h 1473560"/>
                  <a:gd name="connsiteX836" fmla="*/ 499110 w 3574732"/>
                  <a:gd name="connsiteY836" fmla="*/ 1134470 h 1473560"/>
                  <a:gd name="connsiteX837" fmla="*/ 507683 w 3574732"/>
                  <a:gd name="connsiteY837" fmla="*/ 1150663 h 1473560"/>
                  <a:gd name="connsiteX838" fmla="*/ 510540 w 3574732"/>
                  <a:gd name="connsiteY838" fmla="*/ 1157330 h 1473560"/>
                  <a:gd name="connsiteX839" fmla="*/ 507683 w 3574732"/>
                  <a:gd name="connsiteY839" fmla="*/ 1165903 h 1473560"/>
                  <a:gd name="connsiteX840" fmla="*/ 507683 w 3574732"/>
                  <a:gd name="connsiteY840" fmla="*/ 1173523 h 1473560"/>
                  <a:gd name="connsiteX841" fmla="*/ 518160 w 3574732"/>
                  <a:gd name="connsiteY841" fmla="*/ 1182095 h 1473560"/>
                  <a:gd name="connsiteX842" fmla="*/ 525780 w 3574732"/>
                  <a:gd name="connsiteY842" fmla="*/ 1185905 h 1473560"/>
                  <a:gd name="connsiteX843" fmla="*/ 526733 w 3574732"/>
                  <a:gd name="connsiteY843" fmla="*/ 1192573 h 1473560"/>
                  <a:gd name="connsiteX844" fmla="*/ 523875 w 3574732"/>
                  <a:gd name="connsiteY844" fmla="*/ 1198288 h 1473560"/>
                  <a:gd name="connsiteX845" fmla="*/ 519113 w 3574732"/>
                  <a:gd name="connsiteY845" fmla="*/ 1203050 h 1473560"/>
                  <a:gd name="connsiteX846" fmla="*/ 511493 w 3574732"/>
                  <a:gd name="connsiteY846" fmla="*/ 1214480 h 1473560"/>
                  <a:gd name="connsiteX847" fmla="*/ 506730 w 3574732"/>
                  <a:gd name="connsiteY847" fmla="*/ 1219243 h 1473560"/>
                  <a:gd name="connsiteX848" fmla="*/ 506730 w 3574732"/>
                  <a:gd name="connsiteY848" fmla="*/ 1227815 h 1473560"/>
                  <a:gd name="connsiteX849" fmla="*/ 499110 w 3574732"/>
                  <a:gd name="connsiteY849" fmla="*/ 1233530 h 1473560"/>
                  <a:gd name="connsiteX850" fmla="*/ 491490 w 3574732"/>
                  <a:gd name="connsiteY850" fmla="*/ 1245913 h 1473560"/>
                  <a:gd name="connsiteX851" fmla="*/ 491490 w 3574732"/>
                  <a:gd name="connsiteY851" fmla="*/ 1250675 h 1473560"/>
                  <a:gd name="connsiteX852" fmla="*/ 494348 w 3574732"/>
                  <a:gd name="connsiteY852" fmla="*/ 1260200 h 1473560"/>
                  <a:gd name="connsiteX853" fmla="*/ 495300 w 3574732"/>
                  <a:gd name="connsiteY853" fmla="*/ 1280203 h 1473560"/>
                  <a:gd name="connsiteX854" fmla="*/ 501968 w 3574732"/>
                  <a:gd name="connsiteY854" fmla="*/ 1290680 h 1473560"/>
                  <a:gd name="connsiteX855" fmla="*/ 500063 w 3574732"/>
                  <a:gd name="connsiteY855" fmla="*/ 1304015 h 1473560"/>
                  <a:gd name="connsiteX856" fmla="*/ 502920 w 3574732"/>
                  <a:gd name="connsiteY856" fmla="*/ 1310683 h 1473560"/>
                  <a:gd name="connsiteX857" fmla="*/ 514350 w 3574732"/>
                  <a:gd name="connsiteY857" fmla="*/ 1320208 h 1473560"/>
                  <a:gd name="connsiteX858" fmla="*/ 525780 w 3574732"/>
                  <a:gd name="connsiteY858" fmla="*/ 1326875 h 1473560"/>
                  <a:gd name="connsiteX859" fmla="*/ 534353 w 3574732"/>
                  <a:gd name="connsiteY859" fmla="*/ 1337353 h 1473560"/>
                  <a:gd name="connsiteX860" fmla="*/ 535305 w 3574732"/>
                  <a:gd name="connsiteY860" fmla="*/ 1342115 h 1473560"/>
                  <a:gd name="connsiteX861" fmla="*/ 533400 w 3574732"/>
                  <a:gd name="connsiteY861" fmla="*/ 1349735 h 1473560"/>
                  <a:gd name="connsiteX862" fmla="*/ 533400 w 3574732"/>
                  <a:gd name="connsiteY862" fmla="*/ 1360213 h 1473560"/>
                  <a:gd name="connsiteX863" fmla="*/ 534353 w 3574732"/>
                  <a:gd name="connsiteY863" fmla="*/ 1369738 h 1473560"/>
                  <a:gd name="connsiteX864" fmla="*/ 547688 w 3574732"/>
                  <a:gd name="connsiteY864" fmla="*/ 1380215 h 1473560"/>
                  <a:gd name="connsiteX865" fmla="*/ 553403 w 3574732"/>
                  <a:gd name="connsiteY865" fmla="*/ 1388788 h 1473560"/>
                  <a:gd name="connsiteX866" fmla="*/ 559118 w 3574732"/>
                  <a:gd name="connsiteY866" fmla="*/ 1393550 h 1473560"/>
                  <a:gd name="connsiteX867" fmla="*/ 563880 w 3574732"/>
                  <a:gd name="connsiteY867" fmla="*/ 1398313 h 1473560"/>
                  <a:gd name="connsiteX868" fmla="*/ 573405 w 3574732"/>
                  <a:gd name="connsiteY868" fmla="*/ 1410695 h 1473560"/>
                  <a:gd name="connsiteX869" fmla="*/ 576263 w 3574732"/>
                  <a:gd name="connsiteY869" fmla="*/ 1419268 h 1473560"/>
                  <a:gd name="connsiteX870" fmla="*/ 580073 w 3574732"/>
                  <a:gd name="connsiteY870" fmla="*/ 1425935 h 1473560"/>
                  <a:gd name="connsiteX871" fmla="*/ 588645 w 3574732"/>
                  <a:gd name="connsiteY871" fmla="*/ 1436413 h 1473560"/>
                  <a:gd name="connsiteX872" fmla="*/ 594360 w 3574732"/>
                  <a:gd name="connsiteY872" fmla="*/ 1442128 h 1473560"/>
                  <a:gd name="connsiteX873" fmla="*/ 597218 w 3574732"/>
                  <a:gd name="connsiteY873" fmla="*/ 1451653 h 1473560"/>
                  <a:gd name="connsiteX874" fmla="*/ 597218 w 3574732"/>
                  <a:gd name="connsiteY874" fmla="*/ 1458320 h 1473560"/>
                  <a:gd name="connsiteX875" fmla="*/ 598170 w 3574732"/>
                  <a:gd name="connsiteY875" fmla="*/ 1464035 h 1473560"/>
                  <a:gd name="connsiteX876" fmla="*/ 601980 w 3574732"/>
                  <a:gd name="connsiteY876" fmla="*/ 1473560 h 1473560"/>
                  <a:gd name="connsiteX877" fmla="*/ 612458 w 3574732"/>
                  <a:gd name="connsiteY877" fmla="*/ 1473560 h 1473560"/>
                  <a:gd name="connsiteX878" fmla="*/ 618173 w 3574732"/>
                  <a:gd name="connsiteY878" fmla="*/ 1473560 h 1473560"/>
                  <a:gd name="connsiteX879" fmla="*/ 628650 w 3574732"/>
                  <a:gd name="connsiteY879" fmla="*/ 1473560 h 1473560"/>
                  <a:gd name="connsiteX880" fmla="*/ 639128 w 3574732"/>
                  <a:gd name="connsiteY880" fmla="*/ 1473560 h 1473560"/>
                  <a:gd name="connsiteX881" fmla="*/ 650558 w 3574732"/>
                  <a:gd name="connsiteY881" fmla="*/ 1472608 h 1473560"/>
                  <a:gd name="connsiteX882" fmla="*/ 656273 w 3574732"/>
                  <a:gd name="connsiteY882" fmla="*/ 1470703 h 1473560"/>
                  <a:gd name="connsiteX883" fmla="*/ 667703 w 3574732"/>
                  <a:gd name="connsiteY883" fmla="*/ 1469750 h 1473560"/>
                  <a:gd name="connsiteX884" fmla="*/ 681038 w 3574732"/>
                  <a:gd name="connsiteY884" fmla="*/ 1468798 h 1473560"/>
                  <a:gd name="connsiteX885" fmla="*/ 698183 w 3574732"/>
                  <a:gd name="connsiteY885" fmla="*/ 1468798 h 1473560"/>
                  <a:gd name="connsiteX886" fmla="*/ 719138 w 3574732"/>
                  <a:gd name="connsiteY886" fmla="*/ 1466893 h 1473560"/>
                  <a:gd name="connsiteX887" fmla="*/ 746760 w 3574732"/>
                  <a:gd name="connsiteY887" fmla="*/ 1462130 h 1473560"/>
                  <a:gd name="connsiteX888" fmla="*/ 764858 w 3574732"/>
                  <a:gd name="connsiteY888" fmla="*/ 1456415 h 1473560"/>
                  <a:gd name="connsiteX889" fmla="*/ 775335 w 3574732"/>
                  <a:gd name="connsiteY889" fmla="*/ 1447843 h 1473560"/>
                  <a:gd name="connsiteX890" fmla="*/ 781050 w 3574732"/>
                  <a:gd name="connsiteY890" fmla="*/ 1444033 h 1473560"/>
                  <a:gd name="connsiteX891" fmla="*/ 786765 w 3574732"/>
                  <a:gd name="connsiteY891" fmla="*/ 1440223 h 1473560"/>
                  <a:gd name="connsiteX892" fmla="*/ 802005 w 3574732"/>
                  <a:gd name="connsiteY892" fmla="*/ 1434508 h 1473560"/>
                  <a:gd name="connsiteX893" fmla="*/ 810578 w 3574732"/>
                  <a:gd name="connsiteY893" fmla="*/ 1427840 h 1473560"/>
                  <a:gd name="connsiteX894" fmla="*/ 815340 w 3574732"/>
                  <a:gd name="connsiteY894" fmla="*/ 1424030 h 1473560"/>
                  <a:gd name="connsiteX895" fmla="*/ 821055 w 3574732"/>
                  <a:gd name="connsiteY895" fmla="*/ 1415458 h 1473560"/>
                  <a:gd name="connsiteX896" fmla="*/ 826770 w 3574732"/>
                  <a:gd name="connsiteY896" fmla="*/ 1412600 h 1473560"/>
                  <a:gd name="connsiteX897" fmla="*/ 834390 w 3574732"/>
                  <a:gd name="connsiteY897" fmla="*/ 1406885 h 1473560"/>
                  <a:gd name="connsiteX898" fmla="*/ 836295 w 3574732"/>
                  <a:gd name="connsiteY898" fmla="*/ 1404028 h 1473560"/>
                  <a:gd name="connsiteX899" fmla="*/ 839153 w 3574732"/>
                  <a:gd name="connsiteY899" fmla="*/ 1389740 h 1473560"/>
                  <a:gd name="connsiteX900" fmla="*/ 839153 w 3574732"/>
                  <a:gd name="connsiteY900" fmla="*/ 1381168 h 1473560"/>
                  <a:gd name="connsiteX901" fmla="*/ 843915 w 3574732"/>
                  <a:gd name="connsiteY901" fmla="*/ 1370690 h 1473560"/>
                  <a:gd name="connsiteX902" fmla="*/ 859155 w 3574732"/>
                  <a:gd name="connsiteY902" fmla="*/ 1365928 h 1473560"/>
                  <a:gd name="connsiteX903" fmla="*/ 864870 w 3574732"/>
                  <a:gd name="connsiteY903" fmla="*/ 1364975 h 1473560"/>
                  <a:gd name="connsiteX904" fmla="*/ 870585 w 3574732"/>
                  <a:gd name="connsiteY904" fmla="*/ 1364023 h 1473560"/>
                  <a:gd name="connsiteX905" fmla="*/ 881063 w 3574732"/>
                  <a:gd name="connsiteY905" fmla="*/ 1357355 h 1473560"/>
                  <a:gd name="connsiteX906" fmla="*/ 880110 w 3574732"/>
                  <a:gd name="connsiteY906" fmla="*/ 1354498 h 1473560"/>
                  <a:gd name="connsiteX907" fmla="*/ 880110 w 3574732"/>
                  <a:gd name="connsiteY907" fmla="*/ 1347830 h 1473560"/>
                  <a:gd name="connsiteX908" fmla="*/ 880110 w 3574732"/>
                  <a:gd name="connsiteY908" fmla="*/ 1338305 h 1473560"/>
                  <a:gd name="connsiteX909" fmla="*/ 880110 w 3574732"/>
                  <a:gd name="connsiteY909" fmla="*/ 1329733 h 1473560"/>
                  <a:gd name="connsiteX910" fmla="*/ 880110 w 3574732"/>
                  <a:gd name="connsiteY910" fmla="*/ 1317350 h 1473560"/>
                  <a:gd name="connsiteX911" fmla="*/ 884873 w 3574732"/>
                  <a:gd name="connsiteY911" fmla="*/ 1302110 h 1473560"/>
                  <a:gd name="connsiteX912" fmla="*/ 884873 w 3574732"/>
                  <a:gd name="connsiteY912" fmla="*/ 1298300 h 1473560"/>
                  <a:gd name="connsiteX913" fmla="*/ 902970 w 3574732"/>
                  <a:gd name="connsiteY913" fmla="*/ 1287823 h 1473560"/>
                  <a:gd name="connsiteX914" fmla="*/ 921068 w 3574732"/>
                  <a:gd name="connsiteY914" fmla="*/ 1278298 h 1473560"/>
                  <a:gd name="connsiteX915" fmla="*/ 929640 w 3574732"/>
                  <a:gd name="connsiteY915" fmla="*/ 1275440 h 1473560"/>
                  <a:gd name="connsiteX916" fmla="*/ 935355 w 3574732"/>
                  <a:gd name="connsiteY916" fmla="*/ 1272583 h 1473560"/>
                  <a:gd name="connsiteX917" fmla="*/ 945833 w 3574732"/>
                  <a:gd name="connsiteY917" fmla="*/ 1270678 h 1473560"/>
                  <a:gd name="connsiteX918" fmla="*/ 954405 w 3574732"/>
                  <a:gd name="connsiteY918" fmla="*/ 1267820 h 1473560"/>
                  <a:gd name="connsiteX919" fmla="*/ 962978 w 3574732"/>
                  <a:gd name="connsiteY919" fmla="*/ 1264963 h 1473560"/>
                  <a:gd name="connsiteX920" fmla="*/ 970598 w 3574732"/>
                  <a:gd name="connsiteY920" fmla="*/ 1257343 h 1473560"/>
                  <a:gd name="connsiteX921" fmla="*/ 975360 w 3574732"/>
                  <a:gd name="connsiteY921" fmla="*/ 1243055 h 1473560"/>
                  <a:gd name="connsiteX922" fmla="*/ 975360 w 3574732"/>
                  <a:gd name="connsiteY922" fmla="*/ 1227815 h 1473560"/>
                  <a:gd name="connsiteX923" fmla="*/ 975360 w 3574732"/>
                  <a:gd name="connsiteY923" fmla="*/ 1219243 h 1473560"/>
                  <a:gd name="connsiteX924" fmla="*/ 975360 w 3574732"/>
                  <a:gd name="connsiteY924" fmla="*/ 1204955 h 1473560"/>
                  <a:gd name="connsiteX925" fmla="*/ 975360 w 3574732"/>
                  <a:gd name="connsiteY925" fmla="*/ 1193525 h 1473560"/>
                  <a:gd name="connsiteX926" fmla="*/ 963930 w 3574732"/>
                  <a:gd name="connsiteY926" fmla="*/ 1181143 h 1473560"/>
                  <a:gd name="connsiteX927" fmla="*/ 961073 w 3574732"/>
                  <a:gd name="connsiteY927" fmla="*/ 1170665 h 1473560"/>
                  <a:gd name="connsiteX928" fmla="*/ 960120 w 3574732"/>
                  <a:gd name="connsiteY928" fmla="*/ 1159235 h 1473560"/>
                  <a:gd name="connsiteX929" fmla="*/ 960120 w 3574732"/>
                  <a:gd name="connsiteY929" fmla="*/ 1145900 h 1473560"/>
                  <a:gd name="connsiteX930" fmla="*/ 960120 w 3574732"/>
                  <a:gd name="connsiteY930" fmla="*/ 1132565 h 1473560"/>
                  <a:gd name="connsiteX931" fmla="*/ 965835 w 3574732"/>
                  <a:gd name="connsiteY931" fmla="*/ 1121135 h 1473560"/>
                  <a:gd name="connsiteX932" fmla="*/ 970598 w 3574732"/>
                  <a:gd name="connsiteY932" fmla="*/ 1111610 h 1473560"/>
                  <a:gd name="connsiteX933" fmla="*/ 985838 w 3574732"/>
                  <a:gd name="connsiteY933" fmla="*/ 1100180 h 1473560"/>
                  <a:gd name="connsiteX934" fmla="*/ 1001078 w 3574732"/>
                  <a:gd name="connsiteY934" fmla="*/ 1089703 h 1473560"/>
                  <a:gd name="connsiteX935" fmla="*/ 1011555 w 3574732"/>
                  <a:gd name="connsiteY935" fmla="*/ 1083988 h 1473560"/>
                  <a:gd name="connsiteX936" fmla="*/ 1022985 w 3574732"/>
                  <a:gd name="connsiteY936" fmla="*/ 1077320 h 1473560"/>
                  <a:gd name="connsiteX937" fmla="*/ 1033463 w 3574732"/>
                  <a:gd name="connsiteY937" fmla="*/ 1072558 h 1473560"/>
                  <a:gd name="connsiteX938" fmla="*/ 1051560 w 3574732"/>
                  <a:gd name="connsiteY938" fmla="*/ 1063033 h 1473560"/>
                  <a:gd name="connsiteX939" fmla="*/ 1063943 w 3574732"/>
                  <a:gd name="connsiteY939" fmla="*/ 1055413 h 1473560"/>
                  <a:gd name="connsiteX940" fmla="*/ 1072515 w 3574732"/>
                  <a:gd name="connsiteY940" fmla="*/ 1049698 h 1473560"/>
                  <a:gd name="connsiteX941" fmla="*/ 1094423 w 3574732"/>
                  <a:gd name="connsiteY941" fmla="*/ 1042078 h 1473560"/>
                  <a:gd name="connsiteX942" fmla="*/ 1115378 w 3574732"/>
                  <a:gd name="connsiteY942" fmla="*/ 1027790 h 1473560"/>
                  <a:gd name="connsiteX943" fmla="*/ 1123950 w 3574732"/>
                  <a:gd name="connsiteY943" fmla="*/ 1018265 h 1473560"/>
                  <a:gd name="connsiteX944" fmla="*/ 1125855 w 3574732"/>
                  <a:gd name="connsiteY944" fmla="*/ 1011598 h 1473560"/>
                  <a:gd name="connsiteX945" fmla="*/ 1136333 w 3574732"/>
                  <a:gd name="connsiteY945" fmla="*/ 1002073 h 1473560"/>
                  <a:gd name="connsiteX946" fmla="*/ 1139190 w 3574732"/>
                  <a:gd name="connsiteY946" fmla="*/ 997310 h 1473560"/>
                  <a:gd name="connsiteX947" fmla="*/ 1154430 w 3574732"/>
                  <a:gd name="connsiteY947" fmla="*/ 975403 h 1473560"/>
                  <a:gd name="connsiteX948" fmla="*/ 1156335 w 3574732"/>
                  <a:gd name="connsiteY948" fmla="*/ 963973 h 1473560"/>
                  <a:gd name="connsiteX949" fmla="*/ 1158240 w 3574732"/>
                  <a:gd name="connsiteY949" fmla="*/ 958258 h 1473560"/>
                  <a:gd name="connsiteX950" fmla="*/ 1160145 w 3574732"/>
                  <a:gd name="connsiteY950" fmla="*/ 951590 h 1473560"/>
                  <a:gd name="connsiteX951" fmla="*/ 1141095 w 3574732"/>
                  <a:gd name="connsiteY951" fmla="*/ 955400 h 1473560"/>
                  <a:gd name="connsiteX952" fmla="*/ 1127760 w 3574732"/>
                  <a:gd name="connsiteY952" fmla="*/ 955400 h 1473560"/>
                  <a:gd name="connsiteX953" fmla="*/ 1116330 w 3574732"/>
                  <a:gd name="connsiteY953" fmla="*/ 956353 h 1473560"/>
                  <a:gd name="connsiteX954" fmla="*/ 1095375 w 3574732"/>
                  <a:gd name="connsiteY954" fmla="*/ 955400 h 1473560"/>
                  <a:gd name="connsiteX955" fmla="*/ 1089660 w 3574732"/>
                  <a:gd name="connsiteY955" fmla="*/ 955400 h 1473560"/>
                  <a:gd name="connsiteX956" fmla="*/ 1073468 w 3574732"/>
                  <a:gd name="connsiteY956" fmla="*/ 956353 h 1473560"/>
                  <a:gd name="connsiteX957" fmla="*/ 1067753 w 3574732"/>
                  <a:gd name="connsiteY957" fmla="*/ 957305 h 1473560"/>
                  <a:gd name="connsiteX958" fmla="*/ 1053465 w 3574732"/>
                  <a:gd name="connsiteY958" fmla="*/ 957305 h 1473560"/>
                  <a:gd name="connsiteX959" fmla="*/ 1042035 w 3574732"/>
                  <a:gd name="connsiteY959" fmla="*/ 953495 h 1473560"/>
                  <a:gd name="connsiteX960" fmla="*/ 1030605 w 3574732"/>
                  <a:gd name="connsiteY960" fmla="*/ 946828 h 1473560"/>
                  <a:gd name="connsiteX961" fmla="*/ 1027748 w 3574732"/>
                  <a:gd name="connsiteY961" fmla="*/ 943018 h 1473560"/>
                  <a:gd name="connsiteX962" fmla="*/ 1021080 w 3574732"/>
                  <a:gd name="connsiteY962" fmla="*/ 933493 h 1473560"/>
                  <a:gd name="connsiteX963" fmla="*/ 1004888 w 3574732"/>
                  <a:gd name="connsiteY963" fmla="*/ 923968 h 1473560"/>
                  <a:gd name="connsiteX964" fmla="*/ 993458 w 3574732"/>
                  <a:gd name="connsiteY964" fmla="*/ 921110 h 1473560"/>
                  <a:gd name="connsiteX965" fmla="*/ 984885 w 3574732"/>
                  <a:gd name="connsiteY965" fmla="*/ 912538 h 1473560"/>
                  <a:gd name="connsiteX966" fmla="*/ 976313 w 3574732"/>
                  <a:gd name="connsiteY966" fmla="*/ 908728 h 1473560"/>
                  <a:gd name="connsiteX967" fmla="*/ 963930 w 3574732"/>
                  <a:gd name="connsiteY967" fmla="*/ 908728 h 1473560"/>
                  <a:gd name="connsiteX968" fmla="*/ 953453 w 3574732"/>
                  <a:gd name="connsiteY968" fmla="*/ 896345 h 1473560"/>
                  <a:gd name="connsiteX969" fmla="*/ 949643 w 3574732"/>
                  <a:gd name="connsiteY969" fmla="*/ 885868 h 1473560"/>
                  <a:gd name="connsiteX970" fmla="*/ 942975 w 3574732"/>
                  <a:gd name="connsiteY970" fmla="*/ 872533 h 1473560"/>
                  <a:gd name="connsiteX971" fmla="*/ 934403 w 3574732"/>
                  <a:gd name="connsiteY971" fmla="*/ 862055 h 1473560"/>
                  <a:gd name="connsiteX972" fmla="*/ 930593 w 3574732"/>
                  <a:gd name="connsiteY972" fmla="*/ 847768 h 1473560"/>
                  <a:gd name="connsiteX973" fmla="*/ 924878 w 3574732"/>
                  <a:gd name="connsiteY973" fmla="*/ 838243 h 1473560"/>
                  <a:gd name="connsiteX974" fmla="*/ 917258 w 3574732"/>
                  <a:gd name="connsiteY974" fmla="*/ 833480 h 1473560"/>
                  <a:gd name="connsiteX975" fmla="*/ 901065 w 3574732"/>
                  <a:gd name="connsiteY975" fmla="*/ 820145 h 1473560"/>
                  <a:gd name="connsiteX976" fmla="*/ 893445 w 3574732"/>
                  <a:gd name="connsiteY976" fmla="*/ 815383 h 1473560"/>
                  <a:gd name="connsiteX977" fmla="*/ 884873 w 3574732"/>
                  <a:gd name="connsiteY977" fmla="*/ 812525 h 1473560"/>
                  <a:gd name="connsiteX978" fmla="*/ 881063 w 3574732"/>
                  <a:gd name="connsiteY978" fmla="*/ 799190 h 1473560"/>
                  <a:gd name="connsiteX979" fmla="*/ 882968 w 3574732"/>
                  <a:gd name="connsiteY979" fmla="*/ 790618 h 1473560"/>
                  <a:gd name="connsiteX980" fmla="*/ 880110 w 3574732"/>
                  <a:gd name="connsiteY980" fmla="*/ 778235 h 1473560"/>
                  <a:gd name="connsiteX981" fmla="*/ 880110 w 3574732"/>
                  <a:gd name="connsiteY981" fmla="*/ 774425 h 1473560"/>
                  <a:gd name="connsiteX982" fmla="*/ 880110 w 3574732"/>
                  <a:gd name="connsiteY982" fmla="*/ 766805 h 1473560"/>
                  <a:gd name="connsiteX983" fmla="*/ 884873 w 3574732"/>
                  <a:gd name="connsiteY983" fmla="*/ 761090 h 1473560"/>
                  <a:gd name="connsiteX984" fmla="*/ 895350 w 3574732"/>
                  <a:gd name="connsiteY984" fmla="*/ 761090 h 1473560"/>
                  <a:gd name="connsiteX985" fmla="*/ 905828 w 3574732"/>
                  <a:gd name="connsiteY985" fmla="*/ 762043 h 1473560"/>
                  <a:gd name="connsiteX986" fmla="*/ 916305 w 3574732"/>
                  <a:gd name="connsiteY986" fmla="*/ 767758 h 1473560"/>
                  <a:gd name="connsiteX987" fmla="*/ 921068 w 3574732"/>
                  <a:gd name="connsiteY987" fmla="*/ 773473 h 1473560"/>
                  <a:gd name="connsiteX988" fmla="*/ 924878 w 3574732"/>
                  <a:gd name="connsiteY988" fmla="*/ 779188 h 1473560"/>
                  <a:gd name="connsiteX989" fmla="*/ 930593 w 3574732"/>
                  <a:gd name="connsiteY989" fmla="*/ 783950 h 1473560"/>
                  <a:gd name="connsiteX990" fmla="*/ 930593 w 3574732"/>
                  <a:gd name="connsiteY990" fmla="*/ 790618 h 1473560"/>
                  <a:gd name="connsiteX991" fmla="*/ 930593 w 3574732"/>
                  <a:gd name="connsiteY991" fmla="*/ 798238 h 1473560"/>
                  <a:gd name="connsiteX992" fmla="*/ 944880 w 3574732"/>
                  <a:gd name="connsiteY992" fmla="*/ 814430 h 1473560"/>
                  <a:gd name="connsiteX993" fmla="*/ 956310 w 3574732"/>
                  <a:gd name="connsiteY993" fmla="*/ 831575 h 1473560"/>
                  <a:gd name="connsiteX994" fmla="*/ 973455 w 3574732"/>
                  <a:gd name="connsiteY994" fmla="*/ 843958 h 1473560"/>
                  <a:gd name="connsiteX995" fmla="*/ 990600 w 3574732"/>
                  <a:gd name="connsiteY995" fmla="*/ 853483 h 1473560"/>
                  <a:gd name="connsiteX996" fmla="*/ 993458 w 3574732"/>
                  <a:gd name="connsiteY996" fmla="*/ 864913 h 1473560"/>
                  <a:gd name="connsiteX997" fmla="*/ 1000125 w 3574732"/>
                  <a:gd name="connsiteY997" fmla="*/ 875390 h 1473560"/>
                  <a:gd name="connsiteX998" fmla="*/ 1011555 w 3574732"/>
                  <a:gd name="connsiteY998" fmla="*/ 883963 h 1473560"/>
                  <a:gd name="connsiteX999" fmla="*/ 1027748 w 3574732"/>
                  <a:gd name="connsiteY999" fmla="*/ 893488 h 1473560"/>
                  <a:gd name="connsiteX1000" fmla="*/ 1031558 w 3574732"/>
                  <a:gd name="connsiteY1000" fmla="*/ 901108 h 1473560"/>
                  <a:gd name="connsiteX1001" fmla="*/ 1032510 w 3574732"/>
                  <a:gd name="connsiteY1001" fmla="*/ 913490 h 1473560"/>
                  <a:gd name="connsiteX1002" fmla="*/ 1033463 w 3574732"/>
                  <a:gd name="connsiteY1002" fmla="*/ 921110 h 1473560"/>
                  <a:gd name="connsiteX1003" fmla="*/ 1037273 w 3574732"/>
                  <a:gd name="connsiteY1003" fmla="*/ 927778 h 1473560"/>
                  <a:gd name="connsiteX1004" fmla="*/ 1042035 w 3574732"/>
                  <a:gd name="connsiteY1004" fmla="*/ 931588 h 1473560"/>
                  <a:gd name="connsiteX1005" fmla="*/ 1053465 w 3574732"/>
                  <a:gd name="connsiteY1005" fmla="*/ 935398 h 1473560"/>
                  <a:gd name="connsiteX1006" fmla="*/ 1061085 w 3574732"/>
                  <a:gd name="connsiteY1006" fmla="*/ 936350 h 1473560"/>
                  <a:gd name="connsiteX1007" fmla="*/ 1075373 w 3574732"/>
                  <a:gd name="connsiteY1007" fmla="*/ 936350 h 1473560"/>
                  <a:gd name="connsiteX1008" fmla="*/ 1086803 w 3574732"/>
                  <a:gd name="connsiteY1008" fmla="*/ 935398 h 1473560"/>
                  <a:gd name="connsiteX1009" fmla="*/ 1101090 w 3574732"/>
                  <a:gd name="connsiteY1009" fmla="*/ 934445 h 1473560"/>
                  <a:gd name="connsiteX1010" fmla="*/ 1115378 w 3574732"/>
                  <a:gd name="connsiteY1010" fmla="*/ 930635 h 1473560"/>
                  <a:gd name="connsiteX1011" fmla="*/ 1131570 w 3574732"/>
                  <a:gd name="connsiteY1011" fmla="*/ 926825 h 1473560"/>
                  <a:gd name="connsiteX1012" fmla="*/ 1140143 w 3574732"/>
                  <a:gd name="connsiteY1012" fmla="*/ 925873 h 1473560"/>
                  <a:gd name="connsiteX1013" fmla="*/ 1150620 w 3574732"/>
                  <a:gd name="connsiteY1013" fmla="*/ 923015 h 1473560"/>
                  <a:gd name="connsiteX1014" fmla="*/ 1163955 w 3574732"/>
                  <a:gd name="connsiteY1014" fmla="*/ 915395 h 1473560"/>
                  <a:gd name="connsiteX1015" fmla="*/ 1180148 w 3574732"/>
                  <a:gd name="connsiteY1015" fmla="*/ 906823 h 1473560"/>
                  <a:gd name="connsiteX1016" fmla="*/ 1188720 w 3574732"/>
                  <a:gd name="connsiteY1016" fmla="*/ 903965 h 1473560"/>
                  <a:gd name="connsiteX1017" fmla="*/ 1212533 w 3574732"/>
                  <a:gd name="connsiteY1017" fmla="*/ 900155 h 1473560"/>
                  <a:gd name="connsiteX1018" fmla="*/ 1228725 w 3574732"/>
                  <a:gd name="connsiteY1018" fmla="*/ 895393 h 1473560"/>
                  <a:gd name="connsiteX1019" fmla="*/ 1246823 w 3574732"/>
                  <a:gd name="connsiteY1019" fmla="*/ 882058 h 1473560"/>
                  <a:gd name="connsiteX1020" fmla="*/ 1249680 w 3574732"/>
                  <a:gd name="connsiteY1020" fmla="*/ 879200 h 1473560"/>
                  <a:gd name="connsiteX1021" fmla="*/ 1263015 w 3574732"/>
                  <a:gd name="connsiteY1021" fmla="*/ 877295 h 1473560"/>
                  <a:gd name="connsiteX1022" fmla="*/ 1274445 w 3574732"/>
                  <a:gd name="connsiteY1022" fmla="*/ 872533 h 1473560"/>
                  <a:gd name="connsiteX1023" fmla="*/ 1280160 w 3574732"/>
                  <a:gd name="connsiteY1023" fmla="*/ 869675 h 1473560"/>
                  <a:gd name="connsiteX1024" fmla="*/ 1299210 w 3574732"/>
                  <a:gd name="connsiteY1024" fmla="*/ 861103 h 1473560"/>
                  <a:gd name="connsiteX1025" fmla="*/ 1306830 w 3574732"/>
                  <a:gd name="connsiteY1025" fmla="*/ 852530 h 1473560"/>
                  <a:gd name="connsiteX1026" fmla="*/ 1315403 w 3574732"/>
                  <a:gd name="connsiteY1026" fmla="*/ 843005 h 1473560"/>
                  <a:gd name="connsiteX1027" fmla="*/ 1314450 w 3574732"/>
                  <a:gd name="connsiteY1027" fmla="*/ 829670 h 1473560"/>
                  <a:gd name="connsiteX1028" fmla="*/ 1313498 w 3574732"/>
                  <a:gd name="connsiteY1028" fmla="*/ 824908 h 1473560"/>
                  <a:gd name="connsiteX1029" fmla="*/ 1310640 w 3574732"/>
                  <a:gd name="connsiteY1029" fmla="*/ 822050 h 1473560"/>
                  <a:gd name="connsiteX1030" fmla="*/ 1304925 w 3574732"/>
                  <a:gd name="connsiteY1030" fmla="*/ 817288 h 1473560"/>
                  <a:gd name="connsiteX1031" fmla="*/ 1290638 w 3574732"/>
                  <a:gd name="connsiteY1031" fmla="*/ 813478 h 1473560"/>
                  <a:gd name="connsiteX1032" fmla="*/ 1271588 w 3574732"/>
                  <a:gd name="connsiteY1032" fmla="*/ 804905 h 1473560"/>
                  <a:gd name="connsiteX1033" fmla="*/ 1270635 w 3574732"/>
                  <a:gd name="connsiteY1033" fmla="*/ 800143 h 1473560"/>
                  <a:gd name="connsiteX1034" fmla="*/ 1259205 w 3574732"/>
                  <a:gd name="connsiteY1034" fmla="*/ 795380 h 1473560"/>
                  <a:gd name="connsiteX1035" fmla="*/ 1245870 w 3574732"/>
                  <a:gd name="connsiteY1035" fmla="*/ 793475 h 1473560"/>
                  <a:gd name="connsiteX1036" fmla="*/ 1238250 w 3574732"/>
                  <a:gd name="connsiteY1036" fmla="*/ 793475 h 1473560"/>
                  <a:gd name="connsiteX1037" fmla="*/ 1232535 w 3574732"/>
                  <a:gd name="connsiteY1037" fmla="*/ 793475 h 1473560"/>
                  <a:gd name="connsiteX1038" fmla="*/ 1224915 w 3574732"/>
                  <a:gd name="connsiteY1038" fmla="*/ 793475 h 1473560"/>
                  <a:gd name="connsiteX1039" fmla="*/ 1217295 w 3574732"/>
                  <a:gd name="connsiteY1039" fmla="*/ 797285 h 1473560"/>
                  <a:gd name="connsiteX1040" fmla="*/ 1211580 w 3574732"/>
                  <a:gd name="connsiteY1040" fmla="*/ 801095 h 1473560"/>
                  <a:gd name="connsiteX1041" fmla="*/ 1203960 w 3574732"/>
                  <a:gd name="connsiteY1041" fmla="*/ 802048 h 1473560"/>
                  <a:gd name="connsiteX1042" fmla="*/ 1192530 w 3574732"/>
                  <a:gd name="connsiteY1042" fmla="*/ 798238 h 1473560"/>
                  <a:gd name="connsiteX1043" fmla="*/ 1183958 w 3574732"/>
                  <a:gd name="connsiteY1043" fmla="*/ 793475 h 1473560"/>
                  <a:gd name="connsiteX1044" fmla="*/ 1162050 w 3574732"/>
                  <a:gd name="connsiteY1044" fmla="*/ 777283 h 1473560"/>
                  <a:gd name="connsiteX1045" fmla="*/ 1157288 w 3574732"/>
                  <a:gd name="connsiteY1045" fmla="*/ 776330 h 1473560"/>
                  <a:gd name="connsiteX1046" fmla="*/ 1148715 w 3574732"/>
                  <a:gd name="connsiteY1046" fmla="*/ 769663 h 1473560"/>
                  <a:gd name="connsiteX1047" fmla="*/ 1140143 w 3574732"/>
                  <a:gd name="connsiteY1047" fmla="*/ 759185 h 1473560"/>
                  <a:gd name="connsiteX1048" fmla="*/ 1132523 w 3574732"/>
                  <a:gd name="connsiteY1048" fmla="*/ 751565 h 1473560"/>
                  <a:gd name="connsiteX1049" fmla="*/ 1126808 w 3574732"/>
                  <a:gd name="connsiteY1049" fmla="*/ 741088 h 1473560"/>
                  <a:gd name="connsiteX1050" fmla="*/ 1129665 w 3574732"/>
                  <a:gd name="connsiteY1050" fmla="*/ 733468 h 1473560"/>
                  <a:gd name="connsiteX1051" fmla="*/ 1138238 w 3574732"/>
                  <a:gd name="connsiteY1051" fmla="*/ 733468 h 1473560"/>
                  <a:gd name="connsiteX1052" fmla="*/ 1159193 w 3574732"/>
                  <a:gd name="connsiteY1052" fmla="*/ 736325 h 1473560"/>
                  <a:gd name="connsiteX1053" fmla="*/ 1167765 w 3574732"/>
                  <a:gd name="connsiteY1053" fmla="*/ 743945 h 1473560"/>
                  <a:gd name="connsiteX1054" fmla="*/ 1173480 w 3574732"/>
                  <a:gd name="connsiteY1054" fmla="*/ 748708 h 1473560"/>
                  <a:gd name="connsiteX1055" fmla="*/ 1179195 w 3574732"/>
                  <a:gd name="connsiteY1055" fmla="*/ 755375 h 1473560"/>
                  <a:gd name="connsiteX1056" fmla="*/ 1187768 w 3574732"/>
                  <a:gd name="connsiteY1056" fmla="*/ 765853 h 1473560"/>
                  <a:gd name="connsiteX1057" fmla="*/ 1193483 w 3574732"/>
                  <a:gd name="connsiteY1057" fmla="*/ 768710 h 1473560"/>
                  <a:gd name="connsiteX1058" fmla="*/ 1206818 w 3574732"/>
                  <a:gd name="connsiteY1058" fmla="*/ 774425 h 1473560"/>
                  <a:gd name="connsiteX1059" fmla="*/ 1231583 w 3574732"/>
                  <a:gd name="connsiteY1059" fmla="*/ 775378 h 1473560"/>
                  <a:gd name="connsiteX1060" fmla="*/ 1245870 w 3574732"/>
                  <a:gd name="connsiteY1060" fmla="*/ 776330 h 1473560"/>
                  <a:gd name="connsiteX1061" fmla="*/ 1259205 w 3574732"/>
                  <a:gd name="connsiteY1061" fmla="*/ 777283 h 1473560"/>
                  <a:gd name="connsiteX1062" fmla="*/ 1267778 w 3574732"/>
                  <a:gd name="connsiteY1062" fmla="*/ 781093 h 1473560"/>
                  <a:gd name="connsiteX1063" fmla="*/ 1276350 w 3574732"/>
                  <a:gd name="connsiteY1063" fmla="*/ 784903 h 1473560"/>
                  <a:gd name="connsiteX1064" fmla="*/ 1287780 w 3574732"/>
                  <a:gd name="connsiteY1064" fmla="*/ 789665 h 1473560"/>
                  <a:gd name="connsiteX1065" fmla="*/ 1298258 w 3574732"/>
                  <a:gd name="connsiteY1065" fmla="*/ 791570 h 1473560"/>
                  <a:gd name="connsiteX1066" fmla="*/ 1308735 w 3574732"/>
                  <a:gd name="connsiteY1066" fmla="*/ 793475 h 1473560"/>
                  <a:gd name="connsiteX1067" fmla="*/ 1322070 w 3574732"/>
                  <a:gd name="connsiteY1067" fmla="*/ 796333 h 1473560"/>
                  <a:gd name="connsiteX1068" fmla="*/ 1335405 w 3574732"/>
                  <a:gd name="connsiteY1068" fmla="*/ 798238 h 1473560"/>
                  <a:gd name="connsiteX1069" fmla="*/ 1357313 w 3574732"/>
                  <a:gd name="connsiteY1069" fmla="*/ 798238 h 1473560"/>
                  <a:gd name="connsiteX1070" fmla="*/ 1390650 w 3574732"/>
                  <a:gd name="connsiteY1070" fmla="*/ 798238 h 1473560"/>
                  <a:gd name="connsiteX1071" fmla="*/ 1402080 w 3574732"/>
                  <a:gd name="connsiteY1071" fmla="*/ 797285 h 1473560"/>
                  <a:gd name="connsiteX1072" fmla="*/ 1415415 w 3574732"/>
                  <a:gd name="connsiteY1072" fmla="*/ 797285 h 1473560"/>
                  <a:gd name="connsiteX1073" fmla="*/ 1434465 w 3574732"/>
                  <a:gd name="connsiteY1073" fmla="*/ 798238 h 1473560"/>
                  <a:gd name="connsiteX1074" fmla="*/ 1447800 w 3574732"/>
                  <a:gd name="connsiteY1074" fmla="*/ 803000 h 1473560"/>
                  <a:gd name="connsiteX1075" fmla="*/ 1459230 w 3574732"/>
                  <a:gd name="connsiteY1075" fmla="*/ 814430 h 1473560"/>
                  <a:gd name="connsiteX1076" fmla="*/ 1467803 w 3574732"/>
                  <a:gd name="connsiteY1076" fmla="*/ 821098 h 1473560"/>
                  <a:gd name="connsiteX1077" fmla="*/ 1482090 w 3574732"/>
                  <a:gd name="connsiteY1077" fmla="*/ 828718 h 1473560"/>
                  <a:gd name="connsiteX1078" fmla="*/ 1495425 w 3574732"/>
                  <a:gd name="connsiteY1078" fmla="*/ 842053 h 1473560"/>
                  <a:gd name="connsiteX1079" fmla="*/ 1503998 w 3574732"/>
                  <a:gd name="connsiteY1079" fmla="*/ 845863 h 1473560"/>
                  <a:gd name="connsiteX1080" fmla="*/ 1518285 w 3574732"/>
                  <a:gd name="connsiteY1080" fmla="*/ 843958 h 1473560"/>
                  <a:gd name="connsiteX1081" fmla="*/ 1524000 w 3574732"/>
                  <a:gd name="connsiteY1081" fmla="*/ 838243 h 1473560"/>
                  <a:gd name="connsiteX1082" fmla="*/ 1534478 w 3574732"/>
                  <a:gd name="connsiteY1082" fmla="*/ 837290 h 1473560"/>
                  <a:gd name="connsiteX1083" fmla="*/ 1534478 w 3574732"/>
                  <a:gd name="connsiteY1083" fmla="*/ 841100 h 1473560"/>
                  <a:gd name="connsiteX1084" fmla="*/ 1540193 w 3574732"/>
                  <a:gd name="connsiteY1084" fmla="*/ 856340 h 1473560"/>
                  <a:gd name="connsiteX1085" fmla="*/ 1546860 w 3574732"/>
                  <a:gd name="connsiteY1085" fmla="*/ 871580 h 1473560"/>
                  <a:gd name="connsiteX1086" fmla="*/ 1544955 w 3574732"/>
                  <a:gd name="connsiteY1086" fmla="*/ 887773 h 1473560"/>
                  <a:gd name="connsiteX1087" fmla="*/ 1548765 w 3574732"/>
                  <a:gd name="connsiteY1087" fmla="*/ 895393 h 1473560"/>
                  <a:gd name="connsiteX1088" fmla="*/ 1551623 w 3574732"/>
                  <a:gd name="connsiteY1088" fmla="*/ 900155 h 1473560"/>
                  <a:gd name="connsiteX1089" fmla="*/ 1564005 w 3574732"/>
                  <a:gd name="connsiteY1089" fmla="*/ 919205 h 1473560"/>
                  <a:gd name="connsiteX1090" fmla="*/ 1571625 w 3574732"/>
                  <a:gd name="connsiteY1090" fmla="*/ 923968 h 1473560"/>
                  <a:gd name="connsiteX1091" fmla="*/ 1569720 w 3574732"/>
                  <a:gd name="connsiteY1091" fmla="*/ 933493 h 1473560"/>
                  <a:gd name="connsiteX1092" fmla="*/ 1572578 w 3574732"/>
                  <a:gd name="connsiteY1092" fmla="*/ 940160 h 1473560"/>
                  <a:gd name="connsiteX1093" fmla="*/ 1578293 w 3574732"/>
                  <a:gd name="connsiteY1093" fmla="*/ 946828 h 1473560"/>
                  <a:gd name="connsiteX1094" fmla="*/ 1584960 w 3574732"/>
                  <a:gd name="connsiteY1094" fmla="*/ 958258 h 1473560"/>
                  <a:gd name="connsiteX1095" fmla="*/ 1587818 w 3574732"/>
                  <a:gd name="connsiteY1095" fmla="*/ 970640 h 1473560"/>
                  <a:gd name="connsiteX1096" fmla="*/ 1604963 w 3574732"/>
                  <a:gd name="connsiteY1096" fmla="*/ 980165 h 1473560"/>
                  <a:gd name="connsiteX1097" fmla="*/ 1615440 w 3574732"/>
                  <a:gd name="connsiteY1097" fmla="*/ 982070 h 1473560"/>
                  <a:gd name="connsiteX1098" fmla="*/ 1628775 w 3574732"/>
                  <a:gd name="connsiteY1098" fmla="*/ 982070 h 1473560"/>
                  <a:gd name="connsiteX1099" fmla="*/ 1634490 w 3574732"/>
                  <a:gd name="connsiteY1099" fmla="*/ 981118 h 1473560"/>
                  <a:gd name="connsiteX1100" fmla="*/ 1644968 w 3574732"/>
                  <a:gd name="connsiteY1100" fmla="*/ 974450 h 1473560"/>
                  <a:gd name="connsiteX1101" fmla="*/ 1657350 w 3574732"/>
                  <a:gd name="connsiteY1101" fmla="*/ 961115 h 1473560"/>
                  <a:gd name="connsiteX1102" fmla="*/ 1660208 w 3574732"/>
                  <a:gd name="connsiteY1102" fmla="*/ 954448 h 1473560"/>
                  <a:gd name="connsiteX1103" fmla="*/ 1660208 w 3574732"/>
                  <a:gd name="connsiteY1103" fmla="*/ 943970 h 1473560"/>
                  <a:gd name="connsiteX1104" fmla="*/ 1663065 w 3574732"/>
                  <a:gd name="connsiteY1104" fmla="*/ 940160 h 1473560"/>
                  <a:gd name="connsiteX1105" fmla="*/ 1670685 w 3574732"/>
                  <a:gd name="connsiteY1105" fmla="*/ 932540 h 1473560"/>
                  <a:gd name="connsiteX1106" fmla="*/ 1676400 w 3574732"/>
                  <a:gd name="connsiteY1106" fmla="*/ 922063 h 1473560"/>
                  <a:gd name="connsiteX1107" fmla="*/ 1676400 w 3574732"/>
                  <a:gd name="connsiteY1107" fmla="*/ 914443 h 1473560"/>
                  <a:gd name="connsiteX1108" fmla="*/ 1676400 w 3574732"/>
                  <a:gd name="connsiteY1108" fmla="*/ 904918 h 1473560"/>
                  <a:gd name="connsiteX1109" fmla="*/ 1686878 w 3574732"/>
                  <a:gd name="connsiteY1109" fmla="*/ 903013 h 1473560"/>
                  <a:gd name="connsiteX1110" fmla="*/ 1710690 w 3574732"/>
                  <a:gd name="connsiteY1110" fmla="*/ 890630 h 1473560"/>
                  <a:gd name="connsiteX1111" fmla="*/ 1712595 w 3574732"/>
                  <a:gd name="connsiteY1111" fmla="*/ 886820 h 1473560"/>
                  <a:gd name="connsiteX1112" fmla="*/ 1727835 w 3574732"/>
                  <a:gd name="connsiteY1112" fmla="*/ 872533 h 1473560"/>
                  <a:gd name="connsiteX1113" fmla="*/ 1744028 w 3574732"/>
                  <a:gd name="connsiteY1113" fmla="*/ 866818 h 1473560"/>
                  <a:gd name="connsiteX1114" fmla="*/ 1751648 w 3574732"/>
                  <a:gd name="connsiteY1114" fmla="*/ 862055 h 1473560"/>
                  <a:gd name="connsiteX1115" fmla="*/ 1778318 w 3574732"/>
                  <a:gd name="connsiteY1115" fmla="*/ 847768 h 1473560"/>
                  <a:gd name="connsiteX1116" fmla="*/ 1804988 w 3574732"/>
                  <a:gd name="connsiteY1116" fmla="*/ 838243 h 1473560"/>
                  <a:gd name="connsiteX1117" fmla="*/ 1817370 w 3574732"/>
                  <a:gd name="connsiteY1117" fmla="*/ 833480 h 1473560"/>
                  <a:gd name="connsiteX1118" fmla="*/ 1838325 w 3574732"/>
                  <a:gd name="connsiteY1118" fmla="*/ 829670 h 1473560"/>
                  <a:gd name="connsiteX1119" fmla="*/ 1855470 w 3574732"/>
                  <a:gd name="connsiteY1119" fmla="*/ 830623 h 1473560"/>
                  <a:gd name="connsiteX1120" fmla="*/ 1865948 w 3574732"/>
                  <a:gd name="connsiteY1120" fmla="*/ 833480 h 1473560"/>
                  <a:gd name="connsiteX1121" fmla="*/ 1877378 w 3574732"/>
                  <a:gd name="connsiteY1121" fmla="*/ 836338 h 1473560"/>
                  <a:gd name="connsiteX1122" fmla="*/ 1888808 w 3574732"/>
                  <a:gd name="connsiteY1122" fmla="*/ 848720 h 1473560"/>
                  <a:gd name="connsiteX1123" fmla="*/ 1898333 w 3574732"/>
                  <a:gd name="connsiteY1123" fmla="*/ 869675 h 1473560"/>
                  <a:gd name="connsiteX1124" fmla="*/ 1899285 w 3574732"/>
                  <a:gd name="connsiteY1124" fmla="*/ 883963 h 1473560"/>
                  <a:gd name="connsiteX1125" fmla="*/ 1899285 w 3574732"/>
                  <a:gd name="connsiteY1125" fmla="*/ 895393 h 1473560"/>
                  <a:gd name="connsiteX1126" fmla="*/ 1913573 w 3574732"/>
                  <a:gd name="connsiteY1126" fmla="*/ 908728 h 1473560"/>
                  <a:gd name="connsiteX1127" fmla="*/ 1929765 w 3574732"/>
                  <a:gd name="connsiteY1127" fmla="*/ 905870 h 1473560"/>
                  <a:gd name="connsiteX1128" fmla="*/ 1932623 w 3574732"/>
                  <a:gd name="connsiteY1128" fmla="*/ 901108 h 1473560"/>
                  <a:gd name="connsiteX1129" fmla="*/ 1943100 w 3574732"/>
                  <a:gd name="connsiteY1129" fmla="*/ 896345 h 1473560"/>
                  <a:gd name="connsiteX1130" fmla="*/ 1957388 w 3574732"/>
                  <a:gd name="connsiteY1130" fmla="*/ 895393 h 1473560"/>
                  <a:gd name="connsiteX1131" fmla="*/ 1965008 w 3574732"/>
                  <a:gd name="connsiteY1131" fmla="*/ 903965 h 1473560"/>
                  <a:gd name="connsiteX1132" fmla="*/ 1979295 w 3574732"/>
                  <a:gd name="connsiteY1132" fmla="*/ 913490 h 1473560"/>
                  <a:gd name="connsiteX1133" fmla="*/ 1979295 w 3574732"/>
                  <a:gd name="connsiteY1133" fmla="*/ 919205 h 1473560"/>
                  <a:gd name="connsiteX1134" fmla="*/ 1976438 w 3574732"/>
                  <a:gd name="connsiteY1134" fmla="*/ 925873 h 1473560"/>
                  <a:gd name="connsiteX1135" fmla="*/ 1976438 w 3574732"/>
                  <a:gd name="connsiteY1135" fmla="*/ 938255 h 1473560"/>
                  <a:gd name="connsiteX1136" fmla="*/ 1980248 w 3574732"/>
                  <a:gd name="connsiteY1136" fmla="*/ 947780 h 1473560"/>
                  <a:gd name="connsiteX1137" fmla="*/ 1980248 w 3574732"/>
                  <a:gd name="connsiteY1137" fmla="*/ 957305 h 1473560"/>
                  <a:gd name="connsiteX1138" fmla="*/ 1980248 w 3574732"/>
                  <a:gd name="connsiteY1138" fmla="*/ 973498 h 1473560"/>
                  <a:gd name="connsiteX1139" fmla="*/ 1973580 w 3574732"/>
                  <a:gd name="connsiteY1139" fmla="*/ 989690 h 1473560"/>
                  <a:gd name="connsiteX1140" fmla="*/ 1982153 w 3574732"/>
                  <a:gd name="connsiteY1140" fmla="*/ 1002073 h 1473560"/>
                  <a:gd name="connsiteX1141" fmla="*/ 1983105 w 3574732"/>
                  <a:gd name="connsiteY1141" fmla="*/ 1005883 h 1473560"/>
                  <a:gd name="connsiteX1142" fmla="*/ 1994535 w 3574732"/>
                  <a:gd name="connsiteY1142" fmla="*/ 1011598 h 1473560"/>
                  <a:gd name="connsiteX1143" fmla="*/ 1994535 w 3574732"/>
                  <a:gd name="connsiteY1143" fmla="*/ 1015408 h 1473560"/>
                  <a:gd name="connsiteX1144" fmla="*/ 1998345 w 3574732"/>
                  <a:gd name="connsiteY1144" fmla="*/ 1022075 h 1473560"/>
                  <a:gd name="connsiteX1145" fmla="*/ 2002155 w 3574732"/>
                  <a:gd name="connsiteY1145" fmla="*/ 1029695 h 1473560"/>
                  <a:gd name="connsiteX1146" fmla="*/ 2008823 w 3574732"/>
                  <a:gd name="connsiteY1146" fmla="*/ 1039220 h 1473560"/>
                  <a:gd name="connsiteX1147" fmla="*/ 2013585 w 3574732"/>
                  <a:gd name="connsiteY1147" fmla="*/ 1044935 h 1473560"/>
                  <a:gd name="connsiteX1148" fmla="*/ 2033588 w 3574732"/>
                  <a:gd name="connsiteY1148" fmla="*/ 1048745 h 1473560"/>
                  <a:gd name="connsiteX1149" fmla="*/ 2038350 w 3574732"/>
                  <a:gd name="connsiteY1149" fmla="*/ 1052555 h 1473560"/>
                  <a:gd name="connsiteX1150" fmla="*/ 2049780 w 3574732"/>
                  <a:gd name="connsiteY1150" fmla="*/ 1057318 h 1473560"/>
                  <a:gd name="connsiteX1151" fmla="*/ 2060258 w 3574732"/>
                  <a:gd name="connsiteY1151" fmla="*/ 1059223 h 1473560"/>
                  <a:gd name="connsiteX1152" fmla="*/ 2068830 w 3574732"/>
                  <a:gd name="connsiteY1152" fmla="*/ 1053508 h 1473560"/>
                  <a:gd name="connsiteX1153" fmla="*/ 2067878 w 3574732"/>
                  <a:gd name="connsiteY1153" fmla="*/ 1048745 h 1473560"/>
                  <a:gd name="connsiteX1154" fmla="*/ 2067878 w 3574732"/>
                  <a:gd name="connsiteY1154" fmla="*/ 1039220 h 1473560"/>
                  <a:gd name="connsiteX1155" fmla="*/ 2064068 w 3574732"/>
                  <a:gd name="connsiteY1155" fmla="*/ 1033505 h 1473560"/>
                  <a:gd name="connsiteX1156" fmla="*/ 2056448 w 3574732"/>
                  <a:gd name="connsiteY1156" fmla="*/ 1028743 h 1473560"/>
                  <a:gd name="connsiteX1157" fmla="*/ 2045018 w 3574732"/>
                  <a:gd name="connsiteY1157" fmla="*/ 1022075 h 1473560"/>
                  <a:gd name="connsiteX1158" fmla="*/ 2027873 w 3574732"/>
                  <a:gd name="connsiteY1158" fmla="*/ 1011598 h 1473560"/>
                  <a:gd name="connsiteX1159" fmla="*/ 2017395 w 3574732"/>
                  <a:gd name="connsiteY1159" fmla="*/ 1003025 h 1473560"/>
                  <a:gd name="connsiteX1160" fmla="*/ 2008823 w 3574732"/>
                  <a:gd name="connsiteY1160" fmla="*/ 990643 h 1473560"/>
                  <a:gd name="connsiteX1161" fmla="*/ 2005013 w 3574732"/>
                  <a:gd name="connsiteY1161" fmla="*/ 982070 h 1473560"/>
                  <a:gd name="connsiteX1162" fmla="*/ 2004060 w 3574732"/>
                  <a:gd name="connsiteY1162" fmla="*/ 970640 h 1473560"/>
                  <a:gd name="connsiteX1163" fmla="*/ 2003108 w 3574732"/>
                  <a:gd name="connsiteY1163" fmla="*/ 962068 h 1473560"/>
                  <a:gd name="connsiteX1164" fmla="*/ 2003108 w 3574732"/>
                  <a:gd name="connsiteY1164" fmla="*/ 950638 h 1473560"/>
                  <a:gd name="connsiteX1165" fmla="*/ 2008823 w 3574732"/>
                  <a:gd name="connsiteY1165" fmla="*/ 941113 h 1473560"/>
                  <a:gd name="connsiteX1166" fmla="*/ 2019300 w 3574732"/>
                  <a:gd name="connsiteY1166" fmla="*/ 941113 h 1473560"/>
                  <a:gd name="connsiteX1167" fmla="*/ 2025015 w 3574732"/>
                  <a:gd name="connsiteY1167" fmla="*/ 943018 h 1473560"/>
                  <a:gd name="connsiteX1168" fmla="*/ 2033588 w 3574732"/>
                  <a:gd name="connsiteY1168" fmla="*/ 949685 h 1473560"/>
                  <a:gd name="connsiteX1169" fmla="*/ 2042160 w 3574732"/>
                  <a:gd name="connsiteY1169" fmla="*/ 950638 h 1473560"/>
                  <a:gd name="connsiteX1170" fmla="*/ 2045970 w 3574732"/>
                  <a:gd name="connsiteY1170" fmla="*/ 954448 h 1473560"/>
                  <a:gd name="connsiteX1171" fmla="*/ 2051685 w 3574732"/>
                  <a:gd name="connsiteY1171" fmla="*/ 960163 h 1473560"/>
                  <a:gd name="connsiteX1172" fmla="*/ 2073593 w 3574732"/>
                  <a:gd name="connsiteY1172" fmla="*/ 968735 h 1473560"/>
                  <a:gd name="connsiteX1173" fmla="*/ 2081213 w 3574732"/>
                  <a:gd name="connsiteY1173" fmla="*/ 973498 h 1473560"/>
                  <a:gd name="connsiteX1174" fmla="*/ 2081213 w 3574732"/>
                  <a:gd name="connsiteY1174" fmla="*/ 980165 h 1473560"/>
                  <a:gd name="connsiteX1175" fmla="*/ 2097405 w 3574732"/>
                  <a:gd name="connsiteY1175" fmla="*/ 985880 h 1473560"/>
                  <a:gd name="connsiteX1176" fmla="*/ 2123123 w 3574732"/>
                  <a:gd name="connsiteY1176" fmla="*/ 968735 h 1473560"/>
                  <a:gd name="connsiteX1177" fmla="*/ 2139315 w 3574732"/>
                  <a:gd name="connsiteY1177" fmla="*/ 960163 h 1473560"/>
                  <a:gd name="connsiteX1178" fmla="*/ 2154555 w 3574732"/>
                  <a:gd name="connsiteY1178" fmla="*/ 956353 h 1473560"/>
                  <a:gd name="connsiteX1179" fmla="*/ 2156460 w 3574732"/>
                  <a:gd name="connsiteY1179" fmla="*/ 948733 h 1473560"/>
                  <a:gd name="connsiteX1180" fmla="*/ 2159318 w 3574732"/>
                  <a:gd name="connsiteY1180" fmla="*/ 939208 h 1473560"/>
                  <a:gd name="connsiteX1181" fmla="*/ 2161223 w 3574732"/>
                  <a:gd name="connsiteY1181" fmla="*/ 935398 h 1473560"/>
                  <a:gd name="connsiteX1182" fmla="*/ 2161223 w 3574732"/>
                  <a:gd name="connsiteY1182" fmla="*/ 921110 h 1473560"/>
                  <a:gd name="connsiteX1183" fmla="*/ 2161223 w 3574732"/>
                  <a:gd name="connsiteY1183" fmla="*/ 912538 h 1473560"/>
                  <a:gd name="connsiteX1184" fmla="*/ 2149793 w 3574732"/>
                  <a:gd name="connsiteY1184" fmla="*/ 905870 h 1473560"/>
                  <a:gd name="connsiteX1185" fmla="*/ 2149793 w 3574732"/>
                  <a:gd name="connsiteY1185" fmla="*/ 899203 h 1473560"/>
                  <a:gd name="connsiteX1186" fmla="*/ 2144078 w 3574732"/>
                  <a:gd name="connsiteY1186" fmla="*/ 893488 h 1473560"/>
                  <a:gd name="connsiteX1187" fmla="*/ 2138363 w 3574732"/>
                  <a:gd name="connsiteY1187" fmla="*/ 889678 h 1473560"/>
                  <a:gd name="connsiteX1188" fmla="*/ 2127885 w 3574732"/>
                  <a:gd name="connsiteY1188" fmla="*/ 881105 h 1473560"/>
                  <a:gd name="connsiteX1189" fmla="*/ 2111693 w 3574732"/>
                  <a:gd name="connsiteY1189" fmla="*/ 868723 h 1473560"/>
                  <a:gd name="connsiteX1190" fmla="*/ 2122170 w 3574732"/>
                  <a:gd name="connsiteY1190" fmla="*/ 853483 h 1473560"/>
                  <a:gd name="connsiteX1191" fmla="*/ 2130743 w 3574732"/>
                  <a:gd name="connsiteY1191" fmla="*/ 852530 h 1473560"/>
                  <a:gd name="connsiteX1192" fmla="*/ 2145030 w 3574732"/>
                  <a:gd name="connsiteY1192" fmla="*/ 850625 h 1473560"/>
                  <a:gd name="connsiteX1193" fmla="*/ 2152650 w 3574732"/>
                  <a:gd name="connsiteY1193" fmla="*/ 844910 h 1473560"/>
                  <a:gd name="connsiteX1194" fmla="*/ 2158365 w 3574732"/>
                  <a:gd name="connsiteY1194" fmla="*/ 843005 h 1473560"/>
                  <a:gd name="connsiteX1195" fmla="*/ 2165985 w 3574732"/>
                  <a:gd name="connsiteY1195" fmla="*/ 841100 h 1473560"/>
                  <a:gd name="connsiteX1196" fmla="*/ 2171700 w 3574732"/>
                  <a:gd name="connsiteY1196" fmla="*/ 844910 h 1473560"/>
                  <a:gd name="connsiteX1197" fmla="*/ 2180273 w 3574732"/>
                  <a:gd name="connsiteY1197" fmla="*/ 851578 h 1473560"/>
                  <a:gd name="connsiteX1198" fmla="*/ 2190750 w 3574732"/>
                  <a:gd name="connsiteY1198" fmla="*/ 850625 h 1473560"/>
                  <a:gd name="connsiteX1199" fmla="*/ 2199323 w 3574732"/>
                  <a:gd name="connsiteY1199" fmla="*/ 845863 h 1473560"/>
                  <a:gd name="connsiteX1200" fmla="*/ 2206943 w 3574732"/>
                  <a:gd name="connsiteY1200" fmla="*/ 839195 h 1473560"/>
                  <a:gd name="connsiteX1201" fmla="*/ 2223135 w 3574732"/>
                  <a:gd name="connsiteY1201" fmla="*/ 834433 h 1473560"/>
                  <a:gd name="connsiteX1202" fmla="*/ 2228850 w 3574732"/>
                  <a:gd name="connsiteY1202" fmla="*/ 833480 h 1473560"/>
                  <a:gd name="connsiteX1203" fmla="*/ 2236470 w 3574732"/>
                  <a:gd name="connsiteY1203" fmla="*/ 830623 h 1473560"/>
                  <a:gd name="connsiteX1204" fmla="*/ 2247900 w 3574732"/>
                  <a:gd name="connsiteY1204" fmla="*/ 825860 h 1473560"/>
                  <a:gd name="connsiteX1205" fmla="*/ 2255520 w 3574732"/>
                  <a:gd name="connsiteY1205" fmla="*/ 824908 h 1473560"/>
                  <a:gd name="connsiteX1206" fmla="*/ 2274570 w 3574732"/>
                  <a:gd name="connsiteY1206" fmla="*/ 823955 h 1473560"/>
                  <a:gd name="connsiteX1207" fmla="*/ 2286000 w 3574732"/>
                  <a:gd name="connsiteY1207" fmla="*/ 821098 h 1473560"/>
                  <a:gd name="connsiteX1208" fmla="*/ 2293620 w 3574732"/>
                  <a:gd name="connsiteY1208" fmla="*/ 815383 h 1473560"/>
                  <a:gd name="connsiteX1209" fmla="*/ 2293620 w 3574732"/>
                  <a:gd name="connsiteY1209" fmla="*/ 812525 h 1473560"/>
                  <a:gd name="connsiteX1210" fmla="*/ 2309813 w 3574732"/>
                  <a:gd name="connsiteY1210" fmla="*/ 802048 h 1473560"/>
                  <a:gd name="connsiteX1211" fmla="*/ 2318385 w 3574732"/>
                  <a:gd name="connsiteY1211" fmla="*/ 796333 h 1473560"/>
                  <a:gd name="connsiteX1212" fmla="*/ 2333625 w 3574732"/>
                  <a:gd name="connsiteY1212" fmla="*/ 785855 h 1473560"/>
                  <a:gd name="connsiteX1213" fmla="*/ 2348865 w 3574732"/>
                  <a:gd name="connsiteY1213" fmla="*/ 773473 h 1473560"/>
                  <a:gd name="connsiteX1214" fmla="*/ 2362200 w 3574732"/>
                  <a:gd name="connsiteY1214" fmla="*/ 766805 h 1473560"/>
                  <a:gd name="connsiteX1215" fmla="*/ 2366963 w 3574732"/>
                  <a:gd name="connsiteY1215" fmla="*/ 758233 h 1473560"/>
                  <a:gd name="connsiteX1216" fmla="*/ 2366963 w 3574732"/>
                  <a:gd name="connsiteY1216" fmla="*/ 751565 h 1473560"/>
                  <a:gd name="connsiteX1217" fmla="*/ 2368868 w 3574732"/>
                  <a:gd name="connsiteY1217" fmla="*/ 728705 h 1473560"/>
                  <a:gd name="connsiteX1218" fmla="*/ 2374583 w 3574732"/>
                  <a:gd name="connsiteY1218" fmla="*/ 718228 h 1473560"/>
                  <a:gd name="connsiteX1219" fmla="*/ 2374583 w 3574732"/>
                  <a:gd name="connsiteY1219" fmla="*/ 712513 h 1473560"/>
                  <a:gd name="connsiteX1220" fmla="*/ 2367915 w 3574732"/>
                  <a:gd name="connsiteY1220" fmla="*/ 697273 h 1473560"/>
                  <a:gd name="connsiteX1221" fmla="*/ 2366963 w 3574732"/>
                  <a:gd name="connsiteY1221" fmla="*/ 690605 h 1473560"/>
                  <a:gd name="connsiteX1222" fmla="*/ 2366010 w 3574732"/>
                  <a:gd name="connsiteY1222" fmla="*/ 684890 h 1473560"/>
                  <a:gd name="connsiteX1223" fmla="*/ 2358390 w 3574732"/>
                  <a:gd name="connsiteY1223" fmla="*/ 682985 h 1473560"/>
                  <a:gd name="connsiteX1224" fmla="*/ 2353628 w 3574732"/>
                  <a:gd name="connsiteY1224" fmla="*/ 682033 h 1473560"/>
                  <a:gd name="connsiteX1225" fmla="*/ 2336483 w 3574732"/>
                  <a:gd name="connsiteY1225" fmla="*/ 673460 h 1473560"/>
                  <a:gd name="connsiteX1226" fmla="*/ 2355533 w 3574732"/>
                  <a:gd name="connsiteY1226" fmla="*/ 669650 h 1473560"/>
                  <a:gd name="connsiteX1227" fmla="*/ 2357438 w 3574732"/>
                  <a:gd name="connsiteY1227" fmla="*/ 662983 h 1473560"/>
                  <a:gd name="connsiteX1228" fmla="*/ 2367915 w 3574732"/>
                  <a:gd name="connsiteY1228" fmla="*/ 661078 h 1473560"/>
                  <a:gd name="connsiteX1229" fmla="*/ 2391728 w 3574732"/>
                  <a:gd name="connsiteY1229" fmla="*/ 658220 h 1473560"/>
                  <a:gd name="connsiteX1230" fmla="*/ 2391728 w 3574732"/>
                  <a:gd name="connsiteY1230" fmla="*/ 655363 h 1473560"/>
                  <a:gd name="connsiteX1231" fmla="*/ 2390775 w 3574732"/>
                  <a:gd name="connsiteY1231" fmla="*/ 642028 h 1473560"/>
                  <a:gd name="connsiteX1232" fmla="*/ 2387918 w 3574732"/>
                  <a:gd name="connsiteY1232" fmla="*/ 638218 h 1473560"/>
                  <a:gd name="connsiteX1233" fmla="*/ 2374583 w 3574732"/>
                  <a:gd name="connsiteY1233" fmla="*/ 636313 h 1473560"/>
                  <a:gd name="connsiteX1234" fmla="*/ 2361248 w 3574732"/>
                  <a:gd name="connsiteY1234" fmla="*/ 635360 h 1473560"/>
                  <a:gd name="connsiteX1235" fmla="*/ 2350770 w 3574732"/>
                  <a:gd name="connsiteY1235" fmla="*/ 635360 h 1473560"/>
                  <a:gd name="connsiteX1236" fmla="*/ 2328863 w 3574732"/>
                  <a:gd name="connsiteY1236" fmla="*/ 635360 h 1473560"/>
                  <a:gd name="connsiteX1237" fmla="*/ 2315528 w 3574732"/>
                  <a:gd name="connsiteY1237" fmla="*/ 632503 h 1473560"/>
                  <a:gd name="connsiteX1238" fmla="*/ 2314575 w 3574732"/>
                  <a:gd name="connsiteY1238" fmla="*/ 630598 h 1473560"/>
                  <a:gd name="connsiteX1239" fmla="*/ 2311718 w 3574732"/>
                  <a:gd name="connsiteY1239" fmla="*/ 622025 h 1473560"/>
                  <a:gd name="connsiteX1240" fmla="*/ 2330768 w 3574732"/>
                  <a:gd name="connsiteY1240" fmla="*/ 621073 h 1473560"/>
                  <a:gd name="connsiteX1241" fmla="*/ 2338388 w 3574732"/>
                  <a:gd name="connsiteY1241" fmla="*/ 620120 h 1473560"/>
                  <a:gd name="connsiteX1242" fmla="*/ 2351723 w 3574732"/>
                  <a:gd name="connsiteY1242" fmla="*/ 617263 h 1473560"/>
                  <a:gd name="connsiteX1243" fmla="*/ 2354580 w 3574732"/>
                  <a:gd name="connsiteY1243" fmla="*/ 613453 h 1473560"/>
                  <a:gd name="connsiteX1244" fmla="*/ 2366010 w 3574732"/>
                  <a:gd name="connsiteY1244" fmla="*/ 608690 h 1473560"/>
                  <a:gd name="connsiteX1245" fmla="*/ 2376488 w 3574732"/>
                  <a:gd name="connsiteY1245" fmla="*/ 611548 h 1473560"/>
                  <a:gd name="connsiteX1246" fmla="*/ 2380298 w 3574732"/>
                  <a:gd name="connsiteY1246" fmla="*/ 617263 h 1473560"/>
                  <a:gd name="connsiteX1247" fmla="*/ 2391728 w 3574732"/>
                  <a:gd name="connsiteY1247" fmla="*/ 617263 h 1473560"/>
                  <a:gd name="connsiteX1248" fmla="*/ 2406968 w 3574732"/>
                  <a:gd name="connsiteY1248" fmla="*/ 613453 h 1473560"/>
                  <a:gd name="connsiteX1249" fmla="*/ 2427923 w 3574732"/>
                  <a:gd name="connsiteY1249" fmla="*/ 616310 h 1473560"/>
                  <a:gd name="connsiteX1250" fmla="*/ 2436495 w 3574732"/>
                  <a:gd name="connsiteY1250" fmla="*/ 624883 h 1473560"/>
                  <a:gd name="connsiteX1251" fmla="*/ 2445068 w 3574732"/>
                  <a:gd name="connsiteY1251" fmla="*/ 632503 h 1473560"/>
                  <a:gd name="connsiteX1252" fmla="*/ 2448878 w 3574732"/>
                  <a:gd name="connsiteY1252" fmla="*/ 640123 h 1473560"/>
                  <a:gd name="connsiteX1253" fmla="*/ 2457450 w 3574732"/>
                  <a:gd name="connsiteY1253" fmla="*/ 643933 h 1473560"/>
                  <a:gd name="connsiteX1254" fmla="*/ 2457450 w 3574732"/>
                  <a:gd name="connsiteY1254" fmla="*/ 651553 h 1473560"/>
                  <a:gd name="connsiteX1255" fmla="*/ 2455545 w 3574732"/>
                  <a:gd name="connsiteY1255" fmla="*/ 662030 h 1473560"/>
                  <a:gd name="connsiteX1256" fmla="*/ 2458403 w 3574732"/>
                  <a:gd name="connsiteY1256" fmla="*/ 669650 h 1473560"/>
                  <a:gd name="connsiteX1257" fmla="*/ 2459355 w 3574732"/>
                  <a:gd name="connsiteY1257" fmla="*/ 673460 h 1473560"/>
                  <a:gd name="connsiteX1258" fmla="*/ 2472690 w 3574732"/>
                  <a:gd name="connsiteY1258" fmla="*/ 676318 h 1473560"/>
                  <a:gd name="connsiteX1259" fmla="*/ 2486978 w 3574732"/>
                  <a:gd name="connsiteY1259" fmla="*/ 677270 h 1473560"/>
                  <a:gd name="connsiteX1260" fmla="*/ 2497455 w 3574732"/>
                  <a:gd name="connsiteY1260" fmla="*/ 677270 h 1473560"/>
                  <a:gd name="connsiteX1261" fmla="*/ 2507933 w 3574732"/>
                  <a:gd name="connsiteY1261" fmla="*/ 675365 h 1473560"/>
                  <a:gd name="connsiteX1262" fmla="*/ 2518410 w 3574732"/>
                  <a:gd name="connsiteY1262" fmla="*/ 670603 h 1473560"/>
                  <a:gd name="connsiteX1263" fmla="*/ 2521268 w 3574732"/>
                  <a:gd name="connsiteY1263" fmla="*/ 656315 h 1473560"/>
                  <a:gd name="connsiteX1264" fmla="*/ 2517458 w 3574732"/>
                  <a:gd name="connsiteY1264" fmla="*/ 649648 h 1473560"/>
                  <a:gd name="connsiteX1265" fmla="*/ 2508885 w 3574732"/>
                  <a:gd name="connsiteY1265" fmla="*/ 642028 h 1473560"/>
                  <a:gd name="connsiteX1266" fmla="*/ 2505075 w 3574732"/>
                  <a:gd name="connsiteY1266" fmla="*/ 630598 h 1473560"/>
                  <a:gd name="connsiteX1267" fmla="*/ 2502218 w 3574732"/>
                  <a:gd name="connsiteY1267" fmla="*/ 619168 h 1473560"/>
                  <a:gd name="connsiteX1268" fmla="*/ 2515553 w 3574732"/>
                  <a:gd name="connsiteY1268" fmla="*/ 603928 h 1473560"/>
                  <a:gd name="connsiteX1269" fmla="*/ 2517458 w 3574732"/>
                  <a:gd name="connsiteY1269" fmla="*/ 601070 h 1473560"/>
                  <a:gd name="connsiteX1270" fmla="*/ 2525078 w 3574732"/>
                  <a:gd name="connsiteY1270" fmla="*/ 587735 h 1473560"/>
                  <a:gd name="connsiteX1271" fmla="*/ 2527935 w 3574732"/>
                  <a:gd name="connsiteY1271" fmla="*/ 582973 h 1473560"/>
                  <a:gd name="connsiteX1272" fmla="*/ 2549843 w 3574732"/>
                  <a:gd name="connsiteY1272" fmla="*/ 581068 h 1473560"/>
                  <a:gd name="connsiteX1273" fmla="*/ 2579370 w 3574732"/>
                  <a:gd name="connsiteY1273" fmla="*/ 571543 h 1473560"/>
                  <a:gd name="connsiteX1274" fmla="*/ 2589848 w 3574732"/>
                  <a:gd name="connsiteY1274" fmla="*/ 568685 h 1473560"/>
                  <a:gd name="connsiteX1275" fmla="*/ 2611755 w 3574732"/>
                  <a:gd name="connsiteY1275" fmla="*/ 558208 h 1473560"/>
                  <a:gd name="connsiteX1276" fmla="*/ 2624138 w 3574732"/>
                  <a:gd name="connsiteY1276" fmla="*/ 547730 h 1473560"/>
                  <a:gd name="connsiteX1277" fmla="*/ 2648903 w 3574732"/>
                  <a:gd name="connsiteY1277" fmla="*/ 539158 h 1473560"/>
                  <a:gd name="connsiteX1278" fmla="*/ 2653665 w 3574732"/>
                  <a:gd name="connsiteY1278" fmla="*/ 528680 h 1473560"/>
                  <a:gd name="connsiteX1279" fmla="*/ 2662238 w 3574732"/>
                  <a:gd name="connsiteY1279" fmla="*/ 521060 h 1473560"/>
                  <a:gd name="connsiteX1280" fmla="*/ 2684145 w 3574732"/>
                  <a:gd name="connsiteY1280" fmla="*/ 512488 h 1473560"/>
                  <a:gd name="connsiteX1281" fmla="*/ 2694623 w 3574732"/>
                  <a:gd name="connsiteY1281" fmla="*/ 502010 h 1473560"/>
                  <a:gd name="connsiteX1282" fmla="*/ 2696528 w 3574732"/>
                  <a:gd name="connsiteY1282" fmla="*/ 487723 h 1473560"/>
                  <a:gd name="connsiteX1283" fmla="*/ 2695575 w 3574732"/>
                  <a:gd name="connsiteY1283" fmla="*/ 478198 h 1473560"/>
                  <a:gd name="connsiteX1284" fmla="*/ 2694623 w 3574732"/>
                  <a:gd name="connsiteY1284" fmla="*/ 472483 h 1473560"/>
                  <a:gd name="connsiteX1285" fmla="*/ 2707005 w 3574732"/>
                  <a:gd name="connsiteY1285" fmla="*/ 460100 h 1473560"/>
                  <a:gd name="connsiteX1286" fmla="*/ 2707005 w 3574732"/>
                  <a:gd name="connsiteY1286" fmla="*/ 453433 h 1473560"/>
                  <a:gd name="connsiteX1287" fmla="*/ 2707005 w 3574732"/>
                  <a:gd name="connsiteY1287" fmla="*/ 439145 h 1473560"/>
                  <a:gd name="connsiteX1288" fmla="*/ 2711768 w 3574732"/>
                  <a:gd name="connsiteY1288" fmla="*/ 428668 h 1473560"/>
                  <a:gd name="connsiteX1289" fmla="*/ 2711768 w 3574732"/>
                  <a:gd name="connsiteY1289" fmla="*/ 416285 h 1473560"/>
                  <a:gd name="connsiteX1290" fmla="*/ 2701290 w 3574732"/>
                  <a:gd name="connsiteY1290" fmla="*/ 412475 h 1473560"/>
                  <a:gd name="connsiteX1291" fmla="*/ 2689860 w 3574732"/>
                  <a:gd name="connsiteY1291" fmla="*/ 413428 h 1473560"/>
                  <a:gd name="connsiteX1292" fmla="*/ 2673668 w 3574732"/>
                  <a:gd name="connsiteY1292" fmla="*/ 416285 h 1473560"/>
                  <a:gd name="connsiteX1293" fmla="*/ 2660333 w 3574732"/>
                  <a:gd name="connsiteY1293" fmla="*/ 412475 h 1473560"/>
                  <a:gd name="connsiteX1294" fmla="*/ 2653665 w 3574732"/>
                  <a:gd name="connsiteY1294" fmla="*/ 401998 h 1473560"/>
                  <a:gd name="connsiteX1295" fmla="*/ 2647950 w 3574732"/>
                  <a:gd name="connsiteY1295" fmla="*/ 401998 h 1473560"/>
                  <a:gd name="connsiteX1296" fmla="*/ 2634615 w 3574732"/>
                  <a:gd name="connsiteY1296" fmla="*/ 400093 h 1473560"/>
                  <a:gd name="connsiteX1297" fmla="*/ 2629853 w 3574732"/>
                  <a:gd name="connsiteY1297" fmla="*/ 396283 h 1473560"/>
                  <a:gd name="connsiteX1298" fmla="*/ 2629853 w 3574732"/>
                  <a:gd name="connsiteY1298" fmla="*/ 393425 h 1473560"/>
                  <a:gd name="connsiteX1299" fmla="*/ 2632710 w 3574732"/>
                  <a:gd name="connsiteY1299" fmla="*/ 383900 h 1473560"/>
                  <a:gd name="connsiteX1300" fmla="*/ 2676525 w 3574732"/>
                  <a:gd name="connsiteY1300" fmla="*/ 375328 h 1473560"/>
                  <a:gd name="connsiteX1301" fmla="*/ 2681288 w 3574732"/>
                  <a:gd name="connsiteY1301" fmla="*/ 368660 h 1473560"/>
                  <a:gd name="connsiteX1302" fmla="*/ 2697480 w 3574732"/>
                  <a:gd name="connsiteY1302" fmla="*/ 356278 h 1473560"/>
                  <a:gd name="connsiteX1303" fmla="*/ 2716530 w 3574732"/>
                  <a:gd name="connsiteY1303" fmla="*/ 344848 h 1473560"/>
                  <a:gd name="connsiteX1304" fmla="*/ 2734628 w 3574732"/>
                  <a:gd name="connsiteY1304" fmla="*/ 334370 h 1473560"/>
                  <a:gd name="connsiteX1305" fmla="*/ 2745105 w 3574732"/>
                  <a:gd name="connsiteY1305" fmla="*/ 330560 h 1473560"/>
                  <a:gd name="connsiteX1306" fmla="*/ 2777490 w 3574732"/>
                  <a:gd name="connsiteY1306" fmla="*/ 328655 h 1473560"/>
                  <a:gd name="connsiteX1307" fmla="*/ 2785110 w 3574732"/>
                  <a:gd name="connsiteY1307" fmla="*/ 327703 h 1473560"/>
                  <a:gd name="connsiteX1308" fmla="*/ 2798445 w 3574732"/>
                  <a:gd name="connsiteY1308" fmla="*/ 327703 h 1473560"/>
                  <a:gd name="connsiteX1309" fmla="*/ 2814638 w 3574732"/>
                  <a:gd name="connsiteY1309" fmla="*/ 330560 h 1473560"/>
                  <a:gd name="connsiteX1310" fmla="*/ 2841308 w 3574732"/>
                  <a:gd name="connsiteY1310" fmla="*/ 331513 h 1473560"/>
                  <a:gd name="connsiteX1311" fmla="*/ 2855595 w 3574732"/>
                  <a:gd name="connsiteY1311" fmla="*/ 328655 h 1473560"/>
                  <a:gd name="connsiteX1312" fmla="*/ 2869883 w 3574732"/>
                  <a:gd name="connsiteY1312" fmla="*/ 324845 h 1473560"/>
                  <a:gd name="connsiteX1313" fmla="*/ 2877503 w 3574732"/>
                  <a:gd name="connsiteY1313" fmla="*/ 324845 h 1473560"/>
                  <a:gd name="connsiteX1314" fmla="*/ 2909888 w 3574732"/>
                  <a:gd name="connsiteY1314" fmla="*/ 331513 h 1473560"/>
                  <a:gd name="connsiteX1315" fmla="*/ 2924175 w 3574732"/>
                  <a:gd name="connsiteY1315" fmla="*/ 339133 h 1473560"/>
                  <a:gd name="connsiteX1316" fmla="*/ 2934653 w 3574732"/>
                  <a:gd name="connsiteY1316" fmla="*/ 341038 h 1473560"/>
                  <a:gd name="connsiteX1317" fmla="*/ 2943225 w 3574732"/>
                  <a:gd name="connsiteY1317" fmla="*/ 339133 h 1473560"/>
                  <a:gd name="connsiteX1318" fmla="*/ 2956560 w 3574732"/>
                  <a:gd name="connsiteY1318" fmla="*/ 324845 h 1473560"/>
                  <a:gd name="connsiteX1319" fmla="*/ 2958465 w 3574732"/>
                  <a:gd name="connsiteY1319" fmla="*/ 320083 h 1473560"/>
                  <a:gd name="connsiteX1320" fmla="*/ 2966085 w 3574732"/>
                  <a:gd name="connsiteY1320" fmla="*/ 311510 h 1473560"/>
                  <a:gd name="connsiteX1321" fmla="*/ 2971800 w 3574732"/>
                  <a:gd name="connsiteY1321" fmla="*/ 306748 h 1473560"/>
                  <a:gd name="connsiteX1322" fmla="*/ 2979420 w 3574732"/>
                  <a:gd name="connsiteY1322" fmla="*/ 303890 h 1473560"/>
                  <a:gd name="connsiteX1323" fmla="*/ 2987040 w 3574732"/>
                  <a:gd name="connsiteY1323" fmla="*/ 300080 h 1473560"/>
                  <a:gd name="connsiteX1324" fmla="*/ 2995613 w 3574732"/>
                  <a:gd name="connsiteY1324" fmla="*/ 295318 h 1473560"/>
                  <a:gd name="connsiteX1325" fmla="*/ 3006090 w 3574732"/>
                  <a:gd name="connsiteY1325" fmla="*/ 291508 h 1473560"/>
                  <a:gd name="connsiteX1326" fmla="*/ 3036570 w 3574732"/>
                  <a:gd name="connsiteY1326" fmla="*/ 291508 h 1473560"/>
                  <a:gd name="connsiteX1327" fmla="*/ 3044190 w 3574732"/>
                  <a:gd name="connsiteY1327" fmla="*/ 299128 h 1473560"/>
                  <a:gd name="connsiteX1328" fmla="*/ 3051810 w 3574732"/>
                  <a:gd name="connsiteY1328" fmla="*/ 301985 h 1473560"/>
                  <a:gd name="connsiteX1329" fmla="*/ 3062288 w 3574732"/>
                  <a:gd name="connsiteY1329" fmla="*/ 300080 h 1473560"/>
                  <a:gd name="connsiteX1330" fmla="*/ 3075623 w 3574732"/>
                  <a:gd name="connsiteY1330" fmla="*/ 293413 h 1473560"/>
                  <a:gd name="connsiteX1331" fmla="*/ 3087053 w 3574732"/>
                  <a:gd name="connsiteY1331" fmla="*/ 289603 h 1473560"/>
                  <a:gd name="connsiteX1332" fmla="*/ 3097530 w 3574732"/>
                  <a:gd name="connsiteY1332" fmla="*/ 284840 h 1473560"/>
                  <a:gd name="connsiteX1333" fmla="*/ 3105150 w 3574732"/>
                  <a:gd name="connsiteY1333" fmla="*/ 283888 h 1473560"/>
                  <a:gd name="connsiteX1334" fmla="*/ 3113723 w 3574732"/>
                  <a:gd name="connsiteY1334" fmla="*/ 287698 h 1473560"/>
                  <a:gd name="connsiteX1335" fmla="*/ 3100388 w 3574732"/>
                  <a:gd name="connsiteY1335" fmla="*/ 297223 h 1473560"/>
                  <a:gd name="connsiteX1336" fmla="*/ 3089910 w 3574732"/>
                  <a:gd name="connsiteY1336" fmla="*/ 302938 h 1473560"/>
                  <a:gd name="connsiteX1337" fmla="*/ 3071813 w 3574732"/>
                  <a:gd name="connsiteY1337" fmla="*/ 311510 h 1473560"/>
                  <a:gd name="connsiteX1338" fmla="*/ 3061335 w 3574732"/>
                  <a:gd name="connsiteY1338" fmla="*/ 317225 h 1473560"/>
                  <a:gd name="connsiteX1339" fmla="*/ 3052763 w 3574732"/>
                  <a:gd name="connsiteY1339" fmla="*/ 321988 h 1473560"/>
                  <a:gd name="connsiteX1340" fmla="*/ 3044190 w 3574732"/>
                  <a:gd name="connsiteY1340" fmla="*/ 328655 h 1473560"/>
                  <a:gd name="connsiteX1341" fmla="*/ 3030855 w 3574732"/>
                  <a:gd name="connsiteY1341" fmla="*/ 337228 h 1473560"/>
                  <a:gd name="connsiteX1342" fmla="*/ 3015615 w 3574732"/>
                  <a:gd name="connsiteY1342" fmla="*/ 341990 h 1473560"/>
                  <a:gd name="connsiteX1343" fmla="*/ 2994660 w 3574732"/>
                  <a:gd name="connsiteY1343" fmla="*/ 351515 h 1473560"/>
                  <a:gd name="connsiteX1344" fmla="*/ 2982278 w 3574732"/>
                  <a:gd name="connsiteY1344" fmla="*/ 364850 h 1473560"/>
                  <a:gd name="connsiteX1345" fmla="*/ 2979420 w 3574732"/>
                  <a:gd name="connsiteY1345" fmla="*/ 368660 h 1473560"/>
                  <a:gd name="connsiteX1346" fmla="*/ 2967038 w 3574732"/>
                  <a:gd name="connsiteY1346" fmla="*/ 379138 h 1473560"/>
                  <a:gd name="connsiteX1347" fmla="*/ 2972753 w 3574732"/>
                  <a:gd name="connsiteY1347" fmla="*/ 387710 h 1473560"/>
                  <a:gd name="connsiteX1348" fmla="*/ 2968943 w 3574732"/>
                  <a:gd name="connsiteY1348" fmla="*/ 408665 h 1473560"/>
                  <a:gd name="connsiteX1349" fmla="*/ 2968943 w 3574732"/>
                  <a:gd name="connsiteY1349" fmla="*/ 418190 h 1473560"/>
                  <a:gd name="connsiteX1350" fmla="*/ 2968943 w 3574732"/>
                  <a:gd name="connsiteY1350" fmla="*/ 427715 h 1473560"/>
                  <a:gd name="connsiteX1351" fmla="*/ 2968943 w 3574732"/>
                  <a:gd name="connsiteY1351" fmla="*/ 434383 h 1473560"/>
                  <a:gd name="connsiteX1352" fmla="*/ 2979420 w 3574732"/>
                  <a:gd name="connsiteY1352" fmla="*/ 440098 h 1473560"/>
                  <a:gd name="connsiteX1353" fmla="*/ 2989898 w 3574732"/>
                  <a:gd name="connsiteY1353" fmla="*/ 449623 h 1473560"/>
                  <a:gd name="connsiteX1354" fmla="*/ 2990850 w 3574732"/>
                  <a:gd name="connsiteY1354" fmla="*/ 455338 h 1473560"/>
                  <a:gd name="connsiteX1355" fmla="*/ 3007043 w 3574732"/>
                  <a:gd name="connsiteY1355" fmla="*/ 457243 h 1473560"/>
                  <a:gd name="connsiteX1356" fmla="*/ 3017520 w 3574732"/>
                  <a:gd name="connsiteY1356" fmla="*/ 448670 h 1473560"/>
                  <a:gd name="connsiteX1357" fmla="*/ 3020378 w 3574732"/>
                  <a:gd name="connsiteY1357" fmla="*/ 441050 h 1473560"/>
                  <a:gd name="connsiteX1358" fmla="*/ 3027998 w 3574732"/>
                  <a:gd name="connsiteY1358" fmla="*/ 435335 h 1473560"/>
                  <a:gd name="connsiteX1359" fmla="*/ 3038475 w 3574732"/>
                  <a:gd name="connsiteY1359" fmla="*/ 428668 h 1473560"/>
                  <a:gd name="connsiteX1360" fmla="*/ 3037523 w 3574732"/>
                  <a:gd name="connsiteY1360" fmla="*/ 425810 h 1473560"/>
                  <a:gd name="connsiteX1361" fmla="*/ 3047048 w 3574732"/>
                  <a:gd name="connsiteY1361" fmla="*/ 416285 h 1473560"/>
                  <a:gd name="connsiteX1362" fmla="*/ 3054668 w 3574732"/>
                  <a:gd name="connsiteY1362" fmla="*/ 413428 h 1473560"/>
                  <a:gd name="connsiteX1363" fmla="*/ 3072765 w 3574732"/>
                  <a:gd name="connsiteY1363" fmla="*/ 403903 h 1473560"/>
                  <a:gd name="connsiteX1364" fmla="*/ 3083243 w 3574732"/>
                  <a:gd name="connsiteY1364" fmla="*/ 397235 h 1473560"/>
                  <a:gd name="connsiteX1365" fmla="*/ 3077528 w 3574732"/>
                  <a:gd name="connsiteY1365" fmla="*/ 386758 h 1473560"/>
                  <a:gd name="connsiteX1366" fmla="*/ 3080385 w 3574732"/>
                  <a:gd name="connsiteY1366" fmla="*/ 383900 h 1473560"/>
                  <a:gd name="connsiteX1367" fmla="*/ 3080385 w 3574732"/>
                  <a:gd name="connsiteY1367" fmla="*/ 381043 h 1473560"/>
                  <a:gd name="connsiteX1368" fmla="*/ 3085148 w 3574732"/>
                  <a:gd name="connsiteY1368" fmla="*/ 377233 h 1473560"/>
                  <a:gd name="connsiteX1369" fmla="*/ 3092768 w 3574732"/>
                  <a:gd name="connsiteY1369" fmla="*/ 370565 h 1473560"/>
                  <a:gd name="connsiteX1370" fmla="*/ 3089910 w 3574732"/>
                  <a:gd name="connsiteY1370" fmla="*/ 357230 h 1473560"/>
                  <a:gd name="connsiteX1371" fmla="*/ 3097530 w 3574732"/>
                  <a:gd name="connsiteY1371" fmla="*/ 375328 h 1473560"/>
                  <a:gd name="connsiteX1372" fmla="*/ 3097530 w 3574732"/>
                  <a:gd name="connsiteY1372" fmla="*/ 371518 h 1473560"/>
                  <a:gd name="connsiteX1373" fmla="*/ 3110865 w 3574732"/>
                  <a:gd name="connsiteY1373" fmla="*/ 366755 h 1473560"/>
                  <a:gd name="connsiteX1374" fmla="*/ 3116580 w 3574732"/>
                  <a:gd name="connsiteY1374" fmla="*/ 351515 h 1473560"/>
                  <a:gd name="connsiteX1375" fmla="*/ 3148013 w 3574732"/>
                  <a:gd name="connsiteY1375" fmla="*/ 343895 h 1473560"/>
                  <a:gd name="connsiteX1376" fmla="*/ 3166110 w 3574732"/>
                  <a:gd name="connsiteY1376" fmla="*/ 342943 h 1473560"/>
                  <a:gd name="connsiteX1377" fmla="*/ 3183255 w 3574732"/>
                  <a:gd name="connsiteY1377" fmla="*/ 343895 h 1473560"/>
                  <a:gd name="connsiteX1378" fmla="*/ 3253740 w 3574732"/>
                  <a:gd name="connsiteY1378" fmla="*/ 336275 h 1473560"/>
                  <a:gd name="connsiteX1379" fmla="*/ 3258503 w 3574732"/>
                  <a:gd name="connsiteY1379" fmla="*/ 332465 h 1473560"/>
                  <a:gd name="connsiteX1380" fmla="*/ 3274695 w 3574732"/>
                  <a:gd name="connsiteY1380" fmla="*/ 321988 h 1473560"/>
                  <a:gd name="connsiteX1381" fmla="*/ 3301365 w 3574732"/>
                  <a:gd name="connsiteY1381" fmla="*/ 315320 h 1473560"/>
                  <a:gd name="connsiteX1382" fmla="*/ 3317558 w 3574732"/>
                  <a:gd name="connsiteY1382" fmla="*/ 304843 h 1473560"/>
                  <a:gd name="connsiteX1383" fmla="*/ 3336608 w 3574732"/>
                  <a:gd name="connsiteY1383" fmla="*/ 306748 h 1473560"/>
                  <a:gd name="connsiteX1384" fmla="*/ 3358515 w 3574732"/>
                  <a:gd name="connsiteY1384" fmla="*/ 309605 h 1473560"/>
                  <a:gd name="connsiteX1385" fmla="*/ 3407093 w 3574732"/>
                  <a:gd name="connsiteY1385" fmla="*/ 300080 h 1473560"/>
                  <a:gd name="connsiteX1386" fmla="*/ 3403283 w 3574732"/>
                  <a:gd name="connsiteY1386" fmla="*/ 291508 h 1473560"/>
                  <a:gd name="connsiteX1387" fmla="*/ 3380423 w 3574732"/>
                  <a:gd name="connsiteY1387" fmla="*/ 282935 h 1473560"/>
                  <a:gd name="connsiteX1388" fmla="*/ 3364230 w 3574732"/>
                  <a:gd name="connsiteY1388" fmla="*/ 270553 h 1473560"/>
                  <a:gd name="connsiteX1389" fmla="*/ 3358515 w 3574732"/>
                  <a:gd name="connsiteY1389" fmla="*/ 260075 h 1473560"/>
                  <a:gd name="connsiteX1390" fmla="*/ 3369945 w 3574732"/>
                  <a:gd name="connsiteY1390" fmla="*/ 260075 h 1473560"/>
                  <a:gd name="connsiteX1391" fmla="*/ 3397568 w 3574732"/>
                  <a:gd name="connsiteY1391" fmla="*/ 257218 h 1473560"/>
                  <a:gd name="connsiteX1392" fmla="*/ 3405188 w 3574732"/>
                  <a:gd name="connsiteY1392" fmla="*/ 249598 h 1473560"/>
                  <a:gd name="connsiteX1393" fmla="*/ 3408045 w 3574732"/>
                  <a:gd name="connsiteY1393" fmla="*/ 244835 h 1473560"/>
                  <a:gd name="connsiteX1394" fmla="*/ 3415665 w 3574732"/>
                  <a:gd name="connsiteY1394" fmla="*/ 241025 h 1473560"/>
                  <a:gd name="connsiteX1395" fmla="*/ 3424238 w 3574732"/>
                  <a:gd name="connsiteY1395" fmla="*/ 241025 h 1473560"/>
                  <a:gd name="connsiteX1396" fmla="*/ 3432810 w 3574732"/>
                  <a:gd name="connsiteY1396" fmla="*/ 242930 h 1473560"/>
                  <a:gd name="connsiteX1397" fmla="*/ 3449003 w 3574732"/>
                  <a:gd name="connsiteY1397" fmla="*/ 250550 h 1473560"/>
                  <a:gd name="connsiteX1398" fmla="*/ 3456623 w 3574732"/>
                  <a:gd name="connsiteY1398" fmla="*/ 253408 h 1473560"/>
                  <a:gd name="connsiteX1399" fmla="*/ 3472815 w 3574732"/>
                  <a:gd name="connsiteY1399" fmla="*/ 257218 h 1473560"/>
                  <a:gd name="connsiteX1400" fmla="*/ 3494723 w 3574732"/>
                  <a:gd name="connsiteY1400" fmla="*/ 260075 h 1473560"/>
                  <a:gd name="connsiteX1401" fmla="*/ 3519488 w 3574732"/>
                  <a:gd name="connsiteY1401" fmla="*/ 266743 h 1473560"/>
                  <a:gd name="connsiteX1402" fmla="*/ 3535680 w 3574732"/>
                  <a:gd name="connsiteY1402" fmla="*/ 265790 h 1473560"/>
                  <a:gd name="connsiteX1403" fmla="*/ 3549015 w 3574732"/>
                  <a:gd name="connsiteY1403" fmla="*/ 255313 h 1473560"/>
                  <a:gd name="connsiteX1404" fmla="*/ 3551873 w 3574732"/>
                  <a:gd name="connsiteY1404" fmla="*/ 243883 h 1473560"/>
                  <a:gd name="connsiteX1405" fmla="*/ 3560445 w 3574732"/>
                  <a:gd name="connsiteY1405" fmla="*/ 241025 h 1473560"/>
                  <a:gd name="connsiteX1406" fmla="*/ 3569018 w 3574732"/>
                  <a:gd name="connsiteY1406" fmla="*/ 237215 h 1473560"/>
                  <a:gd name="connsiteX1407" fmla="*/ 3574733 w 3574732"/>
                  <a:gd name="connsiteY1407" fmla="*/ 230548 h 1473560"/>
                  <a:gd name="connsiteX1408" fmla="*/ 3568065 w 3574732"/>
                  <a:gd name="connsiteY1408" fmla="*/ 231500 h 1473560"/>
                  <a:gd name="connsiteX1409" fmla="*/ 601028 w 3574732"/>
                  <a:gd name="connsiteY1409" fmla="*/ 290555 h 1473560"/>
                  <a:gd name="connsiteX1410" fmla="*/ 601028 w 3574732"/>
                  <a:gd name="connsiteY1410" fmla="*/ 290555 h 1473560"/>
                  <a:gd name="connsiteX1411" fmla="*/ 601028 w 3574732"/>
                  <a:gd name="connsiteY1411" fmla="*/ 290555 h 1473560"/>
                  <a:gd name="connsiteX1412" fmla="*/ 874395 w 3574732"/>
                  <a:gd name="connsiteY1412" fmla="*/ 1083035 h 1473560"/>
                  <a:gd name="connsiteX1413" fmla="*/ 867728 w 3574732"/>
                  <a:gd name="connsiteY1413" fmla="*/ 1091608 h 1473560"/>
                  <a:gd name="connsiteX1414" fmla="*/ 861060 w 3574732"/>
                  <a:gd name="connsiteY1414" fmla="*/ 1097323 h 1473560"/>
                  <a:gd name="connsiteX1415" fmla="*/ 849630 w 3574732"/>
                  <a:gd name="connsiteY1415" fmla="*/ 1106848 h 1473560"/>
                  <a:gd name="connsiteX1416" fmla="*/ 838200 w 3574732"/>
                  <a:gd name="connsiteY1416" fmla="*/ 1104943 h 1473560"/>
                  <a:gd name="connsiteX1417" fmla="*/ 841058 w 3574732"/>
                  <a:gd name="connsiteY1417" fmla="*/ 1096370 h 1473560"/>
                  <a:gd name="connsiteX1418" fmla="*/ 839153 w 3574732"/>
                  <a:gd name="connsiteY1418" fmla="*/ 1091608 h 1473560"/>
                  <a:gd name="connsiteX1419" fmla="*/ 845820 w 3574732"/>
                  <a:gd name="connsiteY1419" fmla="*/ 1085893 h 1473560"/>
                  <a:gd name="connsiteX1420" fmla="*/ 859155 w 3574732"/>
                  <a:gd name="connsiteY1420" fmla="*/ 1084940 h 1473560"/>
                  <a:gd name="connsiteX1421" fmla="*/ 874395 w 3574732"/>
                  <a:gd name="connsiteY1421" fmla="*/ 1083035 h 1473560"/>
                  <a:gd name="connsiteX1422" fmla="*/ 1003935 w 3574732"/>
                  <a:gd name="connsiteY1422" fmla="*/ 591545 h 1473560"/>
                  <a:gd name="connsiteX1423" fmla="*/ 995363 w 3574732"/>
                  <a:gd name="connsiteY1423" fmla="*/ 595355 h 1473560"/>
                  <a:gd name="connsiteX1424" fmla="*/ 986790 w 3574732"/>
                  <a:gd name="connsiteY1424" fmla="*/ 595355 h 1473560"/>
                  <a:gd name="connsiteX1425" fmla="*/ 978218 w 3574732"/>
                  <a:gd name="connsiteY1425" fmla="*/ 595355 h 1473560"/>
                  <a:gd name="connsiteX1426" fmla="*/ 958215 w 3574732"/>
                  <a:gd name="connsiteY1426" fmla="*/ 593450 h 1473560"/>
                  <a:gd name="connsiteX1427" fmla="*/ 918210 w 3574732"/>
                  <a:gd name="connsiteY1427" fmla="*/ 588688 h 1473560"/>
                  <a:gd name="connsiteX1428" fmla="*/ 901065 w 3574732"/>
                  <a:gd name="connsiteY1428" fmla="*/ 588688 h 1473560"/>
                  <a:gd name="connsiteX1429" fmla="*/ 885825 w 3574732"/>
                  <a:gd name="connsiteY1429" fmla="*/ 588688 h 1473560"/>
                  <a:gd name="connsiteX1430" fmla="*/ 868680 w 3574732"/>
                  <a:gd name="connsiteY1430" fmla="*/ 585830 h 1473560"/>
                  <a:gd name="connsiteX1431" fmla="*/ 846773 w 3574732"/>
                  <a:gd name="connsiteY1431" fmla="*/ 586783 h 1473560"/>
                  <a:gd name="connsiteX1432" fmla="*/ 824865 w 3574732"/>
                  <a:gd name="connsiteY1432" fmla="*/ 589640 h 1473560"/>
                  <a:gd name="connsiteX1433" fmla="*/ 813435 w 3574732"/>
                  <a:gd name="connsiteY1433" fmla="*/ 589640 h 1473560"/>
                  <a:gd name="connsiteX1434" fmla="*/ 802005 w 3574732"/>
                  <a:gd name="connsiteY1434" fmla="*/ 589640 h 1473560"/>
                  <a:gd name="connsiteX1435" fmla="*/ 791528 w 3574732"/>
                  <a:gd name="connsiteY1435" fmla="*/ 586783 h 1473560"/>
                  <a:gd name="connsiteX1436" fmla="*/ 791528 w 3574732"/>
                  <a:gd name="connsiteY1436" fmla="*/ 577258 h 1473560"/>
                  <a:gd name="connsiteX1437" fmla="*/ 802958 w 3574732"/>
                  <a:gd name="connsiteY1437" fmla="*/ 565828 h 1473560"/>
                  <a:gd name="connsiteX1438" fmla="*/ 807720 w 3574732"/>
                  <a:gd name="connsiteY1438" fmla="*/ 560113 h 1473560"/>
                  <a:gd name="connsiteX1439" fmla="*/ 809625 w 3574732"/>
                  <a:gd name="connsiteY1439" fmla="*/ 553445 h 1473560"/>
                  <a:gd name="connsiteX1440" fmla="*/ 821055 w 3574732"/>
                  <a:gd name="connsiteY1440" fmla="*/ 544873 h 1473560"/>
                  <a:gd name="connsiteX1441" fmla="*/ 827723 w 3574732"/>
                  <a:gd name="connsiteY1441" fmla="*/ 538205 h 1473560"/>
                  <a:gd name="connsiteX1442" fmla="*/ 845820 w 3574732"/>
                  <a:gd name="connsiteY1442" fmla="*/ 529633 h 1473560"/>
                  <a:gd name="connsiteX1443" fmla="*/ 854393 w 3574732"/>
                  <a:gd name="connsiteY1443" fmla="*/ 529633 h 1473560"/>
                  <a:gd name="connsiteX1444" fmla="*/ 867728 w 3574732"/>
                  <a:gd name="connsiteY1444" fmla="*/ 529633 h 1473560"/>
                  <a:gd name="connsiteX1445" fmla="*/ 881063 w 3574732"/>
                  <a:gd name="connsiteY1445" fmla="*/ 537253 h 1473560"/>
                  <a:gd name="connsiteX1446" fmla="*/ 884873 w 3574732"/>
                  <a:gd name="connsiteY1446" fmla="*/ 545825 h 1473560"/>
                  <a:gd name="connsiteX1447" fmla="*/ 906780 w 3574732"/>
                  <a:gd name="connsiteY1447" fmla="*/ 550588 h 1473560"/>
                  <a:gd name="connsiteX1448" fmla="*/ 928688 w 3574732"/>
                  <a:gd name="connsiteY1448" fmla="*/ 546778 h 1473560"/>
                  <a:gd name="connsiteX1449" fmla="*/ 926783 w 3574732"/>
                  <a:gd name="connsiteY1449" fmla="*/ 541063 h 1473560"/>
                  <a:gd name="connsiteX1450" fmla="*/ 926783 w 3574732"/>
                  <a:gd name="connsiteY1450" fmla="*/ 531538 h 1473560"/>
                  <a:gd name="connsiteX1451" fmla="*/ 942023 w 3574732"/>
                  <a:gd name="connsiteY1451" fmla="*/ 519155 h 1473560"/>
                  <a:gd name="connsiteX1452" fmla="*/ 948690 w 3574732"/>
                  <a:gd name="connsiteY1452" fmla="*/ 527728 h 1473560"/>
                  <a:gd name="connsiteX1453" fmla="*/ 948690 w 3574732"/>
                  <a:gd name="connsiteY1453" fmla="*/ 534395 h 1473560"/>
                  <a:gd name="connsiteX1454" fmla="*/ 946785 w 3574732"/>
                  <a:gd name="connsiteY1454" fmla="*/ 538205 h 1473560"/>
                  <a:gd name="connsiteX1455" fmla="*/ 953453 w 3574732"/>
                  <a:gd name="connsiteY1455" fmla="*/ 546778 h 1473560"/>
                  <a:gd name="connsiteX1456" fmla="*/ 972503 w 3574732"/>
                  <a:gd name="connsiteY1456" fmla="*/ 561065 h 1473560"/>
                  <a:gd name="connsiteX1457" fmla="*/ 987743 w 3574732"/>
                  <a:gd name="connsiteY1457" fmla="*/ 571543 h 1473560"/>
                  <a:gd name="connsiteX1458" fmla="*/ 998220 w 3574732"/>
                  <a:gd name="connsiteY1458" fmla="*/ 579163 h 1473560"/>
                  <a:gd name="connsiteX1459" fmla="*/ 1004888 w 3574732"/>
                  <a:gd name="connsiteY1459" fmla="*/ 584878 h 1473560"/>
                  <a:gd name="connsiteX1460" fmla="*/ 1003935 w 3574732"/>
                  <a:gd name="connsiteY1460" fmla="*/ 591545 h 1473560"/>
                  <a:gd name="connsiteX1461" fmla="*/ 1239203 w 3574732"/>
                  <a:gd name="connsiteY1461" fmla="*/ 609643 h 1473560"/>
                  <a:gd name="connsiteX1462" fmla="*/ 1230630 w 3574732"/>
                  <a:gd name="connsiteY1462" fmla="*/ 612500 h 1473560"/>
                  <a:gd name="connsiteX1463" fmla="*/ 1212533 w 3574732"/>
                  <a:gd name="connsiteY1463" fmla="*/ 622025 h 1473560"/>
                  <a:gd name="connsiteX1464" fmla="*/ 1212533 w 3574732"/>
                  <a:gd name="connsiteY1464" fmla="*/ 627740 h 1473560"/>
                  <a:gd name="connsiteX1465" fmla="*/ 1212533 w 3574732"/>
                  <a:gd name="connsiteY1465" fmla="*/ 633455 h 1473560"/>
                  <a:gd name="connsiteX1466" fmla="*/ 1214438 w 3574732"/>
                  <a:gd name="connsiteY1466" fmla="*/ 637265 h 1473560"/>
                  <a:gd name="connsiteX1467" fmla="*/ 1196340 w 3574732"/>
                  <a:gd name="connsiteY1467" fmla="*/ 645838 h 1473560"/>
                  <a:gd name="connsiteX1468" fmla="*/ 1183005 w 3574732"/>
                  <a:gd name="connsiteY1468" fmla="*/ 645838 h 1473560"/>
                  <a:gd name="connsiteX1469" fmla="*/ 1169670 w 3574732"/>
                  <a:gd name="connsiteY1469" fmla="*/ 642980 h 1473560"/>
                  <a:gd name="connsiteX1470" fmla="*/ 1157288 w 3574732"/>
                  <a:gd name="connsiteY1470" fmla="*/ 625835 h 1473560"/>
                  <a:gd name="connsiteX1471" fmla="*/ 1150620 w 3574732"/>
                  <a:gd name="connsiteY1471" fmla="*/ 614405 h 1473560"/>
                  <a:gd name="connsiteX1472" fmla="*/ 1143953 w 3574732"/>
                  <a:gd name="connsiteY1472" fmla="*/ 600118 h 1473560"/>
                  <a:gd name="connsiteX1473" fmla="*/ 1123950 w 3574732"/>
                  <a:gd name="connsiteY1473" fmla="*/ 586783 h 1473560"/>
                  <a:gd name="connsiteX1474" fmla="*/ 1115378 w 3574732"/>
                  <a:gd name="connsiteY1474" fmla="*/ 571543 h 1473560"/>
                  <a:gd name="connsiteX1475" fmla="*/ 1113473 w 3574732"/>
                  <a:gd name="connsiteY1475" fmla="*/ 559160 h 1473560"/>
                  <a:gd name="connsiteX1476" fmla="*/ 1113473 w 3574732"/>
                  <a:gd name="connsiteY1476" fmla="*/ 550588 h 1473560"/>
                  <a:gd name="connsiteX1477" fmla="*/ 1116330 w 3574732"/>
                  <a:gd name="connsiteY1477" fmla="*/ 539158 h 1473560"/>
                  <a:gd name="connsiteX1478" fmla="*/ 1129665 w 3574732"/>
                  <a:gd name="connsiteY1478" fmla="*/ 535348 h 1473560"/>
                  <a:gd name="connsiteX1479" fmla="*/ 1163003 w 3574732"/>
                  <a:gd name="connsiteY1479" fmla="*/ 531538 h 1473560"/>
                  <a:gd name="connsiteX1480" fmla="*/ 1196340 w 3574732"/>
                  <a:gd name="connsiteY1480" fmla="*/ 527728 h 1473560"/>
                  <a:gd name="connsiteX1481" fmla="*/ 1201103 w 3574732"/>
                  <a:gd name="connsiteY1481" fmla="*/ 531538 h 1473560"/>
                  <a:gd name="connsiteX1482" fmla="*/ 1187768 w 3574732"/>
                  <a:gd name="connsiteY1482" fmla="*/ 540110 h 1473560"/>
                  <a:gd name="connsiteX1483" fmla="*/ 1176338 w 3574732"/>
                  <a:gd name="connsiteY1483" fmla="*/ 545825 h 1473560"/>
                  <a:gd name="connsiteX1484" fmla="*/ 1176338 w 3574732"/>
                  <a:gd name="connsiteY1484" fmla="*/ 557255 h 1473560"/>
                  <a:gd name="connsiteX1485" fmla="*/ 1176338 w 3574732"/>
                  <a:gd name="connsiteY1485" fmla="*/ 568685 h 1473560"/>
                  <a:gd name="connsiteX1486" fmla="*/ 1206818 w 3574732"/>
                  <a:gd name="connsiteY1486" fmla="*/ 584878 h 1473560"/>
                  <a:gd name="connsiteX1487" fmla="*/ 1222058 w 3574732"/>
                  <a:gd name="connsiteY1487" fmla="*/ 587735 h 1473560"/>
                  <a:gd name="connsiteX1488" fmla="*/ 1237298 w 3574732"/>
                  <a:gd name="connsiteY1488" fmla="*/ 593450 h 1473560"/>
                  <a:gd name="connsiteX1489" fmla="*/ 1243965 w 3574732"/>
                  <a:gd name="connsiteY1489" fmla="*/ 599165 h 1473560"/>
                  <a:gd name="connsiteX1490" fmla="*/ 1239203 w 3574732"/>
                  <a:gd name="connsiteY1490" fmla="*/ 609643 h 1473560"/>
                  <a:gd name="connsiteX1491" fmla="*/ 1342073 w 3574732"/>
                  <a:gd name="connsiteY1491" fmla="*/ 556303 h 1473560"/>
                  <a:gd name="connsiteX1492" fmla="*/ 1335405 w 3574732"/>
                  <a:gd name="connsiteY1492" fmla="*/ 562970 h 1473560"/>
                  <a:gd name="connsiteX1493" fmla="*/ 1322070 w 3574732"/>
                  <a:gd name="connsiteY1493" fmla="*/ 562970 h 1473560"/>
                  <a:gd name="connsiteX1494" fmla="*/ 1308735 w 3574732"/>
                  <a:gd name="connsiteY1494" fmla="*/ 554398 h 1473560"/>
                  <a:gd name="connsiteX1495" fmla="*/ 1311593 w 3574732"/>
                  <a:gd name="connsiteY1495" fmla="*/ 542015 h 1473560"/>
                  <a:gd name="connsiteX1496" fmla="*/ 1316355 w 3574732"/>
                  <a:gd name="connsiteY1496" fmla="*/ 536300 h 1473560"/>
                  <a:gd name="connsiteX1497" fmla="*/ 1333500 w 3574732"/>
                  <a:gd name="connsiteY1497" fmla="*/ 536300 h 1473560"/>
                  <a:gd name="connsiteX1498" fmla="*/ 1342073 w 3574732"/>
                  <a:gd name="connsiteY1498" fmla="*/ 548683 h 1473560"/>
                  <a:gd name="connsiteX1499" fmla="*/ 1342073 w 3574732"/>
                  <a:gd name="connsiteY1499" fmla="*/ 556303 h 147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Lst>
                <a:rect l="l" t="t" r="r" b="b"/>
                <a:pathLst>
                  <a:path w="3574732" h="1473560">
                    <a:moveTo>
                      <a:pt x="3568065" y="231500"/>
                    </a:moveTo>
                    <a:cubicBezTo>
                      <a:pt x="3568065" y="231500"/>
                      <a:pt x="3568065" y="231500"/>
                      <a:pt x="3562350" y="230548"/>
                    </a:cubicBezTo>
                    <a:cubicBezTo>
                      <a:pt x="3556635" y="229595"/>
                      <a:pt x="3549015" y="230548"/>
                      <a:pt x="3549015" y="230548"/>
                    </a:cubicBezTo>
                    <a:cubicBezTo>
                      <a:pt x="3549015" y="230548"/>
                      <a:pt x="3534728" y="230548"/>
                      <a:pt x="3529965" y="230548"/>
                    </a:cubicBezTo>
                    <a:cubicBezTo>
                      <a:pt x="3525203" y="230548"/>
                      <a:pt x="3516630" y="234358"/>
                      <a:pt x="3511868" y="233405"/>
                    </a:cubicBezTo>
                    <a:cubicBezTo>
                      <a:pt x="3507105" y="232453"/>
                      <a:pt x="3504248" y="231500"/>
                      <a:pt x="3504248" y="231500"/>
                    </a:cubicBezTo>
                    <a:cubicBezTo>
                      <a:pt x="3504248" y="231500"/>
                      <a:pt x="3498533" y="230548"/>
                      <a:pt x="3489960" y="225785"/>
                    </a:cubicBezTo>
                    <a:cubicBezTo>
                      <a:pt x="3481388" y="221023"/>
                      <a:pt x="3489960" y="225785"/>
                      <a:pt x="3489008" y="222928"/>
                    </a:cubicBezTo>
                    <a:cubicBezTo>
                      <a:pt x="3487103" y="220070"/>
                      <a:pt x="3480435" y="214355"/>
                      <a:pt x="3480435" y="214355"/>
                    </a:cubicBezTo>
                    <a:lnTo>
                      <a:pt x="3476625" y="206735"/>
                    </a:lnTo>
                    <a:lnTo>
                      <a:pt x="3462338" y="201973"/>
                    </a:lnTo>
                    <a:lnTo>
                      <a:pt x="3456623" y="198163"/>
                    </a:lnTo>
                    <a:lnTo>
                      <a:pt x="3442335" y="194353"/>
                    </a:lnTo>
                    <a:cubicBezTo>
                      <a:pt x="3442335" y="194353"/>
                      <a:pt x="3442335" y="194353"/>
                      <a:pt x="3441383" y="191495"/>
                    </a:cubicBezTo>
                    <a:cubicBezTo>
                      <a:pt x="3440430" y="188638"/>
                      <a:pt x="3419475" y="185780"/>
                      <a:pt x="3419475" y="185780"/>
                    </a:cubicBezTo>
                    <a:cubicBezTo>
                      <a:pt x="3419475" y="185780"/>
                      <a:pt x="3408998" y="182923"/>
                      <a:pt x="3406140" y="180065"/>
                    </a:cubicBezTo>
                    <a:cubicBezTo>
                      <a:pt x="3403283" y="177208"/>
                      <a:pt x="3389948" y="177208"/>
                      <a:pt x="3389948" y="177208"/>
                    </a:cubicBezTo>
                    <a:cubicBezTo>
                      <a:pt x="3389948" y="177208"/>
                      <a:pt x="3368040" y="175303"/>
                      <a:pt x="3362325" y="172445"/>
                    </a:cubicBezTo>
                    <a:cubicBezTo>
                      <a:pt x="3356610" y="169588"/>
                      <a:pt x="3354705" y="172445"/>
                      <a:pt x="3348990" y="172445"/>
                    </a:cubicBezTo>
                    <a:cubicBezTo>
                      <a:pt x="3343275" y="172445"/>
                      <a:pt x="3340418" y="172445"/>
                      <a:pt x="3334703" y="172445"/>
                    </a:cubicBezTo>
                    <a:cubicBezTo>
                      <a:pt x="3328988" y="172445"/>
                      <a:pt x="3323273" y="172445"/>
                      <a:pt x="3318510" y="172445"/>
                    </a:cubicBezTo>
                    <a:cubicBezTo>
                      <a:pt x="3313748" y="172445"/>
                      <a:pt x="3301365" y="170540"/>
                      <a:pt x="3301365" y="170540"/>
                    </a:cubicBezTo>
                    <a:lnTo>
                      <a:pt x="3277553" y="166730"/>
                    </a:lnTo>
                    <a:lnTo>
                      <a:pt x="3255645" y="168635"/>
                    </a:lnTo>
                    <a:lnTo>
                      <a:pt x="3247073" y="170540"/>
                    </a:lnTo>
                    <a:lnTo>
                      <a:pt x="3244215" y="184828"/>
                    </a:lnTo>
                    <a:lnTo>
                      <a:pt x="3238500" y="185780"/>
                    </a:lnTo>
                    <a:cubicBezTo>
                      <a:pt x="3238500" y="185780"/>
                      <a:pt x="3222308" y="184828"/>
                      <a:pt x="3219450" y="180065"/>
                    </a:cubicBezTo>
                    <a:cubicBezTo>
                      <a:pt x="3216593" y="175303"/>
                      <a:pt x="3219450" y="180065"/>
                      <a:pt x="3221355" y="172445"/>
                    </a:cubicBezTo>
                    <a:lnTo>
                      <a:pt x="3218498" y="162920"/>
                    </a:lnTo>
                    <a:lnTo>
                      <a:pt x="3197543" y="162920"/>
                    </a:lnTo>
                    <a:cubicBezTo>
                      <a:pt x="3197543" y="162920"/>
                      <a:pt x="3189923" y="164825"/>
                      <a:pt x="3176588" y="166730"/>
                    </a:cubicBezTo>
                    <a:cubicBezTo>
                      <a:pt x="3163253" y="168635"/>
                      <a:pt x="3176588" y="166730"/>
                      <a:pt x="3168015" y="168635"/>
                    </a:cubicBezTo>
                    <a:cubicBezTo>
                      <a:pt x="3159443" y="170540"/>
                      <a:pt x="3157538" y="169588"/>
                      <a:pt x="3148965" y="169588"/>
                    </a:cubicBezTo>
                    <a:cubicBezTo>
                      <a:pt x="3140393" y="169588"/>
                      <a:pt x="3138488" y="169588"/>
                      <a:pt x="3138488" y="169588"/>
                    </a:cubicBezTo>
                    <a:cubicBezTo>
                      <a:pt x="3138488" y="169588"/>
                      <a:pt x="3125153" y="169588"/>
                      <a:pt x="3098483" y="168635"/>
                    </a:cubicBezTo>
                    <a:cubicBezTo>
                      <a:pt x="3071813" y="167683"/>
                      <a:pt x="3082290" y="167683"/>
                      <a:pt x="3076575" y="165778"/>
                    </a:cubicBezTo>
                    <a:cubicBezTo>
                      <a:pt x="3070860" y="163873"/>
                      <a:pt x="3070860" y="161968"/>
                      <a:pt x="3063240" y="157205"/>
                    </a:cubicBezTo>
                    <a:cubicBezTo>
                      <a:pt x="3055620" y="152443"/>
                      <a:pt x="3055620" y="150538"/>
                      <a:pt x="3055620" y="150538"/>
                    </a:cubicBezTo>
                    <a:lnTo>
                      <a:pt x="3049905" y="147680"/>
                    </a:lnTo>
                    <a:lnTo>
                      <a:pt x="3016568" y="147680"/>
                    </a:lnTo>
                    <a:lnTo>
                      <a:pt x="3002280" y="147680"/>
                    </a:lnTo>
                    <a:cubicBezTo>
                      <a:pt x="3002280" y="147680"/>
                      <a:pt x="2986088" y="147680"/>
                      <a:pt x="2980373" y="144823"/>
                    </a:cubicBezTo>
                    <a:cubicBezTo>
                      <a:pt x="2974658" y="141965"/>
                      <a:pt x="2963228" y="144823"/>
                      <a:pt x="2952750" y="141965"/>
                    </a:cubicBezTo>
                    <a:cubicBezTo>
                      <a:pt x="2942273" y="139108"/>
                      <a:pt x="2942273" y="139108"/>
                      <a:pt x="2938463" y="137203"/>
                    </a:cubicBezTo>
                    <a:cubicBezTo>
                      <a:pt x="2933700" y="135298"/>
                      <a:pt x="2929890" y="136250"/>
                      <a:pt x="2919413" y="131488"/>
                    </a:cubicBezTo>
                    <a:cubicBezTo>
                      <a:pt x="2908935" y="126725"/>
                      <a:pt x="2919413" y="131488"/>
                      <a:pt x="2913698" y="129583"/>
                    </a:cubicBezTo>
                    <a:cubicBezTo>
                      <a:pt x="2907983" y="127678"/>
                      <a:pt x="2892743" y="128630"/>
                      <a:pt x="2892743" y="128630"/>
                    </a:cubicBezTo>
                    <a:cubicBezTo>
                      <a:pt x="2892743" y="128630"/>
                      <a:pt x="2878455" y="128630"/>
                      <a:pt x="2873693" y="126725"/>
                    </a:cubicBezTo>
                    <a:cubicBezTo>
                      <a:pt x="2868930" y="124820"/>
                      <a:pt x="2873693" y="126725"/>
                      <a:pt x="2868930" y="124820"/>
                    </a:cubicBezTo>
                    <a:cubicBezTo>
                      <a:pt x="2864168" y="122915"/>
                      <a:pt x="2861310" y="123868"/>
                      <a:pt x="2851785" y="120058"/>
                    </a:cubicBezTo>
                    <a:cubicBezTo>
                      <a:pt x="2841308" y="116248"/>
                      <a:pt x="2840355" y="120058"/>
                      <a:pt x="2834640" y="115295"/>
                    </a:cubicBezTo>
                    <a:cubicBezTo>
                      <a:pt x="2828925" y="110533"/>
                      <a:pt x="2821305" y="114343"/>
                      <a:pt x="2817495" y="113390"/>
                    </a:cubicBezTo>
                    <a:cubicBezTo>
                      <a:pt x="2812733" y="112438"/>
                      <a:pt x="2806065" y="112438"/>
                      <a:pt x="2800350" y="112438"/>
                    </a:cubicBezTo>
                    <a:cubicBezTo>
                      <a:pt x="2794635" y="112438"/>
                      <a:pt x="2789873" y="114343"/>
                      <a:pt x="2785110" y="114343"/>
                    </a:cubicBezTo>
                    <a:cubicBezTo>
                      <a:pt x="2780348" y="114343"/>
                      <a:pt x="2767965" y="113390"/>
                      <a:pt x="2761298" y="113390"/>
                    </a:cubicBezTo>
                    <a:cubicBezTo>
                      <a:pt x="2755583" y="113390"/>
                      <a:pt x="2749868" y="113390"/>
                      <a:pt x="2740343" y="113390"/>
                    </a:cubicBezTo>
                    <a:cubicBezTo>
                      <a:pt x="2731770" y="113390"/>
                      <a:pt x="2718435" y="121963"/>
                      <a:pt x="2718435" y="121963"/>
                    </a:cubicBezTo>
                    <a:cubicBezTo>
                      <a:pt x="2718435" y="121963"/>
                      <a:pt x="2718435" y="121963"/>
                      <a:pt x="2713673" y="121963"/>
                    </a:cubicBezTo>
                    <a:cubicBezTo>
                      <a:pt x="2708910" y="121963"/>
                      <a:pt x="2708910" y="126725"/>
                      <a:pt x="2708910" y="126725"/>
                    </a:cubicBezTo>
                    <a:lnTo>
                      <a:pt x="2704148" y="133393"/>
                    </a:lnTo>
                    <a:lnTo>
                      <a:pt x="2692718" y="133393"/>
                    </a:lnTo>
                    <a:lnTo>
                      <a:pt x="2676525" y="133393"/>
                    </a:lnTo>
                    <a:lnTo>
                      <a:pt x="2654618" y="133393"/>
                    </a:lnTo>
                    <a:lnTo>
                      <a:pt x="2646998" y="139108"/>
                    </a:lnTo>
                    <a:cubicBezTo>
                      <a:pt x="2646998" y="139108"/>
                      <a:pt x="2639378" y="140060"/>
                      <a:pt x="2635568" y="140060"/>
                    </a:cubicBezTo>
                    <a:cubicBezTo>
                      <a:pt x="2630805" y="140060"/>
                      <a:pt x="2616518" y="140060"/>
                      <a:pt x="2616518" y="140060"/>
                    </a:cubicBezTo>
                    <a:cubicBezTo>
                      <a:pt x="2616518" y="140060"/>
                      <a:pt x="2610803" y="139108"/>
                      <a:pt x="2606040" y="133393"/>
                    </a:cubicBezTo>
                    <a:cubicBezTo>
                      <a:pt x="2602230" y="127678"/>
                      <a:pt x="2606040" y="133393"/>
                      <a:pt x="2606040" y="130535"/>
                    </a:cubicBezTo>
                    <a:cubicBezTo>
                      <a:pt x="2606040" y="127678"/>
                      <a:pt x="2597468" y="128630"/>
                      <a:pt x="2597468" y="128630"/>
                    </a:cubicBezTo>
                    <a:lnTo>
                      <a:pt x="2586038" y="128630"/>
                    </a:lnTo>
                    <a:lnTo>
                      <a:pt x="2578418" y="132440"/>
                    </a:lnTo>
                    <a:lnTo>
                      <a:pt x="2572703" y="141965"/>
                    </a:lnTo>
                    <a:lnTo>
                      <a:pt x="2562225" y="141965"/>
                    </a:lnTo>
                    <a:cubicBezTo>
                      <a:pt x="2562225" y="141965"/>
                      <a:pt x="2548890" y="140060"/>
                      <a:pt x="2545080" y="139108"/>
                    </a:cubicBezTo>
                    <a:cubicBezTo>
                      <a:pt x="2540318" y="138155"/>
                      <a:pt x="2533650" y="135298"/>
                      <a:pt x="2530793" y="130535"/>
                    </a:cubicBezTo>
                    <a:cubicBezTo>
                      <a:pt x="2527935" y="125773"/>
                      <a:pt x="2527935" y="124820"/>
                      <a:pt x="2527935" y="117200"/>
                    </a:cubicBezTo>
                    <a:cubicBezTo>
                      <a:pt x="2527935" y="109580"/>
                      <a:pt x="2526983" y="109580"/>
                      <a:pt x="2526983" y="109580"/>
                    </a:cubicBezTo>
                    <a:lnTo>
                      <a:pt x="2521268" y="104818"/>
                    </a:lnTo>
                    <a:lnTo>
                      <a:pt x="2506980" y="100055"/>
                    </a:lnTo>
                    <a:lnTo>
                      <a:pt x="2499360" y="98150"/>
                    </a:lnTo>
                    <a:lnTo>
                      <a:pt x="2480310" y="95293"/>
                    </a:lnTo>
                    <a:lnTo>
                      <a:pt x="2450783" y="94340"/>
                    </a:lnTo>
                    <a:lnTo>
                      <a:pt x="2443163" y="97198"/>
                    </a:lnTo>
                    <a:lnTo>
                      <a:pt x="2430780" y="104818"/>
                    </a:lnTo>
                    <a:cubicBezTo>
                      <a:pt x="2430780" y="104818"/>
                      <a:pt x="2430780" y="104818"/>
                      <a:pt x="2426018" y="103865"/>
                    </a:cubicBezTo>
                    <a:cubicBezTo>
                      <a:pt x="2421255" y="102913"/>
                      <a:pt x="2412683" y="104818"/>
                      <a:pt x="2407920" y="103865"/>
                    </a:cubicBezTo>
                    <a:cubicBezTo>
                      <a:pt x="2403158" y="102913"/>
                      <a:pt x="2396490" y="102913"/>
                      <a:pt x="2391728" y="101008"/>
                    </a:cubicBezTo>
                    <a:cubicBezTo>
                      <a:pt x="2386965" y="99103"/>
                      <a:pt x="2375535" y="96245"/>
                      <a:pt x="2375535" y="96245"/>
                    </a:cubicBezTo>
                    <a:cubicBezTo>
                      <a:pt x="2375535" y="96245"/>
                      <a:pt x="2375535" y="96245"/>
                      <a:pt x="2370773" y="93388"/>
                    </a:cubicBezTo>
                    <a:cubicBezTo>
                      <a:pt x="2366010" y="90530"/>
                      <a:pt x="2365058" y="91483"/>
                      <a:pt x="2359343" y="90530"/>
                    </a:cubicBezTo>
                    <a:cubicBezTo>
                      <a:pt x="2353628" y="89578"/>
                      <a:pt x="2351723" y="91483"/>
                      <a:pt x="2347913" y="90530"/>
                    </a:cubicBezTo>
                    <a:cubicBezTo>
                      <a:pt x="2343150" y="89578"/>
                      <a:pt x="2339340" y="90530"/>
                      <a:pt x="2339340" y="90530"/>
                    </a:cubicBezTo>
                    <a:lnTo>
                      <a:pt x="2328863" y="90530"/>
                    </a:lnTo>
                    <a:lnTo>
                      <a:pt x="2314575" y="91483"/>
                    </a:lnTo>
                    <a:cubicBezTo>
                      <a:pt x="2314575" y="91483"/>
                      <a:pt x="2308860" y="91483"/>
                      <a:pt x="2304098" y="91483"/>
                    </a:cubicBezTo>
                    <a:cubicBezTo>
                      <a:pt x="2299335" y="91483"/>
                      <a:pt x="2298383" y="91483"/>
                      <a:pt x="2292668" y="91483"/>
                    </a:cubicBezTo>
                    <a:cubicBezTo>
                      <a:pt x="2286953" y="91483"/>
                      <a:pt x="2279333" y="88625"/>
                      <a:pt x="2279333" y="88625"/>
                    </a:cubicBezTo>
                    <a:cubicBezTo>
                      <a:pt x="2279333" y="88625"/>
                      <a:pt x="2267903" y="88625"/>
                      <a:pt x="2262188" y="85768"/>
                    </a:cubicBezTo>
                    <a:cubicBezTo>
                      <a:pt x="2256473" y="82910"/>
                      <a:pt x="2237423" y="84815"/>
                      <a:pt x="2237423" y="84815"/>
                    </a:cubicBezTo>
                    <a:cubicBezTo>
                      <a:pt x="2237423" y="84815"/>
                      <a:pt x="2237423" y="84815"/>
                      <a:pt x="2232660" y="82910"/>
                    </a:cubicBezTo>
                    <a:cubicBezTo>
                      <a:pt x="2227898" y="81005"/>
                      <a:pt x="2225040" y="82910"/>
                      <a:pt x="2225040" y="82910"/>
                    </a:cubicBezTo>
                    <a:lnTo>
                      <a:pt x="2213610" y="85768"/>
                    </a:lnTo>
                    <a:cubicBezTo>
                      <a:pt x="2213610" y="85768"/>
                      <a:pt x="2197418" y="91483"/>
                      <a:pt x="2189798" y="94340"/>
                    </a:cubicBezTo>
                    <a:cubicBezTo>
                      <a:pt x="2189798" y="94340"/>
                      <a:pt x="2176463" y="94340"/>
                      <a:pt x="2170748" y="95293"/>
                    </a:cubicBezTo>
                    <a:cubicBezTo>
                      <a:pt x="2165033" y="96245"/>
                      <a:pt x="2163128" y="97198"/>
                      <a:pt x="2159318" y="99103"/>
                    </a:cubicBezTo>
                    <a:cubicBezTo>
                      <a:pt x="2154555" y="101008"/>
                      <a:pt x="2148840" y="104818"/>
                      <a:pt x="2141220" y="104818"/>
                    </a:cubicBezTo>
                    <a:cubicBezTo>
                      <a:pt x="2133600" y="104818"/>
                      <a:pt x="2141220" y="104818"/>
                      <a:pt x="2127885" y="103865"/>
                    </a:cubicBezTo>
                    <a:cubicBezTo>
                      <a:pt x="2114550" y="102913"/>
                      <a:pt x="2117408" y="101008"/>
                      <a:pt x="2117408" y="101008"/>
                    </a:cubicBezTo>
                    <a:lnTo>
                      <a:pt x="2123123" y="96245"/>
                    </a:lnTo>
                    <a:cubicBezTo>
                      <a:pt x="2123123" y="96245"/>
                      <a:pt x="2144078" y="93388"/>
                      <a:pt x="2146935" y="90530"/>
                    </a:cubicBezTo>
                    <a:cubicBezTo>
                      <a:pt x="2149793" y="87673"/>
                      <a:pt x="2157413" y="86720"/>
                      <a:pt x="2162175" y="84815"/>
                    </a:cubicBezTo>
                    <a:cubicBezTo>
                      <a:pt x="2166938" y="82910"/>
                      <a:pt x="2167890" y="84815"/>
                      <a:pt x="2170748" y="81958"/>
                    </a:cubicBezTo>
                    <a:cubicBezTo>
                      <a:pt x="2173605" y="79100"/>
                      <a:pt x="2192655" y="75290"/>
                      <a:pt x="2194560" y="67670"/>
                    </a:cubicBezTo>
                    <a:cubicBezTo>
                      <a:pt x="2194560" y="67670"/>
                      <a:pt x="2200275" y="67670"/>
                      <a:pt x="2205038" y="67670"/>
                    </a:cubicBezTo>
                    <a:cubicBezTo>
                      <a:pt x="2209800" y="67670"/>
                      <a:pt x="2216468" y="67670"/>
                      <a:pt x="2222183" y="67670"/>
                    </a:cubicBezTo>
                    <a:cubicBezTo>
                      <a:pt x="2227898" y="67670"/>
                      <a:pt x="2241233" y="67670"/>
                      <a:pt x="2241233" y="67670"/>
                    </a:cubicBezTo>
                    <a:lnTo>
                      <a:pt x="2265045" y="61955"/>
                    </a:lnTo>
                    <a:lnTo>
                      <a:pt x="2266950" y="55288"/>
                    </a:lnTo>
                    <a:cubicBezTo>
                      <a:pt x="2266950" y="55288"/>
                      <a:pt x="2268855" y="51478"/>
                      <a:pt x="2265998" y="45763"/>
                    </a:cubicBezTo>
                    <a:cubicBezTo>
                      <a:pt x="2263140" y="40048"/>
                      <a:pt x="2263140" y="38143"/>
                      <a:pt x="2263140" y="38143"/>
                    </a:cubicBezTo>
                    <a:lnTo>
                      <a:pt x="2257425" y="25760"/>
                    </a:lnTo>
                    <a:lnTo>
                      <a:pt x="2241233" y="22903"/>
                    </a:lnTo>
                    <a:lnTo>
                      <a:pt x="2225040" y="19093"/>
                    </a:lnTo>
                    <a:cubicBezTo>
                      <a:pt x="2225040" y="19093"/>
                      <a:pt x="2225040" y="19093"/>
                      <a:pt x="2216468" y="19093"/>
                    </a:cubicBezTo>
                    <a:cubicBezTo>
                      <a:pt x="2207895" y="19093"/>
                      <a:pt x="2216468" y="19093"/>
                      <a:pt x="2211705" y="18140"/>
                    </a:cubicBezTo>
                    <a:cubicBezTo>
                      <a:pt x="2206943" y="17188"/>
                      <a:pt x="2201228" y="20045"/>
                      <a:pt x="2195513" y="19093"/>
                    </a:cubicBezTo>
                    <a:cubicBezTo>
                      <a:pt x="2189798" y="18140"/>
                      <a:pt x="2182178" y="17188"/>
                      <a:pt x="2182178" y="17188"/>
                    </a:cubicBezTo>
                    <a:cubicBezTo>
                      <a:pt x="2182178" y="17188"/>
                      <a:pt x="2170748" y="17188"/>
                      <a:pt x="2161223" y="16235"/>
                    </a:cubicBezTo>
                    <a:cubicBezTo>
                      <a:pt x="2161223" y="16235"/>
                      <a:pt x="2146935" y="17188"/>
                      <a:pt x="2142173" y="16235"/>
                    </a:cubicBezTo>
                    <a:cubicBezTo>
                      <a:pt x="2137410" y="15283"/>
                      <a:pt x="2134553" y="16235"/>
                      <a:pt x="2131695" y="13378"/>
                    </a:cubicBezTo>
                    <a:cubicBezTo>
                      <a:pt x="2128838" y="10520"/>
                      <a:pt x="2130743" y="1948"/>
                      <a:pt x="2130743" y="1948"/>
                    </a:cubicBezTo>
                    <a:lnTo>
                      <a:pt x="2120265" y="995"/>
                    </a:lnTo>
                    <a:lnTo>
                      <a:pt x="2093595" y="1948"/>
                    </a:lnTo>
                    <a:lnTo>
                      <a:pt x="2074545" y="995"/>
                    </a:lnTo>
                    <a:cubicBezTo>
                      <a:pt x="2074545" y="995"/>
                      <a:pt x="2061210" y="995"/>
                      <a:pt x="2057400" y="43"/>
                    </a:cubicBezTo>
                    <a:cubicBezTo>
                      <a:pt x="2052638" y="-910"/>
                      <a:pt x="2052638" y="14330"/>
                      <a:pt x="2052638" y="14330"/>
                    </a:cubicBezTo>
                    <a:lnTo>
                      <a:pt x="2052638" y="19093"/>
                    </a:lnTo>
                    <a:lnTo>
                      <a:pt x="2049780" y="22903"/>
                    </a:lnTo>
                    <a:cubicBezTo>
                      <a:pt x="2049780" y="22903"/>
                      <a:pt x="2042160" y="25760"/>
                      <a:pt x="2038350" y="27665"/>
                    </a:cubicBezTo>
                    <a:cubicBezTo>
                      <a:pt x="2033588" y="29570"/>
                      <a:pt x="2026920" y="31475"/>
                      <a:pt x="2026920" y="31475"/>
                    </a:cubicBezTo>
                    <a:lnTo>
                      <a:pt x="2010728" y="33380"/>
                    </a:lnTo>
                    <a:lnTo>
                      <a:pt x="1985963" y="36238"/>
                    </a:lnTo>
                    <a:cubicBezTo>
                      <a:pt x="1985963" y="36238"/>
                      <a:pt x="1985963" y="36238"/>
                      <a:pt x="1981200" y="35285"/>
                    </a:cubicBezTo>
                    <a:cubicBezTo>
                      <a:pt x="1976438" y="34333"/>
                      <a:pt x="1960245" y="34333"/>
                      <a:pt x="1960245" y="34333"/>
                    </a:cubicBezTo>
                    <a:lnTo>
                      <a:pt x="1949768" y="34333"/>
                    </a:lnTo>
                    <a:lnTo>
                      <a:pt x="1939290" y="35285"/>
                    </a:lnTo>
                    <a:lnTo>
                      <a:pt x="1918335" y="39095"/>
                    </a:lnTo>
                    <a:lnTo>
                      <a:pt x="1897380" y="42905"/>
                    </a:lnTo>
                    <a:lnTo>
                      <a:pt x="1873568" y="46715"/>
                    </a:lnTo>
                    <a:lnTo>
                      <a:pt x="1855470" y="47668"/>
                    </a:lnTo>
                    <a:cubicBezTo>
                      <a:pt x="1855470" y="47668"/>
                      <a:pt x="1855470" y="47668"/>
                      <a:pt x="1850708" y="47668"/>
                    </a:cubicBezTo>
                    <a:cubicBezTo>
                      <a:pt x="1845945" y="47668"/>
                      <a:pt x="1825943" y="54335"/>
                      <a:pt x="1825943" y="54335"/>
                    </a:cubicBezTo>
                    <a:lnTo>
                      <a:pt x="1812608" y="58145"/>
                    </a:lnTo>
                    <a:cubicBezTo>
                      <a:pt x="1812608" y="58145"/>
                      <a:pt x="1807845" y="65765"/>
                      <a:pt x="1804035" y="65765"/>
                    </a:cubicBezTo>
                    <a:cubicBezTo>
                      <a:pt x="1799273" y="65765"/>
                      <a:pt x="1795463" y="74338"/>
                      <a:pt x="1795463" y="74338"/>
                    </a:cubicBezTo>
                    <a:lnTo>
                      <a:pt x="1786890" y="76243"/>
                    </a:lnTo>
                    <a:cubicBezTo>
                      <a:pt x="1786890" y="76243"/>
                      <a:pt x="1775460" y="80053"/>
                      <a:pt x="1770698" y="80053"/>
                    </a:cubicBezTo>
                    <a:cubicBezTo>
                      <a:pt x="1765935" y="80053"/>
                      <a:pt x="1763078" y="85768"/>
                      <a:pt x="1755458" y="86720"/>
                    </a:cubicBezTo>
                    <a:cubicBezTo>
                      <a:pt x="1747838" y="87673"/>
                      <a:pt x="1733550" y="87673"/>
                      <a:pt x="1728788" y="87673"/>
                    </a:cubicBezTo>
                    <a:cubicBezTo>
                      <a:pt x="1724025" y="87673"/>
                      <a:pt x="1721168" y="87673"/>
                      <a:pt x="1721168" y="87673"/>
                    </a:cubicBezTo>
                    <a:lnTo>
                      <a:pt x="1712595" y="88625"/>
                    </a:lnTo>
                    <a:lnTo>
                      <a:pt x="1709738" y="93388"/>
                    </a:lnTo>
                    <a:lnTo>
                      <a:pt x="1704975" y="102913"/>
                    </a:lnTo>
                    <a:lnTo>
                      <a:pt x="1704975" y="108628"/>
                    </a:lnTo>
                    <a:lnTo>
                      <a:pt x="1703070" y="115295"/>
                    </a:lnTo>
                    <a:lnTo>
                      <a:pt x="1701165" y="123868"/>
                    </a:lnTo>
                    <a:lnTo>
                      <a:pt x="1698308" y="127678"/>
                    </a:lnTo>
                    <a:lnTo>
                      <a:pt x="1675448" y="121010"/>
                    </a:lnTo>
                    <a:lnTo>
                      <a:pt x="1674495" y="114343"/>
                    </a:lnTo>
                    <a:lnTo>
                      <a:pt x="1666875" y="111485"/>
                    </a:lnTo>
                    <a:cubicBezTo>
                      <a:pt x="1666875" y="111485"/>
                      <a:pt x="1658303" y="111485"/>
                      <a:pt x="1652588" y="111485"/>
                    </a:cubicBezTo>
                    <a:cubicBezTo>
                      <a:pt x="1646873" y="111485"/>
                      <a:pt x="1644968" y="111485"/>
                      <a:pt x="1644968" y="111485"/>
                    </a:cubicBezTo>
                    <a:lnTo>
                      <a:pt x="1637348" y="121963"/>
                    </a:lnTo>
                    <a:cubicBezTo>
                      <a:pt x="1637348" y="121963"/>
                      <a:pt x="1637348" y="121963"/>
                      <a:pt x="1626870" y="124820"/>
                    </a:cubicBezTo>
                    <a:cubicBezTo>
                      <a:pt x="1626870" y="124820"/>
                      <a:pt x="1626870" y="124820"/>
                      <a:pt x="1626870" y="127678"/>
                    </a:cubicBezTo>
                    <a:cubicBezTo>
                      <a:pt x="1626870" y="130535"/>
                      <a:pt x="1624013" y="133393"/>
                      <a:pt x="1624013" y="133393"/>
                    </a:cubicBezTo>
                    <a:lnTo>
                      <a:pt x="1609725" y="130535"/>
                    </a:lnTo>
                    <a:cubicBezTo>
                      <a:pt x="1609725" y="130535"/>
                      <a:pt x="1606868" y="125773"/>
                      <a:pt x="1605915" y="120058"/>
                    </a:cubicBezTo>
                    <a:cubicBezTo>
                      <a:pt x="1604963" y="114343"/>
                      <a:pt x="1607820" y="113390"/>
                      <a:pt x="1607820" y="109580"/>
                    </a:cubicBezTo>
                    <a:cubicBezTo>
                      <a:pt x="1607820" y="105770"/>
                      <a:pt x="1606868" y="103865"/>
                      <a:pt x="1606868" y="103865"/>
                    </a:cubicBezTo>
                    <a:lnTo>
                      <a:pt x="1599248" y="111485"/>
                    </a:lnTo>
                    <a:cubicBezTo>
                      <a:pt x="1599248" y="111485"/>
                      <a:pt x="1590675" y="118153"/>
                      <a:pt x="1584008" y="119105"/>
                    </a:cubicBezTo>
                    <a:cubicBezTo>
                      <a:pt x="1578293" y="120058"/>
                      <a:pt x="1575435" y="128630"/>
                      <a:pt x="1575435" y="128630"/>
                    </a:cubicBezTo>
                    <a:lnTo>
                      <a:pt x="1572578" y="133393"/>
                    </a:lnTo>
                    <a:lnTo>
                      <a:pt x="1572578" y="146728"/>
                    </a:lnTo>
                    <a:lnTo>
                      <a:pt x="1585913" y="154348"/>
                    </a:lnTo>
                    <a:lnTo>
                      <a:pt x="1591628" y="157205"/>
                    </a:lnTo>
                    <a:lnTo>
                      <a:pt x="1592580" y="162920"/>
                    </a:lnTo>
                    <a:lnTo>
                      <a:pt x="1589723" y="168635"/>
                    </a:lnTo>
                    <a:lnTo>
                      <a:pt x="1587818" y="177208"/>
                    </a:lnTo>
                    <a:lnTo>
                      <a:pt x="1593533" y="177208"/>
                    </a:lnTo>
                    <a:lnTo>
                      <a:pt x="1604010" y="180065"/>
                    </a:lnTo>
                    <a:lnTo>
                      <a:pt x="1602105" y="184828"/>
                    </a:lnTo>
                    <a:lnTo>
                      <a:pt x="1599248" y="191495"/>
                    </a:lnTo>
                    <a:lnTo>
                      <a:pt x="1589723" y="202925"/>
                    </a:lnTo>
                    <a:lnTo>
                      <a:pt x="1584008" y="208640"/>
                    </a:lnTo>
                    <a:lnTo>
                      <a:pt x="1579245" y="213403"/>
                    </a:lnTo>
                    <a:cubicBezTo>
                      <a:pt x="1579245" y="213403"/>
                      <a:pt x="1579245" y="213403"/>
                      <a:pt x="1574483" y="215308"/>
                    </a:cubicBezTo>
                    <a:cubicBezTo>
                      <a:pt x="1569720" y="217213"/>
                      <a:pt x="1564005" y="225785"/>
                      <a:pt x="1564005" y="225785"/>
                    </a:cubicBezTo>
                    <a:lnTo>
                      <a:pt x="1555433" y="229595"/>
                    </a:lnTo>
                    <a:lnTo>
                      <a:pt x="1542098" y="234358"/>
                    </a:lnTo>
                    <a:lnTo>
                      <a:pt x="1537335" y="239120"/>
                    </a:lnTo>
                    <a:cubicBezTo>
                      <a:pt x="1537335" y="239120"/>
                      <a:pt x="1531620" y="241978"/>
                      <a:pt x="1526858" y="241025"/>
                    </a:cubicBezTo>
                    <a:cubicBezTo>
                      <a:pt x="1522095" y="240073"/>
                      <a:pt x="1521143" y="237215"/>
                      <a:pt x="1521143" y="237215"/>
                    </a:cubicBezTo>
                    <a:lnTo>
                      <a:pt x="1525905" y="232453"/>
                    </a:lnTo>
                    <a:lnTo>
                      <a:pt x="1539240" y="225785"/>
                    </a:lnTo>
                    <a:cubicBezTo>
                      <a:pt x="1539240" y="225785"/>
                      <a:pt x="1546860" y="223880"/>
                      <a:pt x="1552575" y="218165"/>
                    </a:cubicBezTo>
                    <a:cubicBezTo>
                      <a:pt x="1552575" y="218165"/>
                      <a:pt x="1560195" y="209593"/>
                      <a:pt x="1560195" y="206735"/>
                    </a:cubicBezTo>
                    <a:cubicBezTo>
                      <a:pt x="1560195" y="203878"/>
                      <a:pt x="1563053" y="198163"/>
                      <a:pt x="1563053" y="198163"/>
                    </a:cubicBezTo>
                    <a:lnTo>
                      <a:pt x="1562100" y="193400"/>
                    </a:lnTo>
                    <a:lnTo>
                      <a:pt x="1561148" y="186733"/>
                    </a:lnTo>
                    <a:lnTo>
                      <a:pt x="1558290" y="176255"/>
                    </a:lnTo>
                    <a:lnTo>
                      <a:pt x="1561148" y="166730"/>
                    </a:lnTo>
                    <a:cubicBezTo>
                      <a:pt x="1561148" y="166730"/>
                      <a:pt x="1561148" y="166730"/>
                      <a:pt x="1554480" y="156253"/>
                    </a:cubicBezTo>
                    <a:cubicBezTo>
                      <a:pt x="1547813" y="145775"/>
                      <a:pt x="1557338" y="147680"/>
                      <a:pt x="1557338" y="144823"/>
                    </a:cubicBezTo>
                    <a:cubicBezTo>
                      <a:pt x="1557338" y="141965"/>
                      <a:pt x="1550670" y="133393"/>
                      <a:pt x="1550670" y="130535"/>
                    </a:cubicBezTo>
                    <a:cubicBezTo>
                      <a:pt x="1550670" y="127678"/>
                      <a:pt x="1553528" y="122915"/>
                      <a:pt x="1553528" y="122915"/>
                    </a:cubicBezTo>
                    <a:cubicBezTo>
                      <a:pt x="1553528" y="122915"/>
                      <a:pt x="1559243" y="119105"/>
                      <a:pt x="1558290" y="116248"/>
                    </a:cubicBezTo>
                    <a:cubicBezTo>
                      <a:pt x="1557338" y="113390"/>
                      <a:pt x="1560195" y="110533"/>
                      <a:pt x="1557338" y="107675"/>
                    </a:cubicBezTo>
                    <a:cubicBezTo>
                      <a:pt x="1554480" y="104818"/>
                      <a:pt x="1549718" y="104818"/>
                      <a:pt x="1549718" y="104818"/>
                    </a:cubicBezTo>
                    <a:cubicBezTo>
                      <a:pt x="1549718" y="104818"/>
                      <a:pt x="1536383" y="104818"/>
                      <a:pt x="1525905" y="104818"/>
                    </a:cubicBezTo>
                    <a:lnTo>
                      <a:pt x="1517333" y="107675"/>
                    </a:lnTo>
                    <a:cubicBezTo>
                      <a:pt x="1517333" y="107675"/>
                      <a:pt x="1511618" y="109580"/>
                      <a:pt x="1505903" y="110533"/>
                    </a:cubicBezTo>
                    <a:cubicBezTo>
                      <a:pt x="1500188" y="111485"/>
                      <a:pt x="1501140" y="116248"/>
                      <a:pt x="1501140" y="116248"/>
                    </a:cubicBezTo>
                    <a:cubicBezTo>
                      <a:pt x="1501140" y="116248"/>
                      <a:pt x="1493520" y="122915"/>
                      <a:pt x="1485900" y="128630"/>
                    </a:cubicBezTo>
                    <a:cubicBezTo>
                      <a:pt x="1478280" y="134345"/>
                      <a:pt x="1485900" y="128630"/>
                      <a:pt x="1477328" y="130535"/>
                    </a:cubicBezTo>
                    <a:lnTo>
                      <a:pt x="1469708" y="141013"/>
                    </a:lnTo>
                    <a:lnTo>
                      <a:pt x="1462088" y="150538"/>
                    </a:lnTo>
                    <a:lnTo>
                      <a:pt x="1463040" y="162920"/>
                    </a:lnTo>
                    <a:lnTo>
                      <a:pt x="1471613" y="165778"/>
                    </a:lnTo>
                    <a:lnTo>
                      <a:pt x="1474470" y="174350"/>
                    </a:lnTo>
                    <a:lnTo>
                      <a:pt x="1478280" y="181018"/>
                    </a:lnTo>
                    <a:lnTo>
                      <a:pt x="1483043" y="184828"/>
                    </a:lnTo>
                    <a:lnTo>
                      <a:pt x="1497330" y="188638"/>
                    </a:lnTo>
                    <a:lnTo>
                      <a:pt x="1497330" y="175303"/>
                    </a:lnTo>
                    <a:lnTo>
                      <a:pt x="1495425" y="179113"/>
                    </a:lnTo>
                    <a:lnTo>
                      <a:pt x="1479233" y="177208"/>
                    </a:lnTo>
                    <a:cubicBezTo>
                      <a:pt x="1479233" y="177208"/>
                      <a:pt x="1470660" y="177208"/>
                      <a:pt x="1465898" y="175303"/>
                    </a:cubicBezTo>
                    <a:cubicBezTo>
                      <a:pt x="1461135" y="173398"/>
                      <a:pt x="1458278" y="172445"/>
                      <a:pt x="1455420" y="169588"/>
                    </a:cubicBezTo>
                    <a:cubicBezTo>
                      <a:pt x="1452563" y="166730"/>
                      <a:pt x="1449705" y="164825"/>
                      <a:pt x="1449705" y="164825"/>
                    </a:cubicBezTo>
                    <a:lnTo>
                      <a:pt x="1441133" y="159110"/>
                    </a:lnTo>
                    <a:cubicBezTo>
                      <a:pt x="1441133" y="159110"/>
                      <a:pt x="1432560" y="157205"/>
                      <a:pt x="1427798" y="155300"/>
                    </a:cubicBezTo>
                    <a:cubicBezTo>
                      <a:pt x="1423035" y="153395"/>
                      <a:pt x="1411605" y="154348"/>
                      <a:pt x="1403033" y="150538"/>
                    </a:cubicBezTo>
                    <a:lnTo>
                      <a:pt x="1394460" y="150538"/>
                    </a:lnTo>
                    <a:lnTo>
                      <a:pt x="1383983" y="149585"/>
                    </a:lnTo>
                    <a:lnTo>
                      <a:pt x="1369695" y="148633"/>
                    </a:lnTo>
                    <a:cubicBezTo>
                      <a:pt x="1369695" y="148633"/>
                      <a:pt x="1355408" y="145775"/>
                      <a:pt x="1348740" y="144823"/>
                    </a:cubicBezTo>
                    <a:cubicBezTo>
                      <a:pt x="1343025" y="143870"/>
                      <a:pt x="1341120" y="141013"/>
                      <a:pt x="1341120" y="141013"/>
                    </a:cubicBezTo>
                    <a:lnTo>
                      <a:pt x="1330643" y="141013"/>
                    </a:lnTo>
                    <a:lnTo>
                      <a:pt x="1327785" y="147680"/>
                    </a:lnTo>
                    <a:lnTo>
                      <a:pt x="1338263" y="152443"/>
                    </a:lnTo>
                    <a:lnTo>
                      <a:pt x="1346835" y="158158"/>
                    </a:lnTo>
                    <a:lnTo>
                      <a:pt x="1346835" y="163873"/>
                    </a:lnTo>
                    <a:lnTo>
                      <a:pt x="1342073" y="167683"/>
                    </a:lnTo>
                    <a:lnTo>
                      <a:pt x="1331595" y="168635"/>
                    </a:lnTo>
                    <a:lnTo>
                      <a:pt x="1320165" y="170540"/>
                    </a:lnTo>
                    <a:lnTo>
                      <a:pt x="1308735" y="170540"/>
                    </a:lnTo>
                    <a:lnTo>
                      <a:pt x="1292543" y="171493"/>
                    </a:lnTo>
                    <a:lnTo>
                      <a:pt x="1274445" y="174350"/>
                    </a:lnTo>
                    <a:lnTo>
                      <a:pt x="1265873" y="175303"/>
                    </a:lnTo>
                    <a:lnTo>
                      <a:pt x="1255395" y="176255"/>
                    </a:lnTo>
                    <a:lnTo>
                      <a:pt x="1244918" y="175303"/>
                    </a:lnTo>
                    <a:lnTo>
                      <a:pt x="1231583" y="171493"/>
                    </a:lnTo>
                    <a:cubicBezTo>
                      <a:pt x="1231583" y="171493"/>
                      <a:pt x="1231583" y="171493"/>
                      <a:pt x="1226820" y="168635"/>
                    </a:cubicBezTo>
                    <a:cubicBezTo>
                      <a:pt x="1222058" y="165778"/>
                      <a:pt x="1221105" y="168635"/>
                      <a:pt x="1221105" y="168635"/>
                    </a:cubicBezTo>
                    <a:cubicBezTo>
                      <a:pt x="1221105" y="168635"/>
                      <a:pt x="1207770" y="169588"/>
                      <a:pt x="1194435" y="171493"/>
                    </a:cubicBezTo>
                    <a:cubicBezTo>
                      <a:pt x="1181100" y="173398"/>
                      <a:pt x="1185863" y="177208"/>
                      <a:pt x="1185863" y="177208"/>
                    </a:cubicBezTo>
                    <a:lnTo>
                      <a:pt x="1161098" y="184828"/>
                    </a:lnTo>
                    <a:lnTo>
                      <a:pt x="1153478" y="187685"/>
                    </a:lnTo>
                    <a:cubicBezTo>
                      <a:pt x="1153478" y="187685"/>
                      <a:pt x="1140143" y="193400"/>
                      <a:pt x="1134428" y="196258"/>
                    </a:cubicBezTo>
                    <a:cubicBezTo>
                      <a:pt x="1128713" y="199115"/>
                      <a:pt x="1121093" y="196258"/>
                      <a:pt x="1121093" y="196258"/>
                    </a:cubicBezTo>
                    <a:lnTo>
                      <a:pt x="1113473" y="201973"/>
                    </a:lnTo>
                    <a:cubicBezTo>
                      <a:pt x="1113473" y="201973"/>
                      <a:pt x="1102043" y="200068"/>
                      <a:pt x="1097280" y="199115"/>
                    </a:cubicBezTo>
                    <a:cubicBezTo>
                      <a:pt x="1092518" y="198163"/>
                      <a:pt x="1088708" y="191495"/>
                      <a:pt x="1088708" y="191495"/>
                    </a:cubicBezTo>
                    <a:cubicBezTo>
                      <a:pt x="1088708" y="191495"/>
                      <a:pt x="1088708" y="191495"/>
                      <a:pt x="1087755" y="188638"/>
                    </a:cubicBezTo>
                    <a:cubicBezTo>
                      <a:pt x="1085850" y="185780"/>
                      <a:pt x="1099185" y="188638"/>
                      <a:pt x="1099185" y="188638"/>
                    </a:cubicBezTo>
                    <a:lnTo>
                      <a:pt x="1121093" y="181018"/>
                    </a:lnTo>
                    <a:cubicBezTo>
                      <a:pt x="1121093" y="181018"/>
                      <a:pt x="1091565" y="180065"/>
                      <a:pt x="1087755" y="179113"/>
                    </a:cubicBezTo>
                    <a:cubicBezTo>
                      <a:pt x="1082993" y="178160"/>
                      <a:pt x="1077278" y="180065"/>
                      <a:pt x="1071563" y="179113"/>
                    </a:cubicBezTo>
                    <a:cubicBezTo>
                      <a:pt x="1065848" y="178160"/>
                      <a:pt x="1062990" y="182923"/>
                      <a:pt x="1062990" y="182923"/>
                    </a:cubicBezTo>
                    <a:lnTo>
                      <a:pt x="1058228" y="190543"/>
                    </a:lnTo>
                    <a:cubicBezTo>
                      <a:pt x="1058228" y="190543"/>
                      <a:pt x="1056323" y="198163"/>
                      <a:pt x="1055370" y="203878"/>
                    </a:cubicBezTo>
                    <a:cubicBezTo>
                      <a:pt x="1053465" y="209593"/>
                      <a:pt x="1048703" y="218165"/>
                      <a:pt x="1048703" y="218165"/>
                    </a:cubicBezTo>
                    <a:cubicBezTo>
                      <a:pt x="1048703" y="218165"/>
                      <a:pt x="1038225" y="216260"/>
                      <a:pt x="1034415" y="214355"/>
                    </a:cubicBezTo>
                    <a:cubicBezTo>
                      <a:pt x="1029653" y="212450"/>
                      <a:pt x="1025843" y="216260"/>
                      <a:pt x="1025843" y="216260"/>
                    </a:cubicBezTo>
                    <a:cubicBezTo>
                      <a:pt x="1025843" y="216260"/>
                      <a:pt x="1025843" y="216260"/>
                      <a:pt x="1021080" y="219118"/>
                    </a:cubicBezTo>
                    <a:cubicBezTo>
                      <a:pt x="1016318" y="221975"/>
                      <a:pt x="1010603" y="224833"/>
                      <a:pt x="1010603" y="224833"/>
                    </a:cubicBezTo>
                    <a:lnTo>
                      <a:pt x="1002983" y="225785"/>
                    </a:lnTo>
                    <a:lnTo>
                      <a:pt x="997268" y="227690"/>
                    </a:lnTo>
                    <a:lnTo>
                      <a:pt x="995363" y="233405"/>
                    </a:lnTo>
                    <a:lnTo>
                      <a:pt x="990600" y="240073"/>
                    </a:lnTo>
                    <a:lnTo>
                      <a:pt x="980123" y="246740"/>
                    </a:lnTo>
                    <a:lnTo>
                      <a:pt x="969645" y="245788"/>
                    </a:lnTo>
                    <a:lnTo>
                      <a:pt x="958215" y="241978"/>
                    </a:lnTo>
                    <a:lnTo>
                      <a:pt x="950595" y="239120"/>
                    </a:lnTo>
                    <a:cubicBezTo>
                      <a:pt x="950595" y="239120"/>
                      <a:pt x="950595" y="239120"/>
                      <a:pt x="940118" y="238168"/>
                    </a:cubicBezTo>
                    <a:cubicBezTo>
                      <a:pt x="929640" y="237215"/>
                      <a:pt x="932498" y="241978"/>
                      <a:pt x="932498" y="241978"/>
                    </a:cubicBezTo>
                    <a:lnTo>
                      <a:pt x="933450" y="250550"/>
                    </a:lnTo>
                    <a:lnTo>
                      <a:pt x="949643" y="258170"/>
                    </a:lnTo>
                    <a:lnTo>
                      <a:pt x="925830" y="257218"/>
                    </a:lnTo>
                    <a:cubicBezTo>
                      <a:pt x="925830" y="257218"/>
                      <a:pt x="915353" y="254360"/>
                      <a:pt x="908685" y="248645"/>
                    </a:cubicBezTo>
                    <a:cubicBezTo>
                      <a:pt x="901065" y="242930"/>
                      <a:pt x="908685" y="248645"/>
                      <a:pt x="908685" y="245788"/>
                    </a:cubicBezTo>
                    <a:cubicBezTo>
                      <a:pt x="908685" y="242930"/>
                      <a:pt x="907733" y="238168"/>
                      <a:pt x="907733" y="238168"/>
                    </a:cubicBezTo>
                    <a:lnTo>
                      <a:pt x="907733" y="231500"/>
                    </a:lnTo>
                    <a:lnTo>
                      <a:pt x="907733" y="225785"/>
                    </a:lnTo>
                    <a:lnTo>
                      <a:pt x="887730" y="215308"/>
                    </a:lnTo>
                    <a:cubicBezTo>
                      <a:pt x="887730" y="215308"/>
                      <a:pt x="887730" y="215308"/>
                      <a:pt x="892493" y="215308"/>
                    </a:cubicBezTo>
                    <a:cubicBezTo>
                      <a:pt x="893445" y="215308"/>
                      <a:pt x="894398" y="215308"/>
                      <a:pt x="895350" y="215308"/>
                    </a:cubicBezTo>
                    <a:cubicBezTo>
                      <a:pt x="898208" y="216260"/>
                      <a:pt x="899160" y="217213"/>
                      <a:pt x="902970" y="216260"/>
                    </a:cubicBezTo>
                    <a:cubicBezTo>
                      <a:pt x="907733" y="215308"/>
                      <a:pt x="923925" y="218165"/>
                      <a:pt x="923925" y="218165"/>
                    </a:cubicBezTo>
                    <a:cubicBezTo>
                      <a:pt x="923925" y="218165"/>
                      <a:pt x="938213" y="217213"/>
                      <a:pt x="942975" y="215308"/>
                    </a:cubicBezTo>
                    <a:cubicBezTo>
                      <a:pt x="947738" y="213403"/>
                      <a:pt x="951548" y="215308"/>
                      <a:pt x="951548" y="215308"/>
                    </a:cubicBezTo>
                    <a:lnTo>
                      <a:pt x="962025" y="217213"/>
                    </a:lnTo>
                    <a:lnTo>
                      <a:pt x="983933" y="219118"/>
                    </a:lnTo>
                    <a:lnTo>
                      <a:pt x="1002030" y="213403"/>
                    </a:lnTo>
                    <a:lnTo>
                      <a:pt x="1007745" y="201973"/>
                    </a:lnTo>
                    <a:cubicBezTo>
                      <a:pt x="1007745" y="201973"/>
                      <a:pt x="1004888" y="193400"/>
                      <a:pt x="1001078" y="189590"/>
                    </a:cubicBezTo>
                    <a:cubicBezTo>
                      <a:pt x="996315" y="185780"/>
                      <a:pt x="989648" y="186733"/>
                      <a:pt x="984885" y="185780"/>
                    </a:cubicBezTo>
                    <a:cubicBezTo>
                      <a:pt x="980123" y="184828"/>
                      <a:pt x="968693" y="179113"/>
                      <a:pt x="968693" y="179113"/>
                    </a:cubicBezTo>
                    <a:lnTo>
                      <a:pt x="952500" y="173398"/>
                    </a:lnTo>
                    <a:lnTo>
                      <a:pt x="942023" y="169588"/>
                    </a:lnTo>
                    <a:lnTo>
                      <a:pt x="927735" y="166730"/>
                    </a:lnTo>
                    <a:lnTo>
                      <a:pt x="916305" y="163873"/>
                    </a:lnTo>
                    <a:lnTo>
                      <a:pt x="896303" y="159110"/>
                    </a:lnTo>
                    <a:lnTo>
                      <a:pt x="887730" y="155300"/>
                    </a:lnTo>
                    <a:cubicBezTo>
                      <a:pt x="887730" y="155300"/>
                      <a:pt x="873443" y="151490"/>
                      <a:pt x="868680" y="151490"/>
                    </a:cubicBezTo>
                    <a:cubicBezTo>
                      <a:pt x="863918" y="151490"/>
                      <a:pt x="855345" y="147680"/>
                      <a:pt x="851535" y="146728"/>
                    </a:cubicBezTo>
                    <a:cubicBezTo>
                      <a:pt x="846773" y="145775"/>
                      <a:pt x="840105" y="142918"/>
                      <a:pt x="834390" y="139108"/>
                    </a:cubicBezTo>
                    <a:lnTo>
                      <a:pt x="818198" y="137203"/>
                    </a:lnTo>
                    <a:lnTo>
                      <a:pt x="787718" y="136250"/>
                    </a:lnTo>
                    <a:lnTo>
                      <a:pt x="760095" y="133393"/>
                    </a:lnTo>
                    <a:lnTo>
                      <a:pt x="754380" y="133393"/>
                    </a:lnTo>
                    <a:lnTo>
                      <a:pt x="736283" y="134345"/>
                    </a:lnTo>
                    <a:cubicBezTo>
                      <a:pt x="736283" y="134345"/>
                      <a:pt x="720090" y="135298"/>
                      <a:pt x="715328" y="135298"/>
                    </a:cubicBezTo>
                    <a:cubicBezTo>
                      <a:pt x="710565" y="135298"/>
                      <a:pt x="701993" y="140060"/>
                      <a:pt x="701993" y="140060"/>
                    </a:cubicBezTo>
                    <a:lnTo>
                      <a:pt x="690563" y="140060"/>
                    </a:lnTo>
                    <a:lnTo>
                      <a:pt x="684848" y="140060"/>
                    </a:lnTo>
                    <a:lnTo>
                      <a:pt x="670560" y="141965"/>
                    </a:lnTo>
                    <a:lnTo>
                      <a:pt x="662940" y="142918"/>
                    </a:lnTo>
                    <a:lnTo>
                      <a:pt x="652463" y="147680"/>
                    </a:lnTo>
                    <a:cubicBezTo>
                      <a:pt x="652463" y="147680"/>
                      <a:pt x="641985" y="153395"/>
                      <a:pt x="637223" y="153395"/>
                    </a:cubicBezTo>
                    <a:cubicBezTo>
                      <a:pt x="632460" y="153395"/>
                      <a:pt x="619125" y="158158"/>
                      <a:pt x="619125" y="158158"/>
                    </a:cubicBezTo>
                    <a:lnTo>
                      <a:pt x="605790" y="161968"/>
                    </a:lnTo>
                    <a:lnTo>
                      <a:pt x="598170" y="165778"/>
                    </a:lnTo>
                    <a:lnTo>
                      <a:pt x="587693" y="170540"/>
                    </a:lnTo>
                    <a:lnTo>
                      <a:pt x="579120" y="180065"/>
                    </a:lnTo>
                    <a:lnTo>
                      <a:pt x="576263" y="183875"/>
                    </a:lnTo>
                    <a:lnTo>
                      <a:pt x="560070" y="195305"/>
                    </a:lnTo>
                    <a:lnTo>
                      <a:pt x="551498" y="200068"/>
                    </a:lnTo>
                    <a:cubicBezTo>
                      <a:pt x="551498" y="200068"/>
                      <a:pt x="541020" y="206735"/>
                      <a:pt x="535305" y="208640"/>
                    </a:cubicBezTo>
                    <a:cubicBezTo>
                      <a:pt x="529590" y="210545"/>
                      <a:pt x="529590" y="218165"/>
                      <a:pt x="524828" y="220070"/>
                    </a:cubicBezTo>
                    <a:cubicBezTo>
                      <a:pt x="520065" y="221975"/>
                      <a:pt x="520065" y="227690"/>
                      <a:pt x="520065" y="227690"/>
                    </a:cubicBezTo>
                    <a:lnTo>
                      <a:pt x="512445" y="237215"/>
                    </a:lnTo>
                    <a:cubicBezTo>
                      <a:pt x="512445" y="237215"/>
                      <a:pt x="499110" y="244835"/>
                      <a:pt x="494348" y="245788"/>
                    </a:cubicBezTo>
                    <a:cubicBezTo>
                      <a:pt x="489585" y="246740"/>
                      <a:pt x="485775" y="255313"/>
                      <a:pt x="478155" y="257218"/>
                    </a:cubicBezTo>
                    <a:cubicBezTo>
                      <a:pt x="470535" y="259123"/>
                      <a:pt x="478155" y="257218"/>
                      <a:pt x="467678" y="259123"/>
                    </a:cubicBezTo>
                    <a:cubicBezTo>
                      <a:pt x="457200" y="261028"/>
                      <a:pt x="461963" y="263885"/>
                      <a:pt x="457200" y="265790"/>
                    </a:cubicBezTo>
                    <a:cubicBezTo>
                      <a:pt x="452438" y="267695"/>
                      <a:pt x="439103" y="268648"/>
                      <a:pt x="439103" y="268648"/>
                    </a:cubicBezTo>
                    <a:lnTo>
                      <a:pt x="428625" y="274363"/>
                    </a:lnTo>
                    <a:lnTo>
                      <a:pt x="422910" y="278173"/>
                    </a:lnTo>
                    <a:lnTo>
                      <a:pt x="415290" y="283888"/>
                    </a:lnTo>
                    <a:lnTo>
                      <a:pt x="409575" y="286745"/>
                    </a:lnTo>
                    <a:lnTo>
                      <a:pt x="401003" y="295318"/>
                    </a:lnTo>
                    <a:lnTo>
                      <a:pt x="395288" y="304843"/>
                    </a:lnTo>
                    <a:cubicBezTo>
                      <a:pt x="395288" y="304843"/>
                      <a:pt x="399098" y="314368"/>
                      <a:pt x="398145" y="317225"/>
                    </a:cubicBezTo>
                    <a:cubicBezTo>
                      <a:pt x="396240" y="320083"/>
                      <a:pt x="401003" y="329608"/>
                      <a:pt x="401003" y="329608"/>
                    </a:cubicBezTo>
                    <a:lnTo>
                      <a:pt x="401003" y="334370"/>
                    </a:lnTo>
                    <a:lnTo>
                      <a:pt x="405765" y="338180"/>
                    </a:lnTo>
                    <a:lnTo>
                      <a:pt x="411480" y="342943"/>
                    </a:lnTo>
                    <a:lnTo>
                      <a:pt x="414338" y="351515"/>
                    </a:lnTo>
                    <a:lnTo>
                      <a:pt x="420053" y="361993"/>
                    </a:lnTo>
                    <a:lnTo>
                      <a:pt x="427673" y="361993"/>
                    </a:lnTo>
                    <a:lnTo>
                      <a:pt x="443865" y="360088"/>
                    </a:lnTo>
                    <a:lnTo>
                      <a:pt x="452438" y="355325"/>
                    </a:lnTo>
                    <a:lnTo>
                      <a:pt x="460058" y="352468"/>
                    </a:lnTo>
                    <a:lnTo>
                      <a:pt x="462915" y="348658"/>
                    </a:lnTo>
                    <a:lnTo>
                      <a:pt x="467678" y="343895"/>
                    </a:lnTo>
                    <a:lnTo>
                      <a:pt x="478155" y="341990"/>
                    </a:lnTo>
                    <a:lnTo>
                      <a:pt x="483870" y="341038"/>
                    </a:lnTo>
                    <a:lnTo>
                      <a:pt x="492443" y="341990"/>
                    </a:lnTo>
                    <a:lnTo>
                      <a:pt x="493395" y="351515"/>
                    </a:lnTo>
                    <a:lnTo>
                      <a:pt x="499110" y="358183"/>
                    </a:lnTo>
                    <a:lnTo>
                      <a:pt x="504825" y="363898"/>
                    </a:lnTo>
                    <a:lnTo>
                      <a:pt x="512445" y="367708"/>
                    </a:lnTo>
                    <a:lnTo>
                      <a:pt x="522923" y="377233"/>
                    </a:lnTo>
                    <a:lnTo>
                      <a:pt x="521018" y="384853"/>
                    </a:lnTo>
                    <a:lnTo>
                      <a:pt x="523875" y="395330"/>
                    </a:lnTo>
                    <a:lnTo>
                      <a:pt x="538163" y="399140"/>
                    </a:lnTo>
                    <a:lnTo>
                      <a:pt x="549593" y="398188"/>
                    </a:lnTo>
                    <a:lnTo>
                      <a:pt x="558165" y="393425"/>
                    </a:lnTo>
                    <a:lnTo>
                      <a:pt x="569595" y="389615"/>
                    </a:lnTo>
                    <a:cubicBezTo>
                      <a:pt x="569595" y="389615"/>
                      <a:pt x="578168" y="385805"/>
                      <a:pt x="580073" y="382948"/>
                    </a:cubicBezTo>
                    <a:cubicBezTo>
                      <a:pt x="581978" y="380090"/>
                      <a:pt x="585788" y="381995"/>
                      <a:pt x="585788" y="379138"/>
                    </a:cubicBezTo>
                    <a:cubicBezTo>
                      <a:pt x="585788" y="376280"/>
                      <a:pt x="585788" y="373423"/>
                      <a:pt x="585788" y="373423"/>
                    </a:cubicBezTo>
                    <a:lnTo>
                      <a:pt x="596265" y="361993"/>
                    </a:lnTo>
                    <a:lnTo>
                      <a:pt x="601028" y="355325"/>
                    </a:lnTo>
                    <a:cubicBezTo>
                      <a:pt x="601028" y="355325"/>
                      <a:pt x="606743" y="351515"/>
                      <a:pt x="606743" y="348658"/>
                    </a:cubicBezTo>
                    <a:cubicBezTo>
                      <a:pt x="606743" y="345800"/>
                      <a:pt x="614363" y="344848"/>
                      <a:pt x="614363" y="341990"/>
                    </a:cubicBezTo>
                    <a:cubicBezTo>
                      <a:pt x="614363" y="339133"/>
                      <a:pt x="620078" y="337228"/>
                      <a:pt x="620078" y="337228"/>
                    </a:cubicBezTo>
                    <a:lnTo>
                      <a:pt x="621983" y="323893"/>
                    </a:lnTo>
                    <a:lnTo>
                      <a:pt x="621983" y="319130"/>
                    </a:lnTo>
                    <a:lnTo>
                      <a:pt x="616268" y="318178"/>
                    </a:lnTo>
                    <a:lnTo>
                      <a:pt x="604838" y="317225"/>
                    </a:lnTo>
                    <a:lnTo>
                      <a:pt x="599123" y="314368"/>
                    </a:lnTo>
                    <a:lnTo>
                      <a:pt x="599123" y="307700"/>
                    </a:lnTo>
                    <a:cubicBezTo>
                      <a:pt x="599123" y="307700"/>
                      <a:pt x="599123" y="307700"/>
                      <a:pt x="601028" y="301033"/>
                    </a:cubicBezTo>
                    <a:cubicBezTo>
                      <a:pt x="601028" y="301033"/>
                      <a:pt x="601028" y="301033"/>
                      <a:pt x="614363" y="291508"/>
                    </a:cubicBezTo>
                    <a:cubicBezTo>
                      <a:pt x="614363" y="291508"/>
                      <a:pt x="621983" y="290555"/>
                      <a:pt x="622935" y="287698"/>
                    </a:cubicBezTo>
                    <a:cubicBezTo>
                      <a:pt x="624840" y="284840"/>
                      <a:pt x="631508" y="283888"/>
                      <a:pt x="636270" y="277220"/>
                    </a:cubicBezTo>
                    <a:cubicBezTo>
                      <a:pt x="641033" y="270553"/>
                      <a:pt x="636270" y="277220"/>
                      <a:pt x="641033" y="273410"/>
                    </a:cubicBezTo>
                    <a:cubicBezTo>
                      <a:pt x="645795" y="269600"/>
                      <a:pt x="649605" y="269600"/>
                      <a:pt x="649605" y="265790"/>
                    </a:cubicBezTo>
                    <a:cubicBezTo>
                      <a:pt x="649605" y="261980"/>
                      <a:pt x="658178" y="260075"/>
                      <a:pt x="658178" y="260075"/>
                    </a:cubicBezTo>
                    <a:lnTo>
                      <a:pt x="661035" y="250550"/>
                    </a:lnTo>
                    <a:cubicBezTo>
                      <a:pt x="661035" y="250550"/>
                      <a:pt x="661035" y="250550"/>
                      <a:pt x="662940" y="245788"/>
                    </a:cubicBezTo>
                    <a:cubicBezTo>
                      <a:pt x="664845" y="241025"/>
                      <a:pt x="668655" y="240073"/>
                      <a:pt x="668655" y="240073"/>
                    </a:cubicBezTo>
                    <a:lnTo>
                      <a:pt x="680085" y="233405"/>
                    </a:lnTo>
                    <a:lnTo>
                      <a:pt x="688658" y="231500"/>
                    </a:lnTo>
                    <a:lnTo>
                      <a:pt x="696278" y="228643"/>
                    </a:lnTo>
                    <a:lnTo>
                      <a:pt x="707708" y="227690"/>
                    </a:lnTo>
                    <a:cubicBezTo>
                      <a:pt x="707708" y="227690"/>
                      <a:pt x="713423" y="229595"/>
                      <a:pt x="719138" y="228643"/>
                    </a:cubicBezTo>
                    <a:cubicBezTo>
                      <a:pt x="724853" y="227690"/>
                      <a:pt x="733425" y="231500"/>
                      <a:pt x="733425" y="231500"/>
                    </a:cubicBezTo>
                    <a:lnTo>
                      <a:pt x="733425" y="237215"/>
                    </a:lnTo>
                    <a:lnTo>
                      <a:pt x="730568" y="244835"/>
                    </a:lnTo>
                    <a:lnTo>
                      <a:pt x="727710" y="251503"/>
                    </a:lnTo>
                    <a:lnTo>
                      <a:pt x="724853" y="256265"/>
                    </a:lnTo>
                    <a:lnTo>
                      <a:pt x="720090" y="261028"/>
                    </a:lnTo>
                    <a:cubicBezTo>
                      <a:pt x="720090" y="261028"/>
                      <a:pt x="706755" y="266743"/>
                      <a:pt x="701993" y="266743"/>
                    </a:cubicBezTo>
                    <a:cubicBezTo>
                      <a:pt x="697230" y="266743"/>
                      <a:pt x="685800" y="271505"/>
                      <a:pt x="685800" y="271505"/>
                    </a:cubicBezTo>
                    <a:cubicBezTo>
                      <a:pt x="685800" y="271505"/>
                      <a:pt x="682943" y="275315"/>
                      <a:pt x="678180" y="275315"/>
                    </a:cubicBezTo>
                    <a:cubicBezTo>
                      <a:pt x="673418" y="275315"/>
                      <a:pt x="678180" y="281030"/>
                      <a:pt x="678180" y="281030"/>
                    </a:cubicBezTo>
                    <a:lnTo>
                      <a:pt x="676275" y="291508"/>
                    </a:lnTo>
                    <a:lnTo>
                      <a:pt x="677228" y="301033"/>
                    </a:lnTo>
                    <a:lnTo>
                      <a:pt x="672465" y="311510"/>
                    </a:lnTo>
                    <a:lnTo>
                      <a:pt x="678180" y="321988"/>
                    </a:lnTo>
                    <a:lnTo>
                      <a:pt x="683895" y="324845"/>
                    </a:lnTo>
                    <a:lnTo>
                      <a:pt x="695325" y="324845"/>
                    </a:lnTo>
                    <a:lnTo>
                      <a:pt x="705803" y="328655"/>
                    </a:lnTo>
                    <a:lnTo>
                      <a:pt x="720090" y="329608"/>
                    </a:lnTo>
                    <a:lnTo>
                      <a:pt x="733425" y="328655"/>
                    </a:lnTo>
                    <a:lnTo>
                      <a:pt x="743903" y="326750"/>
                    </a:lnTo>
                    <a:lnTo>
                      <a:pt x="752475" y="323893"/>
                    </a:lnTo>
                    <a:lnTo>
                      <a:pt x="760095" y="323893"/>
                    </a:lnTo>
                    <a:lnTo>
                      <a:pt x="779145" y="323893"/>
                    </a:lnTo>
                    <a:lnTo>
                      <a:pt x="793433" y="324845"/>
                    </a:lnTo>
                    <a:lnTo>
                      <a:pt x="796290" y="328655"/>
                    </a:lnTo>
                    <a:lnTo>
                      <a:pt x="790575" y="337228"/>
                    </a:lnTo>
                    <a:lnTo>
                      <a:pt x="782003" y="337228"/>
                    </a:lnTo>
                    <a:lnTo>
                      <a:pt x="776288" y="339133"/>
                    </a:lnTo>
                    <a:lnTo>
                      <a:pt x="758190" y="340085"/>
                    </a:lnTo>
                    <a:lnTo>
                      <a:pt x="740093" y="341990"/>
                    </a:lnTo>
                    <a:lnTo>
                      <a:pt x="725805" y="343895"/>
                    </a:lnTo>
                    <a:lnTo>
                      <a:pt x="721043" y="347705"/>
                    </a:lnTo>
                    <a:lnTo>
                      <a:pt x="719138" y="353420"/>
                    </a:lnTo>
                    <a:lnTo>
                      <a:pt x="713423" y="360088"/>
                    </a:lnTo>
                    <a:lnTo>
                      <a:pt x="705803" y="368660"/>
                    </a:lnTo>
                    <a:lnTo>
                      <a:pt x="695325" y="370565"/>
                    </a:lnTo>
                    <a:lnTo>
                      <a:pt x="687705" y="370565"/>
                    </a:lnTo>
                    <a:lnTo>
                      <a:pt x="674370" y="372470"/>
                    </a:lnTo>
                    <a:lnTo>
                      <a:pt x="669608" y="378185"/>
                    </a:lnTo>
                    <a:lnTo>
                      <a:pt x="664845" y="382948"/>
                    </a:lnTo>
                    <a:lnTo>
                      <a:pt x="662940" y="388663"/>
                    </a:lnTo>
                    <a:lnTo>
                      <a:pt x="657225" y="398188"/>
                    </a:lnTo>
                    <a:lnTo>
                      <a:pt x="649605" y="404855"/>
                    </a:lnTo>
                    <a:lnTo>
                      <a:pt x="627698" y="409618"/>
                    </a:lnTo>
                    <a:lnTo>
                      <a:pt x="600075" y="414380"/>
                    </a:lnTo>
                    <a:lnTo>
                      <a:pt x="594360" y="414380"/>
                    </a:lnTo>
                    <a:cubicBezTo>
                      <a:pt x="594360" y="414380"/>
                      <a:pt x="583883" y="416285"/>
                      <a:pt x="578168" y="415333"/>
                    </a:cubicBezTo>
                    <a:cubicBezTo>
                      <a:pt x="572453" y="414380"/>
                      <a:pt x="564833" y="418190"/>
                      <a:pt x="560070" y="417238"/>
                    </a:cubicBezTo>
                    <a:cubicBezTo>
                      <a:pt x="555308" y="416285"/>
                      <a:pt x="551498" y="418190"/>
                      <a:pt x="551498" y="418190"/>
                    </a:cubicBezTo>
                    <a:lnTo>
                      <a:pt x="540068" y="417238"/>
                    </a:lnTo>
                    <a:lnTo>
                      <a:pt x="523875" y="414380"/>
                    </a:lnTo>
                    <a:cubicBezTo>
                      <a:pt x="523875" y="414380"/>
                      <a:pt x="510540" y="414380"/>
                      <a:pt x="506730" y="413428"/>
                    </a:cubicBezTo>
                    <a:cubicBezTo>
                      <a:pt x="501968" y="412475"/>
                      <a:pt x="498158" y="413428"/>
                      <a:pt x="498158" y="413428"/>
                    </a:cubicBezTo>
                    <a:lnTo>
                      <a:pt x="486728" y="413428"/>
                    </a:lnTo>
                    <a:cubicBezTo>
                      <a:pt x="486728" y="413428"/>
                      <a:pt x="486728" y="413428"/>
                      <a:pt x="481965" y="407713"/>
                    </a:cubicBezTo>
                    <a:lnTo>
                      <a:pt x="498158" y="401045"/>
                    </a:lnTo>
                    <a:lnTo>
                      <a:pt x="493395" y="395330"/>
                    </a:lnTo>
                    <a:lnTo>
                      <a:pt x="484823" y="391520"/>
                    </a:lnTo>
                    <a:lnTo>
                      <a:pt x="484823" y="386758"/>
                    </a:lnTo>
                    <a:lnTo>
                      <a:pt x="477203" y="376280"/>
                    </a:lnTo>
                    <a:lnTo>
                      <a:pt x="474345" y="369613"/>
                    </a:lnTo>
                    <a:lnTo>
                      <a:pt x="466725" y="368660"/>
                    </a:lnTo>
                    <a:lnTo>
                      <a:pt x="461010" y="374375"/>
                    </a:lnTo>
                    <a:lnTo>
                      <a:pt x="450533" y="377233"/>
                    </a:lnTo>
                    <a:lnTo>
                      <a:pt x="445770" y="381995"/>
                    </a:lnTo>
                    <a:lnTo>
                      <a:pt x="443865" y="390568"/>
                    </a:lnTo>
                    <a:lnTo>
                      <a:pt x="443865" y="399140"/>
                    </a:lnTo>
                    <a:lnTo>
                      <a:pt x="446723" y="408665"/>
                    </a:lnTo>
                    <a:lnTo>
                      <a:pt x="449580" y="403903"/>
                    </a:lnTo>
                    <a:lnTo>
                      <a:pt x="446723" y="414380"/>
                    </a:lnTo>
                    <a:lnTo>
                      <a:pt x="435293" y="416285"/>
                    </a:lnTo>
                    <a:cubicBezTo>
                      <a:pt x="435293" y="416285"/>
                      <a:pt x="435293" y="416285"/>
                      <a:pt x="430530" y="416285"/>
                    </a:cubicBezTo>
                    <a:cubicBezTo>
                      <a:pt x="425768" y="416285"/>
                      <a:pt x="424815" y="418190"/>
                      <a:pt x="420053" y="417238"/>
                    </a:cubicBezTo>
                    <a:cubicBezTo>
                      <a:pt x="415290" y="416285"/>
                      <a:pt x="411480" y="417238"/>
                      <a:pt x="411480" y="417238"/>
                    </a:cubicBezTo>
                    <a:lnTo>
                      <a:pt x="389573" y="421048"/>
                    </a:lnTo>
                    <a:cubicBezTo>
                      <a:pt x="389573" y="421048"/>
                      <a:pt x="387668" y="425810"/>
                      <a:pt x="383858" y="427715"/>
                    </a:cubicBezTo>
                    <a:cubicBezTo>
                      <a:pt x="379095" y="429620"/>
                      <a:pt x="379095" y="433430"/>
                      <a:pt x="379095" y="433430"/>
                    </a:cubicBezTo>
                    <a:lnTo>
                      <a:pt x="376238" y="440098"/>
                    </a:lnTo>
                    <a:cubicBezTo>
                      <a:pt x="376238" y="440098"/>
                      <a:pt x="367665" y="446765"/>
                      <a:pt x="362903" y="447718"/>
                    </a:cubicBezTo>
                    <a:cubicBezTo>
                      <a:pt x="358140" y="448670"/>
                      <a:pt x="352425" y="450575"/>
                      <a:pt x="348615" y="451528"/>
                    </a:cubicBezTo>
                    <a:cubicBezTo>
                      <a:pt x="343853" y="452480"/>
                      <a:pt x="340043" y="457243"/>
                      <a:pt x="340043" y="457243"/>
                    </a:cubicBezTo>
                    <a:lnTo>
                      <a:pt x="334328" y="464863"/>
                    </a:lnTo>
                    <a:lnTo>
                      <a:pt x="328613" y="468673"/>
                    </a:lnTo>
                    <a:cubicBezTo>
                      <a:pt x="328613" y="468673"/>
                      <a:pt x="320040" y="471530"/>
                      <a:pt x="312420" y="472483"/>
                    </a:cubicBezTo>
                    <a:cubicBezTo>
                      <a:pt x="304800" y="473435"/>
                      <a:pt x="299085" y="477245"/>
                      <a:pt x="299085" y="477245"/>
                    </a:cubicBezTo>
                    <a:lnTo>
                      <a:pt x="293370" y="480103"/>
                    </a:lnTo>
                    <a:lnTo>
                      <a:pt x="282893" y="481055"/>
                    </a:lnTo>
                    <a:lnTo>
                      <a:pt x="275273" y="484865"/>
                    </a:lnTo>
                    <a:lnTo>
                      <a:pt x="260033" y="489628"/>
                    </a:lnTo>
                    <a:lnTo>
                      <a:pt x="248603" y="489628"/>
                    </a:lnTo>
                    <a:lnTo>
                      <a:pt x="224790" y="490580"/>
                    </a:lnTo>
                    <a:lnTo>
                      <a:pt x="214313" y="496295"/>
                    </a:lnTo>
                    <a:lnTo>
                      <a:pt x="217170" y="500105"/>
                    </a:lnTo>
                    <a:lnTo>
                      <a:pt x="222885" y="502963"/>
                    </a:lnTo>
                    <a:lnTo>
                      <a:pt x="228600" y="505820"/>
                    </a:lnTo>
                    <a:lnTo>
                      <a:pt x="234315" y="506773"/>
                    </a:lnTo>
                    <a:lnTo>
                      <a:pt x="245745" y="508678"/>
                    </a:lnTo>
                    <a:lnTo>
                      <a:pt x="254318" y="509630"/>
                    </a:lnTo>
                    <a:cubicBezTo>
                      <a:pt x="254318" y="509630"/>
                      <a:pt x="260033" y="513440"/>
                      <a:pt x="273368" y="520108"/>
                    </a:cubicBezTo>
                    <a:cubicBezTo>
                      <a:pt x="286703" y="526775"/>
                      <a:pt x="276225" y="524870"/>
                      <a:pt x="276225" y="524870"/>
                    </a:cubicBezTo>
                    <a:cubicBezTo>
                      <a:pt x="276225" y="524870"/>
                      <a:pt x="277178" y="529633"/>
                      <a:pt x="276225" y="532490"/>
                    </a:cubicBezTo>
                    <a:cubicBezTo>
                      <a:pt x="274320" y="535348"/>
                      <a:pt x="276225" y="538205"/>
                      <a:pt x="276225" y="538205"/>
                    </a:cubicBezTo>
                    <a:cubicBezTo>
                      <a:pt x="276225" y="538205"/>
                      <a:pt x="274320" y="547730"/>
                      <a:pt x="273368" y="550588"/>
                    </a:cubicBezTo>
                    <a:cubicBezTo>
                      <a:pt x="271463" y="553445"/>
                      <a:pt x="268605" y="561065"/>
                      <a:pt x="268605" y="561065"/>
                    </a:cubicBezTo>
                    <a:cubicBezTo>
                      <a:pt x="268605" y="561065"/>
                      <a:pt x="268605" y="561065"/>
                      <a:pt x="262890" y="562018"/>
                    </a:cubicBezTo>
                    <a:cubicBezTo>
                      <a:pt x="257175" y="562970"/>
                      <a:pt x="257175" y="562018"/>
                      <a:pt x="257175" y="562018"/>
                    </a:cubicBezTo>
                    <a:cubicBezTo>
                      <a:pt x="257175" y="562018"/>
                      <a:pt x="251460" y="564875"/>
                      <a:pt x="246698" y="564875"/>
                    </a:cubicBezTo>
                    <a:cubicBezTo>
                      <a:pt x="241935" y="564875"/>
                      <a:pt x="236220" y="564875"/>
                      <a:pt x="236220" y="564875"/>
                    </a:cubicBezTo>
                    <a:lnTo>
                      <a:pt x="225743" y="564875"/>
                    </a:lnTo>
                    <a:cubicBezTo>
                      <a:pt x="225743" y="564875"/>
                      <a:pt x="212408" y="564875"/>
                      <a:pt x="206693" y="564875"/>
                    </a:cubicBezTo>
                    <a:cubicBezTo>
                      <a:pt x="200978" y="564875"/>
                      <a:pt x="196215" y="563923"/>
                      <a:pt x="192405" y="563923"/>
                    </a:cubicBezTo>
                    <a:cubicBezTo>
                      <a:pt x="187643" y="563923"/>
                      <a:pt x="186690" y="561065"/>
                      <a:pt x="186690" y="561065"/>
                    </a:cubicBezTo>
                    <a:lnTo>
                      <a:pt x="178118" y="560113"/>
                    </a:lnTo>
                    <a:lnTo>
                      <a:pt x="170498" y="560113"/>
                    </a:lnTo>
                    <a:lnTo>
                      <a:pt x="161925" y="562018"/>
                    </a:lnTo>
                    <a:cubicBezTo>
                      <a:pt x="161925" y="562018"/>
                      <a:pt x="161925" y="562018"/>
                      <a:pt x="153353" y="564875"/>
                    </a:cubicBezTo>
                    <a:lnTo>
                      <a:pt x="151448" y="570590"/>
                    </a:lnTo>
                    <a:lnTo>
                      <a:pt x="149543" y="581068"/>
                    </a:lnTo>
                    <a:lnTo>
                      <a:pt x="144780" y="586783"/>
                    </a:lnTo>
                    <a:lnTo>
                      <a:pt x="141923" y="592498"/>
                    </a:lnTo>
                    <a:lnTo>
                      <a:pt x="144780" y="602975"/>
                    </a:lnTo>
                    <a:lnTo>
                      <a:pt x="145733" y="611548"/>
                    </a:lnTo>
                    <a:cubicBezTo>
                      <a:pt x="145733" y="611548"/>
                      <a:pt x="143828" y="622025"/>
                      <a:pt x="143828" y="624883"/>
                    </a:cubicBezTo>
                    <a:cubicBezTo>
                      <a:pt x="143828" y="627740"/>
                      <a:pt x="144780" y="631550"/>
                      <a:pt x="144780" y="631550"/>
                    </a:cubicBezTo>
                    <a:lnTo>
                      <a:pt x="145733" y="642028"/>
                    </a:lnTo>
                    <a:lnTo>
                      <a:pt x="167640" y="647743"/>
                    </a:lnTo>
                    <a:lnTo>
                      <a:pt x="188595" y="649648"/>
                    </a:lnTo>
                    <a:lnTo>
                      <a:pt x="204788" y="648695"/>
                    </a:lnTo>
                    <a:lnTo>
                      <a:pt x="223838" y="646790"/>
                    </a:lnTo>
                    <a:lnTo>
                      <a:pt x="237173" y="647743"/>
                    </a:lnTo>
                    <a:cubicBezTo>
                      <a:pt x="237173" y="647743"/>
                      <a:pt x="245745" y="646790"/>
                      <a:pt x="251460" y="644885"/>
                    </a:cubicBezTo>
                    <a:cubicBezTo>
                      <a:pt x="257175" y="642980"/>
                      <a:pt x="260033" y="642980"/>
                      <a:pt x="260033" y="642980"/>
                    </a:cubicBezTo>
                    <a:lnTo>
                      <a:pt x="265748" y="642028"/>
                    </a:lnTo>
                    <a:lnTo>
                      <a:pt x="280988" y="635360"/>
                    </a:lnTo>
                    <a:lnTo>
                      <a:pt x="286703" y="633455"/>
                    </a:lnTo>
                    <a:lnTo>
                      <a:pt x="292418" y="629645"/>
                    </a:lnTo>
                    <a:lnTo>
                      <a:pt x="302895" y="622978"/>
                    </a:lnTo>
                    <a:lnTo>
                      <a:pt x="302895" y="617263"/>
                    </a:lnTo>
                    <a:cubicBezTo>
                      <a:pt x="302895" y="617263"/>
                      <a:pt x="302895" y="613453"/>
                      <a:pt x="305753" y="608690"/>
                    </a:cubicBezTo>
                    <a:lnTo>
                      <a:pt x="313373" y="607738"/>
                    </a:lnTo>
                    <a:lnTo>
                      <a:pt x="319088" y="602975"/>
                    </a:lnTo>
                    <a:lnTo>
                      <a:pt x="320993" y="597260"/>
                    </a:lnTo>
                    <a:cubicBezTo>
                      <a:pt x="320993" y="597260"/>
                      <a:pt x="320993" y="597260"/>
                      <a:pt x="326708" y="593450"/>
                    </a:cubicBezTo>
                    <a:lnTo>
                      <a:pt x="344805" y="589640"/>
                    </a:lnTo>
                    <a:lnTo>
                      <a:pt x="353378" y="582020"/>
                    </a:lnTo>
                    <a:lnTo>
                      <a:pt x="359093" y="579163"/>
                    </a:lnTo>
                    <a:lnTo>
                      <a:pt x="361950" y="574400"/>
                    </a:lnTo>
                    <a:lnTo>
                      <a:pt x="366713" y="570590"/>
                    </a:lnTo>
                    <a:lnTo>
                      <a:pt x="368618" y="566780"/>
                    </a:lnTo>
                    <a:lnTo>
                      <a:pt x="374333" y="562018"/>
                    </a:lnTo>
                    <a:lnTo>
                      <a:pt x="382905" y="563923"/>
                    </a:lnTo>
                    <a:lnTo>
                      <a:pt x="388620" y="563923"/>
                    </a:lnTo>
                    <a:lnTo>
                      <a:pt x="391478" y="568685"/>
                    </a:lnTo>
                    <a:lnTo>
                      <a:pt x="397193" y="571543"/>
                    </a:lnTo>
                    <a:lnTo>
                      <a:pt x="404813" y="573448"/>
                    </a:lnTo>
                    <a:lnTo>
                      <a:pt x="410528" y="572495"/>
                    </a:lnTo>
                    <a:lnTo>
                      <a:pt x="416243" y="571543"/>
                    </a:lnTo>
                    <a:lnTo>
                      <a:pt x="426720" y="565828"/>
                    </a:lnTo>
                    <a:lnTo>
                      <a:pt x="434340" y="560113"/>
                    </a:lnTo>
                    <a:lnTo>
                      <a:pt x="440055" y="557255"/>
                    </a:lnTo>
                    <a:lnTo>
                      <a:pt x="447675" y="553445"/>
                    </a:lnTo>
                    <a:lnTo>
                      <a:pt x="455295" y="554398"/>
                    </a:lnTo>
                    <a:lnTo>
                      <a:pt x="462915" y="554398"/>
                    </a:lnTo>
                    <a:lnTo>
                      <a:pt x="468630" y="556303"/>
                    </a:lnTo>
                    <a:lnTo>
                      <a:pt x="474345" y="558208"/>
                    </a:lnTo>
                    <a:lnTo>
                      <a:pt x="482918" y="562018"/>
                    </a:lnTo>
                    <a:lnTo>
                      <a:pt x="493395" y="568685"/>
                    </a:lnTo>
                    <a:lnTo>
                      <a:pt x="496253" y="574400"/>
                    </a:lnTo>
                    <a:lnTo>
                      <a:pt x="504825" y="580115"/>
                    </a:lnTo>
                    <a:lnTo>
                      <a:pt x="512445" y="585830"/>
                    </a:lnTo>
                    <a:lnTo>
                      <a:pt x="521018" y="592498"/>
                    </a:lnTo>
                    <a:lnTo>
                      <a:pt x="526733" y="594403"/>
                    </a:lnTo>
                    <a:lnTo>
                      <a:pt x="537210" y="598213"/>
                    </a:lnTo>
                    <a:lnTo>
                      <a:pt x="551498" y="603928"/>
                    </a:lnTo>
                    <a:lnTo>
                      <a:pt x="560070" y="605833"/>
                    </a:lnTo>
                    <a:lnTo>
                      <a:pt x="561023" y="610595"/>
                    </a:lnTo>
                    <a:lnTo>
                      <a:pt x="563880" y="615358"/>
                    </a:lnTo>
                    <a:lnTo>
                      <a:pt x="566738" y="620120"/>
                    </a:lnTo>
                    <a:lnTo>
                      <a:pt x="567690" y="626788"/>
                    </a:lnTo>
                    <a:lnTo>
                      <a:pt x="575310" y="629645"/>
                    </a:lnTo>
                    <a:lnTo>
                      <a:pt x="581025" y="630598"/>
                    </a:lnTo>
                    <a:lnTo>
                      <a:pt x="589598" y="627740"/>
                    </a:lnTo>
                    <a:cubicBezTo>
                      <a:pt x="589598" y="627740"/>
                      <a:pt x="589598" y="627740"/>
                      <a:pt x="589598" y="620120"/>
                    </a:cubicBezTo>
                    <a:cubicBezTo>
                      <a:pt x="589598" y="612500"/>
                      <a:pt x="589598" y="620120"/>
                      <a:pt x="589598" y="612500"/>
                    </a:cubicBezTo>
                    <a:cubicBezTo>
                      <a:pt x="589598" y="611548"/>
                      <a:pt x="589598" y="610595"/>
                      <a:pt x="589598" y="609643"/>
                    </a:cubicBezTo>
                    <a:cubicBezTo>
                      <a:pt x="589598" y="609643"/>
                      <a:pt x="589598" y="609643"/>
                      <a:pt x="589598" y="608690"/>
                    </a:cubicBezTo>
                    <a:cubicBezTo>
                      <a:pt x="589598" y="608690"/>
                      <a:pt x="589598" y="608690"/>
                      <a:pt x="589598" y="608690"/>
                    </a:cubicBezTo>
                    <a:cubicBezTo>
                      <a:pt x="589598" y="604880"/>
                      <a:pt x="589598" y="608690"/>
                      <a:pt x="588645" y="604880"/>
                    </a:cubicBezTo>
                    <a:cubicBezTo>
                      <a:pt x="587693" y="601070"/>
                      <a:pt x="594360" y="602023"/>
                      <a:pt x="594360" y="602023"/>
                    </a:cubicBezTo>
                    <a:lnTo>
                      <a:pt x="601980" y="597260"/>
                    </a:lnTo>
                    <a:lnTo>
                      <a:pt x="598170" y="590593"/>
                    </a:lnTo>
                    <a:lnTo>
                      <a:pt x="592455" y="589640"/>
                    </a:lnTo>
                    <a:lnTo>
                      <a:pt x="584835" y="587735"/>
                    </a:lnTo>
                    <a:lnTo>
                      <a:pt x="579120" y="586783"/>
                    </a:lnTo>
                    <a:lnTo>
                      <a:pt x="573405" y="584878"/>
                    </a:lnTo>
                    <a:lnTo>
                      <a:pt x="561975" y="578210"/>
                    </a:lnTo>
                    <a:cubicBezTo>
                      <a:pt x="561975" y="578210"/>
                      <a:pt x="561975" y="578210"/>
                      <a:pt x="557213" y="576305"/>
                    </a:cubicBezTo>
                    <a:cubicBezTo>
                      <a:pt x="552450" y="574400"/>
                      <a:pt x="549593" y="571543"/>
                      <a:pt x="549593" y="571543"/>
                    </a:cubicBezTo>
                    <a:lnTo>
                      <a:pt x="532448" y="562018"/>
                    </a:lnTo>
                    <a:lnTo>
                      <a:pt x="521018" y="556303"/>
                    </a:lnTo>
                    <a:cubicBezTo>
                      <a:pt x="521018" y="556303"/>
                      <a:pt x="513398" y="548683"/>
                      <a:pt x="514350" y="545825"/>
                    </a:cubicBezTo>
                    <a:cubicBezTo>
                      <a:pt x="514350" y="542968"/>
                      <a:pt x="514350" y="541063"/>
                      <a:pt x="514350" y="541063"/>
                    </a:cubicBezTo>
                    <a:lnTo>
                      <a:pt x="519113" y="536300"/>
                    </a:lnTo>
                    <a:cubicBezTo>
                      <a:pt x="519113" y="536300"/>
                      <a:pt x="536258" y="539158"/>
                      <a:pt x="541020" y="540110"/>
                    </a:cubicBezTo>
                    <a:cubicBezTo>
                      <a:pt x="545783" y="541063"/>
                      <a:pt x="546735" y="542015"/>
                      <a:pt x="546735" y="542015"/>
                    </a:cubicBezTo>
                    <a:lnTo>
                      <a:pt x="554355" y="545825"/>
                    </a:lnTo>
                    <a:lnTo>
                      <a:pt x="560070" y="549635"/>
                    </a:lnTo>
                    <a:lnTo>
                      <a:pt x="574358" y="554398"/>
                    </a:lnTo>
                    <a:lnTo>
                      <a:pt x="584835" y="559160"/>
                    </a:lnTo>
                    <a:lnTo>
                      <a:pt x="592455" y="563923"/>
                    </a:lnTo>
                    <a:lnTo>
                      <a:pt x="608648" y="569638"/>
                    </a:lnTo>
                    <a:lnTo>
                      <a:pt x="617220" y="578210"/>
                    </a:lnTo>
                    <a:lnTo>
                      <a:pt x="621030" y="584878"/>
                    </a:lnTo>
                    <a:lnTo>
                      <a:pt x="628650" y="591545"/>
                    </a:lnTo>
                    <a:lnTo>
                      <a:pt x="632460" y="597260"/>
                    </a:lnTo>
                    <a:lnTo>
                      <a:pt x="637223" y="603928"/>
                    </a:lnTo>
                    <a:lnTo>
                      <a:pt x="638175" y="611548"/>
                    </a:lnTo>
                    <a:lnTo>
                      <a:pt x="641033" y="616310"/>
                    </a:lnTo>
                    <a:lnTo>
                      <a:pt x="649605" y="622025"/>
                    </a:lnTo>
                    <a:lnTo>
                      <a:pt x="653415" y="626788"/>
                    </a:lnTo>
                    <a:lnTo>
                      <a:pt x="661988" y="631550"/>
                    </a:lnTo>
                    <a:lnTo>
                      <a:pt x="667703" y="636313"/>
                    </a:lnTo>
                    <a:lnTo>
                      <a:pt x="667703" y="642028"/>
                    </a:lnTo>
                    <a:lnTo>
                      <a:pt x="670560" y="650600"/>
                    </a:lnTo>
                    <a:lnTo>
                      <a:pt x="678180" y="652505"/>
                    </a:lnTo>
                    <a:lnTo>
                      <a:pt x="688658" y="652505"/>
                    </a:lnTo>
                    <a:lnTo>
                      <a:pt x="701993" y="648695"/>
                    </a:lnTo>
                    <a:cubicBezTo>
                      <a:pt x="701993" y="648695"/>
                      <a:pt x="701993" y="648695"/>
                      <a:pt x="704850" y="645838"/>
                    </a:cubicBezTo>
                    <a:cubicBezTo>
                      <a:pt x="707708" y="642980"/>
                      <a:pt x="704850" y="645838"/>
                      <a:pt x="710565" y="642980"/>
                    </a:cubicBezTo>
                    <a:lnTo>
                      <a:pt x="715328" y="638218"/>
                    </a:lnTo>
                    <a:lnTo>
                      <a:pt x="715328" y="632503"/>
                    </a:lnTo>
                    <a:lnTo>
                      <a:pt x="715328" y="625835"/>
                    </a:lnTo>
                    <a:lnTo>
                      <a:pt x="712470" y="621073"/>
                    </a:lnTo>
                    <a:cubicBezTo>
                      <a:pt x="712470" y="621073"/>
                      <a:pt x="712470" y="621073"/>
                      <a:pt x="712470" y="616310"/>
                    </a:cubicBezTo>
                    <a:cubicBezTo>
                      <a:pt x="712470" y="611548"/>
                      <a:pt x="712470" y="616310"/>
                      <a:pt x="711518" y="611548"/>
                    </a:cubicBezTo>
                    <a:lnTo>
                      <a:pt x="713423" y="604880"/>
                    </a:lnTo>
                    <a:lnTo>
                      <a:pt x="719138" y="601070"/>
                    </a:lnTo>
                    <a:lnTo>
                      <a:pt x="741045" y="602975"/>
                    </a:lnTo>
                    <a:lnTo>
                      <a:pt x="748665" y="607738"/>
                    </a:lnTo>
                    <a:lnTo>
                      <a:pt x="749618" y="612500"/>
                    </a:lnTo>
                    <a:lnTo>
                      <a:pt x="753428" y="623930"/>
                    </a:lnTo>
                    <a:lnTo>
                      <a:pt x="756285" y="630598"/>
                    </a:lnTo>
                    <a:lnTo>
                      <a:pt x="763905" y="637265"/>
                    </a:lnTo>
                    <a:lnTo>
                      <a:pt x="772478" y="641075"/>
                    </a:lnTo>
                    <a:lnTo>
                      <a:pt x="773430" y="644885"/>
                    </a:lnTo>
                    <a:lnTo>
                      <a:pt x="783908" y="646790"/>
                    </a:lnTo>
                    <a:cubicBezTo>
                      <a:pt x="783908" y="646790"/>
                      <a:pt x="789623" y="648695"/>
                      <a:pt x="801053" y="650600"/>
                    </a:cubicBezTo>
                    <a:cubicBezTo>
                      <a:pt x="812483" y="652505"/>
                      <a:pt x="812483" y="651553"/>
                      <a:pt x="812483" y="651553"/>
                    </a:cubicBezTo>
                    <a:lnTo>
                      <a:pt x="826770" y="651553"/>
                    </a:lnTo>
                    <a:cubicBezTo>
                      <a:pt x="826770" y="651553"/>
                      <a:pt x="835343" y="652505"/>
                      <a:pt x="840105" y="651553"/>
                    </a:cubicBezTo>
                    <a:cubicBezTo>
                      <a:pt x="844868" y="650600"/>
                      <a:pt x="848678" y="651553"/>
                      <a:pt x="848678" y="651553"/>
                    </a:cubicBezTo>
                    <a:lnTo>
                      <a:pt x="862965" y="650600"/>
                    </a:lnTo>
                    <a:lnTo>
                      <a:pt x="874395" y="650600"/>
                    </a:lnTo>
                    <a:cubicBezTo>
                      <a:pt x="874395" y="650600"/>
                      <a:pt x="882015" y="651553"/>
                      <a:pt x="887730" y="650600"/>
                    </a:cubicBezTo>
                    <a:cubicBezTo>
                      <a:pt x="893445" y="649648"/>
                      <a:pt x="896303" y="653458"/>
                      <a:pt x="896303" y="653458"/>
                    </a:cubicBezTo>
                    <a:lnTo>
                      <a:pt x="904875" y="660125"/>
                    </a:lnTo>
                    <a:lnTo>
                      <a:pt x="918210" y="662983"/>
                    </a:lnTo>
                    <a:lnTo>
                      <a:pt x="918210" y="666793"/>
                    </a:lnTo>
                    <a:lnTo>
                      <a:pt x="918210" y="673460"/>
                    </a:lnTo>
                    <a:lnTo>
                      <a:pt x="912495" y="677270"/>
                    </a:lnTo>
                    <a:cubicBezTo>
                      <a:pt x="912495" y="677270"/>
                      <a:pt x="912495" y="677270"/>
                      <a:pt x="904875" y="681080"/>
                    </a:cubicBezTo>
                    <a:lnTo>
                      <a:pt x="902018" y="684890"/>
                    </a:lnTo>
                    <a:cubicBezTo>
                      <a:pt x="902018" y="684890"/>
                      <a:pt x="897255" y="688700"/>
                      <a:pt x="896303" y="691558"/>
                    </a:cubicBezTo>
                    <a:cubicBezTo>
                      <a:pt x="894398" y="694415"/>
                      <a:pt x="896303" y="699178"/>
                      <a:pt x="894398" y="702035"/>
                    </a:cubicBezTo>
                    <a:cubicBezTo>
                      <a:pt x="892493" y="704893"/>
                      <a:pt x="894398" y="711560"/>
                      <a:pt x="894398" y="711560"/>
                    </a:cubicBezTo>
                    <a:lnTo>
                      <a:pt x="889635" y="717275"/>
                    </a:lnTo>
                    <a:lnTo>
                      <a:pt x="881063" y="720133"/>
                    </a:lnTo>
                    <a:lnTo>
                      <a:pt x="862013" y="722038"/>
                    </a:lnTo>
                    <a:cubicBezTo>
                      <a:pt x="862013" y="722038"/>
                      <a:pt x="862013" y="722038"/>
                      <a:pt x="850583" y="722038"/>
                    </a:cubicBezTo>
                    <a:cubicBezTo>
                      <a:pt x="839153" y="722038"/>
                      <a:pt x="850583" y="722038"/>
                      <a:pt x="842963" y="721085"/>
                    </a:cubicBezTo>
                    <a:cubicBezTo>
                      <a:pt x="835343" y="720133"/>
                      <a:pt x="834390" y="724895"/>
                      <a:pt x="834390" y="724895"/>
                    </a:cubicBezTo>
                    <a:cubicBezTo>
                      <a:pt x="834390" y="724895"/>
                      <a:pt x="815340" y="726800"/>
                      <a:pt x="807720" y="727753"/>
                    </a:cubicBezTo>
                    <a:cubicBezTo>
                      <a:pt x="800100" y="728705"/>
                      <a:pt x="793433" y="727753"/>
                      <a:pt x="793433" y="727753"/>
                    </a:cubicBezTo>
                    <a:cubicBezTo>
                      <a:pt x="793433" y="727753"/>
                      <a:pt x="777240" y="725848"/>
                      <a:pt x="771525" y="725848"/>
                    </a:cubicBezTo>
                    <a:cubicBezTo>
                      <a:pt x="765810" y="725848"/>
                      <a:pt x="758190" y="723943"/>
                      <a:pt x="758190" y="723943"/>
                    </a:cubicBezTo>
                    <a:lnTo>
                      <a:pt x="750570" y="722038"/>
                    </a:lnTo>
                    <a:lnTo>
                      <a:pt x="734378" y="720133"/>
                    </a:lnTo>
                    <a:lnTo>
                      <a:pt x="718185" y="715370"/>
                    </a:lnTo>
                    <a:lnTo>
                      <a:pt x="706755" y="714418"/>
                    </a:lnTo>
                    <a:cubicBezTo>
                      <a:pt x="706755" y="714418"/>
                      <a:pt x="688658" y="713465"/>
                      <a:pt x="684848" y="711560"/>
                    </a:cubicBezTo>
                    <a:cubicBezTo>
                      <a:pt x="680085" y="709655"/>
                      <a:pt x="667703" y="711560"/>
                      <a:pt x="667703" y="711560"/>
                    </a:cubicBezTo>
                    <a:cubicBezTo>
                      <a:pt x="667703" y="711560"/>
                      <a:pt x="656273" y="713465"/>
                      <a:pt x="651510" y="713465"/>
                    </a:cubicBezTo>
                    <a:cubicBezTo>
                      <a:pt x="646748" y="713465"/>
                      <a:pt x="648653" y="719180"/>
                      <a:pt x="648653" y="719180"/>
                    </a:cubicBezTo>
                    <a:cubicBezTo>
                      <a:pt x="648653" y="719180"/>
                      <a:pt x="641033" y="727753"/>
                      <a:pt x="632460" y="728705"/>
                    </a:cubicBezTo>
                    <a:cubicBezTo>
                      <a:pt x="623888" y="729658"/>
                      <a:pt x="611505" y="726800"/>
                      <a:pt x="607695" y="726800"/>
                    </a:cubicBezTo>
                    <a:cubicBezTo>
                      <a:pt x="602933" y="726800"/>
                      <a:pt x="601980" y="725848"/>
                      <a:pt x="596265" y="723943"/>
                    </a:cubicBezTo>
                    <a:cubicBezTo>
                      <a:pt x="590550" y="722038"/>
                      <a:pt x="585788" y="721085"/>
                      <a:pt x="585788" y="721085"/>
                    </a:cubicBezTo>
                    <a:lnTo>
                      <a:pt x="571500" y="717275"/>
                    </a:lnTo>
                    <a:cubicBezTo>
                      <a:pt x="571500" y="717275"/>
                      <a:pt x="565785" y="717275"/>
                      <a:pt x="560070" y="714418"/>
                    </a:cubicBezTo>
                    <a:cubicBezTo>
                      <a:pt x="554355" y="711560"/>
                      <a:pt x="548640" y="710608"/>
                      <a:pt x="548640" y="710608"/>
                    </a:cubicBezTo>
                    <a:lnTo>
                      <a:pt x="537210" y="707750"/>
                    </a:lnTo>
                    <a:cubicBezTo>
                      <a:pt x="537210" y="707750"/>
                      <a:pt x="525780" y="705845"/>
                      <a:pt x="521018" y="704893"/>
                    </a:cubicBezTo>
                    <a:cubicBezTo>
                      <a:pt x="516255" y="703940"/>
                      <a:pt x="515303" y="701083"/>
                      <a:pt x="515303" y="701083"/>
                    </a:cubicBezTo>
                    <a:lnTo>
                      <a:pt x="507683" y="697273"/>
                    </a:lnTo>
                    <a:lnTo>
                      <a:pt x="501968" y="697273"/>
                    </a:lnTo>
                    <a:lnTo>
                      <a:pt x="494348" y="694415"/>
                    </a:lnTo>
                    <a:lnTo>
                      <a:pt x="488633" y="689653"/>
                    </a:lnTo>
                    <a:cubicBezTo>
                      <a:pt x="488633" y="689653"/>
                      <a:pt x="484823" y="683938"/>
                      <a:pt x="482918" y="681080"/>
                    </a:cubicBezTo>
                    <a:cubicBezTo>
                      <a:pt x="481965" y="678223"/>
                      <a:pt x="482918" y="675365"/>
                      <a:pt x="482918" y="675365"/>
                    </a:cubicBezTo>
                    <a:lnTo>
                      <a:pt x="485775" y="662983"/>
                    </a:lnTo>
                    <a:cubicBezTo>
                      <a:pt x="485775" y="662983"/>
                      <a:pt x="485775" y="662983"/>
                      <a:pt x="484823" y="655363"/>
                    </a:cubicBezTo>
                    <a:cubicBezTo>
                      <a:pt x="483870" y="647743"/>
                      <a:pt x="484823" y="655363"/>
                      <a:pt x="480060" y="651553"/>
                    </a:cubicBezTo>
                    <a:lnTo>
                      <a:pt x="461010" y="652505"/>
                    </a:lnTo>
                    <a:lnTo>
                      <a:pt x="450533" y="652505"/>
                    </a:lnTo>
                    <a:lnTo>
                      <a:pt x="440055" y="652505"/>
                    </a:lnTo>
                    <a:lnTo>
                      <a:pt x="421005" y="651553"/>
                    </a:lnTo>
                    <a:lnTo>
                      <a:pt x="410528" y="651553"/>
                    </a:lnTo>
                    <a:lnTo>
                      <a:pt x="402908" y="650600"/>
                    </a:lnTo>
                    <a:lnTo>
                      <a:pt x="392430" y="650600"/>
                    </a:lnTo>
                    <a:lnTo>
                      <a:pt x="373380" y="650600"/>
                    </a:lnTo>
                    <a:lnTo>
                      <a:pt x="365760" y="650600"/>
                    </a:lnTo>
                    <a:lnTo>
                      <a:pt x="352425" y="650600"/>
                    </a:lnTo>
                    <a:lnTo>
                      <a:pt x="339090" y="650600"/>
                    </a:lnTo>
                    <a:lnTo>
                      <a:pt x="330518" y="653458"/>
                    </a:lnTo>
                    <a:lnTo>
                      <a:pt x="324803" y="658220"/>
                    </a:lnTo>
                    <a:lnTo>
                      <a:pt x="316230" y="659173"/>
                    </a:lnTo>
                    <a:lnTo>
                      <a:pt x="304800" y="662030"/>
                    </a:lnTo>
                    <a:lnTo>
                      <a:pt x="294323" y="662983"/>
                    </a:lnTo>
                    <a:lnTo>
                      <a:pt x="288608" y="663935"/>
                    </a:lnTo>
                    <a:lnTo>
                      <a:pt x="280988" y="667745"/>
                    </a:lnTo>
                    <a:lnTo>
                      <a:pt x="261938" y="670603"/>
                    </a:lnTo>
                    <a:lnTo>
                      <a:pt x="254318" y="671555"/>
                    </a:lnTo>
                    <a:lnTo>
                      <a:pt x="238125" y="679175"/>
                    </a:lnTo>
                    <a:lnTo>
                      <a:pt x="219075" y="674413"/>
                    </a:lnTo>
                    <a:lnTo>
                      <a:pt x="205740" y="674413"/>
                    </a:lnTo>
                    <a:lnTo>
                      <a:pt x="200025" y="678223"/>
                    </a:lnTo>
                    <a:lnTo>
                      <a:pt x="188595" y="681080"/>
                    </a:lnTo>
                    <a:cubicBezTo>
                      <a:pt x="188595" y="681080"/>
                      <a:pt x="180975" y="684890"/>
                      <a:pt x="177165" y="684890"/>
                    </a:cubicBezTo>
                    <a:cubicBezTo>
                      <a:pt x="172403" y="684890"/>
                      <a:pt x="168593" y="691558"/>
                      <a:pt x="168593" y="691558"/>
                    </a:cubicBezTo>
                    <a:cubicBezTo>
                      <a:pt x="168593" y="691558"/>
                      <a:pt x="168593" y="691558"/>
                      <a:pt x="160020" y="692510"/>
                    </a:cubicBezTo>
                    <a:cubicBezTo>
                      <a:pt x="151448" y="693463"/>
                      <a:pt x="160020" y="692510"/>
                      <a:pt x="155258" y="693463"/>
                    </a:cubicBezTo>
                    <a:cubicBezTo>
                      <a:pt x="150495" y="694415"/>
                      <a:pt x="149543" y="695368"/>
                      <a:pt x="149543" y="695368"/>
                    </a:cubicBezTo>
                    <a:lnTo>
                      <a:pt x="146685" y="701083"/>
                    </a:lnTo>
                    <a:lnTo>
                      <a:pt x="141923" y="706798"/>
                    </a:lnTo>
                    <a:lnTo>
                      <a:pt x="136208" y="711560"/>
                    </a:lnTo>
                    <a:lnTo>
                      <a:pt x="131445" y="721085"/>
                    </a:lnTo>
                    <a:lnTo>
                      <a:pt x="128588" y="729658"/>
                    </a:lnTo>
                    <a:lnTo>
                      <a:pt x="122873" y="740135"/>
                    </a:lnTo>
                    <a:lnTo>
                      <a:pt x="115253" y="744898"/>
                    </a:lnTo>
                    <a:lnTo>
                      <a:pt x="104775" y="749660"/>
                    </a:lnTo>
                    <a:lnTo>
                      <a:pt x="97155" y="746803"/>
                    </a:lnTo>
                    <a:lnTo>
                      <a:pt x="81915" y="754423"/>
                    </a:lnTo>
                    <a:lnTo>
                      <a:pt x="76200" y="756328"/>
                    </a:lnTo>
                    <a:cubicBezTo>
                      <a:pt x="76200" y="756328"/>
                      <a:pt x="71438" y="760138"/>
                      <a:pt x="68580" y="762995"/>
                    </a:cubicBezTo>
                    <a:cubicBezTo>
                      <a:pt x="65723" y="765853"/>
                      <a:pt x="63818" y="767758"/>
                      <a:pt x="63818" y="767758"/>
                    </a:cubicBezTo>
                    <a:cubicBezTo>
                      <a:pt x="63818" y="767758"/>
                      <a:pt x="60960" y="774425"/>
                      <a:pt x="56198" y="781093"/>
                    </a:cubicBezTo>
                    <a:cubicBezTo>
                      <a:pt x="51435" y="787760"/>
                      <a:pt x="56198" y="781093"/>
                      <a:pt x="51435" y="782045"/>
                    </a:cubicBezTo>
                    <a:cubicBezTo>
                      <a:pt x="46673" y="782998"/>
                      <a:pt x="45720" y="786808"/>
                      <a:pt x="40958" y="787760"/>
                    </a:cubicBezTo>
                    <a:cubicBezTo>
                      <a:pt x="36195" y="788713"/>
                      <a:pt x="35243" y="789665"/>
                      <a:pt x="25718" y="794428"/>
                    </a:cubicBezTo>
                    <a:lnTo>
                      <a:pt x="18098" y="802048"/>
                    </a:lnTo>
                    <a:lnTo>
                      <a:pt x="12383" y="815383"/>
                    </a:lnTo>
                    <a:lnTo>
                      <a:pt x="6668" y="823955"/>
                    </a:lnTo>
                    <a:lnTo>
                      <a:pt x="6668" y="834433"/>
                    </a:lnTo>
                    <a:lnTo>
                      <a:pt x="6668" y="839195"/>
                    </a:lnTo>
                    <a:lnTo>
                      <a:pt x="6668" y="850625"/>
                    </a:lnTo>
                    <a:lnTo>
                      <a:pt x="9525" y="864913"/>
                    </a:lnTo>
                    <a:lnTo>
                      <a:pt x="9525" y="874438"/>
                    </a:lnTo>
                    <a:cubicBezTo>
                      <a:pt x="9525" y="874438"/>
                      <a:pt x="10478" y="885868"/>
                      <a:pt x="7620" y="888725"/>
                    </a:cubicBezTo>
                    <a:cubicBezTo>
                      <a:pt x="4763" y="891583"/>
                      <a:pt x="5715" y="894440"/>
                      <a:pt x="5715" y="894440"/>
                    </a:cubicBezTo>
                    <a:lnTo>
                      <a:pt x="2858" y="908728"/>
                    </a:lnTo>
                    <a:lnTo>
                      <a:pt x="0" y="919205"/>
                    </a:lnTo>
                    <a:lnTo>
                      <a:pt x="5715" y="929683"/>
                    </a:lnTo>
                    <a:lnTo>
                      <a:pt x="8573" y="938255"/>
                    </a:lnTo>
                    <a:lnTo>
                      <a:pt x="24765" y="944923"/>
                    </a:lnTo>
                    <a:lnTo>
                      <a:pt x="32385" y="949685"/>
                    </a:lnTo>
                    <a:lnTo>
                      <a:pt x="42863" y="961115"/>
                    </a:lnTo>
                    <a:lnTo>
                      <a:pt x="56198" y="968735"/>
                    </a:lnTo>
                    <a:lnTo>
                      <a:pt x="61913" y="973498"/>
                    </a:lnTo>
                    <a:lnTo>
                      <a:pt x="75248" y="980165"/>
                    </a:lnTo>
                    <a:lnTo>
                      <a:pt x="86678" y="985880"/>
                    </a:lnTo>
                    <a:lnTo>
                      <a:pt x="95250" y="993500"/>
                    </a:lnTo>
                    <a:lnTo>
                      <a:pt x="114300" y="1001120"/>
                    </a:lnTo>
                    <a:lnTo>
                      <a:pt x="120015" y="1009693"/>
                    </a:lnTo>
                    <a:lnTo>
                      <a:pt x="137160" y="1020170"/>
                    </a:lnTo>
                    <a:lnTo>
                      <a:pt x="147638" y="1026838"/>
                    </a:lnTo>
                    <a:cubicBezTo>
                      <a:pt x="147638" y="1026838"/>
                      <a:pt x="153353" y="1026838"/>
                      <a:pt x="165735" y="1026838"/>
                    </a:cubicBezTo>
                    <a:cubicBezTo>
                      <a:pt x="177165" y="1026838"/>
                      <a:pt x="176213" y="1025885"/>
                      <a:pt x="184785" y="1023028"/>
                    </a:cubicBezTo>
                    <a:lnTo>
                      <a:pt x="190500" y="1021123"/>
                    </a:lnTo>
                    <a:lnTo>
                      <a:pt x="201930" y="1019218"/>
                    </a:lnTo>
                    <a:lnTo>
                      <a:pt x="207645" y="1019218"/>
                    </a:lnTo>
                    <a:lnTo>
                      <a:pt x="216218" y="1019218"/>
                    </a:lnTo>
                    <a:lnTo>
                      <a:pt x="224790" y="1019218"/>
                    </a:lnTo>
                    <a:lnTo>
                      <a:pt x="233363" y="1021123"/>
                    </a:lnTo>
                    <a:lnTo>
                      <a:pt x="249555" y="1021123"/>
                    </a:lnTo>
                    <a:lnTo>
                      <a:pt x="258128" y="1020170"/>
                    </a:lnTo>
                    <a:cubicBezTo>
                      <a:pt x="258128" y="1020170"/>
                      <a:pt x="263843" y="1020170"/>
                      <a:pt x="279083" y="1018265"/>
                    </a:cubicBezTo>
                    <a:cubicBezTo>
                      <a:pt x="293370" y="1016360"/>
                      <a:pt x="289560" y="1016360"/>
                      <a:pt x="295275" y="1013503"/>
                    </a:cubicBezTo>
                    <a:cubicBezTo>
                      <a:pt x="295275" y="1013503"/>
                      <a:pt x="303848" y="1009693"/>
                      <a:pt x="306705" y="1006835"/>
                    </a:cubicBezTo>
                    <a:cubicBezTo>
                      <a:pt x="309563" y="1003978"/>
                      <a:pt x="314325" y="1003025"/>
                      <a:pt x="314325" y="1003025"/>
                    </a:cubicBezTo>
                    <a:lnTo>
                      <a:pt x="320040" y="1002073"/>
                    </a:lnTo>
                    <a:lnTo>
                      <a:pt x="334328" y="1002073"/>
                    </a:lnTo>
                    <a:lnTo>
                      <a:pt x="347663" y="1003978"/>
                    </a:lnTo>
                    <a:lnTo>
                      <a:pt x="358140" y="1005883"/>
                    </a:lnTo>
                    <a:lnTo>
                      <a:pt x="366713" y="1006835"/>
                    </a:lnTo>
                    <a:lnTo>
                      <a:pt x="377190" y="1008740"/>
                    </a:lnTo>
                    <a:lnTo>
                      <a:pt x="385763" y="1014455"/>
                    </a:lnTo>
                    <a:lnTo>
                      <a:pt x="394335" y="1021123"/>
                    </a:lnTo>
                    <a:lnTo>
                      <a:pt x="404813" y="1023980"/>
                    </a:lnTo>
                    <a:lnTo>
                      <a:pt x="412433" y="1025885"/>
                    </a:lnTo>
                    <a:lnTo>
                      <a:pt x="429578" y="1027790"/>
                    </a:lnTo>
                    <a:lnTo>
                      <a:pt x="437198" y="1027790"/>
                    </a:lnTo>
                    <a:lnTo>
                      <a:pt x="450533" y="1030648"/>
                    </a:lnTo>
                    <a:lnTo>
                      <a:pt x="451485" y="1036363"/>
                    </a:lnTo>
                    <a:cubicBezTo>
                      <a:pt x="451485" y="1036363"/>
                      <a:pt x="452438" y="1043030"/>
                      <a:pt x="451485" y="1045888"/>
                    </a:cubicBezTo>
                    <a:cubicBezTo>
                      <a:pt x="449580" y="1048745"/>
                      <a:pt x="452438" y="1050650"/>
                      <a:pt x="451485" y="1055413"/>
                    </a:cubicBezTo>
                    <a:cubicBezTo>
                      <a:pt x="449580" y="1060175"/>
                      <a:pt x="451485" y="1066843"/>
                      <a:pt x="451485" y="1066843"/>
                    </a:cubicBezTo>
                    <a:lnTo>
                      <a:pt x="449580" y="1076368"/>
                    </a:lnTo>
                    <a:lnTo>
                      <a:pt x="447675" y="1087798"/>
                    </a:lnTo>
                    <a:lnTo>
                      <a:pt x="447675" y="1095418"/>
                    </a:lnTo>
                    <a:lnTo>
                      <a:pt x="450533" y="1102085"/>
                    </a:lnTo>
                    <a:lnTo>
                      <a:pt x="458153" y="1108753"/>
                    </a:lnTo>
                    <a:lnTo>
                      <a:pt x="465773" y="1112563"/>
                    </a:lnTo>
                    <a:lnTo>
                      <a:pt x="474345" y="1113515"/>
                    </a:lnTo>
                    <a:lnTo>
                      <a:pt x="487680" y="1123040"/>
                    </a:lnTo>
                    <a:lnTo>
                      <a:pt x="493395" y="1129708"/>
                    </a:lnTo>
                    <a:lnTo>
                      <a:pt x="499110" y="1134470"/>
                    </a:lnTo>
                    <a:cubicBezTo>
                      <a:pt x="499110" y="1134470"/>
                      <a:pt x="504825" y="1138280"/>
                      <a:pt x="507683" y="1150663"/>
                    </a:cubicBezTo>
                    <a:cubicBezTo>
                      <a:pt x="510540" y="1163045"/>
                      <a:pt x="507683" y="1150663"/>
                      <a:pt x="510540" y="1157330"/>
                    </a:cubicBezTo>
                    <a:cubicBezTo>
                      <a:pt x="513398" y="1163998"/>
                      <a:pt x="507683" y="1165903"/>
                      <a:pt x="507683" y="1165903"/>
                    </a:cubicBezTo>
                    <a:cubicBezTo>
                      <a:pt x="507683" y="1165903"/>
                      <a:pt x="507683" y="1170665"/>
                      <a:pt x="507683" y="1173523"/>
                    </a:cubicBezTo>
                    <a:cubicBezTo>
                      <a:pt x="507683" y="1176380"/>
                      <a:pt x="518160" y="1182095"/>
                      <a:pt x="518160" y="1182095"/>
                    </a:cubicBezTo>
                    <a:lnTo>
                      <a:pt x="525780" y="1185905"/>
                    </a:lnTo>
                    <a:lnTo>
                      <a:pt x="526733" y="1192573"/>
                    </a:lnTo>
                    <a:lnTo>
                      <a:pt x="523875" y="1198288"/>
                    </a:lnTo>
                    <a:lnTo>
                      <a:pt x="519113" y="1203050"/>
                    </a:lnTo>
                    <a:cubicBezTo>
                      <a:pt x="519113" y="1203050"/>
                      <a:pt x="517208" y="1210670"/>
                      <a:pt x="511493" y="1214480"/>
                    </a:cubicBezTo>
                    <a:cubicBezTo>
                      <a:pt x="505778" y="1218290"/>
                      <a:pt x="511493" y="1214480"/>
                      <a:pt x="506730" y="1219243"/>
                    </a:cubicBezTo>
                    <a:cubicBezTo>
                      <a:pt x="506730" y="1219243"/>
                      <a:pt x="506730" y="1224958"/>
                      <a:pt x="506730" y="1227815"/>
                    </a:cubicBezTo>
                    <a:cubicBezTo>
                      <a:pt x="506730" y="1230673"/>
                      <a:pt x="499110" y="1233530"/>
                      <a:pt x="499110" y="1233530"/>
                    </a:cubicBezTo>
                    <a:cubicBezTo>
                      <a:pt x="499110" y="1233530"/>
                      <a:pt x="496253" y="1243055"/>
                      <a:pt x="491490" y="1245913"/>
                    </a:cubicBezTo>
                    <a:cubicBezTo>
                      <a:pt x="486728" y="1248770"/>
                      <a:pt x="491490" y="1250675"/>
                      <a:pt x="491490" y="1250675"/>
                    </a:cubicBezTo>
                    <a:lnTo>
                      <a:pt x="494348" y="1260200"/>
                    </a:lnTo>
                    <a:cubicBezTo>
                      <a:pt x="494348" y="1260200"/>
                      <a:pt x="497205" y="1273535"/>
                      <a:pt x="495300" y="1280203"/>
                    </a:cubicBezTo>
                    <a:lnTo>
                      <a:pt x="501968" y="1290680"/>
                    </a:lnTo>
                    <a:lnTo>
                      <a:pt x="500063" y="1304015"/>
                    </a:lnTo>
                    <a:lnTo>
                      <a:pt x="502920" y="1310683"/>
                    </a:lnTo>
                    <a:lnTo>
                      <a:pt x="514350" y="1320208"/>
                    </a:lnTo>
                    <a:lnTo>
                      <a:pt x="525780" y="1326875"/>
                    </a:lnTo>
                    <a:cubicBezTo>
                      <a:pt x="525780" y="1326875"/>
                      <a:pt x="531495" y="1333543"/>
                      <a:pt x="534353" y="1337353"/>
                    </a:cubicBezTo>
                    <a:cubicBezTo>
                      <a:pt x="537210" y="1341163"/>
                      <a:pt x="535305" y="1342115"/>
                      <a:pt x="535305" y="1342115"/>
                    </a:cubicBezTo>
                    <a:lnTo>
                      <a:pt x="533400" y="1349735"/>
                    </a:lnTo>
                    <a:lnTo>
                      <a:pt x="533400" y="1360213"/>
                    </a:lnTo>
                    <a:lnTo>
                      <a:pt x="534353" y="1369738"/>
                    </a:lnTo>
                    <a:lnTo>
                      <a:pt x="547688" y="1380215"/>
                    </a:lnTo>
                    <a:lnTo>
                      <a:pt x="553403" y="1388788"/>
                    </a:lnTo>
                    <a:lnTo>
                      <a:pt x="559118" y="1393550"/>
                    </a:lnTo>
                    <a:lnTo>
                      <a:pt x="563880" y="1398313"/>
                    </a:lnTo>
                    <a:lnTo>
                      <a:pt x="573405" y="1410695"/>
                    </a:lnTo>
                    <a:lnTo>
                      <a:pt x="576263" y="1419268"/>
                    </a:lnTo>
                    <a:lnTo>
                      <a:pt x="580073" y="1425935"/>
                    </a:lnTo>
                    <a:lnTo>
                      <a:pt x="588645" y="1436413"/>
                    </a:lnTo>
                    <a:lnTo>
                      <a:pt x="594360" y="1442128"/>
                    </a:lnTo>
                    <a:lnTo>
                      <a:pt x="597218" y="1451653"/>
                    </a:lnTo>
                    <a:lnTo>
                      <a:pt x="597218" y="1458320"/>
                    </a:lnTo>
                    <a:lnTo>
                      <a:pt x="598170" y="1464035"/>
                    </a:lnTo>
                    <a:lnTo>
                      <a:pt x="601980" y="1473560"/>
                    </a:lnTo>
                    <a:lnTo>
                      <a:pt x="612458" y="1473560"/>
                    </a:lnTo>
                    <a:lnTo>
                      <a:pt x="618173" y="1473560"/>
                    </a:lnTo>
                    <a:lnTo>
                      <a:pt x="628650" y="1473560"/>
                    </a:lnTo>
                    <a:lnTo>
                      <a:pt x="639128" y="1473560"/>
                    </a:lnTo>
                    <a:lnTo>
                      <a:pt x="650558" y="1472608"/>
                    </a:lnTo>
                    <a:cubicBezTo>
                      <a:pt x="650558" y="1472608"/>
                      <a:pt x="650558" y="1472608"/>
                      <a:pt x="656273" y="1470703"/>
                    </a:cubicBezTo>
                    <a:cubicBezTo>
                      <a:pt x="661988" y="1468798"/>
                      <a:pt x="667703" y="1469750"/>
                      <a:pt x="667703" y="1469750"/>
                    </a:cubicBezTo>
                    <a:lnTo>
                      <a:pt x="681038" y="1468798"/>
                    </a:lnTo>
                    <a:lnTo>
                      <a:pt x="698183" y="1468798"/>
                    </a:lnTo>
                    <a:lnTo>
                      <a:pt x="719138" y="1466893"/>
                    </a:lnTo>
                    <a:lnTo>
                      <a:pt x="746760" y="1462130"/>
                    </a:lnTo>
                    <a:lnTo>
                      <a:pt x="764858" y="1456415"/>
                    </a:lnTo>
                    <a:cubicBezTo>
                      <a:pt x="764858" y="1456415"/>
                      <a:pt x="773430" y="1452605"/>
                      <a:pt x="775335" y="1447843"/>
                    </a:cubicBezTo>
                    <a:cubicBezTo>
                      <a:pt x="777240" y="1443080"/>
                      <a:pt x="781050" y="1444033"/>
                      <a:pt x="781050" y="1444033"/>
                    </a:cubicBezTo>
                    <a:lnTo>
                      <a:pt x="786765" y="1440223"/>
                    </a:lnTo>
                    <a:cubicBezTo>
                      <a:pt x="786765" y="1440223"/>
                      <a:pt x="795338" y="1438318"/>
                      <a:pt x="802005" y="1434508"/>
                    </a:cubicBezTo>
                    <a:cubicBezTo>
                      <a:pt x="807720" y="1430698"/>
                      <a:pt x="810578" y="1430698"/>
                      <a:pt x="810578" y="1427840"/>
                    </a:cubicBezTo>
                    <a:cubicBezTo>
                      <a:pt x="810578" y="1424983"/>
                      <a:pt x="815340" y="1424030"/>
                      <a:pt x="815340" y="1424030"/>
                    </a:cubicBezTo>
                    <a:cubicBezTo>
                      <a:pt x="815340" y="1424030"/>
                      <a:pt x="820103" y="1418315"/>
                      <a:pt x="821055" y="1415458"/>
                    </a:cubicBezTo>
                    <a:cubicBezTo>
                      <a:pt x="822960" y="1412600"/>
                      <a:pt x="826770" y="1412600"/>
                      <a:pt x="826770" y="1412600"/>
                    </a:cubicBezTo>
                    <a:cubicBezTo>
                      <a:pt x="826770" y="1412600"/>
                      <a:pt x="826770" y="1412600"/>
                      <a:pt x="834390" y="1406885"/>
                    </a:cubicBezTo>
                    <a:cubicBezTo>
                      <a:pt x="842010" y="1401170"/>
                      <a:pt x="834390" y="1406885"/>
                      <a:pt x="836295" y="1404028"/>
                    </a:cubicBezTo>
                    <a:cubicBezTo>
                      <a:pt x="838200" y="1401170"/>
                      <a:pt x="838200" y="1395455"/>
                      <a:pt x="839153" y="1389740"/>
                    </a:cubicBezTo>
                    <a:cubicBezTo>
                      <a:pt x="841058" y="1384025"/>
                      <a:pt x="839153" y="1384978"/>
                      <a:pt x="839153" y="1381168"/>
                    </a:cubicBezTo>
                    <a:cubicBezTo>
                      <a:pt x="839153" y="1377358"/>
                      <a:pt x="843915" y="1373548"/>
                      <a:pt x="843915" y="1370690"/>
                    </a:cubicBezTo>
                    <a:cubicBezTo>
                      <a:pt x="843915" y="1367833"/>
                      <a:pt x="859155" y="1365928"/>
                      <a:pt x="859155" y="1365928"/>
                    </a:cubicBezTo>
                    <a:lnTo>
                      <a:pt x="864870" y="1364975"/>
                    </a:lnTo>
                    <a:lnTo>
                      <a:pt x="870585" y="1364023"/>
                    </a:lnTo>
                    <a:lnTo>
                      <a:pt x="881063" y="1357355"/>
                    </a:lnTo>
                    <a:cubicBezTo>
                      <a:pt x="881063" y="1357355"/>
                      <a:pt x="881063" y="1357355"/>
                      <a:pt x="880110" y="1354498"/>
                    </a:cubicBezTo>
                    <a:cubicBezTo>
                      <a:pt x="879158" y="1351640"/>
                      <a:pt x="882015" y="1350688"/>
                      <a:pt x="880110" y="1347830"/>
                    </a:cubicBezTo>
                    <a:cubicBezTo>
                      <a:pt x="879158" y="1344973"/>
                      <a:pt x="882015" y="1344020"/>
                      <a:pt x="880110" y="1338305"/>
                    </a:cubicBezTo>
                    <a:cubicBezTo>
                      <a:pt x="879158" y="1332590"/>
                      <a:pt x="882015" y="1334495"/>
                      <a:pt x="880110" y="1329733"/>
                    </a:cubicBezTo>
                    <a:cubicBezTo>
                      <a:pt x="879158" y="1324970"/>
                      <a:pt x="882015" y="1325923"/>
                      <a:pt x="880110" y="1317350"/>
                    </a:cubicBezTo>
                    <a:cubicBezTo>
                      <a:pt x="879158" y="1308778"/>
                      <a:pt x="884873" y="1302110"/>
                      <a:pt x="884873" y="1302110"/>
                    </a:cubicBezTo>
                    <a:lnTo>
                      <a:pt x="884873" y="1298300"/>
                    </a:lnTo>
                    <a:cubicBezTo>
                      <a:pt x="884873" y="1298300"/>
                      <a:pt x="897255" y="1290680"/>
                      <a:pt x="902970" y="1287823"/>
                    </a:cubicBezTo>
                    <a:lnTo>
                      <a:pt x="921068" y="1278298"/>
                    </a:lnTo>
                    <a:lnTo>
                      <a:pt x="929640" y="1275440"/>
                    </a:lnTo>
                    <a:lnTo>
                      <a:pt x="935355" y="1272583"/>
                    </a:lnTo>
                    <a:lnTo>
                      <a:pt x="945833" y="1270678"/>
                    </a:lnTo>
                    <a:lnTo>
                      <a:pt x="954405" y="1267820"/>
                    </a:lnTo>
                    <a:lnTo>
                      <a:pt x="962978" y="1264963"/>
                    </a:lnTo>
                    <a:lnTo>
                      <a:pt x="970598" y="1257343"/>
                    </a:lnTo>
                    <a:cubicBezTo>
                      <a:pt x="970598" y="1257343"/>
                      <a:pt x="975360" y="1247818"/>
                      <a:pt x="975360" y="1243055"/>
                    </a:cubicBezTo>
                    <a:cubicBezTo>
                      <a:pt x="975360" y="1238293"/>
                      <a:pt x="977265" y="1231625"/>
                      <a:pt x="975360" y="1227815"/>
                    </a:cubicBezTo>
                    <a:cubicBezTo>
                      <a:pt x="974408" y="1224005"/>
                      <a:pt x="977265" y="1223053"/>
                      <a:pt x="975360" y="1219243"/>
                    </a:cubicBezTo>
                    <a:cubicBezTo>
                      <a:pt x="974408" y="1215433"/>
                      <a:pt x="977265" y="1207813"/>
                      <a:pt x="975360" y="1204955"/>
                    </a:cubicBezTo>
                    <a:cubicBezTo>
                      <a:pt x="974408" y="1202098"/>
                      <a:pt x="975360" y="1193525"/>
                      <a:pt x="975360" y="1193525"/>
                    </a:cubicBezTo>
                    <a:cubicBezTo>
                      <a:pt x="975360" y="1193525"/>
                      <a:pt x="966788" y="1184000"/>
                      <a:pt x="963930" y="1181143"/>
                    </a:cubicBezTo>
                    <a:cubicBezTo>
                      <a:pt x="961073" y="1178285"/>
                      <a:pt x="963930" y="1174475"/>
                      <a:pt x="961073" y="1170665"/>
                    </a:cubicBezTo>
                    <a:cubicBezTo>
                      <a:pt x="958215" y="1166855"/>
                      <a:pt x="962978" y="1165903"/>
                      <a:pt x="960120" y="1159235"/>
                    </a:cubicBezTo>
                    <a:cubicBezTo>
                      <a:pt x="957263" y="1152568"/>
                      <a:pt x="962025" y="1154473"/>
                      <a:pt x="960120" y="1145900"/>
                    </a:cubicBezTo>
                    <a:cubicBezTo>
                      <a:pt x="959168" y="1137328"/>
                      <a:pt x="960120" y="1132565"/>
                      <a:pt x="960120" y="1132565"/>
                    </a:cubicBezTo>
                    <a:lnTo>
                      <a:pt x="965835" y="1121135"/>
                    </a:lnTo>
                    <a:lnTo>
                      <a:pt x="970598" y="1111610"/>
                    </a:lnTo>
                    <a:lnTo>
                      <a:pt x="985838" y="1100180"/>
                    </a:lnTo>
                    <a:lnTo>
                      <a:pt x="1001078" y="1089703"/>
                    </a:lnTo>
                    <a:cubicBezTo>
                      <a:pt x="1001078" y="1089703"/>
                      <a:pt x="1009650" y="1086845"/>
                      <a:pt x="1011555" y="1083988"/>
                    </a:cubicBezTo>
                    <a:cubicBezTo>
                      <a:pt x="1013460" y="1081130"/>
                      <a:pt x="1020128" y="1080178"/>
                      <a:pt x="1022985" y="1077320"/>
                    </a:cubicBezTo>
                    <a:cubicBezTo>
                      <a:pt x="1025843" y="1074463"/>
                      <a:pt x="1033463" y="1072558"/>
                      <a:pt x="1033463" y="1072558"/>
                    </a:cubicBezTo>
                    <a:lnTo>
                      <a:pt x="1051560" y="1063033"/>
                    </a:lnTo>
                    <a:lnTo>
                      <a:pt x="1063943" y="1055413"/>
                    </a:lnTo>
                    <a:lnTo>
                      <a:pt x="1072515" y="1049698"/>
                    </a:lnTo>
                    <a:lnTo>
                      <a:pt x="1094423" y="1042078"/>
                    </a:lnTo>
                    <a:lnTo>
                      <a:pt x="1115378" y="1027790"/>
                    </a:lnTo>
                    <a:lnTo>
                      <a:pt x="1123950" y="1018265"/>
                    </a:lnTo>
                    <a:lnTo>
                      <a:pt x="1125855" y="1011598"/>
                    </a:lnTo>
                    <a:lnTo>
                      <a:pt x="1136333" y="1002073"/>
                    </a:lnTo>
                    <a:lnTo>
                      <a:pt x="1139190" y="997310"/>
                    </a:lnTo>
                    <a:lnTo>
                      <a:pt x="1154430" y="975403"/>
                    </a:lnTo>
                    <a:cubicBezTo>
                      <a:pt x="1154430" y="975403"/>
                      <a:pt x="1157288" y="966830"/>
                      <a:pt x="1156335" y="963973"/>
                    </a:cubicBezTo>
                    <a:cubicBezTo>
                      <a:pt x="1155383" y="961115"/>
                      <a:pt x="1158240" y="958258"/>
                      <a:pt x="1158240" y="958258"/>
                    </a:cubicBezTo>
                    <a:lnTo>
                      <a:pt x="1160145" y="951590"/>
                    </a:lnTo>
                    <a:lnTo>
                      <a:pt x="1141095" y="955400"/>
                    </a:lnTo>
                    <a:lnTo>
                      <a:pt x="1127760" y="955400"/>
                    </a:lnTo>
                    <a:lnTo>
                      <a:pt x="1116330" y="956353"/>
                    </a:lnTo>
                    <a:cubicBezTo>
                      <a:pt x="1116330" y="956353"/>
                      <a:pt x="1102995" y="956353"/>
                      <a:pt x="1095375" y="955400"/>
                    </a:cubicBezTo>
                    <a:cubicBezTo>
                      <a:pt x="1087755" y="954448"/>
                      <a:pt x="1089660" y="955400"/>
                      <a:pt x="1089660" y="955400"/>
                    </a:cubicBezTo>
                    <a:lnTo>
                      <a:pt x="1073468" y="956353"/>
                    </a:lnTo>
                    <a:lnTo>
                      <a:pt x="1067753" y="957305"/>
                    </a:lnTo>
                    <a:lnTo>
                      <a:pt x="1053465" y="957305"/>
                    </a:lnTo>
                    <a:cubicBezTo>
                      <a:pt x="1053465" y="957305"/>
                      <a:pt x="1047750" y="957305"/>
                      <a:pt x="1042035" y="953495"/>
                    </a:cubicBezTo>
                    <a:cubicBezTo>
                      <a:pt x="1042035" y="953495"/>
                      <a:pt x="1036320" y="951590"/>
                      <a:pt x="1030605" y="946828"/>
                    </a:cubicBezTo>
                    <a:cubicBezTo>
                      <a:pt x="1024890" y="942065"/>
                      <a:pt x="1030605" y="946828"/>
                      <a:pt x="1027748" y="943018"/>
                    </a:cubicBezTo>
                    <a:cubicBezTo>
                      <a:pt x="1024890" y="939208"/>
                      <a:pt x="1022033" y="936350"/>
                      <a:pt x="1021080" y="933493"/>
                    </a:cubicBezTo>
                    <a:cubicBezTo>
                      <a:pt x="1020128" y="930635"/>
                      <a:pt x="1004888" y="923968"/>
                      <a:pt x="1004888" y="923968"/>
                    </a:cubicBezTo>
                    <a:lnTo>
                      <a:pt x="993458" y="921110"/>
                    </a:lnTo>
                    <a:lnTo>
                      <a:pt x="984885" y="912538"/>
                    </a:lnTo>
                    <a:lnTo>
                      <a:pt x="976313" y="908728"/>
                    </a:lnTo>
                    <a:lnTo>
                      <a:pt x="963930" y="908728"/>
                    </a:lnTo>
                    <a:cubicBezTo>
                      <a:pt x="963930" y="908728"/>
                      <a:pt x="956310" y="900155"/>
                      <a:pt x="953453" y="896345"/>
                    </a:cubicBezTo>
                    <a:cubicBezTo>
                      <a:pt x="950595" y="892535"/>
                      <a:pt x="949643" y="885868"/>
                      <a:pt x="949643" y="885868"/>
                    </a:cubicBezTo>
                    <a:lnTo>
                      <a:pt x="942975" y="872533"/>
                    </a:lnTo>
                    <a:lnTo>
                      <a:pt x="934403" y="862055"/>
                    </a:lnTo>
                    <a:lnTo>
                      <a:pt x="930593" y="847768"/>
                    </a:lnTo>
                    <a:lnTo>
                      <a:pt x="924878" y="838243"/>
                    </a:lnTo>
                    <a:lnTo>
                      <a:pt x="917258" y="833480"/>
                    </a:lnTo>
                    <a:lnTo>
                      <a:pt x="901065" y="820145"/>
                    </a:lnTo>
                    <a:lnTo>
                      <a:pt x="893445" y="815383"/>
                    </a:lnTo>
                    <a:lnTo>
                      <a:pt x="884873" y="812525"/>
                    </a:lnTo>
                    <a:cubicBezTo>
                      <a:pt x="884873" y="812525"/>
                      <a:pt x="882015" y="802048"/>
                      <a:pt x="881063" y="799190"/>
                    </a:cubicBezTo>
                    <a:cubicBezTo>
                      <a:pt x="880110" y="796333"/>
                      <a:pt x="882968" y="790618"/>
                      <a:pt x="882968" y="790618"/>
                    </a:cubicBezTo>
                    <a:cubicBezTo>
                      <a:pt x="882968" y="790618"/>
                      <a:pt x="882968" y="781093"/>
                      <a:pt x="880110" y="778235"/>
                    </a:cubicBezTo>
                    <a:cubicBezTo>
                      <a:pt x="877253" y="775378"/>
                      <a:pt x="880110" y="774425"/>
                      <a:pt x="880110" y="774425"/>
                    </a:cubicBezTo>
                    <a:cubicBezTo>
                      <a:pt x="880110" y="774425"/>
                      <a:pt x="882015" y="769663"/>
                      <a:pt x="880110" y="766805"/>
                    </a:cubicBezTo>
                    <a:cubicBezTo>
                      <a:pt x="879158" y="763948"/>
                      <a:pt x="884873" y="761090"/>
                      <a:pt x="884873" y="761090"/>
                    </a:cubicBezTo>
                    <a:lnTo>
                      <a:pt x="895350" y="761090"/>
                    </a:lnTo>
                    <a:lnTo>
                      <a:pt x="905828" y="762043"/>
                    </a:lnTo>
                    <a:lnTo>
                      <a:pt x="916305" y="767758"/>
                    </a:lnTo>
                    <a:lnTo>
                      <a:pt x="921068" y="773473"/>
                    </a:lnTo>
                    <a:lnTo>
                      <a:pt x="924878" y="779188"/>
                    </a:lnTo>
                    <a:lnTo>
                      <a:pt x="930593" y="783950"/>
                    </a:lnTo>
                    <a:lnTo>
                      <a:pt x="930593" y="790618"/>
                    </a:lnTo>
                    <a:lnTo>
                      <a:pt x="930593" y="798238"/>
                    </a:lnTo>
                    <a:lnTo>
                      <a:pt x="944880" y="814430"/>
                    </a:lnTo>
                    <a:lnTo>
                      <a:pt x="956310" y="831575"/>
                    </a:lnTo>
                    <a:lnTo>
                      <a:pt x="973455" y="843958"/>
                    </a:lnTo>
                    <a:lnTo>
                      <a:pt x="990600" y="853483"/>
                    </a:lnTo>
                    <a:lnTo>
                      <a:pt x="993458" y="864913"/>
                    </a:lnTo>
                    <a:lnTo>
                      <a:pt x="1000125" y="875390"/>
                    </a:lnTo>
                    <a:lnTo>
                      <a:pt x="1011555" y="883963"/>
                    </a:lnTo>
                    <a:lnTo>
                      <a:pt x="1027748" y="893488"/>
                    </a:lnTo>
                    <a:lnTo>
                      <a:pt x="1031558" y="901108"/>
                    </a:lnTo>
                    <a:lnTo>
                      <a:pt x="1032510" y="913490"/>
                    </a:lnTo>
                    <a:lnTo>
                      <a:pt x="1033463" y="921110"/>
                    </a:lnTo>
                    <a:lnTo>
                      <a:pt x="1037273" y="927778"/>
                    </a:lnTo>
                    <a:lnTo>
                      <a:pt x="1042035" y="931588"/>
                    </a:lnTo>
                    <a:lnTo>
                      <a:pt x="1053465" y="935398"/>
                    </a:lnTo>
                    <a:lnTo>
                      <a:pt x="1061085" y="936350"/>
                    </a:lnTo>
                    <a:lnTo>
                      <a:pt x="1075373" y="936350"/>
                    </a:lnTo>
                    <a:lnTo>
                      <a:pt x="1086803" y="935398"/>
                    </a:lnTo>
                    <a:lnTo>
                      <a:pt x="1101090" y="934445"/>
                    </a:lnTo>
                    <a:cubicBezTo>
                      <a:pt x="1101090" y="934445"/>
                      <a:pt x="1109663" y="934445"/>
                      <a:pt x="1115378" y="930635"/>
                    </a:cubicBezTo>
                    <a:cubicBezTo>
                      <a:pt x="1121093" y="926825"/>
                      <a:pt x="1131570" y="926825"/>
                      <a:pt x="1131570" y="926825"/>
                    </a:cubicBezTo>
                    <a:lnTo>
                      <a:pt x="1140143" y="925873"/>
                    </a:lnTo>
                    <a:cubicBezTo>
                      <a:pt x="1140143" y="925873"/>
                      <a:pt x="1145858" y="925873"/>
                      <a:pt x="1150620" y="923015"/>
                    </a:cubicBezTo>
                    <a:cubicBezTo>
                      <a:pt x="1155383" y="920158"/>
                      <a:pt x="1159193" y="920158"/>
                      <a:pt x="1163955" y="915395"/>
                    </a:cubicBezTo>
                    <a:cubicBezTo>
                      <a:pt x="1168718" y="910633"/>
                      <a:pt x="1180148" y="906823"/>
                      <a:pt x="1180148" y="906823"/>
                    </a:cubicBezTo>
                    <a:lnTo>
                      <a:pt x="1188720" y="903965"/>
                    </a:lnTo>
                    <a:lnTo>
                      <a:pt x="1212533" y="900155"/>
                    </a:lnTo>
                    <a:lnTo>
                      <a:pt x="1228725" y="895393"/>
                    </a:lnTo>
                    <a:cubicBezTo>
                      <a:pt x="1228725" y="895393"/>
                      <a:pt x="1242060" y="887773"/>
                      <a:pt x="1246823" y="882058"/>
                    </a:cubicBezTo>
                    <a:cubicBezTo>
                      <a:pt x="1251585" y="876343"/>
                      <a:pt x="1246823" y="882058"/>
                      <a:pt x="1249680" y="879200"/>
                    </a:cubicBezTo>
                    <a:cubicBezTo>
                      <a:pt x="1252538" y="876343"/>
                      <a:pt x="1263015" y="877295"/>
                      <a:pt x="1263015" y="877295"/>
                    </a:cubicBezTo>
                    <a:lnTo>
                      <a:pt x="1274445" y="872533"/>
                    </a:lnTo>
                    <a:lnTo>
                      <a:pt x="1280160" y="869675"/>
                    </a:lnTo>
                    <a:cubicBezTo>
                      <a:pt x="1280160" y="869675"/>
                      <a:pt x="1298258" y="863960"/>
                      <a:pt x="1299210" y="861103"/>
                    </a:cubicBezTo>
                    <a:cubicBezTo>
                      <a:pt x="1301115" y="858245"/>
                      <a:pt x="1303973" y="857293"/>
                      <a:pt x="1306830" y="852530"/>
                    </a:cubicBezTo>
                    <a:cubicBezTo>
                      <a:pt x="1309688" y="847768"/>
                      <a:pt x="1314450" y="846815"/>
                      <a:pt x="1315403" y="843005"/>
                    </a:cubicBezTo>
                    <a:cubicBezTo>
                      <a:pt x="1317308" y="839195"/>
                      <a:pt x="1314450" y="829670"/>
                      <a:pt x="1314450" y="829670"/>
                    </a:cubicBezTo>
                    <a:cubicBezTo>
                      <a:pt x="1314450" y="829670"/>
                      <a:pt x="1314450" y="829670"/>
                      <a:pt x="1313498" y="824908"/>
                    </a:cubicBezTo>
                    <a:cubicBezTo>
                      <a:pt x="1312545" y="820145"/>
                      <a:pt x="1313498" y="824908"/>
                      <a:pt x="1310640" y="822050"/>
                    </a:cubicBezTo>
                    <a:cubicBezTo>
                      <a:pt x="1307783" y="819193"/>
                      <a:pt x="1304925" y="817288"/>
                      <a:pt x="1304925" y="817288"/>
                    </a:cubicBezTo>
                    <a:cubicBezTo>
                      <a:pt x="1304925" y="817288"/>
                      <a:pt x="1294448" y="813478"/>
                      <a:pt x="1290638" y="813478"/>
                    </a:cubicBezTo>
                    <a:cubicBezTo>
                      <a:pt x="1285875" y="813478"/>
                      <a:pt x="1276350" y="807763"/>
                      <a:pt x="1271588" y="804905"/>
                    </a:cubicBezTo>
                    <a:cubicBezTo>
                      <a:pt x="1266825" y="802048"/>
                      <a:pt x="1271588" y="804905"/>
                      <a:pt x="1270635" y="800143"/>
                    </a:cubicBezTo>
                    <a:cubicBezTo>
                      <a:pt x="1269683" y="795380"/>
                      <a:pt x="1259205" y="795380"/>
                      <a:pt x="1259205" y="795380"/>
                    </a:cubicBezTo>
                    <a:lnTo>
                      <a:pt x="1245870" y="793475"/>
                    </a:lnTo>
                    <a:lnTo>
                      <a:pt x="1238250" y="793475"/>
                    </a:lnTo>
                    <a:lnTo>
                      <a:pt x="1232535" y="793475"/>
                    </a:lnTo>
                    <a:lnTo>
                      <a:pt x="1224915" y="793475"/>
                    </a:lnTo>
                    <a:lnTo>
                      <a:pt x="1217295" y="797285"/>
                    </a:lnTo>
                    <a:lnTo>
                      <a:pt x="1211580" y="801095"/>
                    </a:lnTo>
                    <a:lnTo>
                      <a:pt x="1203960" y="802048"/>
                    </a:lnTo>
                    <a:lnTo>
                      <a:pt x="1192530" y="798238"/>
                    </a:lnTo>
                    <a:cubicBezTo>
                      <a:pt x="1192530" y="798238"/>
                      <a:pt x="1187768" y="794428"/>
                      <a:pt x="1183958" y="793475"/>
                    </a:cubicBezTo>
                    <a:cubicBezTo>
                      <a:pt x="1179195" y="792523"/>
                      <a:pt x="1172528" y="789665"/>
                      <a:pt x="1162050" y="777283"/>
                    </a:cubicBezTo>
                    <a:cubicBezTo>
                      <a:pt x="1152525" y="764900"/>
                      <a:pt x="1162050" y="777283"/>
                      <a:pt x="1157288" y="776330"/>
                    </a:cubicBezTo>
                    <a:cubicBezTo>
                      <a:pt x="1152525" y="775378"/>
                      <a:pt x="1151573" y="772520"/>
                      <a:pt x="1148715" y="769663"/>
                    </a:cubicBezTo>
                    <a:cubicBezTo>
                      <a:pt x="1145858" y="766805"/>
                      <a:pt x="1140143" y="759185"/>
                      <a:pt x="1140143" y="759185"/>
                    </a:cubicBezTo>
                    <a:cubicBezTo>
                      <a:pt x="1140143" y="759185"/>
                      <a:pt x="1136333" y="754423"/>
                      <a:pt x="1132523" y="751565"/>
                    </a:cubicBezTo>
                    <a:cubicBezTo>
                      <a:pt x="1129665" y="748708"/>
                      <a:pt x="1126808" y="741088"/>
                      <a:pt x="1126808" y="741088"/>
                    </a:cubicBezTo>
                    <a:lnTo>
                      <a:pt x="1129665" y="733468"/>
                    </a:lnTo>
                    <a:lnTo>
                      <a:pt x="1138238" y="733468"/>
                    </a:lnTo>
                    <a:lnTo>
                      <a:pt x="1159193" y="736325"/>
                    </a:lnTo>
                    <a:lnTo>
                      <a:pt x="1167765" y="743945"/>
                    </a:lnTo>
                    <a:lnTo>
                      <a:pt x="1173480" y="748708"/>
                    </a:lnTo>
                    <a:lnTo>
                      <a:pt x="1179195" y="755375"/>
                    </a:lnTo>
                    <a:lnTo>
                      <a:pt x="1187768" y="765853"/>
                    </a:lnTo>
                    <a:lnTo>
                      <a:pt x="1193483" y="768710"/>
                    </a:lnTo>
                    <a:lnTo>
                      <a:pt x="1206818" y="774425"/>
                    </a:lnTo>
                    <a:lnTo>
                      <a:pt x="1231583" y="775378"/>
                    </a:lnTo>
                    <a:lnTo>
                      <a:pt x="1245870" y="776330"/>
                    </a:lnTo>
                    <a:lnTo>
                      <a:pt x="1259205" y="777283"/>
                    </a:lnTo>
                    <a:lnTo>
                      <a:pt x="1267778" y="781093"/>
                    </a:lnTo>
                    <a:lnTo>
                      <a:pt x="1276350" y="784903"/>
                    </a:lnTo>
                    <a:lnTo>
                      <a:pt x="1287780" y="789665"/>
                    </a:lnTo>
                    <a:lnTo>
                      <a:pt x="1298258" y="791570"/>
                    </a:lnTo>
                    <a:lnTo>
                      <a:pt x="1308735" y="793475"/>
                    </a:lnTo>
                    <a:lnTo>
                      <a:pt x="1322070" y="796333"/>
                    </a:lnTo>
                    <a:lnTo>
                      <a:pt x="1335405" y="798238"/>
                    </a:lnTo>
                    <a:lnTo>
                      <a:pt x="1357313" y="798238"/>
                    </a:lnTo>
                    <a:lnTo>
                      <a:pt x="1390650" y="798238"/>
                    </a:lnTo>
                    <a:lnTo>
                      <a:pt x="1402080" y="797285"/>
                    </a:lnTo>
                    <a:lnTo>
                      <a:pt x="1415415" y="797285"/>
                    </a:lnTo>
                    <a:lnTo>
                      <a:pt x="1434465" y="798238"/>
                    </a:lnTo>
                    <a:lnTo>
                      <a:pt x="1447800" y="803000"/>
                    </a:lnTo>
                    <a:lnTo>
                      <a:pt x="1459230" y="814430"/>
                    </a:lnTo>
                    <a:lnTo>
                      <a:pt x="1467803" y="821098"/>
                    </a:lnTo>
                    <a:lnTo>
                      <a:pt x="1482090" y="828718"/>
                    </a:lnTo>
                    <a:cubicBezTo>
                      <a:pt x="1482090" y="828718"/>
                      <a:pt x="1489710" y="833480"/>
                      <a:pt x="1495425" y="842053"/>
                    </a:cubicBezTo>
                    <a:cubicBezTo>
                      <a:pt x="1501140" y="850625"/>
                      <a:pt x="1503998" y="845863"/>
                      <a:pt x="1503998" y="845863"/>
                    </a:cubicBezTo>
                    <a:lnTo>
                      <a:pt x="1518285" y="843958"/>
                    </a:lnTo>
                    <a:lnTo>
                      <a:pt x="1524000" y="838243"/>
                    </a:lnTo>
                    <a:lnTo>
                      <a:pt x="1534478" y="837290"/>
                    </a:lnTo>
                    <a:lnTo>
                      <a:pt x="1534478" y="841100"/>
                    </a:lnTo>
                    <a:lnTo>
                      <a:pt x="1540193" y="856340"/>
                    </a:lnTo>
                    <a:cubicBezTo>
                      <a:pt x="1540193" y="856340"/>
                      <a:pt x="1546860" y="868723"/>
                      <a:pt x="1546860" y="871580"/>
                    </a:cubicBezTo>
                    <a:cubicBezTo>
                      <a:pt x="1546860" y="874438"/>
                      <a:pt x="1544955" y="884915"/>
                      <a:pt x="1544955" y="887773"/>
                    </a:cubicBezTo>
                    <a:cubicBezTo>
                      <a:pt x="1544955" y="890630"/>
                      <a:pt x="1548765" y="895393"/>
                      <a:pt x="1548765" y="895393"/>
                    </a:cubicBezTo>
                    <a:lnTo>
                      <a:pt x="1551623" y="900155"/>
                    </a:lnTo>
                    <a:lnTo>
                      <a:pt x="1564005" y="919205"/>
                    </a:lnTo>
                    <a:lnTo>
                      <a:pt x="1571625" y="923968"/>
                    </a:lnTo>
                    <a:cubicBezTo>
                      <a:pt x="1571625" y="923968"/>
                      <a:pt x="1571625" y="930635"/>
                      <a:pt x="1569720" y="933493"/>
                    </a:cubicBezTo>
                    <a:cubicBezTo>
                      <a:pt x="1567815" y="936350"/>
                      <a:pt x="1572578" y="940160"/>
                      <a:pt x="1572578" y="940160"/>
                    </a:cubicBezTo>
                    <a:lnTo>
                      <a:pt x="1578293" y="946828"/>
                    </a:lnTo>
                    <a:lnTo>
                      <a:pt x="1584960" y="958258"/>
                    </a:lnTo>
                    <a:cubicBezTo>
                      <a:pt x="1584960" y="958258"/>
                      <a:pt x="1588770" y="965878"/>
                      <a:pt x="1587818" y="970640"/>
                    </a:cubicBezTo>
                    <a:cubicBezTo>
                      <a:pt x="1585913" y="975403"/>
                      <a:pt x="1604963" y="980165"/>
                      <a:pt x="1604963" y="980165"/>
                    </a:cubicBezTo>
                    <a:cubicBezTo>
                      <a:pt x="1604963" y="980165"/>
                      <a:pt x="1610678" y="982070"/>
                      <a:pt x="1615440" y="982070"/>
                    </a:cubicBezTo>
                    <a:cubicBezTo>
                      <a:pt x="1620203" y="982070"/>
                      <a:pt x="1628775" y="982070"/>
                      <a:pt x="1628775" y="982070"/>
                    </a:cubicBezTo>
                    <a:lnTo>
                      <a:pt x="1634490" y="981118"/>
                    </a:lnTo>
                    <a:lnTo>
                      <a:pt x="1644968" y="974450"/>
                    </a:lnTo>
                    <a:cubicBezTo>
                      <a:pt x="1644968" y="974450"/>
                      <a:pt x="1657350" y="964925"/>
                      <a:pt x="1657350" y="961115"/>
                    </a:cubicBezTo>
                    <a:cubicBezTo>
                      <a:pt x="1657350" y="957305"/>
                      <a:pt x="1660208" y="957305"/>
                      <a:pt x="1660208" y="954448"/>
                    </a:cubicBezTo>
                    <a:cubicBezTo>
                      <a:pt x="1660208" y="951590"/>
                      <a:pt x="1660208" y="947780"/>
                      <a:pt x="1660208" y="943970"/>
                    </a:cubicBezTo>
                    <a:cubicBezTo>
                      <a:pt x="1660208" y="940160"/>
                      <a:pt x="1663065" y="940160"/>
                      <a:pt x="1663065" y="940160"/>
                    </a:cubicBezTo>
                    <a:cubicBezTo>
                      <a:pt x="1663065" y="940160"/>
                      <a:pt x="1667828" y="936350"/>
                      <a:pt x="1670685" y="932540"/>
                    </a:cubicBezTo>
                    <a:cubicBezTo>
                      <a:pt x="1673543" y="928730"/>
                      <a:pt x="1676400" y="922063"/>
                      <a:pt x="1676400" y="922063"/>
                    </a:cubicBezTo>
                    <a:lnTo>
                      <a:pt x="1676400" y="914443"/>
                    </a:lnTo>
                    <a:lnTo>
                      <a:pt x="1676400" y="904918"/>
                    </a:lnTo>
                    <a:lnTo>
                      <a:pt x="1686878" y="903013"/>
                    </a:lnTo>
                    <a:cubicBezTo>
                      <a:pt x="1686878" y="903013"/>
                      <a:pt x="1703070" y="895393"/>
                      <a:pt x="1710690" y="890630"/>
                    </a:cubicBezTo>
                    <a:cubicBezTo>
                      <a:pt x="1718310" y="885868"/>
                      <a:pt x="1710690" y="890630"/>
                      <a:pt x="1712595" y="886820"/>
                    </a:cubicBezTo>
                    <a:cubicBezTo>
                      <a:pt x="1714500" y="883010"/>
                      <a:pt x="1727835" y="875390"/>
                      <a:pt x="1727835" y="872533"/>
                    </a:cubicBezTo>
                    <a:cubicBezTo>
                      <a:pt x="1727835" y="869675"/>
                      <a:pt x="1744028" y="866818"/>
                      <a:pt x="1744028" y="866818"/>
                    </a:cubicBezTo>
                    <a:lnTo>
                      <a:pt x="1751648" y="862055"/>
                    </a:lnTo>
                    <a:lnTo>
                      <a:pt x="1778318" y="847768"/>
                    </a:lnTo>
                    <a:cubicBezTo>
                      <a:pt x="1778318" y="847768"/>
                      <a:pt x="1786890" y="844910"/>
                      <a:pt x="1804988" y="838243"/>
                    </a:cubicBezTo>
                    <a:cubicBezTo>
                      <a:pt x="1813560" y="835385"/>
                      <a:pt x="1816418" y="833480"/>
                      <a:pt x="1817370" y="833480"/>
                    </a:cubicBezTo>
                    <a:lnTo>
                      <a:pt x="1838325" y="829670"/>
                    </a:lnTo>
                    <a:lnTo>
                      <a:pt x="1855470" y="830623"/>
                    </a:lnTo>
                    <a:lnTo>
                      <a:pt x="1865948" y="833480"/>
                    </a:lnTo>
                    <a:lnTo>
                      <a:pt x="1877378" y="836338"/>
                    </a:lnTo>
                    <a:lnTo>
                      <a:pt x="1888808" y="848720"/>
                    </a:lnTo>
                    <a:lnTo>
                      <a:pt x="1898333" y="869675"/>
                    </a:lnTo>
                    <a:lnTo>
                      <a:pt x="1899285" y="883963"/>
                    </a:lnTo>
                    <a:lnTo>
                      <a:pt x="1899285" y="895393"/>
                    </a:lnTo>
                    <a:lnTo>
                      <a:pt x="1913573" y="908728"/>
                    </a:lnTo>
                    <a:lnTo>
                      <a:pt x="1929765" y="905870"/>
                    </a:lnTo>
                    <a:lnTo>
                      <a:pt x="1932623" y="901108"/>
                    </a:lnTo>
                    <a:lnTo>
                      <a:pt x="1943100" y="896345"/>
                    </a:lnTo>
                    <a:lnTo>
                      <a:pt x="1957388" y="895393"/>
                    </a:lnTo>
                    <a:lnTo>
                      <a:pt x="1965008" y="903965"/>
                    </a:lnTo>
                    <a:lnTo>
                      <a:pt x="1979295" y="913490"/>
                    </a:lnTo>
                    <a:lnTo>
                      <a:pt x="1979295" y="919205"/>
                    </a:lnTo>
                    <a:lnTo>
                      <a:pt x="1976438" y="925873"/>
                    </a:lnTo>
                    <a:lnTo>
                      <a:pt x="1976438" y="938255"/>
                    </a:lnTo>
                    <a:lnTo>
                      <a:pt x="1980248" y="947780"/>
                    </a:lnTo>
                    <a:lnTo>
                      <a:pt x="1980248" y="957305"/>
                    </a:lnTo>
                    <a:lnTo>
                      <a:pt x="1980248" y="973498"/>
                    </a:lnTo>
                    <a:cubicBezTo>
                      <a:pt x="1980248" y="973498"/>
                      <a:pt x="1980248" y="980165"/>
                      <a:pt x="1973580" y="989690"/>
                    </a:cubicBezTo>
                    <a:cubicBezTo>
                      <a:pt x="1967865" y="999215"/>
                      <a:pt x="1982153" y="1002073"/>
                      <a:pt x="1982153" y="1002073"/>
                    </a:cubicBezTo>
                    <a:lnTo>
                      <a:pt x="1983105" y="1005883"/>
                    </a:lnTo>
                    <a:lnTo>
                      <a:pt x="1994535" y="1011598"/>
                    </a:lnTo>
                    <a:lnTo>
                      <a:pt x="1994535" y="1015408"/>
                    </a:lnTo>
                    <a:lnTo>
                      <a:pt x="1998345" y="1022075"/>
                    </a:lnTo>
                    <a:lnTo>
                      <a:pt x="2002155" y="1029695"/>
                    </a:lnTo>
                    <a:lnTo>
                      <a:pt x="2008823" y="1039220"/>
                    </a:lnTo>
                    <a:lnTo>
                      <a:pt x="2013585" y="1044935"/>
                    </a:lnTo>
                    <a:cubicBezTo>
                      <a:pt x="2013585" y="1044935"/>
                      <a:pt x="2021205" y="1046840"/>
                      <a:pt x="2033588" y="1048745"/>
                    </a:cubicBezTo>
                    <a:cubicBezTo>
                      <a:pt x="2046923" y="1050650"/>
                      <a:pt x="2038350" y="1052555"/>
                      <a:pt x="2038350" y="1052555"/>
                    </a:cubicBezTo>
                    <a:lnTo>
                      <a:pt x="2049780" y="1057318"/>
                    </a:lnTo>
                    <a:cubicBezTo>
                      <a:pt x="2049780" y="1057318"/>
                      <a:pt x="2055495" y="1059223"/>
                      <a:pt x="2060258" y="1059223"/>
                    </a:cubicBezTo>
                    <a:cubicBezTo>
                      <a:pt x="2065020" y="1059223"/>
                      <a:pt x="2068830" y="1053508"/>
                      <a:pt x="2068830" y="1053508"/>
                    </a:cubicBezTo>
                    <a:cubicBezTo>
                      <a:pt x="2068830" y="1053508"/>
                      <a:pt x="2068830" y="1053508"/>
                      <a:pt x="2067878" y="1048745"/>
                    </a:cubicBezTo>
                    <a:cubicBezTo>
                      <a:pt x="2066925" y="1043983"/>
                      <a:pt x="2069783" y="1043983"/>
                      <a:pt x="2067878" y="1039220"/>
                    </a:cubicBezTo>
                    <a:cubicBezTo>
                      <a:pt x="2066925" y="1034458"/>
                      <a:pt x="2064068" y="1033505"/>
                      <a:pt x="2064068" y="1033505"/>
                    </a:cubicBezTo>
                    <a:lnTo>
                      <a:pt x="2056448" y="1028743"/>
                    </a:lnTo>
                    <a:lnTo>
                      <a:pt x="2045018" y="1022075"/>
                    </a:lnTo>
                    <a:cubicBezTo>
                      <a:pt x="2045018" y="1022075"/>
                      <a:pt x="2045018" y="1022075"/>
                      <a:pt x="2027873" y="1011598"/>
                    </a:cubicBezTo>
                    <a:cubicBezTo>
                      <a:pt x="2027873" y="1011598"/>
                      <a:pt x="2019300" y="1006835"/>
                      <a:pt x="2017395" y="1003025"/>
                    </a:cubicBezTo>
                    <a:cubicBezTo>
                      <a:pt x="2016443" y="999215"/>
                      <a:pt x="2013585" y="993500"/>
                      <a:pt x="2008823" y="990643"/>
                    </a:cubicBezTo>
                    <a:cubicBezTo>
                      <a:pt x="2004060" y="987785"/>
                      <a:pt x="2005013" y="982070"/>
                      <a:pt x="2005013" y="982070"/>
                    </a:cubicBezTo>
                    <a:cubicBezTo>
                      <a:pt x="2005013" y="982070"/>
                      <a:pt x="2006918" y="976355"/>
                      <a:pt x="2004060" y="970640"/>
                    </a:cubicBezTo>
                    <a:cubicBezTo>
                      <a:pt x="2001203" y="964925"/>
                      <a:pt x="2005965" y="964925"/>
                      <a:pt x="2003108" y="962068"/>
                    </a:cubicBezTo>
                    <a:cubicBezTo>
                      <a:pt x="2000250" y="959210"/>
                      <a:pt x="2003108" y="950638"/>
                      <a:pt x="2003108" y="950638"/>
                    </a:cubicBezTo>
                    <a:lnTo>
                      <a:pt x="2008823" y="941113"/>
                    </a:lnTo>
                    <a:lnTo>
                      <a:pt x="2019300" y="941113"/>
                    </a:lnTo>
                    <a:lnTo>
                      <a:pt x="2025015" y="943018"/>
                    </a:lnTo>
                    <a:lnTo>
                      <a:pt x="2033588" y="949685"/>
                    </a:lnTo>
                    <a:lnTo>
                      <a:pt x="2042160" y="950638"/>
                    </a:lnTo>
                    <a:lnTo>
                      <a:pt x="2045970" y="954448"/>
                    </a:lnTo>
                    <a:lnTo>
                      <a:pt x="2051685" y="960163"/>
                    </a:lnTo>
                    <a:lnTo>
                      <a:pt x="2073593" y="968735"/>
                    </a:lnTo>
                    <a:lnTo>
                      <a:pt x="2081213" y="973498"/>
                    </a:lnTo>
                    <a:lnTo>
                      <a:pt x="2081213" y="980165"/>
                    </a:lnTo>
                    <a:lnTo>
                      <a:pt x="2097405" y="985880"/>
                    </a:lnTo>
                    <a:cubicBezTo>
                      <a:pt x="2097405" y="985880"/>
                      <a:pt x="2121218" y="975403"/>
                      <a:pt x="2123123" y="968735"/>
                    </a:cubicBezTo>
                    <a:lnTo>
                      <a:pt x="2139315" y="960163"/>
                    </a:lnTo>
                    <a:lnTo>
                      <a:pt x="2154555" y="956353"/>
                    </a:lnTo>
                    <a:lnTo>
                      <a:pt x="2156460" y="948733"/>
                    </a:lnTo>
                    <a:cubicBezTo>
                      <a:pt x="2156460" y="948733"/>
                      <a:pt x="2158365" y="943970"/>
                      <a:pt x="2159318" y="939208"/>
                    </a:cubicBezTo>
                    <a:cubicBezTo>
                      <a:pt x="2161223" y="934445"/>
                      <a:pt x="2159318" y="939208"/>
                      <a:pt x="2161223" y="935398"/>
                    </a:cubicBezTo>
                    <a:cubicBezTo>
                      <a:pt x="2163128" y="931588"/>
                      <a:pt x="2163128" y="926825"/>
                      <a:pt x="2161223" y="921110"/>
                    </a:cubicBezTo>
                    <a:cubicBezTo>
                      <a:pt x="2160270" y="915395"/>
                      <a:pt x="2163128" y="915395"/>
                      <a:pt x="2161223" y="912538"/>
                    </a:cubicBezTo>
                    <a:cubicBezTo>
                      <a:pt x="2159318" y="909680"/>
                      <a:pt x="2153603" y="908728"/>
                      <a:pt x="2149793" y="905870"/>
                    </a:cubicBezTo>
                    <a:cubicBezTo>
                      <a:pt x="2145030" y="903013"/>
                      <a:pt x="2151698" y="902060"/>
                      <a:pt x="2149793" y="899203"/>
                    </a:cubicBezTo>
                    <a:cubicBezTo>
                      <a:pt x="2148840" y="896345"/>
                      <a:pt x="2144078" y="893488"/>
                      <a:pt x="2144078" y="893488"/>
                    </a:cubicBezTo>
                    <a:lnTo>
                      <a:pt x="2138363" y="889678"/>
                    </a:lnTo>
                    <a:lnTo>
                      <a:pt x="2127885" y="881105"/>
                    </a:lnTo>
                    <a:lnTo>
                      <a:pt x="2111693" y="868723"/>
                    </a:lnTo>
                    <a:cubicBezTo>
                      <a:pt x="2111693" y="868723"/>
                      <a:pt x="2117408" y="860150"/>
                      <a:pt x="2122170" y="853483"/>
                    </a:cubicBezTo>
                    <a:lnTo>
                      <a:pt x="2130743" y="852530"/>
                    </a:lnTo>
                    <a:cubicBezTo>
                      <a:pt x="2130743" y="852530"/>
                      <a:pt x="2136458" y="852530"/>
                      <a:pt x="2145030" y="850625"/>
                    </a:cubicBezTo>
                    <a:cubicBezTo>
                      <a:pt x="2153603" y="848720"/>
                      <a:pt x="2152650" y="849673"/>
                      <a:pt x="2152650" y="844910"/>
                    </a:cubicBezTo>
                    <a:cubicBezTo>
                      <a:pt x="2152650" y="840148"/>
                      <a:pt x="2158365" y="843005"/>
                      <a:pt x="2158365" y="843005"/>
                    </a:cubicBezTo>
                    <a:lnTo>
                      <a:pt x="2165985" y="841100"/>
                    </a:lnTo>
                    <a:lnTo>
                      <a:pt x="2171700" y="844910"/>
                    </a:lnTo>
                    <a:lnTo>
                      <a:pt x="2180273" y="851578"/>
                    </a:lnTo>
                    <a:lnTo>
                      <a:pt x="2190750" y="850625"/>
                    </a:lnTo>
                    <a:lnTo>
                      <a:pt x="2199323" y="845863"/>
                    </a:lnTo>
                    <a:lnTo>
                      <a:pt x="2206943" y="839195"/>
                    </a:lnTo>
                    <a:cubicBezTo>
                      <a:pt x="2206943" y="839195"/>
                      <a:pt x="2214563" y="834433"/>
                      <a:pt x="2223135" y="834433"/>
                    </a:cubicBezTo>
                    <a:cubicBezTo>
                      <a:pt x="2231708" y="834433"/>
                      <a:pt x="2228850" y="833480"/>
                      <a:pt x="2228850" y="833480"/>
                    </a:cubicBezTo>
                    <a:lnTo>
                      <a:pt x="2236470" y="830623"/>
                    </a:lnTo>
                    <a:lnTo>
                      <a:pt x="2247900" y="825860"/>
                    </a:lnTo>
                    <a:lnTo>
                      <a:pt x="2255520" y="824908"/>
                    </a:lnTo>
                    <a:lnTo>
                      <a:pt x="2274570" y="823955"/>
                    </a:lnTo>
                    <a:lnTo>
                      <a:pt x="2286000" y="821098"/>
                    </a:lnTo>
                    <a:lnTo>
                      <a:pt x="2293620" y="815383"/>
                    </a:lnTo>
                    <a:cubicBezTo>
                      <a:pt x="2293620" y="815383"/>
                      <a:pt x="2293620" y="815383"/>
                      <a:pt x="2293620" y="812525"/>
                    </a:cubicBezTo>
                    <a:cubicBezTo>
                      <a:pt x="2293620" y="809668"/>
                      <a:pt x="2308860" y="805858"/>
                      <a:pt x="2309813" y="802048"/>
                    </a:cubicBezTo>
                    <a:cubicBezTo>
                      <a:pt x="2311718" y="798238"/>
                      <a:pt x="2318385" y="796333"/>
                      <a:pt x="2318385" y="796333"/>
                    </a:cubicBezTo>
                    <a:cubicBezTo>
                      <a:pt x="2318385" y="796333"/>
                      <a:pt x="2324100" y="791570"/>
                      <a:pt x="2333625" y="785855"/>
                    </a:cubicBezTo>
                    <a:cubicBezTo>
                      <a:pt x="2342198" y="780140"/>
                      <a:pt x="2348865" y="773473"/>
                      <a:pt x="2348865" y="773473"/>
                    </a:cubicBezTo>
                    <a:lnTo>
                      <a:pt x="2362200" y="766805"/>
                    </a:lnTo>
                    <a:cubicBezTo>
                      <a:pt x="2362200" y="766805"/>
                      <a:pt x="2365058" y="762995"/>
                      <a:pt x="2366963" y="758233"/>
                    </a:cubicBezTo>
                    <a:cubicBezTo>
                      <a:pt x="2368868" y="753470"/>
                      <a:pt x="2366963" y="751565"/>
                      <a:pt x="2366963" y="751565"/>
                    </a:cubicBezTo>
                    <a:cubicBezTo>
                      <a:pt x="2366963" y="751565"/>
                      <a:pt x="2372678" y="742993"/>
                      <a:pt x="2368868" y="728705"/>
                    </a:cubicBezTo>
                    <a:cubicBezTo>
                      <a:pt x="2365058" y="714418"/>
                      <a:pt x="2373630" y="721085"/>
                      <a:pt x="2374583" y="718228"/>
                    </a:cubicBezTo>
                    <a:cubicBezTo>
                      <a:pt x="2376488" y="715370"/>
                      <a:pt x="2374583" y="712513"/>
                      <a:pt x="2374583" y="712513"/>
                    </a:cubicBezTo>
                    <a:cubicBezTo>
                      <a:pt x="2374583" y="712513"/>
                      <a:pt x="2368868" y="700130"/>
                      <a:pt x="2367915" y="697273"/>
                    </a:cubicBezTo>
                    <a:cubicBezTo>
                      <a:pt x="2366963" y="694415"/>
                      <a:pt x="2367915" y="693463"/>
                      <a:pt x="2366963" y="690605"/>
                    </a:cubicBezTo>
                    <a:cubicBezTo>
                      <a:pt x="2365058" y="687748"/>
                      <a:pt x="2366010" y="684890"/>
                      <a:pt x="2366010" y="684890"/>
                    </a:cubicBezTo>
                    <a:cubicBezTo>
                      <a:pt x="2366010" y="684890"/>
                      <a:pt x="2366010" y="684890"/>
                      <a:pt x="2358390" y="682985"/>
                    </a:cubicBezTo>
                    <a:cubicBezTo>
                      <a:pt x="2350770" y="681080"/>
                      <a:pt x="2358390" y="682985"/>
                      <a:pt x="2353628" y="682033"/>
                    </a:cubicBezTo>
                    <a:cubicBezTo>
                      <a:pt x="2348865" y="681080"/>
                      <a:pt x="2337435" y="676318"/>
                      <a:pt x="2336483" y="673460"/>
                    </a:cubicBezTo>
                    <a:cubicBezTo>
                      <a:pt x="2335530" y="670603"/>
                      <a:pt x="2355533" y="669650"/>
                      <a:pt x="2355533" y="669650"/>
                    </a:cubicBezTo>
                    <a:cubicBezTo>
                      <a:pt x="2355533" y="669650"/>
                      <a:pt x="2355533" y="669650"/>
                      <a:pt x="2357438" y="662983"/>
                    </a:cubicBezTo>
                    <a:lnTo>
                      <a:pt x="2367915" y="661078"/>
                    </a:lnTo>
                    <a:cubicBezTo>
                      <a:pt x="2367915" y="661078"/>
                      <a:pt x="2382203" y="662030"/>
                      <a:pt x="2391728" y="658220"/>
                    </a:cubicBezTo>
                    <a:cubicBezTo>
                      <a:pt x="2400300" y="654410"/>
                      <a:pt x="2391728" y="658220"/>
                      <a:pt x="2391728" y="655363"/>
                    </a:cubicBezTo>
                    <a:cubicBezTo>
                      <a:pt x="2391728" y="652505"/>
                      <a:pt x="2393633" y="647743"/>
                      <a:pt x="2390775" y="642028"/>
                    </a:cubicBezTo>
                    <a:cubicBezTo>
                      <a:pt x="2387918" y="636313"/>
                      <a:pt x="2390775" y="642028"/>
                      <a:pt x="2387918" y="638218"/>
                    </a:cubicBezTo>
                    <a:cubicBezTo>
                      <a:pt x="2385060" y="634408"/>
                      <a:pt x="2379345" y="636313"/>
                      <a:pt x="2374583" y="636313"/>
                    </a:cubicBezTo>
                    <a:cubicBezTo>
                      <a:pt x="2369820" y="636313"/>
                      <a:pt x="2361248" y="635360"/>
                      <a:pt x="2361248" y="635360"/>
                    </a:cubicBezTo>
                    <a:lnTo>
                      <a:pt x="2350770" y="635360"/>
                    </a:lnTo>
                    <a:cubicBezTo>
                      <a:pt x="2350770" y="635360"/>
                      <a:pt x="2340293" y="635360"/>
                      <a:pt x="2328863" y="635360"/>
                    </a:cubicBezTo>
                    <a:cubicBezTo>
                      <a:pt x="2317433" y="635360"/>
                      <a:pt x="2328863" y="635360"/>
                      <a:pt x="2315528" y="632503"/>
                    </a:cubicBezTo>
                    <a:cubicBezTo>
                      <a:pt x="2302193" y="629645"/>
                      <a:pt x="2315528" y="632503"/>
                      <a:pt x="2314575" y="630598"/>
                    </a:cubicBezTo>
                    <a:cubicBezTo>
                      <a:pt x="2313623" y="628693"/>
                      <a:pt x="2314575" y="630598"/>
                      <a:pt x="2311718" y="622025"/>
                    </a:cubicBezTo>
                    <a:cubicBezTo>
                      <a:pt x="2308860" y="613453"/>
                      <a:pt x="2330768" y="621073"/>
                      <a:pt x="2330768" y="621073"/>
                    </a:cubicBezTo>
                    <a:lnTo>
                      <a:pt x="2338388" y="620120"/>
                    </a:lnTo>
                    <a:lnTo>
                      <a:pt x="2351723" y="617263"/>
                    </a:lnTo>
                    <a:lnTo>
                      <a:pt x="2354580" y="613453"/>
                    </a:lnTo>
                    <a:lnTo>
                      <a:pt x="2366010" y="608690"/>
                    </a:lnTo>
                    <a:lnTo>
                      <a:pt x="2376488" y="611548"/>
                    </a:lnTo>
                    <a:lnTo>
                      <a:pt x="2380298" y="617263"/>
                    </a:lnTo>
                    <a:lnTo>
                      <a:pt x="2391728" y="617263"/>
                    </a:lnTo>
                    <a:lnTo>
                      <a:pt x="2406968" y="613453"/>
                    </a:lnTo>
                    <a:cubicBezTo>
                      <a:pt x="2406968" y="613453"/>
                      <a:pt x="2412683" y="614405"/>
                      <a:pt x="2427923" y="616310"/>
                    </a:cubicBezTo>
                    <a:cubicBezTo>
                      <a:pt x="2442210" y="618215"/>
                      <a:pt x="2436495" y="624883"/>
                      <a:pt x="2436495" y="624883"/>
                    </a:cubicBezTo>
                    <a:lnTo>
                      <a:pt x="2445068" y="632503"/>
                    </a:lnTo>
                    <a:lnTo>
                      <a:pt x="2448878" y="640123"/>
                    </a:lnTo>
                    <a:lnTo>
                      <a:pt x="2457450" y="643933"/>
                    </a:lnTo>
                    <a:lnTo>
                      <a:pt x="2457450" y="651553"/>
                    </a:lnTo>
                    <a:lnTo>
                      <a:pt x="2455545" y="662030"/>
                    </a:lnTo>
                    <a:lnTo>
                      <a:pt x="2458403" y="669650"/>
                    </a:lnTo>
                    <a:lnTo>
                      <a:pt x="2459355" y="673460"/>
                    </a:lnTo>
                    <a:cubicBezTo>
                      <a:pt x="2459355" y="673460"/>
                      <a:pt x="2467928" y="674413"/>
                      <a:pt x="2472690" y="676318"/>
                    </a:cubicBezTo>
                    <a:cubicBezTo>
                      <a:pt x="2477453" y="678223"/>
                      <a:pt x="2486978" y="677270"/>
                      <a:pt x="2486978" y="677270"/>
                    </a:cubicBezTo>
                    <a:lnTo>
                      <a:pt x="2497455" y="677270"/>
                    </a:lnTo>
                    <a:lnTo>
                      <a:pt x="2507933" y="675365"/>
                    </a:lnTo>
                    <a:lnTo>
                      <a:pt x="2518410" y="670603"/>
                    </a:lnTo>
                    <a:cubicBezTo>
                      <a:pt x="2518410" y="670603"/>
                      <a:pt x="2518410" y="670603"/>
                      <a:pt x="2521268" y="656315"/>
                    </a:cubicBezTo>
                    <a:cubicBezTo>
                      <a:pt x="2521268" y="656315"/>
                      <a:pt x="2516505" y="652505"/>
                      <a:pt x="2517458" y="649648"/>
                    </a:cubicBezTo>
                    <a:cubicBezTo>
                      <a:pt x="2517458" y="646790"/>
                      <a:pt x="2508885" y="642028"/>
                      <a:pt x="2508885" y="642028"/>
                    </a:cubicBezTo>
                    <a:cubicBezTo>
                      <a:pt x="2508885" y="642028"/>
                      <a:pt x="2506028" y="634408"/>
                      <a:pt x="2505075" y="630598"/>
                    </a:cubicBezTo>
                    <a:cubicBezTo>
                      <a:pt x="2504123" y="626788"/>
                      <a:pt x="2504123" y="623930"/>
                      <a:pt x="2502218" y="619168"/>
                    </a:cubicBezTo>
                    <a:cubicBezTo>
                      <a:pt x="2501265" y="614405"/>
                      <a:pt x="2506980" y="612500"/>
                      <a:pt x="2515553" y="603928"/>
                    </a:cubicBezTo>
                    <a:cubicBezTo>
                      <a:pt x="2524125" y="595355"/>
                      <a:pt x="2515553" y="603928"/>
                      <a:pt x="2517458" y="601070"/>
                    </a:cubicBezTo>
                    <a:cubicBezTo>
                      <a:pt x="2519363" y="598213"/>
                      <a:pt x="2522220" y="593450"/>
                      <a:pt x="2525078" y="587735"/>
                    </a:cubicBezTo>
                    <a:cubicBezTo>
                      <a:pt x="2527935" y="582020"/>
                      <a:pt x="2525078" y="587735"/>
                      <a:pt x="2527935" y="582973"/>
                    </a:cubicBezTo>
                    <a:cubicBezTo>
                      <a:pt x="2530793" y="578210"/>
                      <a:pt x="2549843" y="581068"/>
                      <a:pt x="2549843" y="581068"/>
                    </a:cubicBezTo>
                    <a:cubicBezTo>
                      <a:pt x="2549843" y="581068"/>
                      <a:pt x="2566035" y="577258"/>
                      <a:pt x="2579370" y="571543"/>
                    </a:cubicBezTo>
                    <a:cubicBezTo>
                      <a:pt x="2592705" y="565828"/>
                      <a:pt x="2589848" y="568685"/>
                      <a:pt x="2589848" y="568685"/>
                    </a:cubicBezTo>
                    <a:cubicBezTo>
                      <a:pt x="2589848" y="568685"/>
                      <a:pt x="2608898" y="562018"/>
                      <a:pt x="2611755" y="558208"/>
                    </a:cubicBezTo>
                    <a:cubicBezTo>
                      <a:pt x="2614613" y="554398"/>
                      <a:pt x="2620328" y="553445"/>
                      <a:pt x="2624138" y="547730"/>
                    </a:cubicBezTo>
                    <a:cubicBezTo>
                      <a:pt x="2626995" y="542015"/>
                      <a:pt x="2646045" y="542968"/>
                      <a:pt x="2648903" y="539158"/>
                    </a:cubicBezTo>
                    <a:cubicBezTo>
                      <a:pt x="2651760" y="535348"/>
                      <a:pt x="2651760" y="534395"/>
                      <a:pt x="2653665" y="528680"/>
                    </a:cubicBezTo>
                    <a:cubicBezTo>
                      <a:pt x="2655570" y="522965"/>
                      <a:pt x="2662238" y="521060"/>
                      <a:pt x="2662238" y="521060"/>
                    </a:cubicBezTo>
                    <a:lnTo>
                      <a:pt x="2684145" y="512488"/>
                    </a:lnTo>
                    <a:lnTo>
                      <a:pt x="2694623" y="502010"/>
                    </a:lnTo>
                    <a:cubicBezTo>
                      <a:pt x="2694623" y="502010"/>
                      <a:pt x="2696528" y="493438"/>
                      <a:pt x="2696528" y="487723"/>
                    </a:cubicBezTo>
                    <a:cubicBezTo>
                      <a:pt x="2696528" y="482008"/>
                      <a:pt x="2696528" y="481055"/>
                      <a:pt x="2695575" y="478198"/>
                    </a:cubicBezTo>
                    <a:cubicBezTo>
                      <a:pt x="2693670" y="475340"/>
                      <a:pt x="2694623" y="472483"/>
                      <a:pt x="2694623" y="472483"/>
                    </a:cubicBezTo>
                    <a:cubicBezTo>
                      <a:pt x="2694623" y="472483"/>
                      <a:pt x="2702243" y="466768"/>
                      <a:pt x="2707005" y="460100"/>
                    </a:cubicBezTo>
                    <a:cubicBezTo>
                      <a:pt x="2711768" y="453433"/>
                      <a:pt x="2707005" y="460100"/>
                      <a:pt x="2707005" y="453433"/>
                    </a:cubicBezTo>
                    <a:cubicBezTo>
                      <a:pt x="2707005" y="446765"/>
                      <a:pt x="2706053" y="446765"/>
                      <a:pt x="2707005" y="439145"/>
                    </a:cubicBezTo>
                    <a:cubicBezTo>
                      <a:pt x="2708910" y="431525"/>
                      <a:pt x="2712720" y="431525"/>
                      <a:pt x="2711768" y="428668"/>
                    </a:cubicBezTo>
                    <a:cubicBezTo>
                      <a:pt x="2710815" y="425810"/>
                      <a:pt x="2713673" y="422000"/>
                      <a:pt x="2711768" y="416285"/>
                    </a:cubicBezTo>
                    <a:lnTo>
                      <a:pt x="2701290" y="412475"/>
                    </a:lnTo>
                    <a:lnTo>
                      <a:pt x="2689860" y="413428"/>
                    </a:lnTo>
                    <a:cubicBezTo>
                      <a:pt x="2689860" y="413428"/>
                      <a:pt x="2684145" y="414380"/>
                      <a:pt x="2673668" y="416285"/>
                    </a:cubicBezTo>
                    <a:cubicBezTo>
                      <a:pt x="2663190" y="418190"/>
                      <a:pt x="2673668" y="416285"/>
                      <a:pt x="2660333" y="412475"/>
                    </a:cubicBezTo>
                    <a:cubicBezTo>
                      <a:pt x="2646998" y="408665"/>
                      <a:pt x="2657475" y="406760"/>
                      <a:pt x="2653665" y="401998"/>
                    </a:cubicBezTo>
                    <a:cubicBezTo>
                      <a:pt x="2648903" y="397235"/>
                      <a:pt x="2647950" y="401998"/>
                      <a:pt x="2647950" y="401998"/>
                    </a:cubicBezTo>
                    <a:cubicBezTo>
                      <a:pt x="2647950" y="401998"/>
                      <a:pt x="2642235" y="402950"/>
                      <a:pt x="2634615" y="400093"/>
                    </a:cubicBezTo>
                    <a:cubicBezTo>
                      <a:pt x="2626995" y="397235"/>
                      <a:pt x="2634615" y="400093"/>
                      <a:pt x="2629853" y="396283"/>
                    </a:cubicBezTo>
                    <a:cubicBezTo>
                      <a:pt x="2625090" y="392473"/>
                      <a:pt x="2629853" y="396283"/>
                      <a:pt x="2629853" y="393425"/>
                    </a:cubicBezTo>
                    <a:cubicBezTo>
                      <a:pt x="2629853" y="390568"/>
                      <a:pt x="2632710" y="383900"/>
                      <a:pt x="2632710" y="383900"/>
                    </a:cubicBezTo>
                    <a:cubicBezTo>
                      <a:pt x="2632710" y="383900"/>
                      <a:pt x="2653665" y="382948"/>
                      <a:pt x="2676525" y="375328"/>
                    </a:cubicBezTo>
                    <a:cubicBezTo>
                      <a:pt x="2700338" y="366755"/>
                      <a:pt x="2681288" y="368660"/>
                      <a:pt x="2681288" y="368660"/>
                    </a:cubicBezTo>
                    <a:lnTo>
                      <a:pt x="2697480" y="356278"/>
                    </a:lnTo>
                    <a:cubicBezTo>
                      <a:pt x="2697480" y="356278"/>
                      <a:pt x="2716530" y="349610"/>
                      <a:pt x="2716530" y="344848"/>
                    </a:cubicBezTo>
                    <a:cubicBezTo>
                      <a:pt x="2716530" y="340085"/>
                      <a:pt x="2732723" y="338180"/>
                      <a:pt x="2734628" y="334370"/>
                    </a:cubicBezTo>
                    <a:cubicBezTo>
                      <a:pt x="2736533" y="330560"/>
                      <a:pt x="2745105" y="330560"/>
                      <a:pt x="2745105" y="330560"/>
                    </a:cubicBezTo>
                    <a:lnTo>
                      <a:pt x="2777490" y="328655"/>
                    </a:lnTo>
                    <a:lnTo>
                      <a:pt x="2785110" y="327703"/>
                    </a:lnTo>
                    <a:lnTo>
                      <a:pt x="2798445" y="327703"/>
                    </a:lnTo>
                    <a:lnTo>
                      <a:pt x="2814638" y="330560"/>
                    </a:lnTo>
                    <a:lnTo>
                      <a:pt x="2841308" y="331513"/>
                    </a:lnTo>
                    <a:lnTo>
                      <a:pt x="2855595" y="328655"/>
                    </a:lnTo>
                    <a:cubicBezTo>
                      <a:pt x="2855595" y="328655"/>
                      <a:pt x="2867025" y="327703"/>
                      <a:pt x="2869883" y="324845"/>
                    </a:cubicBezTo>
                    <a:cubicBezTo>
                      <a:pt x="2872740" y="321988"/>
                      <a:pt x="2877503" y="324845"/>
                      <a:pt x="2877503" y="324845"/>
                    </a:cubicBezTo>
                    <a:lnTo>
                      <a:pt x="2909888" y="331513"/>
                    </a:lnTo>
                    <a:lnTo>
                      <a:pt x="2924175" y="339133"/>
                    </a:lnTo>
                    <a:lnTo>
                      <a:pt x="2934653" y="341038"/>
                    </a:lnTo>
                    <a:lnTo>
                      <a:pt x="2943225" y="339133"/>
                    </a:lnTo>
                    <a:cubicBezTo>
                      <a:pt x="2943225" y="339133"/>
                      <a:pt x="2956560" y="334370"/>
                      <a:pt x="2956560" y="324845"/>
                    </a:cubicBezTo>
                    <a:cubicBezTo>
                      <a:pt x="2956560" y="315320"/>
                      <a:pt x="2956560" y="324845"/>
                      <a:pt x="2958465" y="320083"/>
                    </a:cubicBezTo>
                    <a:cubicBezTo>
                      <a:pt x="2960370" y="315320"/>
                      <a:pt x="2958465" y="320083"/>
                      <a:pt x="2966085" y="311510"/>
                    </a:cubicBezTo>
                    <a:cubicBezTo>
                      <a:pt x="2973705" y="302938"/>
                      <a:pt x="2971800" y="306748"/>
                      <a:pt x="2971800" y="306748"/>
                    </a:cubicBezTo>
                    <a:lnTo>
                      <a:pt x="2979420" y="303890"/>
                    </a:lnTo>
                    <a:lnTo>
                      <a:pt x="2987040" y="300080"/>
                    </a:lnTo>
                    <a:cubicBezTo>
                      <a:pt x="2987040" y="300080"/>
                      <a:pt x="2992755" y="299128"/>
                      <a:pt x="2995613" y="295318"/>
                    </a:cubicBezTo>
                    <a:cubicBezTo>
                      <a:pt x="2998470" y="291508"/>
                      <a:pt x="3006090" y="291508"/>
                      <a:pt x="3006090" y="291508"/>
                    </a:cubicBezTo>
                    <a:cubicBezTo>
                      <a:pt x="3006090" y="291508"/>
                      <a:pt x="3011805" y="291508"/>
                      <a:pt x="3036570" y="291508"/>
                    </a:cubicBezTo>
                    <a:cubicBezTo>
                      <a:pt x="3061335" y="291508"/>
                      <a:pt x="3044190" y="299128"/>
                      <a:pt x="3044190" y="299128"/>
                    </a:cubicBezTo>
                    <a:cubicBezTo>
                      <a:pt x="3044190" y="299128"/>
                      <a:pt x="3044190" y="299128"/>
                      <a:pt x="3051810" y="301985"/>
                    </a:cubicBezTo>
                    <a:lnTo>
                      <a:pt x="3062288" y="300080"/>
                    </a:lnTo>
                    <a:lnTo>
                      <a:pt x="3075623" y="293413"/>
                    </a:lnTo>
                    <a:lnTo>
                      <a:pt x="3087053" y="289603"/>
                    </a:lnTo>
                    <a:cubicBezTo>
                      <a:pt x="3087053" y="289603"/>
                      <a:pt x="3092768" y="288650"/>
                      <a:pt x="3097530" y="284840"/>
                    </a:cubicBezTo>
                    <a:cubicBezTo>
                      <a:pt x="3102293" y="281030"/>
                      <a:pt x="3105150" y="283888"/>
                      <a:pt x="3105150" y="283888"/>
                    </a:cubicBezTo>
                    <a:cubicBezTo>
                      <a:pt x="3105150" y="283888"/>
                      <a:pt x="3105150" y="283888"/>
                      <a:pt x="3113723" y="287698"/>
                    </a:cubicBezTo>
                    <a:cubicBezTo>
                      <a:pt x="3113723" y="287698"/>
                      <a:pt x="3106103" y="294365"/>
                      <a:pt x="3100388" y="297223"/>
                    </a:cubicBezTo>
                    <a:cubicBezTo>
                      <a:pt x="3094673" y="300080"/>
                      <a:pt x="3089910" y="302938"/>
                      <a:pt x="3089910" y="302938"/>
                    </a:cubicBezTo>
                    <a:lnTo>
                      <a:pt x="3071813" y="311510"/>
                    </a:lnTo>
                    <a:lnTo>
                      <a:pt x="3061335" y="317225"/>
                    </a:lnTo>
                    <a:cubicBezTo>
                      <a:pt x="3061335" y="317225"/>
                      <a:pt x="3058478" y="321035"/>
                      <a:pt x="3052763" y="321988"/>
                    </a:cubicBezTo>
                    <a:cubicBezTo>
                      <a:pt x="3047048" y="322940"/>
                      <a:pt x="3050858" y="325798"/>
                      <a:pt x="3044190" y="328655"/>
                    </a:cubicBezTo>
                    <a:cubicBezTo>
                      <a:pt x="3036570" y="331513"/>
                      <a:pt x="3030855" y="337228"/>
                      <a:pt x="3030855" y="337228"/>
                    </a:cubicBezTo>
                    <a:lnTo>
                      <a:pt x="3015615" y="341990"/>
                    </a:lnTo>
                    <a:cubicBezTo>
                      <a:pt x="3015615" y="341990"/>
                      <a:pt x="3002280" y="349610"/>
                      <a:pt x="2994660" y="351515"/>
                    </a:cubicBezTo>
                    <a:cubicBezTo>
                      <a:pt x="2987040" y="353420"/>
                      <a:pt x="2989898" y="361040"/>
                      <a:pt x="2982278" y="364850"/>
                    </a:cubicBezTo>
                    <a:cubicBezTo>
                      <a:pt x="2974658" y="368660"/>
                      <a:pt x="2979420" y="368660"/>
                      <a:pt x="2979420" y="368660"/>
                    </a:cubicBezTo>
                    <a:cubicBezTo>
                      <a:pt x="2979420" y="368660"/>
                      <a:pt x="2971800" y="375328"/>
                      <a:pt x="2967038" y="379138"/>
                    </a:cubicBezTo>
                    <a:cubicBezTo>
                      <a:pt x="2962275" y="382948"/>
                      <a:pt x="2972753" y="387710"/>
                      <a:pt x="2972753" y="387710"/>
                    </a:cubicBezTo>
                    <a:lnTo>
                      <a:pt x="2968943" y="408665"/>
                    </a:lnTo>
                    <a:lnTo>
                      <a:pt x="2968943" y="418190"/>
                    </a:lnTo>
                    <a:lnTo>
                      <a:pt x="2968943" y="427715"/>
                    </a:lnTo>
                    <a:lnTo>
                      <a:pt x="2968943" y="434383"/>
                    </a:lnTo>
                    <a:lnTo>
                      <a:pt x="2979420" y="440098"/>
                    </a:lnTo>
                    <a:lnTo>
                      <a:pt x="2989898" y="449623"/>
                    </a:lnTo>
                    <a:lnTo>
                      <a:pt x="2990850" y="455338"/>
                    </a:lnTo>
                    <a:cubicBezTo>
                      <a:pt x="2990850" y="455338"/>
                      <a:pt x="2998470" y="458195"/>
                      <a:pt x="3007043" y="457243"/>
                    </a:cubicBezTo>
                    <a:lnTo>
                      <a:pt x="3017520" y="448670"/>
                    </a:lnTo>
                    <a:lnTo>
                      <a:pt x="3020378" y="441050"/>
                    </a:lnTo>
                    <a:lnTo>
                      <a:pt x="3027998" y="435335"/>
                    </a:lnTo>
                    <a:lnTo>
                      <a:pt x="3038475" y="428668"/>
                    </a:lnTo>
                    <a:cubicBezTo>
                      <a:pt x="3038475" y="428668"/>
                      <a:pt x="3038475" y="428668"/>
                      <a:pt x="3037523" y="425810"/>
                    </a:cubicBezTo>
                    <a:cubicBezTo>
                      <a:pt x="3036570" y="422953"/>
                      <a:pt x="3047048" y="416285"/>
                      <a:pt x="3047048" y="416285"/>
                    </a:cubicBezTo>
                    <a:lnTo>
                      <a:pt x="3054668" y="413428"/>
                    </a:lnTo>
                    <a:lnTo>
                      <a:pt x="3072765" y="403903"/>
                    </a:lnTo>
                    <a:cubicBezTo>
                      <a:pt x="3072765" y="403903"/>
                      <a:pt x="3072765" y="403903"/>
                      <a:pt x="3083243" y="397235"/>
                    </a:cubicBezTo>
                    <a:cubicBezTo>
                      <a:pt x="3083243" y="397235"/>
                      <a:pt x="3077528" y="392473"/>
                      <a:pt x="3077528" y="386758"/>
                    </a:cubicBezTo>
                    <a:cubicBezTo>
                      <a:pt x="3077528" y="381043"/>
                      <a:pt x="3077528" y="386758"/>
                      <a:pt x="3080385" y="383900"/>
                    </a:cubicBezTo>
                    <a:cubicBezTo>
                      <a:pt x="3083243" y="381043"/>
                      <a:pt x="3080385" y="383900"/>
                      <a:pt x="3080385" y="381043"/>
                    </a:cubicBezTo>
                    <a:cubicBezTo>
                      <a:pt x="3080385" y="378185"/>
                      <a:pt x="3085148" y="377233"/>
                      <a:pt x="3085148" y="377233"/>
                    </a:cubicBezTo>
                    <a:lnTo>
                      <a:pt x="3092768" y="370565"/>
                    </a:lnTo>
                    <a:cubicBezTo>
                      <a:pt x="3092768" y="370565"/>
                      <a:pt x="3092768" y="370565"/>
                      <a:pt x="3089910" y="357230"/>
                    </a:cubicBezTo>
                    <a:lnTo>
                      <a:pt x="3097530" y="375328"/>
                    </a:lnTo>
                    <a:cubicBezTo>
                      <a:pt x="3097530" y="375328"/>
                      <a:pt x="3097530" y="375328"/>
                      <a:pt x="3097530" y="371518"/>
                    </a:cubicBezTo>
                    <a:cubicBezTo>
                      <a:pt x="3097530" y="367708"/>
                      <a:pt x="3110865" y="366755"/>
                      <a:pt x="3110865" y="366755"/>
                    </a:cubicBezTo>
                    <a:lnTo>
                      <a:pt x="3116580" y="351515"/>
                    </a:lnTo>
                    <a:cubicBezTo>
                      <a:pt x="3116580" y="351515"/>
                      <a:pt x="3124200" y="349610"/>
                      <a:pt x="3148013" y="343895"/>
                    </a:cubicBezTo>
                    <a:cubicBezTo>
                      <a:pt x="3171825" y="338180"/>
                      <a:pt x="3161348" y="342943"/>
                      <a:pt x="3166110" y="342943"/>
                    </a:cubicBezTo>
                    <a:cubicBezTo>
                      <a:pt x="3170873" y="342943"/>
                      <a:pt x="3183255" y="343895"/>
                      <a:pt x="3183255" y="343895"/>
                    </a:cubicBezTo>
                    <a:cubicBezTo>
                      <a:pt x="3183255" y="343895"/>
                      <a:pt x="3243263" y="340085"/>
                      <a:pt x="3253740" y="336275"/>
                    </a:cubicBezTo>
                    <a:cubicBezTo>
                      <a:pt x="3264218" y="332465"/>
                      <a:pt x="3258503" y="332465"/>
                      <a:pt x="3258503" y="332465"/>
                    </a:cubicBezTo>
                    <a:cubicBezTo>
                      <a:pt x="3258503" y="332465"/>
                      <a:pt x="3271838" y="325798"/>
                      <a:pt x="3274695" y="321988"/>
                    </a:cubicBezTo>
                    <a:cubicBezTo>
                      <a:pt x="3277553" y="318178"/>
                      <a:pt x="3288983" y="319130"/>
                      <a:pt x="3301365" y="315320"/>
                    </a:cubicBezTo>
                    <a:cubicBezTo>
                      <a:pt x="3312795" y="311510"/>
                      <a:pt x="3317558" y="304843"/>
                      <a:pt x="3317558" y="304843"/>
                    </a:cubicBezTo>
                    <a:cubicBezTo>
                      <a:pt x="3317558" y="304843"/>
                      <a:pt x="3331845" y="307700"/>
                      <a:pt x="3336608" y="306748"/>
                    </a:cubicBezTo>
                    <a:cubicBezTo>
                      <a:pt x="3341370" y="305795"/>
                      <a:pt x="3358515" y="309605"/>
                      <a:pt x="3358515" y="309605"/>
                    </a:cubicBezTo>
                    <a:cubicBezTo>
                      <a:pt x="3358515" y="309605"/>
                      <a:pt x="3388995" y="306748"/>
                      <a:pt x="3407093" y="300080"/>
                    </a:cubicBezTo>
                    <a:cubicBezTo>
                      <a:pt x="3425190" y="292460"/>
                      <a:pt x="3407093" y="300080"/>
                      <a:pt x="3403283" y="291508"/>
                    </a:cubicBezTo>
                    <a:cubicBezTo>
                      <a:pt x="3399473" y="282935"/>
                      <a:pt x="3383280" y="286745"/>
                      <a:pt x="3380423" y="282935"/>
                    </a:cubicBezTo>
                    <a:cubicBezTo>
                      <a:pt x="3377565" y="279125"/>
                      <a:pt x="3379470" y="279125"/>
                      <a:pt x="3364230" y="270553"/>
                    </a:cubicBezTo>
                    <a:cubicBezTo>
                      <a:pt x="3364230" y="270553"/>
                      <a:pt x="3353753" y="263885"/>
                      <a:pt x="3358515" y="260075"/>
                    </a:cubicBezTo>
                    <a:lnTo>
                      <a:pt x="3369945" y="260075"/>
                    </a:lnTo>
                    <a:cubicBezTo>
                      <a:pt x="3369945" y="260075"/>
                      <a:pt x="3388043" y="259123"/>
                      <a:pt x="3397568" y="257218"/>
                    </a:cubicBezTo>
                    <a:cubicBezTo>
                      <a:pt x="3408045" y="255313"/>
                      <a:pt x="3403283" y="253408"/>
                      <a:pt x="3405188" y="249598"/>
                    </a:cubicBezTo>
                    <a:cubicBezTo>
                      <a:pt x="3407093" y="245788"/>
                      <a:pt x="3408045" y="244835"/>
                      <a:pt x="3408045" y="244835"/>
                    </a:cubicBezTo>
                    <a:lnTo>
                      <a:pt x="3415665" y="241025"/>
                    </a:lnTo>
                    <a:lnTo>
                      <a:pt x="3424238" y="241025"/>
                    </a:lnTo>
                    <a:lnTo>
                      <a:pt x="3432810" y="242930"/>
                    </a:lnTo>
                    <a:lnTo>
                      <a:pt x="3449003" y="250550"/>
                    </a:lnTo>
                    <a:lnTo>
                      <a:pt x="3456623" y="253408"/>
                    </a:lnTo>
                    <a:cubicBezTo>
                      <a:pt x="3456623" y="253408"/>
                      <a:pt x="3465195" y="257218"/>
                      <a:pt x="3472815" y="257218"/>
                    </a:cubicBezTo>
                    <a:cubicBezTo>
                      <a:pt x="3480435" y="257218"/>
                      <a:pt x="3489960" y="260075"/>
                      <a:pt x="3494723" y="260075"/>
                    </a:cubicBezTo>
                    <a:cubicBezTo>
                      <a:pt x="3499485" y="260075"/>
                      <a:pt x="3514725" y="267695"/>
                      <a:pt x="3519488" y="266743"/>
                    </a:cubicBezTo>
                    <a:cubicBezTo>
                      <a:pt x="3524250" y="265790"/>
                      <a:pt x="3529965" y="267695"/>
                      <a:pt x="3535680" y="265790"/>
                    </a:cubicBezTo>
                    <a:cubicBezTo>
                      <a:pt x="3541395" y="263885"/>
                      <a:pt x="3543300" y="261980"/>
                      <a:pt x="3549015" y="255313"/>
                    </a:cubicBezTo>
                    <a:cubicBezTo>
                      <a:pt x="3554730" y="248645"/>
                      <a:pt x="3549015" y="255313"/>
                      <a:pt x="3551873" y="243883"/>
                    </a:cubicBezTo>
                    <a:cubicBezTo>
                      <a:pt x="3554730" y="232453"/>
                      <a:pt x="3560445" y="241025"/>
                      <a:pt x="3560445" y="241025"/>
                    </a:cubicBezTo>
                    <a:lnTo>
                      <a:pt x="3569018" y="237215"/>
                    </a:lnTo>
                    <a:lnTo>
                      <a:pt x="3574733" y="230548"/>
                    </a:lnTo>
                    <a:lnTo>
                      <a:pt x="3568065" y="231500"/>
                    </a:lnTo>
                    <a:close/>
                    <a:moveTo>
                      <a:pt x="601028" y="290555"/>
                    </a:moveTo>
                    <a:cubicBezTo>
                      <a:pt x="601028" y="290555"/>
                      <a:pt x="601028" y="290555"/>
                      <a:pt x="601028" y="290555"/>
                    </a:cubicBezTo>
                    <a:cubicBezTo>
                      <a:pt x="601028" y="290555"/>
                      <a:pt x="601028" y="290555"/>
                      <a:pt x="601028" y="290555"/>
                    </a:cubicBezTo>
                    <a:close/>
                    <a:moveTo>
                      <a:pt x="874395" y="1083035"/>
                    </a:moveTo>
                    <a:lnTo>
                      <a:pt x="867728" y="1091608"/>
                    </a:lnTo>
                    <a:lnTo>
                      <a:pt x="861060" y="1097323"/>
                    </a:lnTo>
                    <a:lnTo>
                      <a:pt x="849630" y="1106848"/>
                    </a:lnTo>
                    <a:lnTo>
                      <a:pt x="838200" y="1104943"/>
                    </a:lnTo>
                    <a:lnTo>
                      <a:pt x="841058" y="1096370"/>
                    </a:lnTo>
                    <a:cubicBezTo>
                      <a:pt x="841058" y="1096370"/>
                      <a:pt x="841058" y="1096370"/>
                      <a:pt x="839153" y="1091608"/>
                    </a:cubicBezTo>
                    <a:cubicBezTo>
                      <a:pt x="837248" y="1087798"/>
                      <a:pt x="845820" y="1085893"/>
                      <a:pt x="845820" y="1085893"/>
                    </a:cubicBezTo>
                    <a:lnTo>
                      <a:pt x="859155" y="1084940"/>
                    </a:lnTo>
                    <a:lnTo>
                      <a:pt x="874395" y="1083035"/>
                    </a:lnTo>
                    <a:close/>
                    <a:moveTo>
                      <a:pt x="1003935" y="591545"/>
                    </a:moveTo>
                    <a:cubicBezTo>
                      <a:pt x="1003935" y="591545"/>
                      <a:pt x="1003935" y="591545"/>
                      <a:pt x="995363" y="595355"/>
                    </a:cubicBezTo>
                    <a:cubicBezTo>
                      <a:pt x="986790" y="599165"/>
                      <a:pt x="995363" y="595355"/>
                      <a:pt x="986790" y="595355"/>
                    </a:cubicBezTo>
                    <a:cubicBezTo>
                      <a:pt x="978218" y="595355"/>
                      <a:pt x="978218" y="595355"/>
                      <a:pt x="978218" y="595355"/>
                    </a:cubicBezTo>
                    <a:lnTo>
                      <a:pt x="958215" y="593450"/>
                    </a:lnTo>
                    <a:lnTo>
                      <a:pt x="918210" y="588688"/>
                    </a:lnTo>
                    <a:cubicBezTo>
                      <a:pt x="918210" y="588688"/>
                      <a:pt x="906780" y="588688"/>
                      <a:pt x="901065" y="588688"/>
                    </a:cubicBezTo>
                    <a:cubicBezTo>
                      <a:pt x="894398" y="588688"/>
                      <a:pt x="885825" y="588688"/>
                      <a:pt x="885825" y="588688"/>
                    </a:cubicBezTo>
                    <a:lnTo>
                      <a:pt x="868680" y="585830"/>
                    </a:lnTo>
                    <a:cubicBezTo>
                      <a:pt x="868680" y="585830"/>
                      <a:pt x="853440" y="586783"/>
                      <a:pt x="846773" y="586783"/>
                    </a:cubicBezTo>
                    <a:cubicBezTo>
                      <a:pt x="840105" y="586783"/>
                      <a:pt x="838200" y="586783"/>
                      <a:pt x="824865" y="589640"/>
                    </a:cubicBezTo>
                    <a:cubicBezTo>
                      <a:pt x="811530" y="592498"/>
                      <a:pt x="824865" y="589640"/>
                      <a:pt x="813435" y="589640"/>
                    </a:cubicBezTo>
                    <a:cubicBezTo>
                      <a:pt x="802005" y="589640"/>
                      <a:pt x="813435" y="589640"/>
                      <a:pt x="802005" y="589640"/>
                    </a:cubicBezTo>
                    <a:cubicBezTo>
                      <a:pt x="790575" y="589640"/>
                      <a:pt x="791528" y="586783"/>
                      <a:pt x="791528" y="586783"/>
                    </a:cubicBezTo>
                    <a:cubicBezTo>
                      <a:pt x="791528" y="586783"/>
                      <a:pt x="791528" y="581068"/>
                      <a:pt x="791528" y="577258"/>
                    </a:cubicBezTo>
                    <a:cubicBezTo>
                      <a:pt x="791528" y="573448"/>
                      <a:pt x="798195" y="571543"/>
                      <a:pt x="802958" y="565828"/>
                    </a:cubicBezTo>
                    <a:cubicBezTo>
                      <a:pt x="807720" y="560113"/>
                      <a:pt x="802958" y="565828"/>
                      <a:pt x="807720" y="560113"/>
                    </a:cubicBezTo>
                    <a:cubicBezTo>
                      <a:pt x="812483" y="554398"/>
                      <a:pt x="809625" y="553445"/>
                      <a:pt x="809625" y="553445"/>
                    </a:cubicBezTo>
                    <a:lnTo>
                      <a:pt x="821055" y="544873"/>
                    </a:lnTo>
                    <a:lnTo>
                      <a:pt x="827723" y="538205"/>
                    </a:lnTo>
                    <a:lnTo>
                      <a:pt x="845820" y="529633"/>
                    </a:lnTo>
                    <a:lnTo>
                      <a:pt x="854393" y="529633"/>
                    </a:lnTo>
                    <a:lnTo>
                      <a:pt x="867728" y="529633"/>
                    </a:lnTo>
                    <a:lnTo>
                      <a:pt x="881063" y="537253"/>
                    </a:lnTo>
                    <a:lnTo>
                      <a:pt x="884873" y="545825"/>
                    </a:lnTo>
                    <a:lnTo>
                      <a:pt x="906780" y="550588"/>
                    </a:lnTo>
                    <a:lnTo>
                      <a:pt x="928688" y="546778"/>
                    </a:lnTo>
                    <a:cubicBezTo>
                      <a:pt x="928688" y="546778"/>
                      <a:pt x="928688" y="546778"/>
                      <a:pt x="926783" y="541063"/>
                    </a:cubicBezTo>
                    <a:cubicBezTo>
                      <a:pt x="924878" y="535348"/>
                      <a:pt x="926783" y="531538"/>
                      <a:pt x="926783" y="531538"/>
                    </a:cubicBezTo>
                    <a:cubicBezTo>
                      <a:pt x="926783" y="531538"/>
                      <a:pt x="933450" y="525823"/>
                      <a:pt x="942023" y="519155"/>
                    </a:cubicBezTo>
                    <a:lnTo>
                      <a:pt x="948690" y="527728"/>
                    </a:lnTo>
                    <a:lnTo>
                      <a:pt x="948690" y="534395"/>
                    </a:lnTo>
                    <a:cubicBezTo>
                      <a:pt x="948690" y="534395"/>
                      <a:pt x="948690" y="534395"/>
                      <a:pt x="946785" y="538205"/>
                    </a:cubicBezTo>
                    <a:cubicBezTo>
                      <a:pt x="944880" y="542015"/>
                      <a:pt x="953453" y="546778"/>
                      <a:pt x="953453" y="546778"/>
                    </a:cubicBezTo>
                    <a:lnTo>
                      <a:pt x="972503" y="561065"/>
                    </a:lnTo>
                    <a:lnTo>
                      <a:pt x="987743" y="571543"/>
                    </a:lnTo>
                    <a:lnTo>
                      <a:pt x="998220" y="579163"/>
                    </a:lnTo>
                    <a:lnTo>
                      <a:pt x="1004888" y="584878"/>
                    </a:lnTo>
                    <a:lnTo>
                      <a:pt x="1003935" y="591545"/>
                    </a:lnTo>
                    <a:close/>
                    <a:moveTo>
                      <a:pt x="1239203" y="609643"/>
                    </a:moveTo>
                    <a:lnTo>
                      <a:pt x="1230630" y="612500"/>
                    </a:lnTo>
                    <a:lnTo>
                      <a:pt x="1212533" y="622025"/>
                    </a:lnTo>
                    <a:lnTo>
                      <a:pt x="1212533" y="627740"/>
                    </a:lnTo>
                    <a:cubicBezTo>
                      <a:pt x="1212533" y="627740"/>
                      <a:pt x="1210628" y="628693"/>
                      <a:pt x="1212533" y="633455"/>
                    </a:cubicBezTo>
                    <a:cubicBezTo>
                      <a:pt x="1214438" y="637265"/>
                      <a:pt x="1219200" y="629645"/>
                      <a:pt x="1214438" y="637265"/>
                    </a:cubicBezTo>
                    <a:cubicBezTo>
                      <a:pt x="1209675" y="645838"/>
                      <a:pt x="1196340" y="645838"/>
                      <a:pt x="1196340" y="645838"/>
                    </a:cubicBezTo>
                    <a:lnTo>
                      <a:pt x="1183005" y="645838"/>
                    </a:lnTo>
                    <a:lnTo>
                      <a:pt x="1169670" y="642980"/>
                    </a:lnTo>
                    <a:lnTo>
                      <a:pt x="1157288" y="625835"/>
                    </a:lnTo>
                    <a:lnTo>
                      <a:pt x="1150620" y="614405"/>
                    </a:lnTo>
                    <a:cubicBezTo>
                      <a:pt x="1150620" y="614405"/>
                      <a:pt x="1143953" y="604880"/>
                      <a:pt x="1143953" y="600118"/>
                    </a:cubicBezTo>
                    <a:cubicBezTo>
                      <a:pt x="1143953" y="596308"/>
                      <a:pt x="1123950" y="586783"/>
                      <a:pt x="1123950" y="586783"/>
                    </a:cubicBezTo>
                    <a:lnTo>
                      <a:pt x="1115378" y="571543"/>
                    </a:lnTo>
                    <a:lnTo>
                      <a:pt x="1113473" y="559160"/>
                    </a:lnTo>
                    <a:cubicBezTo>
                      <a:pt x="1113473" y="559160"/>
                      <a:pt x="1108710" y="555350"/>
                      <a:pt x="1113473" y="550588"/>
                    </a:cubicBezTo>
                    <a:cubicBezTo>
                      <a:pt x="1118235" y="546778"/>
                      <a:pt x="1109663" y="538205"/>
                      <a:pt x="1116330" y="539158"/>
                    </a:cubicBezTo>
                    <a:cubicBezTo>
                      <a:pt x="1122998" y="541063"/>
                      <a:pt x="1129665" y="535348"/>
                      <a:pt x="1129665" y="535348"/>
                    </a:cubicBezTo>
                    <a:cubicBezTo>
                      <a:pt x="1149668" y="534395"/>
                      <a:pt x="1163003" y="531538"/>
                      <a:pt x="1163003" y="531538"/>
                    </a:cubicBezTo>
                    <a:cubicBezTo>
                      <a:pt x="1196340" y="527728"/>
                      <a:pt x="1196340" y="527728"/>
                      <a:pt x="1196340" y="527728"/>
                    </a:cubicBezTo>
                    <a:lnTo>
                      <a:pt x="1201103" y="531538"/>
                    </a:lnTo>
                    <a:cubicBezTo>
                      <a:pt x="1201103" y="535348"/>
                      <a:pt x="1187768" y="540110"/>
                      <a:pt x="1187768" y="540110"/>
                    </a:cubicBezTo>
                    <a:lnTo>
                      <a:pt x="1176338" y="545825"/>
                    </a:lnTo>
                    <a:lnTo>
                      <a:pt x="1176338" y="557255"/>
                    </a:lnTo>
                    <a:cubicBezTo>
                      <a:pt x="1176338" y="557255"/>
                      <a:pt x="1169670" y="565828"/>
                      <a:pt x="1176338" y="568685"/>
                    </a:cubicBezTo>
                    <a:cubicBezTo>
                      <a:pt x="1183005" y="571543"/>
                      <a:pt x="1206818" y="584878"/>
                      <a:pt x="1206818" y="584878"/>
                    </a:cubicBezTo>
                    <a:lnTo>
                      <a:pt x="1222058" y="587735"/>
                    </a:lnTo>
                    <a:lnTo>
                      <a:pt x="1237298" y="593450"/>
                    </a:lnTo>
                    <a:lnTo>
                      <a:pt x="1243965" y="599165"/>
                    </a:lnTo>
                    <a:lnTo>
                      <a:pt x="1239203" y="609643"/>
                    </a:lnTo>
                    <a:close/>
                    <a:moveTo>
                      <a:pt x="1342073" y="556303"/>
                    </a:moveTo>
                    <a:lnTo>
                      <a:pt x="1335405" y="562970"/>
                    </a:lnTo>
                    <a:lnTo>
                      <a:pt x="1322070" y="562970"/>
                    </a:lnTo>
                    <a:cubicBezTo>
                      <a:pt x="1322070" y="562970"/>
                      <a:pt x="1313498" y="558208"/>
                      <a:pt x="1308735" y="554398"/>
                    </a:cubicBezTo>
                    <a:cubicBezTo>
                      <a:pt x="1303973" y="550588"/>
                      <a:pt x="1310640" y="548683"/>
                      <a:pt x="1311593" y="542015"/>
                    </a:cubicBezTo>
                    <a:cubicBezTo>
                      <a:pt x="1311593" y="535348"/>
                      <a:pt x="1311593" y="542015"/>
                      <a:pt x="1316355" y="536300"/>
                    </a:cubicBezTo>
                    <a:lnTo>
                      <a:pt x="1333500" y="536300"/>
                    </a:lnTo>
                    <a:lnTo>
                      <a:pt x="1342073" y="548683"/>
                    </a:lnTo>
                    <a:lnTo>
                      <a:pt x="1342073" y="5563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7" name="Freeform: Shape 216">
                <a:extLst>
                  <a:ext uri="{FF2B5EF4-FFF2-40B4-BE49-F238E27FC236}">
                    <a16:creationId xmlns:a16="http://schemas.microsoft.com/office/drawing/2014/main" id="{150D4418-B352-49FE-B652-2F96B7804123}"/>
                  </a:ext>
                </a:extLst>
              </p:cNvPr>
              <p:cNvSpPr/>
              <p:nvPr/>
            </p:nvSpPr>
            <p:spPr>
              <a:xfrm>
                <a:off x="8953529" y="4190729"/>
                <a:ext cx="130567" cy="157171"/>
              </a:xfrm>
              <a:custGeom>
                <a:avLst/>
                <a:gdLst>
                  <a:gd name="connsiteX0" fmla="*/ 126682 w 130567"/>
                  <a:gd name="connsiteY0" fmla="*/ 4763 h 157171"/>
                  <a:gd name="connsiteX1" fmla="*/ 126682 w 130567"/>
                  <a:gd name="connsiteY1" fmla="*/ 10478 h 157171"/>
                  <a:gd name="connsiteX2" fmla="*/ 126682 w 130567"/>
                  <a:gd name="connsiteY2" fmla="*/ 25717 h 157171"/>
                  <a:gd name="connsiteX3" fmla="*/ 126682 w 130567"/>
                  <a:gd name="connsiteY3" fmla="*/ 34290 h 157171"/>
                  <a:gd name="connsiteX4" fmla="*/ 129540 w 130567"/>
                  <a:gd name="connsiteY4" fmla="*/ 45720 h 157171"/>
                  <a:gd name="connsiteX5" fmla="*/ 122872 w 130567"/>
                  <a:gd name="connsiteY5" fmla="*/ 57150 h 157171"/>
                  <a:gd name="connsiteX6" fmla="*/ 117157 w 130567"/>
                  <a:gd name="connsiteY6" fmla="*/ 69533 h 157171"/>
                  <a:gd name="connsiteX7" fmla="*/ 115253 w 130567"/>
                  <a:gd name="connsiteY7" fmla="*/ 75247 h 157171"/>
                  <a:gd name="connsiteX8" fmla="*/ 110490 w 130567"/>
                  <a:gd name="connsiteY8" fmla="*/ 88583 h 157171"/>
                  <a:gd name="connsiteX9" fmla="*/ 107632 w 130567"/>
                  <a:gd name="connsiteY9" fmla="*/ 98108 h 157171"/>
                  <a:gd name="connsiteX10" fmla="*/ 97155 w 130567"/>
                  <a:gd name="connsiteY10" fmla="*/ 112395 h 157171"/>
                  <a:gd name="connsiteX11" fmla="*/ 91440 w 130567"/>
                  <a:gd name="connsiteY11" fmla="*/ 118110 h 157171"/>
                  <a:gd name="connsiteX12" fmla="*/ 79057 w 130567"/>
                  <a:gd name="connsiteY12" fmla="*/ 126683 h 157171"/>
                  <a:gd name="connsiteX13" fmla="*/ 78105 w 130567"/>
                  <a:gd name="connsiteY13" fmla="*/ 133350 h 157171"/>
                  <a:gd name="connsiteX14" fmla="*/ 74295 w 130567"/>
                  <a:gd name="connsiteY14" fmla="*/ 145733 h 157171"/>
                  <a:gd name="connsiteX15" fmla="*/ 69532 w 130567"/>
                  <a:gd name="connsiteY15" fmla="*/ 152400 h 157171"/>
                  <a:gd name="connsiteX16" fmla="*/ 54292 w 130567"/>
                  <a:gd name="connsiteY16" fmla="*/ 155258 h 157171"/>
                  <a:gd name="connsiteX17" fmla="*/ 46672 w 130567"/>
                  <a:gd name="connsiteY17" fmla="*/ 156210 h 157171"/>
                  <a:gd name="connsiteX18" fmla="*/ 35242 w 130567"/>
                  <a:gd name="connsiteY18" fmla="*/ 154305 h 157171"/>
                  <a:gd name="connsiteX19" fmla="*/ 20955 w 130567"/>
                  <a:gd name="connsiteY19" fmla="*/ 144780 h 157171"/>
                  <a:gd name="connsiteX20" fmla="*/ 18097 w 130567"/>
                  <a:gd name="connsiteY20" fmla="*/ 139065 h 157171"/>
                  <a:gd name="connsiteX21" fmla="*/ 12382 w 130567"/>
                  <a:gd name="connsiteY21" fmla="*/ 133350 h 157171"/>
                  <a:gd name="connsiteX22" fmla="*/ 2857 w 130567"/>
                  <a:gd name="connsiteY22" fmla="*/ 129540 h 157171"/>
                  <a:gd name="connsiteX23" fmla="*/ 953 w 130567"/>
                  <a:gd name="connsiteY23" fmla="*/ 120015 h 157171"/>
                  <a:gd name="connsiteX24" fmla="*/ 0 w 130567"/>
                  <a:gd name="connsiteY24" fmla="*/ 113347 h 157171"/>
                  <a:gd name="connsiteX25" fmla="*/ 2857 w 130567"/>
                  <a:gd name="connsiteY25" fmla="*/ 104775 h 157171"/>
                  <a:gd name="connsiteX26" fmla="*/ 10478 w 130567"/>
                  <a:gd name="connsiteY26" fmla="*/ 101917 h 157171"/>
                  <a:gd name="connsiteX27" fmla="*/ 18097 w 130567"/>
                  <a:gd name="connsiteY27" fmla="*/ 98108 h 157171"/>
                  <a:gd name="connsiteX28" fmla="*/ 26670 w 130567"/>
                  <a:gd name="connsiteY28" fmla="*/ 93345 h 157171"/>
                  <a:gd name="connsiteX29" fmla="*/ 31432 w 130567"/>
                  <a:gd name="connsiteY29" fmla="*/ 84772 h 157171"/>
                  <a:gd name="connsiteX30" fmla="*/ 31432 w 130567"/>
                  <a:gd name="connsiteY30" fmla="*/ 74295 h 157171"/>
                  <a:gd name="connsiteX31" fmla="*/ 31432 w 130567"/>
                  <a:gd name="connsiteY31" fmla="*/ 64770 h 157171"/>
                  <a:gd name="connsiteX32" fmla="*/ 32385 w 130567"/>
                  <a:gd name="connsiteY32" fmla="*/ 55245 h 157171"/>
                  <a:gd name="connsiteX33" fmla="*/ 44767 w 130567"/>
                  <a:gd name="connsiteY33" fmla="*/ 48578 h 157171"/>
                  <a:gd name="connsiteX34" fmla="*/ 53340 w 130567"/>
                  <a:gd name="connsiteY34" fmla="*/ 44767 h 157171"/>
                  <a:gd name="connsiteX35" fmla="*/ 63817 w 130567"/>
                  <a:gd name="connsiteY35" fmla="*/ 40958 h 157171"/>
                  <a:gd name="connsiteX36" fmla="*/ 76200 w 130567"/>
                  <a:gd name="connsiteY36" fmla="*/ 34290 h 157171"/>
                  <a:gd name="connsiteX37" fmla="*/ 81915 w 130567"/>
                  <a:gd name="connsiteY37" fmla="*/ 31433 h 157171"/>
                  <a:gd name="connsiteX38" fmla="*/ 93345 w 130567"/>
                  <a:gd name="connsiteY38" fmla="*/ 27622 h 157171"/>
                  <a:gd name="connsiteX39" fmla="*/ 102870 w 130567"/>
                  <a:gd name="connsiteY39" fmla="*/ 18097 h 157171"/>
                  <a:gd name="connsiteX40" fmla="*/ 107632 w 130567"/>
                  <a:gd name="connsiteY40" fmla="*/ 6667 h 157171"/>
                  <a:gd name="connsiteX41" fmla="*/ 115253 w 130567"/>
                  <a:gd name="connsiteY41" fmla="*/ 0 h 157171"/>
                  <a:gd name="connsiteX42" fmla="*/ 126682 w 130567"/>
                  <a:gd name="connsiteY42" fmla="*/ 4763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567" h="157171">
                    <a:moveTo>
                      <a:pt x="126682" y="4763"/>
                    </a:moveTo>
                    <a:cubicBezTo>
                      <a:pt x="126682" y="4763"/>
                      <a:pt x="125730" y="6667"/>
                      <a:pt x="126682" y="10478"/>
                    </a:cubicBezTo>
                    <a:cubicBezTo>
                      <a:pt x="127635" y="14288"/>
                      <a:pt x="125730" y="22860"/>
                      <a:pt x="126682" y="25717"/>
                    </a:cubicBezTo>
                    <a:cubicBezTo>
                      <a:pt x="127635" y="28575"/>
                      <a:pt x="124778" y="28575"/>
                      <a:pt x="126682" y="34290"/>
                    </a:cubicBezTo>
                    <a:cubicBezTo>
                      <a:pt x="128588" y="40005"/>
                      <a:pt x="132397" y="40958"/>
                      <a:pt x="129540" y="45720"/>
                    </a:cubicBezTo>
                    <a:cubicBezTo>
                      <a:pt x="127635" y="49530"/>
                      <a:pt x="128588" y="44767"/>
                      <a:pt x="122872" y="57150"/>
                    </a:cubicBezTo>
                    <a:cubicBezTo>
                      <a:pt x="117157" y="69533"/>
                      <a:pt x="119063" y="63817"/>
                      <a:pt x="117157" y="69533"/>
                    </a:cubicBezTo>
                    <a:cubicBezTo>
                      <a:pt x="115253" y="75247"/>
                      <a:pt x="116205" y="67628"/>
                      <a:pt x="115253" y="75247"/>
                    </a:cubicBezTo>
                    <a:cubicBezTo>
                      <a:pt x="114300" y="82867"/>
                      <a:pt x="111442" y="83820"/>
                      <a:pt x="110490" y="88583"/>
                    </a:cubicBezTo>
                    <a:cubicBezTo>
                      <a:pt x="109538" y="93345"/>
                      <a:pt x="111442" y="95250"/>
                      <a:pt x="107632" y="98108"/>
                    </a:cubicBezTo>
                    <a:cubicBezTo>
                      <a:pt x="103822" y="101917"/>
                      <a:pt x="97155" y="112395"/>
                      <a:pt x="97155" y="112395"/>
                    </a:cubicBezTo>
                    <a:cubicBezTo>
                      <a:pt x="97155" y="112395"/>
                      <a:pt x="93345" y="113347"/>
                      <a:pt x="91440" y="118110"/>
                    </a:cubicBezTo>
                    <a:cubicBezTo>
                      <a:pt x="89535" y="121920"/>
                      <a:pt x="78105" y="123825"/>
                      <a:pt x="79057" y="126683"/>
                    </a:cubicBezTo>
                    <a:cubicBezTo>
                      <a:pt x="80010" y="129540"/>
                      <a:pt x="78105" y="129540"/>
                      <a:pt x="78105" y="133350"/>
                    </a:cubicBezTo>
                    <a:cubicBezTo>
                      <a:pt x="78105" y="137160"/>
                      <a:pt x="76200" y="141922"/>
                      <a:pt x="74295" y="145733"/>
                    </a:cubicBezTo>
                    <a:cubicBezTo>
                      <a:pt x="73342" y="149542"/>
                      <a:pt x="69532" y="152400"/>
                      <a:pt x="69532" y="152400"/>
                    </a:cubicBezTo>
                    <a:lnTo>
                      <a:pt x="54292" y="155258"/>
                    </a:lnTo>
                    <a:cubicBezTo>
                      <a:pt x="54292" y="155258"/>
                      <a:pt x="53340" y="156210"/>
                      <a:pt x="46672" y="156210"/>
                    </a:cubicBezTo>
                    <a:cubicBezTo>
                      <a:pt x="40005" y="155258"/>
                      <a:pt x="45720" y="160020"/>
                      <a:pt x="35242" y="154305"/>
                    </a:cubicBezTo>
                    <a:cubicBezTo>
                      <a:pt x="25717" y="148590"/>
                      <a:pt x="20955" y="144780"/>
                      <a:pt x="20955" y="144780"/>
                    </a:cubicBezTo>
                    <a:lnTo>
                      <a:pt x="18097" y="139065"/>
                    </a:lnTo>
                    <a:cubicBezTo>
                      <a:pt x="18097" y="139065"/>
                      <a:pt x="16192" y="135255"/>
                      <a:pt x="12382" y="133350"/>
                    </a:cubicBezTo>
                    <a:cubicBezTo>
                      <a:pt x="9525" y="131445"/>
                      <a:pt x="2857" y="129540"/>
                      <a:pt x="2857" y="129540"/>
                    </a:cubicBezTo>
                    <a:lnTo>
                      <a:pt x="953" y="120015"/>
                    </a:lnTo>
                    <a:lnTo>
                      <a:pt x="0" y="113347"/>
                    </a:lnTo>
                    <a:lnTo>
                      <a:pt x="2857" y="104775"/>
                    </a:lnTo>
                    <a:cubicBezTo>
                      <a:pt x="2857" y="104775"/>
                      <a:pt x="7620" y="102870"/>
                      <a:pt x="10478" y="101917"/>
                    </a:cubicBezTo>
                    <a:cubicBezTo>
                      <a:pt x="13335" y="100965"/>
                      <a:pt x="18097" y="98108"/>
                      <a:pt x="18097" y="98108"/>
                    </a:cubicBezTo>
                    <a:lnTo>
                      <a:pt x="26670" y="93345"/>
                    </a:lnTo>
                    <a:lnTo>
                      <a:pt x="31432" y="84772"/>
                    </a:lnTo>
                    <a:lnTo>
                      <a:pt x="31432" y="74295"/>
                    </a:lnTo>
                    <a:lnTo>
                      <a:pt x="31432" y="64770"/>
                    </a:lnTo>
                    <a:lnTo>
                      <a:pt x="32385" y="55245"/>
                    </a:lnTo>
                    <a:lnTo>
                      <a:pt x="44767" y="48578"/>
                    </a:lnTo>
                    <a:lnTo>
                      <a:pt x="53340" y="44767"/>
                    </a:lnTo>
                    <a:cubicBezTo>
                      <a:pt x="53340" y="44767"/>
                      <a:pt x="60007" y="41910"/>
                      <a:pt x="63817" y="40958"/>
                    </a:cubicBezTo>
                    <a:cubicBezTo>
                      <a:pt x="66675" y="40005"/>
                      <a:pt x="76200" y="34290"/>
                      <a:pt x="76200" y="34290"/>
                    </a:cubicBezTo>
                    <a:lnTo>
                      <a:pt x="81915" y="31433"/>
                    </a:lnTo>
                    <a:cubicBezTo>
                      <a:pt x="81915" y="31433"/>
                      <a:pt x="87630" y="31433"/>
                      <a:pt x="93345" y="27622"/>
                    </a:cubicBezTo>
                    <a:cubicBezTo>
                      <a:pt x="99060" y="23813"/>
                      <a:pt x="98107" y="25717"/>
                      <a:pt x="102870" y="18097"/>
                    </a:cubicBezTo>
                    <a:cubicBezTo>
                      <a:pt x="107632" y="10478"/>
                      <a:pt x="107632" y="6667"/>
                      <a:pt x="107632" y="6667"/>
                    </a:cubicBezTo>
                    <a:lnTo>
                      <a:pt x="115253" y="0"/>
                    </a:lnTo>
                    <a:lnTo>
                      <a:pt x="126682" y="47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416" name="Graphic 69">
              <a:extLst>
                <a:ext uri="{FF2B5EF4-FFF2-40B4-BE49-F238E27FC236}">
                  <a16:creationId xmlns:a16="http://schemas.microsoft.com/office/drawing/2014/main" id="{54863EE4-9BF8-4CF4-9171-B7812E20D057}"/>
                </a:ext>
                <a:ext uri="{C183D7F6-B498-43B3-948B-1728B52AA6E4}">
                  <adec:decorative xmlns:adec="http://schemas.microsoft.com/office/drawing/2017/decorative" val="1"/>
                </a:ext>
              </a:extLst>
            </p:cNvPr>
            <p:cNvSpPr/>
            <p:nvPr/>
          </p:nvSpPr>
          <p:spPr>
            <a:xfrm rot="1954878" flipH="1">
              <a:off x="6247795" y="1699122"/>
              <a:ext cx="3941648" cy="258705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Lst>
              <a:ahLst/>
              <a:cxnLst>
                <a:cxn ang="0">
                  <a:pos x="connsiteX0" y="connsiteY0"/>
                </a:cxn>
                <a:cxn ang="0">
                  <a:pos x="connsiteX1" y="connsiteY1"/>
                </a:cxn>
              </a:cxnLst>
              <a:rect l="l" t="t" r="r" b="b"/>
              <a:pathLst>
                <a:path w="2407349" h="3259011">
                  <a:moveTo>
                    <a:pt x="0" y="291883"/>
                  </a:moveTo>
                  <a:cubicBezTo>
                    <a:pt x="0" y="291883"/>
                    <a:pt x="1953536" y="-1375235"/>
                    <a:pt x="2407349" y="3259011"/>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46" name="Graphic 69">
              <a:extLst>
                <a:ext uri="{FF2B5EF4-FFF2-40B4-BE49-F238E27FC236}">
                  <a16:creationId xmlns:a16="http://schemas.microsoft.com/office/drawing/2014/main" id="{FDC1AD8D-174D-4EE9-9626-9E3180B822E1}"/>
                </a:ext>
                <a:ext uri="{C183D7F6-B498-43B3-948B-1728B52AA6E4}">
                  <adec:decorative xmlns:adec="http://schemas.microsoft.com/office/drawing/2017/decorative" val="1"/>
                </a:ext>
              </a:extLst>
            </p:cNvPr>
            <p:cNvSpPr/>
            <p:nvPr/>
          </p:nvSpPr>
          <p:spPr>
            <a:xfrm rot="1041518" flipH="1" flipV="1">
              <a:off x="5737576" y="3229390"/>
              <a:ext cx="1439411" cy="57029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2" name="Graphic 69">
              <a:extLst>
                <a:ext uri="{FF2B5EF4-FFF2-40B4-BE49-F238E27FC236}">
                  <a16:creationId xmlns:a16="http://schemas.microsoft.com/office/drawing/2014/main" id="{AD8762D0-4F1D-46EE-9B8C-2E2F7A480189}"/>
                </a:ext>
                <a:ext uri="{C183D7F6-B498-43B3-948B-1728B52AA6E4}">
                  <adec:decorative xmlns:adec="http://schemas.microsoft.com/office/drawing/2017/decorative" val="1"/>
                </a:ext>
              </a:extLst>
            </p:cNvPr>
            <p:cNvSpPr/>
            <p:nvPr/>
          </p:nvSpPr>
          <p:spPr>
            <a:xfrm rot="1041518" flipH="1" flipV="1">
              <a:off x="6291607" y="3478279"/>
              <a:ext cx="846272" cy="39483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Lst>
              <a:ahLst/>
              <a:cxnLst>
                <a:cxn ang="0">
                  <a:pos x="connsiteX0" y="connsiteY0"/>
                </a:cxn>
                <a:cxn ang="0">
                  <a:pos x="connsiteX1" y="connsiteY1"/>
                </a:cxn>
              </a:cxnLst>
              <a:rect l="l" t="t" r="r" b="b"/>
              <a:pathLst>
                <a:path w="2412439" h="3028514">
                  <a:moveTo>
                    <a:pt x="0" y="12006"/>
                  </a:moveTo>
                  <a:cubicBezTo>
                    <a:pt x="0" y="12006"/>
                    <a:pt x="1892249" y="-359348"/>
                    <a:pt x="2412439" y="3028515"/>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3" name="Graphic 69">
              <a:extLst>
                <a:ext uri="{FF2B5EF4-FFF2-40B4-BE49-F238E27FC236}">
                  <a16:creationId xmlns:a16="http://schemas.microsoft.com/office/drawing/2014/main" id="{9203F50D-3751-49EC-9C6D-CD5A37144DB1}"/>
                </a:ext>
                <a:ext uri="{C183D7F6-B498-43B3-948B-1728B52AA6E4}">
                  <adec:decorative xmlns:adec="http://schemas.microsoft.com/office/drawing/2017/decorative" val="1"/>
                </a:ext>
              </a:extLst>
            </p:cNvPr>
            <p:cNvSpPr/>
            <p:nvPr/>
          </p:nvSpPr>
          <p:spPr>
            <a:xfrm rot="17695877" flipH="1" flipV="1">
              <a:off x="6449358" y="2768651"/>
              <a:ext cx="892341" cy="71934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Lst>
              <a:ahLst/>
              <a:cxnLst>
                <a:cxn ang="0">
                  <a:pos x="connsiteX0" y="connsiteY0"/>
                </a:cxn>
                <a:cxn ang="0">
                  <a:pos x="connsiteX1" y="connsiteY1"/>
                </a:cxn>
              </a:cxnLst>
              <a:rect l="l" t="t" r="r" b="b"/>
              <a:pathLst>
                <a:path w="2412439" h="3016508">
                  <a:moveTo>
                    <a:pt x="0" y="0"/>
                  </a:moveTo>
                  <a:cubicBezTo>
                    <a:pt x="0" y="0"/>
                    <a:pt x="1445793" y="413045"/>
                    <a:pt x="2412439" y="301650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4" name="Graphic 69">
              <a:extLst>
                <a:ext uri="{FF2B5EF4-FFF2-40B4-BE49-F238E27FC236}">
                  <a16:creationId xmlns:a16="http://schemas.microsoft.com/office/drawing/2014/main" id="{02A2EF04-BE3C-440B-96C8-9F684B5221FA}"/>
                </a:ext>
                <a:ext uri="{C183D7F6-B498-43B3-948B-1728B52AA6E4}">
                  <adec:decorative xmlns:adec="http://schemas.microsoft.com/office/drawing/2017/decorative" val="1"/>
                </a:ext>
              </a:extLst>
            </p:cNvPr>
            <p:cNvSpPr/>
            <p:nvPr/>
          </p:nvSpPr>
          <p:spPr>
            <a:xfrm rot="17695877" flipH="1" flipV="1">
              <a:off x="7051164" y="3158055"/>
              <a:ext cx="1334386" cy="837093"/>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5" name="Graphic 69">
              <a:extLst>
                <a:ext uri="{FF2B5EF4-FFF2-40B4-BE49-F238E27FC236}">
                  <a16:creationId xmlns:a16="http://schemas.microsoft.com/office/drawing/2014/main" id="{35F611FA-2342-4034-9781-EE9FDDFB87A2}"/>
                </a:ext>
                <a:ext uri="{C183D7F6-B498-43B3-948B-1728B52AA6E4}">
                  <adec:decorative xmlns:adec="http://schemas.microsoft.com/office/drawing/2017/decorative" val="1"/>
                </a:ext>
              </a:extLst>
            </p:cNvPr>
            <p:cNvSpPr/>
            <p:nvPr/>
          </p:nvSpPr>
          <p:spPr>
            <a:xfrm rot="256138" flipH="1" flipV="1">
              <a:off x="7342255" y="2917951"/>
              <a:ext cx="1617026" cy="114784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89"/>
                <a:gd name="connsiteX1" fmla="*/ 2409437 w 2409437"/>
                <a:gd name="connsiteY1" fmla="*/ 2960388 h 2960389"/>
              </a:gdLst>
              <a:ahLst/>
              <a:cxnLst>
                <a:cxn ang="0">
                  <a:pos x="connsiteX0" y="connsiteY0"/>
                </a:cxn>
                <a:cxn ang="0">
                  <a:pos x="connsiteX1" y="connsiteY1"/>
                </a:cxn>
              </a:cxnLst>
              <a:rect l="l" t="t" r="r" b="b"/>
              <a:pathLst>
                <a:path w="2409437" h="2960389">
                  <a:moveTo>
                    <a:pt x="0" y="-1"/>
                  </a:moveTo>
                  <a:cubicBezTo>
                    <a:pt x="0" y="-1"/>
                    <a:pt x="1763122" y="87298"/>
                    <a:pt x="2409437" y="2960388"/>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6" name="Graphic 69">
              <a:extLst>
                <a:ext uri="{FF2B5EF4-FFF2-40B4-BE49-F238E27FC236}">
                  <a16:creationId xmlns:a16="http://schemas.microsoft.com/office/drawing/2014/main" id="{D52E2760-B3DB-41E6-AF87-EFAD11BC6731}"/>
                </a:ext>
                <a:ext uri="{C183D7F6-B498-43B3-948B-1728B52AA6E4}">
                  <adec:decorative xmlns:adec="http://schemas.microsoft.com/office/drawing/2017/decorative" val="1"/>
                </a:ext>
              </a:extLst>
            </p:cNvPr>
            <p:cNvSpPr/>
            <p:nvPr/>
          </p:nvSpPr>
          <p:spPr>
            <a:xfrm rot="1703027" flipH="1" flipV="1">
              <a:off x="8159483" y="3323751"/>
              <a:ext cx="938875" cy="62447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7" name="Graphic 69">
              <a:extLst>
                <a:ext uri="{FF2B5EF4-FFF2-40B4-BE49-F238E27FC236}">
                  <a16:creationId xmlns:a16="http://schemas.microsoft.com/office/drawing/2014/main" id="{04D8598A-9032-44A5-8743-6A00ADCF39DC}"/>
                </a:ext>
                <a:ext uri="{C183D7F6-B498-43B3-948B-1728B52AA6E4}">
                  <adec:decorative xmlns:adec="http://schemas.microsoft.com/office/drawing/2017/decorative" val="1"/>
                </a:ext>
              </a:extLst>
            </p:cNvPr>
            <p:cNvSpPr/>
            <p:nvPr/>
          </p:nvSpPr>
          <p:spPr>
            <a:xfrm rot="1703027" flipH="1">
              <a:off x="8333214" y="3270163"/>
              <a:ext cx="1582012" cy="269090"/>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8" name="Graphic 69">
              <a:extLst>
                <a:ext uri="{FF2B5EF4-FFF2-40B4-BE49-F238E27FC236}">
                  <a16:creationId xmlns:a16="http://schemas.microsoft.com/office/drawing/2014/main" id="{5909B384-B899-40AF-AF1A-BF1BB098D2ED}"/>
                </a:ext>
                <a:ext uri="{C183D7F6-B498-43B3-948B-1728B52AA6E4}">
                  <adec:decorative xmlns:adec="http://schemas.microsoft.com/office/drawing/2017/decorative" val="1"/>
                </a:ext>
              </a:extLst>
            </p:cNvPr>
            <p:cNvSpPr/>
            <p:nvPr/>
          </p:nvSpPr>
          <p:spPr>
            <a:xfrm rot="17555955" flipH="1" flipV="1">
              <a:off x="9827721" y="3225126"/>
              <a:ext cx="691999" cy="36386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Lst>
              <a:ahLst/>
              <a:cxnLst>
                <a:cxn ang="0">
                  <a:pos x="connsiteX0" y="connsiteY0"/>
                </a:cxn>
                <a:cxn ang="0">
                  <a:pos x="connsiteX1" y="connsiteY1"/>
                </a:cxn>
              </a:cxnLst>
              <a:rect l="l" t="t" r="r" b="b"/>
              <a:pathLst>
                <a:path w="2409437" h="3021807">
                  <a:moveTo>
                    <a:pt x="0" y="61417"/>
                  </a:moveTo>
                  <a:cubicBezTo>
                    <a:pt x="0" y="61417"/>
                    <a:pt x="1442552" y="-684375"/>
                    <a:pt x="2409437" y="3021806"/>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9" name="Graphic 69">
              <a:extLst>
                <a:ext uri="{FF2B5EF4-FFF2-40B4-BE49-F238E27FC236}">
                  <a16:creationId xmlns:a16="http://schemas.microsoft.com/office/drawing/2014/main" id="{47C06CE3-92E6-49B0-8212-67865F9F8457}"/>
                </a:ext>
                <a:ext uri="{C183D7F6-B498-43B3-948B-1728B52AA6E4}">
                  <adec:decorative xmlns:adec="http://schemas.microsoft.com/office/drawing/2017/decorative" val="1"/>
                </a:ext>
              </a:extLst>
            </p:cNvPr>
            <p:cNvSpPr/>
            <p:nvPr/>
          </p:nvSpPr>
          <p:spPr>
            <a:xfrm rot="17555955" flipH="1" flipV="1">
              <a:off x="10035386" y="2904944"/>
              <a:ext cx="973079" cy="98876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Lst>
              <a:ahLst/>
              <a:cxnLst>
                <a:cxn ang="0">
                  <a:pos x="connsiteX0" y="connsiteY0"/>
                </a:cxn>
                <a:cxn ang="0">
                  <a:pos x="connsiteX1" y="connsiteY1"/>
                </a:cxn>
              </a:cxnLst>
              <a:rect l="l" t="t" r="r" b="b"/>
              <a:pathLst>
                <a:path w="2409437" h="2960391">
                  <a:moveTo>
                    <a:pt x="0" y="1"/>
                  </a:moveTo>
                  <a:cubicBezTo>
                    <a:pt x="0" y="1"/>
                    <a:pt x="2001820" y="656220"/>
                    <a:pt x="2409437" y="296039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0" name="Graphic 69">
              <a:extLst>
                <a:ext uri="{FF2B5EF4-FFF2-40B4-BE49-F238E27FC236}">
                  <a16:creationId xmlns:a16="http://schemas.microsoft.com/office/drawing/2014/main" id="{F83FA9DB-D813-4E7B-BCCB-36E2E6CCFCE3}"/>
                </a:ext>
                <a:ext uri="{C183D7F6-B498-43B3-948B-1728B52AA6E4}">
                  <adec:decorative xmlns:adec="http://schemas.microsoft.com/office/drawing/2017/decorative" val="1"/>
                </a:ext>
              </a:extLst>
            </p:cNvPr>
            <p:cNvSpPr/>
            <p:nvPr/>
          </p:nvSpPr>
          <p:spPr>
            <a:xfrm flipH="1" flipV="1">
              <a:off x="9878532" y="3639465"/>
              <a:ext cx="1133169" cy="58129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409437"/>
                <a:gd name="connsiteY0" fmla="*/ 4193 h 2964583"/>
                <a:gd name="connsiteX1" fmla="*/ 2409437 w 2409437"/>
                <a:gd name="connsiteY1" fmla="*/ 2964582 h 2964583"/>
              </a:gdLst>
              <a:ahLst/>
              <a:cxnLst>
                <a:cxn ang="0">
                  <a:pos x="connsiteX0" y="connsiteY0"/>
                </a:cxn>
                <a:cxn ang="0">
                  <a:pos x="connsiteX1" y="connsiteY1"/>
                </a:cxn>
              </a:cxnLst>
              <a:rect l="l" t="t" r="r" b="b"/>
              <a:pathLst>
                <a:path w="2409437" h="2964583">
                  <a:moveTo>
                    <a:pt x="0" y="4193"/>
                  </a:moveTo>
                  <a:cubicBezTo>
                    <a:pt x="0" y="4193"/>
                    <a:pt x="1677775" y="-238267"/>
                    <a:pt x="2409437" y="2964582"/>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1" name="Graphic 69">
              <a:extLst>
                <a:ext uri="{FF2B5EF4-FFF2-40B4-BE49-F238E27FC236}">
                  <a16:creationId xmlns:a16="http://schemas.microsoft.com/office/drawing/2014/main" id="{ADEA9E15-B4B0-4AB2-951E-DECDAE7D4880}"/>
                </a:ext>
                <a:ext uri="{C183D7F6-B498-43B3-948B-1728B52AA6E4}">
                  <adec:decorative xmlns:adec="http://schemas.microsoft.com/office/drawing/2017/decorative" val="1"/>
                </a:ext>
              </a:extLst>
            </p:cNvPr>
            <p:cNvSpPr/>
            <p:nvPr/>
          </p:nvSpPr>
          <p:spPr>
            <a:xfrm rot="17555955" flipH="1" flipV="1">
              <a:off x="10666737" y="2840061"/>
              <a:ext cx="276500" cy="62575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Lst>
              <a:ahLst/>
              <a:cxnLst>
                <a:cxn ang="0">
                  <a:pos x="connsiteX0" y="connsiteY0"/>
                </a:cxn>
                <a:cxn ang="0">
                  <a:pos x="connsiteX1" y="connsiteY1"/>
                </a:cxn>
              </a:cxnLst>
              <a:rect l="l" t="t" r="r" b="b"/>
              <a:pathLst>
                <a:path w="2423619" h="2960390">
                  <a:moveTo>
                    <a:pt x="0" y="0"/>
                  </a:moveTo>
                  <a:cubicBezTo>
                    <a:pt x="0" y="0"/>
                    <a:pt x="2639238" y="864545"/>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2" name="Graphic 69">
              <a:extLst>
                <a:ext uri="{FF2B5EF4-FFF2-40B4-BE49-F238E27FC236}">
                  <a16:creationId xmlns:a16="http://schemas.microsoft.com/office/drawing/2014/main" id="{E600F944-55A1-4956-A5AA-4C567E9DC1EB}"/>
                </a:ext>
                <a:ext uri="{C183D7F6-B498-43B3-948B-1728B52AA6E4}">
                  <adec:decorative xmlns:adec="http://schemas.microsoft.com/office/drawing/2017/decorative" val="1"/>
                </a:ext>
              </a:extLst>
            </p:cNvPr>
            <p:cNvSpPr/>
            <p:nvPr/>
          </p:nvSpPr>
          <p:spPr>
            <a:xfrm rot="12576264" flipH="1" flipV="1">
              <a:off x="10874312" y="3201281"/>
              <a:ext cx="523760" cy="102000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23619"/>
                <a:gd name="connsiteY0" fmla="*/ 0 h 2960390"/>
                <a:gd name="connsiteX1" fmla="*/ 2409437 w 2423619"/>
                <a:gd name="connsiteY1" fmla="*/ 2960389 h 2960390"/>
                <a:gd name="connsiteX0" fmla="*/ 0 w 3124456"/>
                <a:gd name="connsiteY0" fmla="*/ 0 h 2960390"/>
                <a:gd name="connsiteX1" fmla="*/ 2409437 w 3124456"/>
                <a:gd name="connsiteY1" fmla="*/ 2960389 h 2960390"/>
              </a:gdLst>
              <a:ahLst/>
              <a:cxnLst>
                <a:cxn ang="0">
                  <a:pos x="connsiteX0" y="connsiteY0"/>
                </a:cxn>
                <a:cxn ang="0">
                  <a:pos x="connsiteX1" y="connsiteY1"/>
                </a:cxn>
              </a:cxnLst>
              <a:rect l="l" t="t" r="r" b="b"/>
              <a:pathLst>
                <a:path w="3124456" h="2960390">
                  <a:moveTo>
                    <a:pt x="0" y="0"/>
                  </a:moveTo>
                  <a:cubicBezTo>
                    <a:pt x="0" y="0"/>
                    <a:pt x="4923576" y="694108"/>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3" name="Graphic 69">
              <a:extLst>
                <a:ext uri="{FF2B5EF4-FFF2-40B4-BE49-F238E27FC236}">
                  <a16:creationId xmlns:a16="http://schemas.microsoft.com/office/drawing/2014/main" id="{6A710367-0939-458F-911E-E6FEA607D672}"/>
                </a:ext>
                <a:ext uri="{C183D7F6-B498-43B3-948B-1728B52AA6E4}">
                  <adec:decorative xmlns:adec="http://schemas.microsoft.com/office/drawing/2017/decorative" val="1"/>
                </a:ext>
              </a:extLst>
            </p:cNvPr>
            <p:cNvSpPr/>
            <p:nvPr/>
          </p:nvSpPr>
          <p:spPr>
            <a:xfrm rot="17555955" flipH="1" flipV="1">
              <a:off x="9571970" y="3183944"/>
              <a:ext cx="761089" cy="1994788"/>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4" name="Graphic 69">
              <a:extLst>
                <a:ext uri="{FF2B5EF4-FFF2-40B4-BE49-F238E27FC236}">
                  <a16:creationId xmlns:a16="http://schemas.microsoft.com/office/drawing/2014/main" id="{261FE16C-6610-4E69-B8A8-E2E14A17166E}"/>
                </a:ext>
                <a:ext uri="{C183D7F6-B498-43B3-948B-1728B52AA6E4}">
                  <adec:decorative xmlns:adec="http://schemas.microsoft.com/office/drawing/2017/decorative" val="1"/>
                </a:ext>
              </a:extLst>
            </p:cNvPr>
            <p:cNvSpPr/>
            <p:nvPr/>
          </p:nvSpPr>
          <p:spPr>
            <a:xfrm rot="17555955" flipH="1" flipV="1">
              <a:off x="7662984" y="3198543"/>
              <a:ext cx="619429" cy="1757556"/>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1 h 2960391"/>
                <a:gd name="connsiteX1" fmla="*/ 2409437 w 2409437"/>
                <a:gd name="connsiteY1" fmla="*/ 2960390 h 2960391"/>
                <a:gd name="connsiteX0" fmla="*/ 0 w 2512662"/>
                <a:gd name="connsiteY0" fmla="*/ 0 h 2960388"/>
                <a:gd name="connsiteX1" fmla="*/ 2409437 w 2512662"/>
                <a:gd name="connsiteY1" fmla="*/ 2960389 h 2960388"/>
              </a:gdLst>
              <a:ahLst/>
              <a:cxnLst>
                <a:cxn ang="0">
                  <a:pos x="connsiteX0" y="connsiteY0"/>
                </a:cxn>
                <a:cxn ang="0">
                  <a:pos x="connsiteX1" y="connsiteY1"/>
                </a:cxn>
              </a:cxnLst>
              <a:rect l="l" t="t" r="r" b="b"/>
              <a:pathLst>
                <a:path w="2512662" h="2960388">
                  <a:moveTo>
                    <a:pt x="0" y="0"/>
                  </a:moveTo>
                  <a:cubicBezTo>
                    <a:pt x="0" y="0"/>
                    <a:pt x="3111788" y="1045674"/>
                    <a:pt x="2409437" y="2960389"/>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5" name="Graphic 69">
              <a:extLst>
                <a:ext uri="{FF2B5EF4-FFF2-40B4-BE49-F238E27FC236}">
                  <a16:creationId xmlns:a16="http://schemas.microsoft.com/office/drawing/2014/main" id="{4D8B0C85-280D-425A-9530-60FDC77A3811}"/>
                </a:ext>
                <a:ext uri="{C183D7F6-B498-43B3-948B-1728B52AA6E4}">
                  <adec:decorative xmlns:adec="http://schemas.microsoft.com/office/drawing/2017/decorative" val="1"/>
                </a:ext>
              </a:extLst>
            </p:cNvPr>
            <p:cNvSpPr/>
            <p:nvPr/>
          </p:nvSpPr>
          <p:spPr>
            <a:xfrm rot="1703027" flipH="1">
              <a:off x="8503595" y="2626033"/>
              <a:ext cx="1850220" cy="102412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6" name="Graphic 69">
              <a:extLst>
                <a:ext uri="{FF2B5EF4-FFF2-40B4-BE49-F238E27FC236}">
                  <a16:creationId xmlns:a16="http://schemas.microsoft.com/office/drawing/2014/main" id="{F1A58106-14A0-4450-9DB6-ED792AD27044}"/>
                </a:ext>
                <a:ext uri="{C183D7F6-B498-43B3-948B-1728B52AA6E4}">
                  <adec:decorative xmlns:adec="http://schemas.microsoft.com/office/drawing/2017/decorative" val="1"/>
                </a:ext>
              </a:extLst>
            </p:cNvPr>
            <p:cNvSpPr/>
            <p:nvPr/>
          </p:nvSpPr>
          <p:spPr>
            <a:xfrm rot="1703027" flipH="1">
              <a:off x="7394630" y="2897289"/>
              <a:ext cx="976043" cy="232365"/>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390274"/>
                <a:gd name="connsiteY0" fmla="*/ 62987 h 3015565"/>
                <a:gd name="connsiteX1" fmla="*/ 2390274 w 2390274"/>
                <a:gd name="connsiteY1" fmla="*/ 3015565 h 3015565"/>
                <a:gd name="connsiteX0" fmla="*/ 0 w 2390274"/>
                <a:gd name="connsiteY0" fmla="*/ 120862 h 3073440"/>
                <a:gd name="connsiteX1" fmla="*/ 2390274 w 2390274"/>
                <a:gd name="connsiteY1" fmla="*/ 3073440 h 3073440"/>
              </a:gdLst>
              <a:ahLst/>
              <a:cxnLst>
                <a:cxn ang="0">
                  <a:pos x="connsiteX0" y="connsiteY0"/>
                </a:cxn>
                <a:cxn ang="0">
                  <a:pos x="connsiteX1" y="connsiteY1"/>
                </a:cxn>
              </a:cxnLst>
              <a:rect l="l" t="t" r="r" b="b"/>
              <a:pathLst>
                <a:path w="2390274" h="3073440">
                  <a:moveTo>
                    <a:pt x="0" y="120862"/>
                  </a:moveTo>
                  <a:cubicBezTo>
                    <a:pt x="0" y="120862"/>
                    <a:pt x="1509821" y="-914144"/>
                    <a:pt x="2390274" y="3073440"/>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7" name="Oval 246">
              <a:extLst>
                <a:ext uri="{FF2B5EF4-FFF2-40B4-BE49-F238E27FC236}">
                  <a16:creationId xmlns:a16="http://schemas.microsoft.com/office/drawing/2014/main" id="{DDAE4FC2-441F-48BB-9716-25DBA5A91897}"/>
                </a:ext>
                <a:ext uri="{C183D7F6-B498-43B3-948B-1728B52AA6E4}">
                  <adec:decorative xmlns:adec="http://schemas.microsoft.com/office/drawing/2017/decorative" val="1"/>
                </a:ext>
              </a:extLst>
            </p:cNvPr>
            <p:cNvSpPr/>
            <p:nvPr/>
          </p:nvSpPr>
          <p:spPr bwMode="auto">
            <a:xfrm>
              <a:off x="8355194" y="424365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48" name="Oval 247">
              <a:extLst>
                <a:ext uri="{FF2B5EF4-FFF2-40B4-BE49-F238E27FC236}">
                  <a16:creationId xmlns:a16="http://schemas.microsoft.com/office/drawing/2014/main" id="{545C0550-FE89-4208-B97B-9B51D459C4E2}"/>
                </a:ext>
                <a:ext uri="{C183D7F6-B498-43B3-948B-1728B52AA6E4}">
                  <adec:decorative xmlns:adec="http://schemas.microsoft.com/office/drawing/2017/decorative" val="1"/>
                </a:ext>
              </a:extLst>
            </p:cNvPr>
            <p:cNvSpPr/>
            <p:nvPr/>
          </p:nvSpPr>
          <p:spPr bwMode="auto">
            <a:xfrm>
              <a:off x="7001886"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49" name="Oval 248">
              <a:extLst>
                <a:ext uri="{FF2B5EF4-FFF2-40B4-BE49-F238E27FC236}">
                  <a16:creationId xmlns:a16="http://schemas.microsoft.com/office/drawing/2014/main" id="{BD101562-7FAC-4F1F-9D90-8F1AD46A61C2}"/>
                </a:ext>
                <a:ext uri="{C183D7F6-B498-43B3-948B-1728B52AA6E4}">
                  <adec:decorative xmlns:adec="http://schemas.microsoft.com/office/drawing/2017/decorative" val="1"/>
                </a:ext>
              </a:extLst>
            </p:cNvPr>
            <p:cNvSpPr/>
            <p:nvPr/>
          </p:nvSpPr>
          <p:spPr bwMode="auto">
            <a:xfrm>
              <a:off x="8521882" y="31244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0" name="Oval 249">
              <a:extLst>
                <a:ext uri="{FF2B5EF4-FFF2-40B4-BE49-F238E27FC236}">
                  <a16:creationId xmlns:a16="http://schemas.microsoft.com/office/drawing/2014/main" id="{842E0E39-ADEB-4C7E-B7DC-A8D8CCB29620}"/>
                </a:ext>
                <a:ext uri="{C183D7F6-B498-43B3-948B-1728B52AA6E4}">
                  <adec:decorative xmlns:adec="http://schemas.microsoft.com/office/drawing/2017/decorative" val="1"/>
                </a:ext>
              </a:extLst>
            </p:cNvPr>
            <p:cNvSpPr/>
            <p:nvPr/>
          </p:nvSpPr>
          <p:spPr bwMode="auto">
            <a:xfrm>
              <a:off x="10136369" y="29244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1" name="Oval 250">
              <a:extLst>
                <a:ext uri="{FF2B5EF4-FFF2-40B4-BE49-F238E27FC236}">
                  <a16:creationId xmlns:a16="http://schemas.microsoft.com/office/drawing/2014/main" id="{B6FACEF4-5C68-4D95-8DF6-A7AB7E4A1EC4}"/>
                </a:ext>
                <a:ext uri="{C183D7F6-B498-43B3-948B-1728B52AA6E4}">
                  <adec:decorative xmlns:adec="http://schemas.microsoft.com/office/drawing/2017/decorative" val="1"/>
                </a:ext>
              </a:extLst>
            </p:cNvPr>
            <p:cNvSpPr/>
            <p:nvPr/>
          </p:nvSpPr>
          <p:spPr bwMode="auto">
            <a:xfrm>
              <a:off x="10201976" y="36388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2" name="Oval 251">
              <a:extLst>
                <a:ext uri="{FF2B5EF4-FFF2-40B4-BE49-F238E27FC236}">
                  <a16:creationId xmlns:a16="http://schemas.microsoft.com/office/drawing/2014/main" id="{7864D2C5-38B0-443F-8E4F-44971AC3ED5A}"/>
                </a:ext>
                <a:ext uri="{C183D7F6-B498-43B3-948B-1728B52AA6E4}">
                  <adec:decorative xmlns:adec="http://schemas.microsoft.com/office/drawing/2017/decorative" val="1"/>
                </a:ext>
              </a:extLst>
            </p:cNvPr>
            <p:cNvSpPr/>
            <p:nvPr/>
          </p:nvSpPr>
          <p:spPr bwMode="auto">
            <a:xfrm>
              <a:off x="11303182" y="340069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3" name="Oval 252">
              <a:extLst>
                <a:ext uri="{FF2B5EF4-FFF2-40B4-BE49-F238E27FC236}">
                  <a16:creationId xmlns:a16="http://schemas.microsoft.com/office/drawing/2014/main" id="{0EA5B4EB-C698-4B2A-8CA0-F52E3626355A}"/>
                </a:ext>
                <a:ext uri="{C183D7F6-B498-43B3-948B-1728B52AA6E4}">
                  <adec:decorative xmlns:adec="http://schemas.microsoft.com/office/drawing/2017/decorative" val="1"/>
                </a:ext>
              </a:extLst>
            </p:cNvPr>
            <p:cNvSpPr/>
            <p:nvPr/>
          </p:nvSpPr>
          <p:spPr bwMode="auto">
            <a:xfrm>
              <a:off x="10401094" y="4081780"/>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4" name="Oval 253">
              <a:extLst>
                <a:ext uri="{FF2B5EF4-FFF2-40B4-BE49-F238E27FC236}">
                  <a16:creationId xmlns:a16="http://schemas.microsoft.com/office/drawing/2014/main" id="{FC5EA6B9-7F7E-4A67-A777-ADAE241C012C}"/>
                </a:ext>
                <a:ext uri="{C183D7F6-B498-43B3-948B-1728B52AA6E4}">
                  <adec:decorative xmlns:adec="http://schemas.microsoft.com/office/drawing/2017/decorative" val="1"/>
                </a:ext>
              </a:extLst>
            </p:cNvPr>
            <p:cNvSpPr/>
            <p:nvPr/>
          </p:nvSpPr>
          <p:spPr bwMode="auto">
            <a:xfrm>
              <a:off x="5859644" y="3153047"/>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5" name="Oval 254">
              <a:extLst>
                <a:ext uri="{FF2B5EF4-FFF2-40B4-BE49-F238E27FC236}">
                  <a16:creationId xmlns:a16="http://schemas.microsoft.com/office/drawing/2014/main" id="{60C781F1-488F-4ACB-9A83-CFF6C2BB2357}"/>
                </a:ext>
                <a:ext uri="{C183D7F6-B498-43B3-948B-1728B52AA6E4}">
                  <adec:decorative xmlns:adec="http://schemas.microsoft.com/office/drawing/2017/decorative" val="1"/>
                </a:ext>
              </a:extLst>
            </p:cNvPr>
            <p:cNvSpPr/>
            <p:nvPr/>
          </p:nvSpPr>
          <p:spPr bwMode="auto">
            <a:xfrm>
              <a:off x="7931332" y="3681685"/>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6" name="Oval 255">
              <a:extLst>
                <a:ext uri="{FF2B5EF4-FFF2-40B4-BE49-F238E27FC236}">
                  <a16:creationId xmlns:a16="http://schemas.microsoft.com/office/drawing/2014/main" id="{8F653F12-DFAA-461C-9607-6C0EBCF7284D}"/>
                </a:ext>
                <a:ext uri="{C183D7F6-B498-43B3-948B-1728B52AA6E4}">
                  <adec:decorative xmlns:adec="http://schemas.microsoft.com/office/drawing/2017/decorative" val="1"/>
                </a:ext>
              </a:extLst>
            </p:cNvPr>
            <p:cNvSpPr/>
            <p:nvPr/>
          </p:nvSpPr>
          <p:spPr bwMode="auto">
            <a:xfrm>
              <a:off x="7788457" y="286729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57" name="Oval 256">
              <a:extLst>
                <a:ext uri="{FF2B5EF4-FFF2-40B4-BE49-F238E27FC236}">
                  <a16:creationId xmlns:a16="http://schemas.microsoft.com/office/drawing/2014/main" id="{BD02F44F-C76D-4B85-A70D-70A1535D60DB}"/>
                </a:ext>
                <a:ext uri="{C183D7F6-B498-43B3-948B-1728B52AA6E4}">
                  <adec:decorative xmlns:adec="http://schemas.microsoft.com/office/drawing/2017/decorative" val="1"/>
                </a:ext>
              </a:extLst>
            </p:cNvPr>
            <p:cNvSpPr/>
            <p:nvPr/>
          </p:nvSpPr>
          <p:spPr bwMode="auto">
            <a:xfrm>
              <a:off x="9826807" y="4410348"/>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17" name="Graphic 69">
              <a:extLst>
                <a:ext uri="{FF2B5EF4-FFF2-40B4-BE49-F238E27FC236}">
                  <a16:creationId xmlns:a16="http://schemas.microsoft.com/office/drawing/2014/main" id="{A3212AE5-554C-4CD9-8279-4DBFCB667CD2}"/>
                </a:ext>
                <a:ext uri="{C183D7F6-B498-43B3-948B-1728B52AA6E4}">
                  <adec:decorative xmlns:adec="http://schemas.microsoft.com/office/drawing/2017/decorative" val="1"/>
                </a:ext>
              </a:extLst>
            </p:cNvPr>
            <p:cNvSpPr/>
            <p:nvPr/>
          </p:nvSpPr>
          <p:spPr>
            <a:xfrm rot="1954878" flipH="1">
              <a:off x="7640291" y="2107464"/>
              <a:ext cx="2719514" cy="1629531"/>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8" name="Graphic 69">
              <a:extLst>
                <a:ext uri="{FF2B5EF4-FFF2-40B4-BE49-F238E27FC236}">
                  <a16:creationId xmlns:a16="http://schemas.microsoft.com/office/drawing/2014/main" id="{B7F19760-2AB5-43C2-9A85-7CCCA2FA86C5}"/>
                </a:ext>
                <a:ext uri="{C183D7F6-B498-43B3-948B-1728B52AA6E4}">
                  <adec:decorative xmlns:adec="http://schemas.microsoft.com/office/drawing/2017/decorative" val="1"/>
                </a:ext>
              </a:extLst>
            </p:cNvPr>
            <p:cNvSpPr/>
            <p:nvPr/>
          </p:nvSpPr>
          <p:spPr>
            <a:xfrm rot="1954878" flipH="1">
              <a:off x="8659022" y="2190989"/>
              <a:ext cx="2358449" cy="1722832"/>
            </a:xfrm>
            <a:custGeom>
              <a:avLst/>
              <a:gdLst>
                <a:gd name="connsiteX0" fmla="*/ 0 w 2412439"/>
                <a:gd name="connsiteY0" fmla="*/ 0 h 3016508"/>
                <a:gd name="connsiteX1" fmla="*/ 2412439 w 2412439"/>
                <a:gd name="connsiteY1" fmla="*/ 3016509 h 3016508"/>
                <a:gd name="connsiteX0" fmla="*/ 0 w 2412439"/>
                <a:gd name="connsiteY0" fmla="*/ 0 h 3016508"/>
                <a:gd name="connsiteX1" fmla="*/ 2412439 w 2412439"/>
                <a:gd name="connsiteY1" fmla="*/ 3016509 h 3016508"/>
                <a:gd name="connsiteX0" fmla="*/ 0 w 2412439"/>
                <a:gd name="connsiteY0" fmla="*/ 12006 h 3028514"/>
                <a:gd name="connsiteX1" fmla="*/ 2412439 w 2412439"/>
                <a:gd name="connsiteY1" fmla="*/ 3028515 h 3028514"/>
                <a:gd name="connsiteX0" fmla="*/ 0 w 2412439"/>
                <a:gd name="connsiteY0" fmla="*/ 0 h 3016508"/>
                <a:gd name="connsiteX1" fmla="*/ 2412439 w 2412439"/>
                <a:gd name="connsiteY1" fmla="*/ 3016509 h 3016508"/>
                <a:gd name="connsiteX0" fmla="*/ 0 w 2409437"/>
                <a:gd name="connsiteY0" fmla="*/ 0 h 2960390"/>
                <a:gd name="connsiteX1" fmla="*/ 2409437 w 2409437"/>
                <a:gd name="connsiteY1" fmla="*/ 2960389 h 2960390"/>
                <a:gd name="connsiteX0" fmla="*/ 0 w 2409437"/>
                <a:gd name="connsiteY0" fmla="*/ 61417 h 3021807"/>
                <a:gd name="connsiteX1" fmla="*/ 2409437 w 2409437"/>
                <a:gd name="connsiteY1" fmla="*/ 3021806 h 3021807"/>
                <a:gd name="connsiteX0" fmla="*/ 0 w 2409437"/>
                <a:gd name="connsiteY0" fmla="*/ 228099 h 3188488"/>
                <a:gd name="connsiteX1" fmla="*/ 2409437 w 2409437"/>
                <a:gd name="connsiteY1" fmla="*/ 3188488 h 3188488"/>
                <a:gd name="connsiteX0" fmla="*/ 0 w 2407349"/>
                <a:gd name="connsiteY0" fmla="*/ 225764 h 3192892"/>
                <a:gd name="connsiteX1" fmla="*/ 2407349 w 2407349"/>
                <a:gd name="connsiteY1" fmla="*/ 3192892 h 3192892"/>
                <a:gd name="connsiteX0" fmla="*/ 0 w 2407349"/>
                <a:gd name="connsiteY0" fmla="*/ 291883 h 3259011"/>
                <a:gd name="connsiteX1" fmla="*/ 2407349 w 2407349"/>
                <a:gd name="connsiteY1" fmla="*/ 3259011 h 3259011"/>
                <a:gd name="connsiteX0" fmla="*/ 0 w 2407349"/>
                <a:gd name="connsiteY0" fmla="*/ 493755 h 3460883"/>
                <a:gd name="connsiteX1" fmla="*/ 2407349 w 2407349"/>
                <a:gd name="connsiteY1" fmla="*/ 3460883 h 3460883"/>
              </a:gdLst>
              <a:ahLst/>
              <a:cxnLst>
                <a:cxn ang="0">
                  <a:pos x="connsiteX0" y="connsiteY0"/>
                </a:cxn>
                <a:cxn ang="0">
                  <a:pos x="connsiteX1" y="connsiteY1"/>
                </a:cxn>
              </a:cxnLst>
              <a:rect l="l" t="t" r="r" b="b"/>
              <a:pathLst>
                <a:path w="2407349" h="3460883">
                  <a:moveTo>
                    <a:pt x="0" y="493755"/>
                  </a:moveTo>
                  <a:cubicBezTo>
                    <a:pt x="0" y="493755"/>
                    <a:pt x="1990673" y="-1788639"/>
                    <a:pt x="2407349" y="3460883"/>
                  </a:cubicBezTo>
                </a:path>
              </a:pathLst>
            </a:custGeom>
            <a:noFill/>
            <a:ln w="9525" cap="flat">
              <a:solidFill>
                <a:schemeClr val="bg1">
                  <a:alpha val="46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9" name="Oval 418">
              <a:extLst>
                <a:ext uri="{FF2B5EF4-FFF2-40B4-BE49-F238E27FC236}">
                  <a16:creationId xmlns:a16="http://schemas.microsoft.com/office/drawing/2014/main" id="{FE625CF3-7E9C-494E-A947-E51F533D163D}"/>
                </a:ext>
                <a:ext uri="{C183D7F6-B498-43B3-948B-1728B52AA6E4}">
                  <adec:decorative xmlns:adec="http://schemas.microsoft.com/office/drawing/2017/decorative" val="1"/>
                </a:ext>
              </a:extLst>
            </p:cNvPr>
            <p:cNvSpPr/>
            <p:nvPr/>
          </p:nvSpPr>
          <p:spPr bwMode="auto">
            <a:xfrm>
              <a:off x="9518832" y="2286272"/>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20" name="Oval 419">
              <a:extLst>
                <a:ext uri="{FF2B5EF4-FFF2-40B4-BE49-F238E27FC236}">
                  <a16:creationId xmlns:a16="http://schemas.microsoft.com/office/drawing/2014/main" id="{134BD34D-2920-421B-8196-2722CCD1A0BB}"/>
                </a:ext>
                <a:ext uri="{C183D7F6-B498-43B3-948B-1728B52AA6E4}">
                  <adec:decorative xmlns:adec="http://schemas.microsoft.com/office/drawing/2017/decorative" val="1"/>
                </a:ext>
              </a:extLst>
            </p:cNvPr>
            <p:cNvSpPr/>
            <p:nvPr/>
          </p:nvSpPr>
          <p:spPr bwMode="auto">
            <a:xfrm>
              <a:off x="7056312" y="2057709"/>
              <a:ext cx="72710" cy="727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4" name="Oval 433">
              <a:extLst>
                <a:ext uri="{FF2B5EF4-FFF2-40B4-BE49-F238E27FC236}">
                  <a16:creationId xmlns:a16="http://schemas.microsoft.com/office/drawing/2014/main" id="{BEE4B5D4-119C-40D0-A40F-119749DDDFE3}"/>
                </a:ext>
                <a:ext uri="{C183D7F6-B498-43B3-948B-1728B52AA6E4}">
                  <adec:decorative xmlns:adec="http://schemas.microsoft.com/office/drawing/2017/decorative" val="1"/>
                </a:ext>
              </a:extLst>
            </p:cNvPr>
            <p:cNvSpPr/>
            <p:nvPr/>
          </p:nvSpPr>
          <p:spPr bwMode="auto">
            <a:xfrm>
              <a:off x="5507701" y="378429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5" name="Oval 434">
              <a:extLst>
                <a:ext uri="{FF2B5EF4-FFF2-40B4-BE49-F238E27FC236}">
                  <a16:creationId xmlns:a16="http://schemas.microsoft.com/office/drawing/2014/main" id="{81140CD0-47E2-4C47-A736-2334CDC17651}"/>
                </a:ext>
                <a:ext uri="{C183D7F6-B498-43B3-948B-1728B52AA6E4}">
                  <adec:decorative xmlns:adec="http://schemas.microsoft.com/office/drawing/2017/decorative" val="1"/>
                </a:ext>
              </a:extLst>
            </p:cNvPr>
            <p:cNvSpPr/>
            <p:nvPr/>
          </p:nvSpPr>
          <p:spPr bwMode="auto">
            <a:xfrm>
              <a:off x="6618951" y="17459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6" name="Oval 435">
              <a:extLst>
                <a:ext uri="{FF2B5EF4-FFF2-40B4-BE49-F238E27FC236}">
                  <a16:creationId xmlns:a16="http://schemas.microsoft.com/office/drawing/2014/main" id="{819CCCE4-9BD1-4220-9CCF-11260C8A5BED}"/>
                </a:ext>
                <a:ext uri="{C183D7F6-B498-43B3-948B-1728B52AA6E4}">
                  <adec:decorative xmlns:adec="http://schemas.microsoft.com/office/drawing/2017/decorative" val="1"/>
                </a:ext>
              </a:extLst>
            </p:cNvPr>
            <p:cNvSpPr/>
            <p:nvPr/>
          </p:nvSpPr>
          <p:spPr bwMode="auto">
            <a:xfrm>
              <a:off x="9235151" y="49971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7" name="Oval 436">
              <a:extLst>
                <a:ext uri="{FF2B5EF4-FFF2-40B4-BE49-F238E27FC236}">
                  <a16:creationId xmlns:a16="http://schemas.microsoft.com/office/drawing/2014/main" id="{FA68F897-AB85-45E5-817D-143513A1BA6C}"/>
                </a:ext>
                <a:ext uri="{C183D7F6-B498-43B3-948B-1728B52AA6E4}">
                  <adec:decorative xmlns:adec="http://schemas.microsoft.com/office/drawing/2017/decorative" val="1"/>
                </a:ext>
              </a:extLst>
            </p:cNvPr>
            <p:cNvSpPr/>
            <p:nvPr/>
          </p:nvSpPr>
          <p:spPr bwMode="auto">
            <a:xfrm>
              <a:off x="9067511" y="8823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8" name="Oval 437">
              <a:extLst>
                <a:ext uri="{FF2B5EF4-FFF2-40B4-BE49-F238E27FC236}">
                  <a16:creationId xmlns:a16="http://schemas.microsoft.com/office/drawing/2014/main" id="{D536BE13-4EF9-406D-98DE-ED5D41070D35}"/>
                </a:ext>
                <a:ext uri="{C183D7F6-B498-43B3-948B-1728B52AA6E4}">
                  <adec:decorative xmlns:adec="http://schemas.microsoft.com/office/drawing/2017/decorative" val="1"/>
                </a:ext>
              </a:extLst>
            </p:cNvPr>
            <p:cNvSpPr/>
            <p:nvPr/>
          </p:nvSpPr>
          <p:spPr bwMode="auto">
            <a:xfrm>
              <a:off x="10530551" y="550768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39" name="Oval 438">
              <a:extLst>
                <a:ext uri="{FF2B5EF4-FFF2-40B4-BE49-F238E27FC236}">
                  <a16:creationId xmlns:a16="http://schemas.microsoft.com/office/drawing/2014/main" id="{2787F28D-BA31-4FC1-82F5-CDFE2CE73DDA}"/>
                </a:ext>
                <a:ext uri="{C183D7F6-B498-43B3-948B-1728B52AA6E4}">
                  <adec:decorative xmlns:adec="http://schemas.microsoft.com/office/drawing/2017/decorative" val="1"/>
                </a:ext>
              </a:extLst>
            </p:cNvPr>
            <p:cNvSpPr/>
            <p:nvPr/>
          </p:nvSpPr>
          <p:spPr bwMode="auto">
            <a:xfrm>
              <a:off x="10073351" y="310849"/>
              <a:ext cx="169200" cy="169194"/>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pic>
          <p:nvPicPr>
            <p:cNvPr id="135" name="Picture 134">
              <a:extLst>
                <a:ext uri="{FF2B5EF4-FFF2-40B4-BE49-F238E27FC236}">
                  <a16:creationId xmlns:a16="http://schemas.microsoft.com/office/drawing/2014/main" id="{F58E05F2-819B-4517-B687-FC81F0131C0A}"/>
                </a:ext>
                <a:ext uri="{C183D7F6-B498-43B3-948B-1728B52AA6E4}">
                  <adec:decorative xmlns:adec="http://schemas.microsoft.com/office/drawing/2017/decorative" val="1"/>
                </a:ext>
              </a:extLst>
            </p:cNvPr>
            <p:cNvPicPr>
              <a:picLocks noChangeAspect="1"/>
            </p:cNvPicPr>
            <p:nvPr userDrawn="1"/>
          </p:nvPicPr>
          <p:blipFill rotWithShape="1">
            <a:blip r:embed="rId3"/>
            <a:srcRect t="1878" r="760"/>
            <a:stretch/>
          </p:blipFill>
          <p:spPr>
            <a:xfrm>
              <a:off x="6808031" y="350981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6" name="Picture 135">
              <a:extLst>
                <a:ext uri="{FF2B5EF4-FFF2-40B4-BE49-F238E27FC236}">
                  <a16:creationId xmlns:a16="http://schemas.microsoft.com/office/drawing/2014/main" id="{83530AD0-3F71-4D3B-A7C2-4EFBA10D3A7E}"/>
                </a:ext>
                <a:ext uri="{C183D7F6-B498-43B3-948B-1728B52AA6E4}">
                  <adec:decorative xmlns:adec="http://schemas.microsoft.com/office/drawing/2017/decorative" val="1"/>
                </a:ext>
              </a:extLst>
            </p:cNvPr>
            <p:cNvPicPr>
              <a:picLocks noChangeAspect="1"/>
            </p:cNvPicPr>
            <p:nvPr userDrawn="1"/>
          </p:nvPicPr>
          <p:blipFill rotWithShape="1">
            <a:blip r:embed="rId4"/>
            <a:srcRect l="1" t="3181" r="1230" b="10357"/>
            <a:stretch/>
          </p:blipFill>
          <p:spPr>
            <a:xfrm>
              <a:off x="7921796" y="2713842"/>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7" name="Picture 136">
              <a:extLst>
                <a:ext uri="{FF2B5EF4-FFF2-40B4-BE49-F238E27FC236}">
                  <a16:creationId xmlns:a16="http://schemas.microsoft.com/office/drawing/2014/main" id="{700BC02D-9324-4E43-BE64-B5BD6FE6C45E}"/>
                </a:ext>
                <a:ext uri="{C183D7F6-B498-43B3-948B-1728B52AA6E4}">
                  <adec:decorative xmlns:adec="http://schemas.microsoft.com/office/drawing/2017/decorative" val="1"/>
                </a:ext>
              </a:extLst>
            </p:cNvPr>
            <p:cNvPicPr>
              <a:picLocks noChangeAspect="1"/>
            </p:cNvPicPr>
            <p:nvPr userDrawn="1"/>
          </p:nvPicPr>
          <p:blipFill rotWithShape="1">
            <a:blip r:embed="rId5"/>
            <a:srcRect l="9375" r="11059"/>
            <a:stretch/>
          </p:blipFill>
          <p:spPr>
            <a:xfrm>
              <a:off x="10176511" y="263878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8" name="Picture 137">
              <a:extLst>
                <a:ext uri="{FF2B5EF4-FFF2-40B4-BE49-F238E27FC236}">
                  <a16:creationId xmlns:a16="http://schemas.microsoft.com/office/drawing/2014/main" id="{47BB9DBB-9C91-4BEC-ABA1-5F96341F0B76}"/>
                </a:ext>
                <a:ext uri="{C183D7F6-B498-43B3-948B-1728B52AA6E4}">
                  <adec:decorative xmlns:adec="http://schemas.microsoft.com/office/drawing/2017/decorative" val="1"/>
                </a:ext>
              </a:extLst>
            </p:cNvPr>
            <p:cNvPicPr>
              <a:picLocks noChangeAspect="1"/>
            </p:cNvPicPr>
            <p:nvPr userDrawn="1"/>
          </p:nvPicPr>
          <p:blipFill rotWithShape="1">
            <a:blip r:embed="rId6"/>
            <a:srcRect l="783" t="9835" r="8283"/>
            <a:stretch/>
          </p:blipFill>
          <p:spPr>
            <a:xfrm>
              <a:off x="7086640" y="2414195"/>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39" name="Picture 138">
              <a:extLst>
                <a:ext uri="{FF2B5EF4-FFF2-40B4-BE49-F238E27FC236}">
                  <a16:creationId xmlns:a16="http://schemas.microsoft.com/office/drawing/2014/main" id="{1E0D8C07-4974-4119-9C33-74095AA9E3A5}"/>
                </a:ext>
                <a:ext uri="{C183D7F6-B498-43B3-948B-1728B52AA6E4}">
                  <adec:decorative xmlns:adec="http://schemas.microsoft.com/office/drawing/2017/decorative" val="1"/>
                </a:ext>
              </a:extLst>
            </p:cNvPr>
            <p:cNvPicPr>
              <a:picLocks noChangeAspect="1"/>
            </p:cNvPicPr>
            <p:nvPr userDrawn="1"/>
          </p:nvPicPr>
          <p:blipFill rotWithShape="1">
            <a:blip r:embed="rId7"/>
            <a:srcRect l="7463" r="2802"/>
            <a:stretch/>
          </p:blipFill>
          <p:spPr>
            <a:xfrm>
              <a:off x="9585580" y="3157476"/>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40" name="Picture 139">
              <a:extLst>
                <a:ext uri="{FF2B5EF4-FFF2-40B4-BE49-F238E27FC236}">
                  <a16:creationId xmlns:a16="http://schemas.microsoft.com/office/drawing/2014/main" id="{8FBAC906-B4E2-4E8A-902E-7F8510D244E7}"/>
                </a:ext>
                <a:ext uri="{C183D7F6-B498-43B3-948B-1728B52AA6E4}">
                  <adec:decorative xmlns:adec="http://schemas.microsoft.com/office/drawing/2017/decorative" val="1"/>
                </a:ext>
              </a:extLst>
            </p:cNvPr>
            <p:cNvPicPr>
              <a:picLocks noChangeAspect="1"/>
            </p:cNvPicPr>
            <p:nvPr userDrawn="1"/>
          </p:nvPicPr>
          <p:blipFill rotWithShape="1">
            <a:blip r:embed="rId8"/>
            <a:srcRect l="11999" t="4404" r="21096" b="27947"/>
            <a:stretch/>
          </p:blipFill>
          <p:spPr>
            <a:xfrm>
              <a:off x="6163977" y="2994647"/>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41" name="Picture 140">
              <a:extLst>
                <a:ext uri="{FF2B5EF4-FFF2-40B4-BE49-F238E27FC236}">
                  <a16:creationId xmlns:a16="http://schemas.microsoft.com/office/drawing/2014/main" id="{25A23D1C-6AB3-4364-B29E-50A3D05CEDD8}"/>
                </a:ext>
                <a:ext uri="{C183D7F6-B498-43B3-948B-1728B52AA6E4}">
                  <adec:decorative xmlns:adec="http://schemas.microsoft.com/office/drawing/2017/decorative" val="1"/>
                </a:ext>
              </a:extLst>
            </p:cNvPr>
            <p:cNvPicPr>
              <a:picLocks noChangeAspect="1"/>
            </p:cNvPicPr>
            <p:nvPr userDrawn="1"/>
          </p:nvPicPr>
          <p:blipFill rotWithShape="1">
            <a:blip r:embed="rId9"/>
            <a:srcRect l="8955" t="11023" r="8666" b="1144"/>
            <a:stretch/>
          </p:blipFill>
          <p:spPr>
            <a:xfrm>
              <a:off x="8474468" y="3672425"/>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0" name="Picture 149">
              <a:extLst>
                <a:ext uri="{FF2B5EF4-FFF2-40B4-BE49-F238E27FC236}">
                  <a16:creationId xmlns:a16="http://schemas.microsoft.com/office/drawing/2014/main" id="{7A3F56A3-B63F-49BA-8517-30D8DAF1B087}"/>
                </a:ext>
                <a:ext uri="{C183D7F6-B498-43B3-948B-1728B52AA6E4}">
                  <adec:decorative xmlns:adec="http://schemas.microsoft.com/office/drawing/2017/decorative" val="1"/>
                </a:ext>
              </a:extLst>
            </p:cNvPr>
            <p:cNvPicPr>
              <a:picLocks noChangeAspect="1"/>
            </p:cNvPicPr>
            <p:nvPr userDrawn="1"/>
          </p:nvPicPr>
          <p:blipFill rotWithShape="1">
            <a:blip r:embed="rId10"/>
            <a:srcRect r="3974"/>
            <a:stretch/>
          </p:blipFill>
          <p:spPr>
            <a:xfrm>
              <a:off x="8693867" y="2973446"/>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1" name="Picture 150">
              <a:extLst>
                <a:ext uri="{FF2B5EF4-FFF2-40B4-BE49-F238E27FC236}">
                  <a16:creationId xmlns:a16="http://schemas.microsoft.com/office/drawing/2014/main" id="{680F441D-A5A3-434C-B818-4E7CF80DD3EC}"/>
                </a:ext>
                <a:ext uri="{C183D7F6-B498-43B3-948B-1728B52AA6E4}">
                  <adec:decorative xmlns:adec="http://schemas.microsoft.com/office/drawing/2017/decorative" val="1"/>
                </a:ext>
              </a:extLst>
            </p:cNvPr>
            <p:cNvPicPr>
              <a:picLocks noChangeAspect="1"/>
            </p:cNvPicPr>
            <p:nvPr userDrawn="1"/>
          </p:nvPicPr>
          <p:blipFill rotWithShape="1">
            <a:blip r:embed="rId11"/>
            <a:srcRect t="5271"/>
            <a:stretch/>
          </p:blipFill>
          <p:spPr>
            <a:xfrm>
              <a:off x="10701826" y="3690774"/>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2" name="Picture 151">
              <a:extLst>
                <a:ext uri="{FF2B5EF4-FFF2-40B4-BE49-F238E27FC236}">
                  <a16:creationId xmlns:a16="http://schemas.microsoft.com/office/drawing/2014/main" id="{D26385FE-F73E-4163-A322-AA323481C4EE}"/>
                </a:ext>
                <a:ext uri="{C183D7F6-B498-43B3-948B-1728B52AA6E4}">
                  <adec:decorative xmlns:adec="http://schemas.microsoft.com/office/drawing/2017/decorative" val="1"/>
                </a:ext>
              </a:extLst>
            </p:cNvPr>
            <p:cNvPicPr>
              <a:picLocks noChangeAspect="1"/>
            </p:cNvPicPr>
            <p:nvPr userDrawn="1"/>
          </p:nvPicPr>
          <p:blipFill rotWithShape="1">
            <a:blip r:embed="rId12"/>
            <a:srcRect t="2023" b="5763"/>
            <a:stretch/>
          </p:blipFill>
          <p:spPr>
            <a:xfrm>
              <a:off x="10904250" y="2701344"/>
              <a:ext cx="549702" cy="548640"/>
            </a:xfrm>
            <a:prstGeom prst="ellipse">
              <a:avLst/>
            </a:prstGeom>
            <a:ln w="22225">
              <a:solidFill>
                <a:schemeClr val="bg1"/>
              </a:solidFill>
            </a:ln>
            <a:effectLst>
              <a:outerShdw blurRad="88900" algn="ctr" rotWithShape="0">
                <a:prstClr val="black">
                  <a:alpha val="70000"/>
                </a:prstClr>
              </a:outerShdw>
            </a:effectLst>
          </p:spPr>
        </p:pic>
        <p:pic>
          <p:nvPicPr>
            <p:cNvPr id="155" name="Picture 154">
              <a:extLst>
                <a:ext uri="{FF2B5EF4-FFF2-40B4-BE49-F238E27FC236}">
                  <a16:creationId xmlns:a16="http://schemas.microsoft.com/office/drawing/2014/main" id="{D291A526-4DE7-4D30-B52D-53DB8753730D}"/>
                </a:ext>
                <a:ext uri="{C183D7F6-B498-43B3-948B-1728B52AA6E4}">
                  <adec:decorative xmlns:adec="http://schemas.microsoft.com/office/drawing/2017/decorative" val="1"/>
                </a:ext>
              </a:extLst>
            </p:cNvPr>
            <p:cNvPicPr>
              <a:picLocks noChangeAspect="1"/>
            </p:cNvPicPr>
            <p:nvPr userDrawn="1"/>
          </p:nvPicPr>
          <p:blipFill rotWithShape="1">
            <a:blip r:embed="rId13"/>
            <a:srcRect r="675" b="5393"/>
            <a:stretch/>
          </p:blipFill>
          <p:spPr>
            <a:xfrm>
              <a:off x="5563566" y="2516597"/>
              <a:ext cx="548524" cy="548640"/>
            </a:xfrm>
            <a:prstGeom prst="ellipse">
              <a:avLst/>
            </a:prstGeom>
            <a:ln w="22225">
              <a:solidFill>
                <a:schemeClr val="bg1"/>
              </a:solidFill>
            </a:ln>
            <a:effectLst>
              <a:outerShdw blurRad="88900" algn="ctr" rotWithShape="0">
                <a:prstClr val="black">
                  <a:alpha val="70000"/>
                </a:prstClr>
              </a:outerShdw>
            </a:effectLst>
          </p:spPr>
        </p:pic>
      </p:grpSp>
    </p:spTree>
    <p:extLst>
      <p:ext uri="{BB962C8B-B14F-4D97-AF65-F5344CB8AC3E}">
        <p14:creationId xmlns:p14="http://schemas.microsoft.com/office/powerpoint/2010/main" val="370088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737" y="2426215"/>
            <a:ext cx="4989051" cy="1847481"/>
          </a:xfrm>
        </p:spPr>
        <p:txBody>
          <a:bodyPr anchor="ctr" anchorCtr="0">
            <a:noAutofit/>
          </a:bodyPr>
          <a:lstStyle>
            <a:lvl1pPr>
              <a:defRPr sz="4313"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45427" y="0"/>
            <a:ext cx="6046573" cy="6856100"/>
          </a:xfrm>
          <a:no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70362DB7-9AFE-415B-996F-B55BBF91944E}"/>
              </a:ext>
              <a:ext uri="{C183D7F6-B498-43B3-948B-1728B52AA6E4}">
                <adec:decorative xmlns:adec="http://schemas.microsoft.com/office/drawing/2017/decorative" val="1"/>
              </a:ext>
            </a:extLst>
          </p:cNvPr>
          <p:cNvSpPr/>
          <p:nvPr userDrawn="1"/>
        </p:nvSpPr>
        <p:spPr bwMode="auto">
          <a:xfrm>
            <a:off x="6046574" y="0"/>
            <a:ext cx="9885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spTree>
    <p:extLst>
      <p:ext uri="{BB962C8B-B14F-4D97-AF65-F5344CB8AC3E}">
        <p14:creationId xmlns:p14="http://schemas.microsoft.com/office/powerpoint/2010/main" val="254990299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1" y="0"/>
            <a:ext cx="6858000" cy="430901"/>
          </a:xfrm>
        </p:spPr>
        <p:txBody>
          <a:bodyPr/>
          <a:lstStyle/>
          <a:p>
            <a:r>
              <a:rPr lang="en-US"/>
              <a:t>Click icon to add picture</a:t>
            </a:r>
          </a:p>
        </p:txBody>
      </p:sp>
      <p:pic>
        <p:nvPicPr>
          <p:cNvPr id="7" name="MS logo gray - EMF" descr="Microsoft logo">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879405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 text</a:t>
            </a:r>
          </a:p>
        </p:txBody>
      </p:sp>
      <p:pic>
        <p:nvPicPr>
          <p:cNvPr id="7" name="MS logo white - EMF" descr="Microsoft logo">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13303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 text</a:t>
            </a:r>
          </a:p>
        </p:txBody>
      </p:sp>
      <p:pic>
        <p:nvPicPr>
          <p:cNvPr id="7" name="MS logo white - EMF" descr="Microsoft logo">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349034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42020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_white background">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94434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1"/>
            <a:ext cx="6270625" cy="430901"/>
          </a:xfrm>
        </p:spPr>
        <p:txBody>
          <a:bodyPr/>
          <a:lstStyle/>
          <a:p>
            <a:r>
              <a:rPr lang="en-US"/>
              <a:t>Click icon to add picture</a:t>
            </a:r>
          </a:p>
        </p:txBody>
      </p:sp>
    </p:spTree>
    <p:extLst>
      <p:ext uri="{BB962C8B-B14F-4D97-AF65-F5344CB8AC3E}">
        <p14:creationId xmlns:p14="http://schemas.microsoft.com/office/powerpoint/2010/main" val="3805567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Sans Text" pitchFamily="2"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46925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Sans Text" pitchFamily="2"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11678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613BA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987BB17-8CBA-4C00-5878-0C806B8224BC}"/>
              </a:ext>
            </a:extLst>
          </p:cNvPr>
          <p:cNvSpPr/>
          <p:nvPr userDrawn="1"/>
        </p:nvSpPr>
        <p:spPr bwMode="auto">
          <a:xfrm>
            <a:off x="204952" y="193150"/>
            <a:ext cx="11782096" cy="6352793"/>
          </a:xfrm>
          <a:prstGeom prst="rect">
            <a:avLst/>
          </a:prstGeom>
          <a:solidFill>
            <a:schemeClr val="bg1"/>
          </a:solidFill>
          <a:ln w="28575">
            <a:solidFill>
              <a:srgbClr val="7656AD"/>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Tree>
    <p:extLst>
      <p:ext uri="{BB962C8B-B14F-4D97-AF65-F5344CB8AC3E}">
        <p14:creationId xmlns:p14="http://schemas.microsoft.com/office/powerpoint/2010/main" val="7864674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065" y="1926549"/>
            <a:ext cx="3965648" cy="1108121"/>
          </a:xfrm>
        </p:spPr>
        <p:txBody>
          <a:bodyPr anchor="t"/>
          <a:lstStyle>
            <a:lvl1pPr algn="l">
              <a:defRPr/>
            </a:lvl1pPr>
          </a:lstStyle>
          <a:p>
            <a:r>
              <a:rPr lang="en-US"/>
              <a:t>Click to edit Master title style</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8065" y="3434496"/>
            <a:ext cx="3965648" cy="325911"/>
          </a:xfrm>
        </p:spPr>
        <p:txBody>
          <a:bodyPr/>
          <a:lstStyle>
            <a:lvl1pPr marL="0" indent="0" algn="l">
              <a:spcBef>
                <a:spcPts val="0"/>
              </a:spcBef>
              <a:buNone/>
              <a:defRPr kumimoji="0" lang="en-US" sz="2353" b="0" i="0" u="none" strike="noStrike" kern="1200" cap="none" spc="0" normalizeH="0" baseline="0" dirty="0">
                <a:ln>
                  <a:noFill/>
                </a:ln>
                <a:solidFill>
                  <a:schemeClr val="accent1"/>
                </a:solidFill>
                <a:effectLst/>
                <a:uLnTx/>
                <a:uFillTx/>
                <a:latin typeface="+mj-lt"/>
                <a:ea typeface="+mn-ea"/>
                <a:cs typeface="+mn-cs"/>
              </a:defRPr>
            </a:lvl1pPr>
          </a:lstStyle>
          <a:p>
            <a:pPr marL="0" marR="0" lvl="0" indent="0" algn="l" defTabSz="89635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8065" y="3950317"/>
            <a:ext cx="3965648" cy="244433"/>
          </a:xfrm>
        </p:spPr>
        <p:txBody>
          <a:bodyPr/>
          <a:lstStyle>
            <a:lvl1pPr marL="0" indent="0" algn="l">
              <a:spcBef>
                <a:spcPts val="0"/>
              </a:spcBef>
              <a:buNone/>
              <a:defRPr kumimoji="0" lang="en-US" sz="1765" b="0" i="0" u="none" strike="noStrike" kern="1200" cap="none" spc="0" normalizeH="0" baseline="0" dirty="0">
                <a:ln>
                  <a:noFill/>
                </a:ln>
                <a:solidFill>
                  <a:srgbClr val="000000"/>
                </a:solidFill>
                <a:effectLst/>
                <a:uLnTx/>
                <a:uFillTx/>
                <a:latin typeface="Segoe Sans Text" pitchFamily="2" charset="0"/>
                <a:ea typeface="+mn-ea"/>
                <a:cs typeface="+mn-cs"/>
              </a:defRPr>
            </a:lvl1pPr>
          </a:lstStyle>
          <a:p>
            <a:pPr marL="0" marR="0" lvl="0" indent="0" algn="l" defTabSz="896354"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2" name="Rectangle: Rounded Corners 21">
            <a:extLst>
              <a:ext uri="{FF2B5EF4-FFF2-40B4-BE49-F238E27FC236}">
                <a16:creationId xmlns:a16="http://schemas.microsoft.com/office/drawing/2014/main" id="{B40F1EED-FB3C-4A2F-B231-6C9978BF8402}"/>
              </a:ext>
              <a:ext uri="{C183D7F6-B498-43B3-948B-1728B52AA6E4}">
                <adec:decorative xmlns:adec="http://schemas.microsoft.com/office/drawing/2017/decorative" val="1"/>
              </a:ext>
            </a:extLst>
          </p:cNvPr>
          <p:cNvSpPr/>
          <p:nvPr userDrawn="1"/>
        </p:nvSpPr>
        <p:spPr bwMode="auto">
          <a:xfrm>
            <a:off x="588263" y="1736426"/>
            <a:ext cx="896425" cy="94034"/>
          </a:xfrm>
          <a:prstGeom prst="roundRect">
            <a:avLst>
              <a:gd name="adj" fmla="val 50000"/>
            </a:avLst>
          </a:prstGeom>
          <a:gradFill flip="none" rotWithShape="1">
            <a:gsLst>
              <a:gs pos="0">
                <a:srgbClr val="0B79D5"/>
              </a:gs>
              <a:gs pos="100000">
                <a:srgbClr val="4CB1FF"/>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IN" sz="1961"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grpSp>
        <p:nvGrpSpPr>
          <p:cNvPr id="4" name="Group 3">
            <a:extLst>
              <a:ext uri="{FF2B5EF4-FFF2-40B4-BE49-F238E27FC236}">
                <a16:creationId xmlns:a16="http://schemas.microsoft.com/office/drawing/2014/main" id="{C4711C09-7DFD-470A-A8E5-FD812A4863A0}"/>
              </a:ext>
              <a:ext uri="{C183D7F6-B498-43B3-948B-1728B52AA6E4}">
                <adec:decorative xmlns:adec="http://schemas.microsoft.com/office/drawing/2017/decorative" val="1"/>
              </a:ext>
            </a:extLst>
          </p:cNvPr>
          <p:cNvGrpSpPr/>
          <p:nvPr userDrawn="1"/>
        </p:nvGrpSpPr>
        <p:grpSpPr>
          <a:xfrm>
            <a:off x="6187459" y="-203944"/>
            <a:ext cx="6745344" cy="6350247"/>
            <a:chOff x="6311530" y="-208004"/>
            <a:chExt cx="6880602" cy="6476664"/>
          </a:xfrm>
        </p:grpSpPr>
        <p:sp>
          <p:nvSpPr>
            <p:cNvPr id="29" name="Oval 28">
              <a:extLst>
                <a:ext uri="{FF2B5EF4-FFF2-40B4-BE49-F238E27FC236}">
                  <a16:creationId xmlns:a16="http://schemas.microsoft.com/office/drawing/2014/main" id="{8280ED92-CC50-4C9D-B806-26A951E5ABD4}"/>
                </a:ext>
                <a:ext uri="{C183D7F6-B498-43B3-948B-1728B52AA6E4}">
                  <adec:decorative xmlns:adec="http://schemas.microsoft.com/office/drawing/2017/decorative" val="1"/>
                </a:ext>
              </a:extLst>
            </p:cNvPr>
            <p:cNvSpPr/>
            <p:nvPr userDrawn="1"/>
          </p:nvSpPr>
          <p:spPr bwMode="auto">
            <a:xfrm>
              <a:off x="6311530" y="339213"/>
              <a:ext cx="2959470" cy="2959467"/>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30" name="Oval 29">
              <a:extLst>
                <a:ext uri="{FF2B5EF4-FFF2-40B4-BE49-F238E27FC236}">
                  <a16:creationId xmlns:a16="http://schemas.microsoft.com/office/drawing/2014/main" id="{9E06A816-15E2-4C58-BCD9-CCFEDDC99E56}"/>
                </a:ext>
                <a:ext uri="{C183D7F6-B498-43B3-948B-1728B52AA6E4}">
                  <adec:decorative xmlns:adec="http://schemas.microsoft.com/office/drawing/2017/decorative" val="1"/>
                </a:ext>
              </a:extLst>
            </p:cNvPr>
            <p:cNvSpPr/>
            <p:nvPr userDrawn="1"/>
          </p:nvSpPr>
          <p:spPr bwMode="auto">
            <a:xfrm>
              <a:off x="8406660" y="325629"/>
              <a:ext cx="800470" cy="800469"/>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31" name="Oval 30">
              <a:extLst>
                <a:ext uri="{FF2B5EF4-FFF2-40B4-BE49-F238E27FC236}">
                  <a16:creationId xmlns:a16="http://schemas.microsoft.com/office/drawing/2014/main" id="{D690A43B-4828-436A-9A95-D3CE17351253}"/>
                </a:ext>
                <a:ext uri="{C183D7F6-B498-43B3-948B-1728B52AA6E4}">
                  <adec:decorative xmlns:adec="http://schemas.microsoft.com/office/drawing/2017/decorative" val="1"/>
                </a:ext>
              </a:extLst>
            </p:cNvPr>
            <p:cNvSpPr/>
            <p:nvPr userDrawn="1"/>
          </p:nvSpPr>
          <p:spPr bwMode="auto">
            <a:xfrm>
              <a:off x="6963006" y="4866107"/>
              <a:ext cx="1169140" cy="1169139"/>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28" name="Oval 27">
              <a:extLst>
                <a:ext uri="{FF2B5EF4-FFF2-40B4-BE49-F238E27FC236}">
                  <a16:creationId xmlns:a16="http://schemas.microsoft.com/office/drawing/2014/main" id="{80FB9C96-48F1-467E-9620-297B14E049A9}"/>
                </a:ext>
                <a:ext uri="{C183D7F6-B498-43B3-948B-1728B52AA6E4}">
                  <adec:decorative xmlns:adec="http://schemas.microsoft.com/office/drawing/2017/decorative" val="1"/>
                </a:ext>
              </a:extLst>
            </p:cNvPr>
            <p:cNvSpPr/>
            <p:nvPr userDrawn="1"/>
          </p:nvSpPr>
          <p:spPr bwMode="auto">
            <a:xfrm>
              <a:off x="6660961" y="725864"/>
              <a:ext cx="5542802" cy="55427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27" name="Oval 26">
              <a:extLst>
                <a:ext uri="{FF2B5EF4-FFF2-40B4-BE49-F238E27FC236}">
                  <a16:creationId xmlns:a16="http://schemas.microsoft.com/office/drawing/2014/main" id="{207A8A79-9E2B-4114-A74C-AE1B0A4673AB}"/>
                </a:ext>
                <a:ext uri="{C183D7F6-B498-43B3-948B-1728B52AA6E4}">
                  <adec:decorative xmlns:adec="http://schemas.microsoft.com/office/drawing/2017/decorative" val="1"/>
                </a:ext>
              </a:extLst>
            </p:cNvPr>
            <p:cNvSpPr/>
            <p:nvPr userDrawn="1"/>
          </p:nvSpPr>
          <p:spPr bwMode="auto">
            <a:xfrm>
              <a:off x="6963006" y="1027909"/>
              <a:ext cx="4938712" cy="493870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603479" y="-208004"/>
              <a:ext cx="588653" cy="15695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gr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114041" y="1296100"/>
            <a:ext cx="4265800" cy="4265799"/>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Tree>
    <p:extLst>
      <p:ext uri="{BB962C8B-B14F-4D97-AF65-F5344CB8AC3E}">
        <p14:creationId xmlns:p14="http://schemas.microsoft.com/office/powerpoint/2010/main" val="2023347345"/>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49000" cy="492443"/>
          </a:xfrm>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0583610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906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288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28F1A-9257-C6E3-2EEF-A00BF266EFAD}"/>
              </a:ext>
            </a:extLst>
          </p:cNvPr>
          <p:cNvSpPr>
            <a:spLocks noGrp="1"/>
          </p:cNvSpPr>
          <p:nvPr>
            <p:ph type="title"/>
          </p:nvPr>
        </p:nvSpPr>
        <p:spPr/>
        <p:txBody>
          <a:bodyPr/>
          <a:lstStyle/>
          <a:p>
            <a:r>
              <a:rPr lang="en-US"/>
              <a:t>Click to edit Master title style</a:t>
            </a:r>
          </a:p>
        </p:txBody>
      </p:sp>
      <p:pic>
        <p:nvPicPr>
          <p:cNvPr id="4" name="Graphic 3">
            <a:extLst>
              <a:ext uri="{FF2B5EF4-FFF2-40B4-BE49-F238E27FC236}">
                <a16:creationId xmlns:a16="http://schemas.microsoft.com/office/drawing/2014/main" id="{CD9375C5-D3F6-6F64-1D3C-59E8C18A4997}"/>
              </a:ext>
            </a:extLst>
          </p:cNvPr>
          <p:cNvPicPr>
            <a:picLocks noChangeAspect="1"/>
          </p:cNvPicPr>
          <p:nvPr userDrawn="1"/>
        </p:nvPicPr>
        <p:blipFill rotWithShape="1">
          <a:blip r:embed="rId2">
            <a:alphaModFix amt="40000"/>
            <a:extLst>
              <a:ext uri="{96DAC541-7B7A-43D3-8B79-37D633B846F1}">
                <asvg:svgBlip xmlns:asvg="http://schemas.microsoft.com/office/drawing/2016/SVG/main" r:embed="rId3"/>
              </a:ext>
            </a:extLst>
          </a:blip>
          <a:srcRect l="6728" t="15844" r="2559" b="24788"/>
          <a:stretch/>
        </p:blipFill>
        <p:spPr>
          <a:xfrm>
            <a:off x="0" y="2194560"/>
            <a:ext cx="12192000" cy="4663440"/>
          </a:xfrm>
          <a:prstGeom prst="rect">
            <a:avLst/>
          </a:prstGeom>
        </p:spPr>
      </p:pic>
      <p:sp>
        <p:nvSpPr>
          <p:cNvPr id="5" name="Rectangle: Top Corners Rounded 4">
            <a:extLst>
              <a:ext uri="{FF2B5EF4-FFF2-40B4-BE49-F238E27FC236}">
                <a16:creationId xmlns:a16="http://schemas.microsoft.com/office/drawing/2014/main" id="{C5223C6B-5689-5C20-8176-629DC8888F66}"/>
              </a:ext>
            </a:extLst>
          </p:cNvPr>
          <p:cNvSpPr/>
          <p:nvPr userDrawn="1"/>
        </p:nvSpPr>
        <p:spPr bwMode="auto">
          <a:xfrm rot="5400000">
            <a:off x="5704887" y="-4377529"/>
            <a:ext cx="782228" cy="12192001"/>
          </a:xfrm>
          <a:prstGeom prst="round2SameRect">
            <a:avLst>
              <a:gd name="adj1" fmla="val 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6" name="Freeform: Shape 5">
            <a:extLst>
              <a:ext uri="{FF2B5EF4-FFF2-40B4-BE49-F238E27FC236}">
                <a16:creationId xmlns:a16="http://schemas.microsoft.com/office/drawing/2014/main" id="{FA910BE4-C44C-9FFA-FC05-79F1CF3BC765}"/>
              </a:ext>
            </a:extLst>
          </p:cNvPr>
          <p:cNvSpPr/>
          <p:nvPr userDrawn="1"/>
        </p:nvSpPr>
        <p:spPr>
          <a:xfrm>
            <a:off x="588963" y="1145426"/>
            <a:ext cx="11017250" cy="5464924"/>
          </a:xfrm>
          <a:custGeom>
            <a:avLst/>
            <a:gdLst>
              <a:gd name="connsiteX0" fmla="*/ 157827 w 11017250"/>
              <a:gd name="connsiteY0" fmla="*/ 0 h 5464924"/>
              <a:gd name="connsiteX1" fmla="*/ 10859423 w 11017250"/>
              <a:gd name="connsiteY1" fmla="*/ 0 h 5464924"/>
              <a:gd name="connsiteX2" fmla="*/ 11017250 w 11017250"/>
              <a:gd name="connsiteY2" fmla="*/ 157827 h 5464924"/>
              <a:gd name="connsiteX3" fmla="*/ 11017250 w 11017250"/>
              <a:gd name="connsiteY3" fmla="*/ 5307097 h 5464924"/>
              <a:gd name="connsiteX4" fmla="*/ 10859423 w 11017250"/>
              <a:gd name="connsiteY4" fmla="*/ 5464924 h 5464924"/>
              <a:gd name="connsiteX5" fmla="*/ 157827 w 11017250"/>
              <a:gd name="connsiteY5" fmla="*/ 5464924 h 5464924"/>
              <a:gd name="connsiteX6" fmla="*/ 0 w 11017250"/>
              <a:gd name="connsiteY6" fmla="*/ 5307097 h 5464924"/>
              <a:gd name="connsiteX7" fmla="*/ 0 w 11017250"/>
              <a:gd name="connsiteY7" fmla="*/ 895277 h 5464924"/>
              <a:gd name="connsiteX8" fmla="*/ 10462231 w 11017250"/>
              <a:gd name="connsiteY8" fmla="*/ 895277 h 5464924"/>
              <a:gd name="connsiteX9" fmla="*/ 10784463 w 11017250"/>
              <a:gd name="connsiteY9" fmla="*/ 573046 h 5464924"/>
              <a:gd name="connsiteX10" fmla="*/ 10462231 w 11017250"/>
              <a:gd name="connsiteY10" fmla="*/ 250815 h 5464924"/>
              <a:gd name="connsiteX11" fmla="*/ 0 w 11017250"/>
              <a:gd name="connsiteY11" fmla="*/ 250815 h 5464924"/>
              <a:gd name="connsiteX12" fmla="*/ 0 w 11017250"/>
              <a:gd name="connsiteY12" fmla="*/ 157827 h 5464924"/>
              <a:gd name="connsiteX13" fmla="*/ 157827 w 11017250"/>
              <a:gd name="connsiteY13" fmla="*/ 0 h 546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17250" h="5464924">
                <a:moveTo>
                  <a:pt x="157827" y="0"/>
                </a:moveTo>
                <a:lnTo>
                  <a:pt x="10859423" y="0"/>
                </a:lnTo>
                <a:cubicBezTo>
                  <a:pt x="10946588" y="0"/>
                  <a:pt x="11017250" y="70662"/>
                  <a:pt x="11017250" y="157827"/>
                </a:cubicBezTo>
                <a:lnTo>
                  <a:pt x="11017250" y="5307097"/>
                </a:lnTo>
                <a:cubicBezTo>
                  <a:pt x="11017250" y="5394262"/>
                  <a:pt x="10946588" y="5464924"/>
                  <a:pt x="10859423" y="5464924"/>
                </a:cubicBezTo>
                <a:lnTo>
                  <a:pt x="157827" y="5464924"/>
                </a:lnTo>
                <a:cubicBezTo>
                  <a:pt x="70662" y="5464924"/>
                  <a:pt x="0" y="5394262"/>
                  <a:pt x="0" y="5307097"/>
                </a:cubicBezTo>
                <a:lnTo>
                  <a:pt x="0" y="895277"/>
                </a:lnTo>
                <a:lnTo>
                  <a:pt x="10462231" y="895277"/>
                </a:lnTo>
                <a:cubicBezTo>
                  <a:pt x="10640195" y="895277"/>
                  <a:pt x="10784463" y="751009"/>
                  <a:pt x="10784463" y="573046"/>
                </a:cubicBezTo>
                <a:cubicBezTo>
                  <a:pt x="10784463" y="395083"/>
                  <a:pt x="10640195" y="250815"/>
                  <a:pt x="10462231" y="250815"/>
                </a:cubicBezTo>
                <a:lnTo>
                  <a:pt x="0" y="250815"/>
                </a:lnTo>
                <a:lnTo>
                  <a:pt x="0" y="157827"/>
                </a:lnTo>
                <a:cubicBezTo>
                  <a:pt x="0" y="70662"/>
                  <a:pt x="70662" y="0"/>
                  <a:pt x="157827" y="0"/>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wrap="square" rtlCol="0" anchor="ctr">
            <a:noAutofit/>
          </a:bodyPr>
          <a:lstStyle/>
          <a:p>
            <a:endParaRPr lang="en-US"/>
          </a:p>
        </p:txBody>
      </p:sp>
      <p:sp>
        <p:nvSpPr>
          <p:cNvPr id="21" name="Content Placeholder 20">
            <a:extLst>
              <a:ext uri="{FF2B5EF4-FFF2-40B4-BE49-F238E27FC236}">
                <a16:creationId xmlns:a16="http://schemas.microsoft.com/office/drawing/2014/main" id="{765E201A-FDB3-604C-F66B-5C99174586C7}"/>
              </a:ext>
            </a:extLst>
          </p:cNvPr>
          <p:cNvSpPr>
            <a:spLocks noGrp="1"/>
          </p:cNvSpPr>
          <p:nvPr>
            <p:ph sz="quarter" idx="11" hasCustomPrompt="1"/>
          </p:nvPr>
        </p:nvSpPr>
        <p:spPr>
          <a:xfrm>
            <a:off x="1115695" y="1579972"/>
            <a:ext cx="9961880" cy="307777"/>
          </a:xfrm>
        </p:spPr>
        <p:txBody>
          <a:bodyPr/>
          <a:lstStyle>
            <a:lvl1pPr marL="0" indent="0" algn="ctr">
              <a:spcBef>
                <a:spcPts val="0"/>
              </a:spcBef>
              <a:buNone/>
              <a:defRPr sz="2000">
                <a:solidFill>
                  <a:schemeClr val="bg1"/>
                </a:solidFill>
                <a:latin typeface="+mj-lt"/>
              </a:defRPr>
            </a:lvl1pPr>
          </a:lstStyle>
          <a:p>
            <a:pPr lvl="0"/>
            <a:r>
              <a:rPr lang="en-US"/>
              <a:t>Add text here</a:t>
            </a:r>
          </a:p>
        </p:txBody>
      </p:sp>
      <p:sp>
        <p:nvSpPr>
          <p:cNvPr id="8" name="Rectangle: Top Corners Rounded 7">
            <a:extLst>
              <a:ext uri="{FF2B5EF4-FFF2-40B4-BE49-F238E27FC236}">
                <a16:creationId xmlns:a16="http://schemas.microsoft.com/office/drawing/2014/main" id="{0C9F714B-8B36-DF25-13CA-059C0A7A15B0}"/>
              </a:ext>
            </a:extLst>
          </p:cNvPr>
          <p:cNvSpPr/>
          <p:nvPr userDrawn="1"/>
        </p:nvSpPr>
        <p:spPr bwMode="auto">
          <a:xfrm rot="5400000">
            <a:off x="-367358" y="1617036"/>
            <a:ext cx="937584" cy="20287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29" name="Content Placeholder 28">
            <a:extLst>
              <a:ext uri="{FF2B5EF4-FFF2-40B4-BE49-F238E27FC236}">
                <a16:creationId xmlns:a16="http://schemas.microsoft.com/office/drawing/2014/main" id="{5B3AC566-8A40-2E47-6173-A95E3ED00B3E}"/>
              </a:ext>
            </a:extLst>
          </p:cNvPr>
          <p:cNvSpPr>
            <a:spLocks noGrp="1"/>
          </p:cNvSpPr>
          <p:nvPr>
            <p:ph sz="quarter" idx="17"/>
          </p:nvPr>
        </p:nvSpPr>
        <p:spPr>
          <a:xfrm>
            <a:off x="705789"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0" name="Content Placeholder 28">
            <a:extLst>
              <a:ext uri="{FF2B5EF4-FFF2-40B4-BE49-F238E27FC236}">
                <a16:creationId xmlns:a16="http://schemas.microsoft.com/office/drawing/2014/main" id="{BA1FBF1F-A3E7-EB30-A160-A7F5BA15CB6F}"/>
              </a:ext>
            </a:extLst>
          </p:cNvPr>
          <p:cNvSpPr>
            <a:spLocks noGrp="1"/>
          </p:cNvSpPr>
          <p:nvPr>
            <p:ph sz="quarter" idx="18"/>
          </p:nvPr>
        </p:nvSpPr>
        <p:spPr>
          <a:xfrm>
            <a:off x="4325784"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31" name="Content Placeholder 28">
            <a:extLst>
              <a:ext uri="{FF2B5EF4-FFF2-40B4-BE49-F238E27FC236}">
                <a16:creationId xmlns:a16="http://schemas.microsoft.com/office/drawing/2014/main" id="{88E98AD6-7871-53BE-F488-9C350158EB40}"/>
              </a:ext>
            </a:extLst>
          </p:cNvPr>
          <p:cNvSpPr>
            <a:spLocks noGrp="1"/>
          </p:cNvSpPr>
          <p:nvPr>
            <p:ph sz="quarter" idx="19"/>
          </p:nvPr>
        </p:nvSpPr>
        <p:spPr>
          <a:xfrm>
            <a:off x="7945780" y="2625546"/>
            <a:ext cx="3540431" cy="3880029"/>
          </a:xfrm>
          <a:prstGeom prst="roundRect">
            <a:avLst>
              <a:gd name="adj" fmla="val 3108"/>
            </a:avLst>
          </a:prstGeom>
          <a:solidFill>
            <a:srgbClr val="ECF5FA"/>
          </a:solidFill>
        </p:spPr>
        <p:txBody>
          <a:bodyPr lIns="182880" tIns="146304" rIns="182880" bIns="146304">
            <a:noAutofit/>
          </a:bodyPr>
          <a:lstStyle>
            <a:lvl1pPr marL="0" indent="0">
              <a:buNone/>
              <a:defRPr kumimoji="0" lang="en-US" sz="1400" b="0" i="0" u="none" strike="noStrike" kern="1200" cap="none" spc="0" normalizeH="0" baseline="0" dirty="0">
                <a:ln>
                  <a:noFill/>
                </a:ln>
                <a:solidFill>
                  <a:schemeClr val="tx1"/>
                </a:solidFill>
                <a:effectLst/>
                <a:uLnTx/>
                <a:uFillTx/>
                <a:latin typeface="+mn-lt"/>
                <a:ea typeface="+mn-ea"/>
                <a:cs typeface="Segoe UI" pitchFamily="34" charset="0"/>
              </a:defRPr>
            </a:lvl1pPr>
            <a:lvl2pPr marL="228600" indent="-228600">
              <a:defRPr b="0">
                <a:latin typeface="+mn-lt"/>
              </a:defRPr>
            </a:lvl2pPr>
            <a:lvl3pPr marL="228600" indent="-228600">
              <a:defRPr b="0">
                <a:latin typeface="+mn-lt"/>
              </a:defRPr>
            </a:lvl3pPr>
            <a:lvl4pPr marL="228600" indent="-228600">
              <a:defRPr b="0">
                <a:latin typeface="+mn-lt"/>
              </a:defRPr>
            </a:lvl4pPr>
            <a:lvl5pPr marL="228600" indent="-228600">
              <a:defRPr b="0">
                <a:latin typeface="+mn-lt"/>
              </a:defRPr>
            </a:lvl5pPr>
          </a:lstStyle>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Click to edit </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Secon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Third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ourth level</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a:t>Fifth level</a:t>
            </a:r>
          </a:p>
        </p:txBody>
      </p:sp>
      <p:sp>
        <p:nvSpPr>
          <p:cNvPr id="27" name="Content Placeholder 22">
            <a:extLst>
              <a:ext uri="{FF2B5EF4-FFF2-40B4-BE49-F238E27FC236}">
                <a16:creationId xmlns:a16="http://schemas.microsoft.com/office/drawing/2014/main" id="{2D28D093-D901-4F0C-9FCF-9C826DC0E979}"/>
              </a:ext>
            </a:extLst>
          </p:cNvPr>
          <p:cNvSpPr>
            <a:spLocks noGrp="1"/>
          </p:cNvSpPr>
          <p:nvPr>
            <p:ph sz="quarter" idx="16" hasCustomPrompt="1"/>
          </p:nvPr>
        </p:nvSpPr>
        <p:spPr>
          <a:xfrm>
            <a:off x="8473478" y="2233784"/>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6" name="Content Placeholder 22">
            <a:extLst>
              <a:ext uri="{FF2B5EF4-FFF2-40B4-BE49-F238E27FC236}">
                <a16:creationId xmlns:a16="http://schemas.microsoft.com/office/drawing/2014/main" id="{BAD2AB02-9D73-4F5D-0567-DF88F04A57FA}"/>
              </a:ext>
            </a:extLst>
          </p:cNvPr>
          <p:cNvSpPr>
            <a:spLocks noGrp="1"/>
          </p:cNvSpPr>
          <p:nvPr>
            <p:ph sz="quarter" idx="15" hasCustomPrompt="1"/>
          </p:nvPr>
        </p:nvSpPr>
        <p:spPr>
          <a:xfrm>
            <a:off x="4853481"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25" name="Content Placeholder 22">
            <a:extLst>
              <a:ext uri="{FF2B5EF4-FFF2-40B4-BE49-F238E27FC236}">
                <a16:creationId xmlns:a16="http://schemas.microsoft.com/office/drawing/2014/main" id="{B1163C14-5414-42C5-B84D-64BACBD9CC79}"/>
              </a:ext>
            </a:extLst>
          </p:cNvPr>
          <p:cNvSpPr>
            <a:spLocks noGrp="1"/>
          </p:cNvSpPr>
          <p:nvPr>
            <p:ph sz="quarter" idx="14" hasCustomPrompt="1"/>
          </p:nvPr>
        </p:nvSpPr>
        <p:spPr>
          <a:xfrm>
            <a:off x="1233486" y="2250727"/>
            <a:ext cx="2485036" cy="246221"/>
          </a:xfrm>
        </p:spPr>
        <p:txBody>
          <a:bodyPr anchor="ctr"/>
          <a:lstStyle>
            <a:lvl1pPr marL="0" indent="0" algn="ctr">
              <a:buNone/>
              <a:defRPr sz="1600" spc="300">
                <a:solidFill>
                  <a:schemeClr val="accent2"/>
                </a:solidFill>
                <a:latin typeface="+mn-lt"/>
              </a:defRPr>
            </a:lvl1pPr>
          </a:lstStyle>
          <a:p>
            <a:pPr lvl="0"/>
            <a:r>
              <a:rPr lang="en-US"/>
              <a:t>ADD TEXT</a:t>
            </a:r>
          </a:p>
        </p:txBody>
      </p:sp>
      <p:sp>
        <p:nvSpPr>
          <p:cNvPr id="15" name="Subtitle 2">
            <a:extLst>
              <a:ext uri="{FF2B5EF4-FFF2-40B4-BE49-F238E27FC236}">
                <a16:creationId xmlns:a16="http://schemas.microsoft.com/office/drawing/2014/main" id="{5F4722C2-3629-D24E-E905-5CD98C9636EC}"/>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7900492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a:extLst>
              <a:ext uri="{FF2B5EF4-FFF2-40B4-BE49-F238E27FC236}">
                <a16:creationId xmlns:a16="http://schemas.microsoft.com/office/drawing/2014/main" id="{B75A0920-A5C0-44B4-805C-2A21395BDE6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584199" y="641271"/>
            <a:ext cx="2313931" cy="307635"/>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782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615553"/>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B05B06A8-8E57-4AE5-9608-4DB1E81AB252}"/>
              </a:ext>
            </a:extLst>
          </p:cNvPr>
          <p:cNvSpPr>
            <a:spLocks noGrp="1"/>
          </p:cNvSpPr>
          <p:nvPr>
            <p:ph type="ftr" sz="quarter" idx="3"/>
          </p:nvPr>
        </p:nvSpPr>
        <p:spPr>
          <a:xfrm>
            <a:off x="4038600" y="6564313"/>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D479F983-0722-4073-9F03-12B86428859D}"/>
              </a:ext>
            </a:extLst>
          </p:cNvPr>
          <p:cNvSpPr>
            <a:spLocks noGrp="1"/>
          </p:cNvSpPr>
          <p:nvPr>
            <p:ph type="sldNum" sz="quarter" idx="4"/>
          </p:nvPr>
        </p:nvSpPr>
        <p:spPr>
          <a:xfrm>
            <a:off x="11733275" y="6564314"/>
            <a:ext cx="332233" cy="123110"/>
          </a:xfrm>
          <a:prstGeom prst="rect">
            <a:avLst/>
          </a:prstGeom>
        </p:spPr>
        <p:txBody>
          <a:bodyPr vert="horz" wrap="square" lIns="0" tIns="0" rIns="0" bIns="0" rtlCol="0" anchor="ctr">
            <a:spAutoFit/>
          </a:bodyPr>
          <a:lstStyle>
            <a:lvl1pPr algn="ctr">
              <a:defRPr sz="800">
                <a:solidFill>
                  <a:schemeClr val="tx1"/>
                </a:solidFill>
              </a:defRPr>
            </a:lvl1pPr>
          </a:lstStyle>
          <a:p>
            <a:fld id="{416D17C3-7140-4F20-8D47-B36B7FB3A655}" type="slidenum">
              <a:rPr lang="en-US" smtClean="0"/>
              <a:pPr/>
              <a:t>‹#›</a:t>
            </a:fld>
            <a:endParaRPr lang="en-US"/>
          </a:p>
        </p:txBody>
      </p:sp>
    </p:spTree>
    <p:extLst>
      <p:ext uri="{BB962C8B-B14F-4D97-AF65-F5344CB8AC3E}">
        <p14:creationId xmlns:p14="http://schemas.microsoft.com/office/powerpoint/2010/main" val="3129727101"/>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615553"/>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9353"/>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7FBBB43F-FA6A-4E38-B6DC-CFEC8149506C}"/>
              </a:ext>
            </a:extLst>
          </p:cNvPr>
          <p:cNvSpPr>
            <a:spLocks noGrp="1"/>
          </p:cNvSpPr>
          <p:nvPr>
            <p:ph type="ftr" sz="quarter" idx="3"/>
          </p:nvPr>
        </p:nvSpPr>
        <p:spPr>
          <a:xfrm>
            <a:off x="4038600" y="6564313"/>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ED9020A6-4569-466A-B782-F1A0A0BB112C}"/>
              </a:ext>
            </a:extLst>
          </p:cNvPr>
          <p:cNvSpPr>
            <a:spLocks noGrp="1"/>
          </p:cNvSpPr>
          <p:nvPr>
            <p:ph type="sldNum" sz="quarter" idx="4"/>
          </p:nvPr>
        </p:nvSpPr>
        <p:spPr>
          <a:xfrm>
            <a:off x="11733275" y="6564314"/>
            <a:ext cx="332233" cy="123110"/>
          </a:xfrm>
          <a:prstGeom prst="rect">
            <a:avLst/>
          </a:prstGeom>
        </p:spPr>
        <p:txBody>
          <a:bodyPr vert="horz" wrap="square" lIns="0" tIns="0" rIns="0" bIns="0" rtlCol="0" anchor="ctr">
            <a:spAutoFit/>
          </a:bodyPr>
          <a:lstStyle>
            <a:lvl1pPr algn="ctr">
              <a:defRPr sz="800">
                <a:solidFill>
                  <a:schemeClr val="tx1"/>
                </a:solidFill>
              </a:defRPr>
            </a:lvl1pPr>
          </a:lstStyle>
          <a:p>
            <a:fld id="{416D17C3-7140-4F20-8D47-B36B7FB3A655}" type="slidenum">
              <a:rPr lang="en-US" smtClean="0"/>
              <a:pPr/>
              <a:t>‹#›</a:t>
            </a:fld>
            <a:endParaRPr lang="en-US"/>
          </a:p>
        </p:txBody>
      </p:sp>
    </p:spTree>
    <p:extLst>
      <p:ext uri="{BB962C8B-B14F-4D97-AF65-F5344CB8AC3E}">
        <p14:creationId xmlns:p14="http://schemas.microsoft.com/office/powerpoint/2010/main" val="2512282829"/>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873DFAE-CA87-CE4A-B99C-DAE1A4FE39AD}"/>
              </a:ext>
            </a:extLst>
          </p:cNvPr>
          <p:cNvCxnSpPr>
            <a:cxnSpLocks/>
          </p:cNvCxnSpPr>
          <p:nvPr userDrawn="1"/>
        </p:nvCxnSpPr>
        <p:spPr>
          <a:xfrm>
            <a:off x="584200"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D98A6B-FA86-DD45-8615-BA986BF39CA7}"/>
              </a:ext>
            </a:extLst>
          </p:cNvPr>
          <p:cNvCxnSpPr>
            <a:cxnSpLocks/>
          </p:cNvCxnSpPr>
          <p:nvPr userDrawn="1"/>
        </p:nvCxnSpPr>
        <p:spPr>
          <a:xfrm>
            <a:off x="584200"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9C1326-C74D-054B-B031-E772DFD6C583}"/>
              </a:ext>
            </a:extLst>
          </p:cNvPr>
          <p:cNvCxnSpPr>
            <a:cxnSpLocks/>
          </p:cNvCxnSpPr>
          <p:nvPr userDrawn="1"/>
        </p:nvCxnSpPr>
        <p:spPr>
          <a:xfrm>
            <a:off x="584200"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AB18A3-DB3D-1F45-80E2-DA287CDA386C}"/>
              </a:ext>
            </a:extLst>
          </p:cNvPr>
          <p:cNvCxnSpPr>
            <a:cxnSpLocks/>
          </p:cNvCxnSpPr>
          <p:nvPr userDrawn="1"/>
        </p:nvCxnSpPr>
        <p:spPr>
          <a:xfrm>
            <a:off x="584200"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68640D-37CA-3145-92D6-22ECDCA9708D}"/>
              </a:ext>
            </a:extLst>
          </p:cNvPr>
          <p:cNvCxnSpPr>
            <a:cxnSpLocks/>
          </p:cNvCxnSpPr>
          <p:nvPr userDrawn="1"/>
        </p:nvCxnSpPr>
        <p:spPr>
          <a:xfrm>
            <a:off x="584200"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78FF30-B1BC-F342-86EB-DFC18C87D790}"/>
              </a:ext>
            </a:extLst>
          </p:cNvPr>
          <p:cNvCxnSpPr>
            <a:cxnSpLocks/>
          </p:cNvCxnSpPr>
          <p:nvPr userDrawn="1"/>
        </p:nvCxnSpPr>
        <p:spPr>
          <a:xfrm>
            <a:off x="584200"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B0DBCE-1E6D-C94A-9850-19325D031DDD}"/>
              </a:ext>
            </a:extLst>
          </p:cNvPr>
          <p:cNvCxnSpPr>
            <a:cxnSpLocks/>
          </p:cNvCxnSpPr>
          <p:nvPr userDrawn="1"/>
        </p:nvCxnSpPr>
        <p:spPr>
          <a:xfrm>
            <a:off x="584200" y="51054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7A279F1-D51C-C24D-9EE7-78308AB367E3}"/>
              </a:ext>
            </a:extLst>
          </p:cNvPr>
          <p:cNvCxnSpPr>
            <a:cxnSpLocks/>
          </p:cNvCxnSpPr>
          <p:nvPr userDrawn="1"/>
        </p:nvCxnSpPr>
        <p:spPr>
          <a:xfrm>
            <a:off x="584200" y="627221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27F0865-3EAD-464A-80EE-CE4AF77D26ED}"/>
              </a:ext>
            </a:extLst>
          </p:cNvPr>
          <p:cNvGrpSpPr/>
          <p:nvPr userDrawn="1"/>
        </p:nvGrpSpPr>
        <p:grpSpPr>
          <a:xfrm>
            <a:off x="4391261" y="585788"/>
            <a:ext cx="3495439" cy="5686424"/>
            <a:chOff x="4391261" y="585788"/>
            <a:chExt cx="3606800" cy="5686424"/>
          </a:xfrm>
        </p:grpSpPr>
        <p:cxnSp>
          <p:nvCxnSpPr>
            <p:cNvPr id="19" name="Straight Connector 18">
              <a:extLst>
                <a:ext uri="{FF2B5EF4-FFF2-40B4-BE49-F238E27FC236}">
                  <a16:creationId xmlns:a16="http://schemas.microsoft.com/office/drawing/2014/main" id="{19E2D152-3A54-D84B-9F02-B6D034E1B0CB}"/>
                </a:ext>
              </a:extLst>
            </p:cNvPr>
            <p:cNvCxnSpPr>
              <a:cxnSpLocks/>
            </p:cNvCxnSpPr>
            <p:nvPr userDrawn="1"/>
          </p:nvCxnSpPr>
          <p:spPr>
            <a:xfrm>
              <a:off x="4391261"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8E31CA-5F5A-1F49-AB89-DA7BB7423CBE}"/>
                </a:ext>
              </a:extLst>
            </p:cNvPr>
            <p:cNvCxnSpPr>
              <a:cxnSpLocks/>
            </p:cNvCxnSpPr>
            <p:nvPr userDrawn="1"/>
          </p:nvCxnSpPr>
          <p:spPr>
            <a:xfrm>
              <a:off x="4391261"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2D4257-728F-474C-A746-9E8B4B5160AD}"/>
                </a:ext>
              </a:extLst>
            </p:cNvPr>
            <p:cNvCxnSpPr>
              <a:cxnSpLocks/>
            </p:cNvCxnSpPr>
            <p:nvPr userDrawn="1"/>
          </p:nvCxnSpPr>
          <p:spPr>
            <a:xfrm>
              <a:off x="4391261"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27B6861-B845-5E44-9272-8D2C8C27A972}"/>
                </a:ext>
              </a:extLst>
            </p:cNvPr>
            <p:cNvCxnSpPr>
              <a:cxnSpLocks/>
            </p:cNvCxnSpPr>
            <p:nvPr userDrawn="1"/>
          </p:nvCxnSpPr>
          <p:spPr>
            <a:xfrm>
              <a:off x="4391261"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2725B3B-029A-864E-9046-B7BE1253E6D5}"/>
                </a:ext>
              </a:extLst>
            </p:cNvPr>
            <p:cNvCxnSpPr>
              <a:cxnSpLocks/>
            </p:cNvCxnSpPr>
            <p:nvPr userDrawn="1"/>
          </p:nvCxnSpPr>
          <p:spPr>
            <a:xfrm>
              <a:off x="4391261"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B9E88D8-C541-B94C-A9F4-2CD4F1F72D6B}"/>
                </a:ext>
              </a:extLst>
            </p:cNvPr>
            <p:cNvCxnSpPr>
              <a:cxnSpLocks/>
            </p:cNvCxnSpPr>
            <p:nvPr userDrawn="1"/>
          </p:nvCxnSpPr>
          <p:spPr>
            <a:xfrm>
              <a:off x="4391261"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E3916B9-2D7A-4242-962B-6012E400ACB4}"/>
                </a:ext>
              </a:extLst>
            </p:cNvPr>
            <p:cNvCxnSpPr>
              <a:cxnSpLocks/>
            </p:cNvCxnSpPr>
            <p:nvPr userDrawn="1"/>
          </p:nvCxnSpPr>
          <p:spPr>
            <a:xfrm>
              <a:off x="4391261" y="51054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D260F5E-B872-3B46-8CCE-6331C996BB10}"/>
                </a:ext>
              </a:extLst>
            </p:cNvPr>
            <p:cNvCxnSpPr>
              <a:cxnSpLocks/>
            </p:cNvCxnSpPr>
            <p:nvPr userDrawn="1"/>
          </p:nvCxnSpPr>
          <p:spPr>
            <a:xfrm>
              <a:off x="4391261" y="627221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3" name="Text Placeholder 4">
            <a:extLst>
              <a:ext uri="{FF2B5EF4-FFF2-40B4-BE49-F238E27FC236}">
                <a16:creationId xmlns:a16="http://schemas.microsoft.com/office/drawing/2014/main" id="{2325DBF4-5203-E544-9AB3-86397B59BB73}"/>
              </a:ext>
            </a:extLst>
          </p:cNvPr>
          <p:cNvSpPr>
            <a:spLocks noGrp="1"/>
          </p:cNvSpPr>
          <p:nvPr>
            <p:ph type="body" sz="quarter" idx="15" hasCustomPrompt="1"/>
          </p:nvPr>
        </p:nvSpPr>
        <p:spPr>
          <a:xfrm>
            <a:off x="1709382"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4" name="Text Placeholder 4">
            <a:extLst>
              <a:ext uri="{FF2B5EF4-FFF2-40B4-BE49-F238E27FC236}">
                <a16:creationId xmlns:a16="http://schemas.microsoft.com/office/drawing/2014/main" id="{03375363-8A9F-4746-8575-3484B6F11594}"/>
              </a:ext>
            </a:extLst>
          </p:cNvPr>
          <p:cNvSpPr>
            <a:spLocks noGrp="1"/>
          </p:cNvSpPr>
          <p:nvPr>
            <p:ph type="body" sz="quarter" idx="16" hasCustomPrompt="1"/>
          </p:nvPr>
        </p:nvSpPr>
        <p:spPr>
          <a:xfrm>
            <a:off x="5562600"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5" name="Text Placeholder 4">
            <a:extLst>
              <a:ext uri="{FF2B5EF4-FFF2-40B4-BE49-F238E27FC236}">
                <a16:creationId xmlns:a16="http://schemas.microsoft.com/office/drawing/2014/main" id="{BE430154-4CFD-5E40-B08A-CD3F5270226B}"/>
              </a:ext>
            </a:extLst>
          </p:cNvPr>
          <p:cNvSpPr>
            <a:spLocks noGrp="1"/>
          </p:cNvSpPr>
          <p:nvPr>
            <p:ph type="body" sz="quarter" idx="17" hasCustomPrompt="1"/>
          </p:nvPr>
        </p:nvSpPr>
        <p:spPr>
          <a:xfrm>
            <a:off x="1709382"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6" name="Text Placeholder 4">
            <a:extLst>
              <a:ext uri="{FF2B5EF4-FFF2-40B4-BE49-F238E27FC236}">
                <a16:creationId xmlns:a16="http://schemas.microsoft.com/office/drawing/2014/main" id="{2145205C-31D5-E445-99A2-DB5B7D610A9B}"/>
              </a:ext>
            </a:extLst>
          </p:cNvPr>
          <p:cNvSpPr>
            <a:spLocks noGrp="1"/>
          </p:cNvSpPr>
          <p:nvPr>
            <p:ph type="body" sz="quarter" idx="18" hasCustomPrompt="1"/>
          </p:nvPr>
        </p:nvSpPr>
        <p:spPr>
          <a:xfrm>
            <a:off x="5562600"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7" name="Text Placeholder 4">
            <a:extLst>
              <a:ext uri="{FF2B5EF4-FFF2-40B4-BE49-F238E27FC236}">
                <a16:creationId xmlns:a16="http://schemas.microsoft.com/office/drawing/2014/main" id="{CD89BFAE-D287-6A4F-92C8-61BB785AF3D3}"/>
              </a:ext>
            </a:extLst>
          </p:cNvPr>
          <p:cNvSpPr>
            <a:spLocks noGrp="1"/>
          </p:cNvSpPr>
          <p:nvPr>
            <p:ph type="body" sz="quarter" idx="19" hasCustomPrompt="1"/>
          </p:nvPr>
        </p:nvSpPr>
        <p:spPr>
          <a:xfrm>
            <a:off x="1709382"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8" name="Text Placeholder 4">
            <a:extLst>
              <a:ext uri="{FF2B5EF4-FFF2-40B4-BE49-F238E27FC236}">
                <a16:creationId xmlns:a16="http://schemas.microsoft.com/office/drawing/2014/main" id="{0F2205A5-4044-B74B-A2E2-8D4536C6DC96}"/>
              </a:ext>
            </a:extLst>
          </p:cNvPr>
          <p:cNvSpPr>
            <a:spLocks noGrp="1"/>
          </p:cNvSpPr>
          <p:nvPr>
            <p:ph type="body" sz="quarter" idx="20" hasCustomPrompt="1"/>
          </p:nvPr>
        </p:nvSpPr>
        <p:spPr>
          <a:xfrm>
            <a:off x="5562600"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9" name="Text Placeholder 4">
            <a:extLst>
              <a:ext uri="{FF2B5EF4-FFF2-40B4-BE49-F238E27FC236}">
                <a16:creationId xmlns:a16="http://schemas.microsoft.com/office/drawing/2014/main" id="{C249BDC1-CF90-7C45-A141-E928ACF7929D}"/>
              </a:ext>
            </a:extLst>
          </p:cNvPr>
          <p:cNvSpPr>
            <a:spLocks noGrp="1"/>
          </p:cNvSpPr>
          <p:nvPr>
            <p:ph type="body" sz="quarter" idx="21" hasCustomPrompt="1"/>
          </p:nvPr>
        </p:nvSpPr>
        <p:spPr>
          <a:xfrm>
            <a:off x="1709382" y="5572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50" name="Text Placeholder 4">
            <a:extLst>
              <a:ext uri="{FF2B5EF4-FFF2-40B4-BE49-F238E27FC236}">
                <a16:creationId xmlns:a16="http://schemas.microsoft.com/office/drawing/2014/main" id="{8C586067-1977-8646-9238-EE34C5EAC6F3}"/>
              </a:ext>
            </a:extLst>
          </p:cNvPr>
          <p:cNvSpPr>
            <a:spLocks noGrp="1"/>
          </p:cNvSpPr>
          <p:nvPr>
            <p:ph type="body" sz="quarter" idx="22" hasCustomPrompt="1"/>
          </p:nvPr>
        </p:nvSpPr>
        <p:spPr>
          <a:xfrm>
            <a:off x="5562600" y="5572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12" name="Text Placeholder 11">
            <a:extLst>
              <a:ext uri="{FF2B5EF4-FFF2-40B4-BE49-F238E27FC236}">
                <a16:creationId xmlns:a16="http://schemas.microsoft.com/office/drawing/2014/main" id="{9D8030F1-1F9A-3146-9180-BFC0CB29FD4F}"/>
              </a:ext>
            </a:extLst>
          </p:cNvPr>
          <p:cNvSpPr>
            <a:spLocks noGrp="1"/>
          </p:cNvSpPr>
          <p:nvPr>
            <p:ph type="body" sz="quarter" idx="31" hasCustomPrompt="1"/>
          </p:nvPr>
        </p:nvSpPr>
        <p:spPr>
          <a:xfrm>
            <a:off x="571500" y="655063"/>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3" name="Text Placeholder 11">
            <a:extLst>
              <a:ext uri="{FF2B5EF4-FFF2-40B4-BE49-F238E27FC236}">
                <a16:creationId xmlns:a16="http://schemas.microsoft.com/office/drawing/2014/main" id="{5604B077-D395-EC45-BC92-F6436FE57E82}"/>
              </a:ext>
            </a:extLst>
          </p:cNvPr>
          <p:cNvSpPr>
            <a:spLocks noGrp="1"/>
          </p:cNvSpPr>
          <p:nvPr>
            <p:ph type="body" sz="quarter" idx="32" hasCustomPrompt="1"/>
          </p:nvPr>
        </p:nvSpPr>
        <p:spPr>
          <a:xfrm>
            <a:off x="571500" y="2175165"/>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4" name="Text Placeholder 11">
            <a:extLst>
              <a:ext uri="{FF2B5EF4-FFF2-40B4-BE49-F238E27FC236}">
                <a16:creationId xmlns:a16="http://schemas.microsoft.com/office/drawing/2014/main" id="{1EBB1A55-AA01-9B46-987B-5641E622CB0D}"/>
              </a:ext>
            </a:extLst>
          </p:cNvPr>
          <p:cNvSpPr>
            <a:spLocks noGrp="1"/>
          </p:cNvSpPr>
          <p:nvPr>
            <p:ph type="body" sz="quarter" idx="33" hasCustomPrompt="1"/>
          </p:nvPr>
        </p:nvSpPr>
        <p:spPr>
          <a:xfrm>
            <a:off x="571500" y="3671455"/>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5" name="Text Placeholder 11">
            <a:extLst>
              <a:ext uri="{FF2B5EF4-FFF2-40B4-BE49-F238E27FC236}">
                <a16:creationId xmlns:a16="http://schemas.microsoft.com/office/drawing/2014/main" id="{A36DDD25-64B1-7F49-A568-D1DCFCF467FD}"/>
              </a:ext>
            </a:extLst>
          </p:cNvPr>
          <p:cNvSpPr>
            <a:spLocks noGrp="1"/>
          </p:cNvSpPr>
          <p:nvPr>
            <p:ph type="body" sz="quarter" idx="34" hasCustomPrompt="1"/>
          </p:nvPr>
        </p:nvSpPr>
        <p:spPr>
          <a:xfrm>
            <a:off x="571500" y="5181600"/>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 name="Text Placeholder 11">
            <a:extLst>
              <a:ext uri="{FF2B5EF4-FFF2-40B4-BE49-F238E27FC236}">
                <a16:creationId xmlns:a16="http://schemas.microsoft.com/office/drawing/2014/main" id="{3B142421-055F-1A48-AC97-8E1C1F8FEA27}"/>
              </a:ext>
            </a:extLst>
          </p:cNvPr>
          <p:cNvSpPr>
            <a:spLocks noGrp="1"/>
          </p:cNvSpPr>
          <p:nvPr>
            <p:ph type="body" sz="quarter" idx="35" hasCustomPrompt="1"/>
          </p:nvPr>
        </p:nvSpPr>
        <p:spPr>
          <a:xfrm>
            <a:off x="4329545" y="655063"/>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 name="Text Placeholder 11">
            <a:extLst>
              <a:ext uri="{FF2B5EF4-FFF2-40B4-BE49-F238E27FC236}">
                <a16:creationId xmlns:a16="http://schemas.microsoft.com/office/drawing/2014/main" id="{C9F94531-4F60-5541-B7FC-47756C7410E8}"/>
              </a:ext>
            </a:extLst>
          </p:cNvPr>
          <p:cNvSpPr>
            <a:spLocks noGrp="1"/>
          </p:cNvSpPr>
          <p:nvPr>
            <p:ph type="body" sz="quarter" idx="36" hasCustomPrompt="1"/>
          </p:nvPr>
        </p:nvSpPr>
        <p:spPr>
          <a:xfrm>
            <a:off x="4329545" y="2175165"/>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 name="Text Placeholder 11">
            <a:extLst>
              <a:ext uri="{FF2B5EF4-FFF2-40B4-BE49-F238E27FC236}">
                <a16:creationId xmlns:a16="http://schemas.microsoft.com/office/drawing/2014/main" id="{314E3A82-9C78-6443-B7AD-4B32A596A31A}"/>
              </a:ext>
            </a:extLst>
          </p:cNvPr>
          <p:cNvSpPr>
            <a:spLocks noGrp="1"/>
          </p:cNvSpPr>
          <p:nvPr>
            <p:ph type="body" sz="quarter" idx="37" hasCustomPrompt="1"/>
          </p:nvPr>
        </p:nvSpPr>
        <p:spPr>
          <a:xfrm>
            <a:off x="4329545" y="3671455"/>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9" name="Text Placeholder 11">
            <a:extLst>
              <a:ext uri="{FF2B5EF4-FFF2-40B4-BE49-F238E27FC236}">
                <a16:creationId xmlns:a16="http://schemas.microsoft.com/office/drawing/2014/main" id="{9BA3A17A-222F-074E-8384-6529C0DFC339}"/>
              </a:ext>
            </a:extLst>
          </p:cNvPr>
          <p:cNvSpPr>
            <a:spLocks noGrp="1"/>
          </p:cNvSpPr>
          <p:nvPr>
            <p:ph type="body" sz="quarter" idx="38" hasCustomPrompt="1"/>
          </p:nvPr>
        </p:nvSpPr>
        <p:spPr>
          <a:xfrm>
            <a:off x="4329545" y="5181600"/>
            <a:ext cx="1104900" cy="1015663"/>
          </a:xfrm>
        </p:spPr>
        <p:txBody>
          <a:bodyPr/>
          <a:lstStyle>
            <a:lvl1pPr marL="0" indent="0">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Tree>
    <p:extLst>
      <p:ext uri="{BB962C8B-B14F-4D97-AF65-F5344CB8AC3E}">
        <p14:creationId xmlns:p14="http://schemas.microsoft.com/office/powerpoint/2010/main" val="359374857"/>
      </p:ext>
    </p:extLst>
  </p:cSld>
  <p:clrMapOvr>
    <a:masterClrMapping/>
  </p:clrMapOvr>
  <p:transition>
    <p:fade/>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873DFAE-CA87-CE4A-B99C-DAE1A4FE39AD}"/>
              </a:ext>
            </a:extLst>
          </p:cNvPr>
          <p:cNvCxnSpPr>
            <a:cxnSpLocks/>
          </p:cNvCxnSpPr>
          <p:nvPr userDrawn="1"/>
        </p:nvCxnSpPr>
        <p:spPr>
          <a:xfrm>
            <a:off x="584200"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D98A6B-FA86-DD45-8615-BA986BF39CA7}"/>
              </a:ext>
            </a:extLst>
          </p:cNvPr>
          <p:cNvCxnSpPr>
            <a:cxnSpLocks/>
          </p:cNvCxnSpPr>
          <p:nvPr userDrawn="1"/>
        </p:nvCxnSpPr>
        <p:spPr>
          <a:xfrm>
            <a:off x="584200"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9C1326-C74D-054B-B031-E772DFD6C583}"/>
              </a:ext>
            </a:extLst>
          </p:cNvPr>
          <p:cNvCxnSpPr>
            <a:cxnSpLocks/>
          </p:cNvCxnSpPr>
          <p:nvPr userDrawn="1"/>
        </p:nvCxnSpPr>
        <p:spPr>
          <a:xfrm>
            <a:off x="584200"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AB18A3-DB3D-1F45-80E2-DA287CDA386C}"/>
              </a:ext>
            </a:extLst>
          </p:cNvPr>
          <p:cNvCxnSpPr>
            <a:cxnSpLocks/>
          </p:cNvCxnSpPr>
          <p:nvPr userDrawn="1"/>
        </p:nvCxnSpPr>
        <p:spPr>
          <a:xfrm>
            <a:off x="584200"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68640D-37CA-3145-92D6-22ECDCA9708D}"/>
              </a:ext>
            </a:extLst>
          </p:cNvPr>
          <p:cNvCxnSpPr>
            <a:cxnSpLocks/>
          </p:cNvCxnSpPr>
          <p:nvPr userDrawn="1"/>
        </p:nvCxnSpPr>
        <p:spPr>
          <a:xfrm>
            <a:off x="584200"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78FF30-B1BC-F342-86EB-DFC18C87D790}"/>
              </a:ext>
            </a:extLst>
          </p:cNvPr>
          <p:cNvCxnSpPr>
            <a:cxnSpLocks/>
          </p:cNvCxnSpPr>
          <p:nvPr userDrawn="1"/>
        </p:nvCxnSpPr>
        <p:spPr>
          <a:xfrm>
            <a:off x="584200"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2B0DBCE-1E6D-C94A-9850-19325D031DDD}"/>
              </a:ext>
            </a:extLst>
          </p:cNvPr>
          <p:cNvCxnSpPr>
            <a:cxnSpLocks/>
          </p:cNvCxnSpPr>
          <p:nvPr userDrawn="1"/>
        </p:nvCxnSpPr>
        <p:spPr>
          <a:xfrm>
            <a:off x="584200" y="51054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7A279F1-D51C-C24D-9EE7-78308AB367E3}"/>
              </a:ext>
            </a:extLst>
          </p:cNvPr>
          <p:cNvCxnSpPr>
            <a:cxnSpLocks/>
          </p:cNvCxnSpPr>
          <p:nvPr userDrawn="1"/>
        </p:nvCxnSpPr>
        <p:spPr>
          <a:xfrm>
            <a:off x="584200" y="627221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9E2D152-3A54-D84B-9F02-B6D034E1B0CB}"/>
              </a:ext>
            </a:extLst>
          </p:cNvPr>
          <p:cNvCxnSpPr>
            <a:cxnSpLocks/>
          </p:cNvCxnSpPr>
          <p:nvPr userDrawn="1"/>
        </p:nvCxnSpPr>
        <p:spPr>
          <a:xfrm>
            <a:off x="4391261"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8E31CA-5F5A-1F49-AB89-DA7BB7423CBE}"/>
              </a:ext>
            </a:extLst>
          </p:cNvPr>
          <p:cNvCxnSpPr>
            <a:cxnSpLocks/>
          </p:cNvCxnSpPr>
          <p:nvPr userDrawn="1"/>
        </p:nvCxnSpPr>
        <p:spPr>
          <a:xfrm>
            <a:off x="4391261"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42D4257-728F-474C-A746-9E8B4B5160AD}"/>
              </a:ext>
            </a:extLst>
          </p:cNvPr>
          <p:cNvCxnSpPr>
            <a:cxnSpLocks/>
          </p:cNvCxnSpPr>
          <p:nvPr userDrawn="1"/>
        </p:nvCxnSpPr>
        <p:spPr>
          <a:xfrm>
            <a:off x="4391261" y="209232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27B6861-B845-5E44-9272-8D2C8C27A972}"/>
              </a:ext>
            </a:extLst>
          </p:cNvPr>
          <p:cNvCxnSpPr>
            <a:cxnSpLocks/>
          </p:cNvCxnSpPr>
          <p:nvPr userDrawn="1"/>
        </p:nvCxnSpPr>
        <p:spPr>
          <a:xfrm>
            <a:off x="4391261" y="325913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2725B3B-029A-864E-9046-B7BE1253E6D5}"/>
              </a:ext>
            </a:extLst>
          </p:cNvPr>
          <p:cNvCxnSpPr>
            <a:cxnSpLocks/>
          </p:cNvCxnSpPr>
          <p:nvPr userDrawn="1"/>
        </p:nvCxnSpPr>
        <p:spPr>
          <a:xfrm>
            <a:off x="4391261" y="3598862"/>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B9E88D8-C541-B94C-A9F4-2CD4F1F72D6B}"/>
              </a:ext>
            </a:extLst>
          </p:cNvPr>
          <p:cNvCxnSpPr>
            <a:cxnSpLocks/>
          </p:cNvCxnSpPr>
          <p:nvPr userDrawn="1"/>
        </p:nvCxnSpPr>
        <p:spPr>
          <a:xfrm>
            <a:off x="4391261" y="4765674"/>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93B68CC4-9F27-4D45-8CA6-AF477C046009}"/>
              </a:ext>
            </a:extLst>
          </p:cNvPr>
          <p:cNvSpPr txBox="1">
            <a:spLocks/>
          </p:cNvSpPr>
          <p:nvPr userDrawn="1"/>
        </p:nvSpPr>
        <p:spPr>
          <a:xfrm>
            <a:off x="571500"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1</a:t>
            </a:r>
          </a:p>
        </p:txBody>
      </p:sp>
      <p:sp>
        <p:nvSpPr>
          <p:cNvPr id="36" name="Title 1">
            <a:extLst>
              <a:ext uri="{FF2B5EF4-FFF2-40B4-BE49-F238E27FC236}">
                <a16:creationId xmlns:a16="http://schemas.microsoft.com/office/drawing/2014/main" id="{15400116-1BB6-9047-AD7B-051A5DC67FD8}"/>
              </a:ext>
            </a:extLst>
          </p:cNvPr>
          <p:cNvSpPr txBox="1">
            <a:spLocks/>
          </p:cNvSpPr>
          <p:nvPr userDrawn="1"/>
        </p:nvSpPr>
        <p:spPr>
          <a:xfrm>
            <a:off x="571500"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2</a:t>
            </a:r>
          </a:p>
        </p:txBody>
      </p:sp>
      <p:sp>
        <p:nvSpPr>
          <p:cNvPr id="37" name="Title 1">
            <a:extLst>
              <a:ext uri="{FF2B5EF4-FFF2-40B4-BE49-F238E27FC236}">
                <a16:creationId xmlns:a16="http://schemas.microsoft.com/office/drawing/2014/main" id="{B931A45C-63D4-F34F-B5BE-3270A9E4EA54}"/>
              </a:ext>
            </a:extLst>
          </p:cNvPr>
          <p:cNvSpPr txBox="1">
            <a:spLocks/>
          </p:cNvSpPr>
          <p:nvPr userDrawn="1"/>
        </p:nvSpPr>
        <p:spPr>
          <a:xfrm>
            <a:off x="571500"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3</a:t>
            </a:r>
          </a:p>
        </p:txBody>
      </p:sp>
      <p:sp>
        <p:nvSpPr>
          <p:cNvPr id="38" name="Title 1">
            <a:extLst>
              <a:ext uri="{FF2B5EF4-FFF2-40B4-BE49-F238E27FC236}">
                <a16:creationId xmlns:a16="http://schemas.microsoft.com/office/drawing/2014/main" id="{3C20DB40-1E88-AF41-AA26-08A30487F41C}"/>
              </a:ext>
            </a:extLst>
          </p:cNvPr>
          <p:cNvSpPr txBox="1">
            <a:spLocks/>
          </p:cNvSpPr>
          <p:nvPr userDrawn="1"/>
        </p:nvSpPr>
        <p:spPr>
          <a:xfrm>
            <a:off x="571500"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4</a:t>
            </a:r>
          </a:p>
        </p:txBody>
      </p:sp>
      <p:sp>
        <p:nvSpPr>
          <p:cNvPr id="39" name="Title 1">
            <a:extLst>
              <a:ext uri="{FF2B5EF4-FFF2-40B4-BE49-F238E27FC236}">
                <a16:creationId xmlns:a16="http://schemas.microsoft.com/office/drawing/2014/main" id="{AB1CE3EB-F264-B946-A4FB-6B4050B23ED8}"/>
              </a:ext>
            </a:extLst>
          </p:cNvPr>
          <p:cNvSpPr txBox="1">
            <a:spLocks/>
          </p:cNvSpPr>
          <p:nvPr userDrawn="1"/>
        </p:nvSpPr>
        <p:spPr>
          <a:xfrm>
            <a:off x="430814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5</a:t>
            </a:r>
          </a:p>
        </p:txBody>
      </p:sp>
      <p:sp>
        <p:nvSpPr>
          <p:cNvPr id="40" name="Title 1">
            <a:extLst>
              <a:ext uri="{FF2B5EF4-FFF2-40B4-BE49-F238E27FC236}">
                <a16:creationId xmlns:a16="http://schemas.microsoft.com/office/drawing/2014/main" id="{64684569-2E00-D448-AA8F-F12E2DC46BB0}"/>
              </a:ext>
            </a:extLst>
          </p:cNvPr>
          <p:cNvSpPr txBox="1">
            <a:spLocks/>
          </p:cNvSpPr>
          <p:nvPr userDrawn="1"/>
        </p:nvSpPr>
        <p:spPr>
          <a:xfrm>
            <a:off x="430814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6</a:t>
            </a:r>
          </a:p>
        </p:txBody>
      </p:sp>
      <p:sp>
        <p:nvSpPr>
          <p:cNvPr id="41" name="Title 1">
            <a:extLst>
              <a:ext uri="{FF2B5EF4-FFF2-40B4-BE49-F238E27FC236}">
                <a16:creationId xmlns:a16="http://schemas.microsoft.com/office/drawing/2014/main" id="{33F61082-D4F4-1B42-B456-461B8F0C9AE6}"/>
              </a:ext>
            </a:extLst>
          </p:cNvPr>
          <p:cNvSpPr txBox="1">
            <a:spLocks/>
          </p:cNvSpPr>
          <p:nvPr userDrawn="1"/>
        </p:nvSpPr>
        <p:spPr>
          <a:xfrm>
            <a:off x="430814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7</a:t>
            </a:r>
          </a:p>
        </p:txBody>
      </p:sp>
      <p:sp>
        <p:nvSpPr>
          <p:cNvPr id="43" name="Text Placeholder 4">
            <a:extLst>
              <a:ext uri="{FF2B5EF4-FFF2-40B4-BE49-F238E27FC236}">
                <a16:creationId xmlns:a16="http://schemas.microsoft.com/office/drawing/2014/main" id="{2325DBF4-5203-E544-9AB3-86397B59BB73}"/>
              </a:ext>
            </a:extLst>
          </p:cNvPr>
          <p:cNvSpPr>
            <a:spLocks noGrp="1"/>
          </p:cNvSpPr>
          <p:nvPr>
            <p:ph type="body" sz="quarter" idx="15" hasCustomPrompt="1"/>
          </p:nvPr>
        </p:nvSpPr>
        <p:spPr>
          <a:xfrm>
            <a:off x="1709382"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4" name="Text Placeholder 4">
            <a:extLst>
              <a:ext uri="{FF2B5EF4-FFF2-40B4-BE49-F238E27FC236}">
                <a16:creationId xmlns:a16="http://schemas.microsoft.com/office/drawing/2014/main" id="{03375363-8A9F-4746-8575-3484B6F11594}"/>
              </a:ext>
            </a:extLst>
          </p:cNvPr>
          <p:cNvSpPr>
            <a:spLocks noGrp="1"/>
          </p:cNvSpPr>
          <p:nvPr>
            <p:ph type="body" sz="quarter" idx="16" hasCustomPrompt="1"/>
          </p:nvPr>
        </p:nvSpPr>
        <p:spPr>
          <a:xfrm>
            <a:off x="5562600" y="107167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5" name="Text Placeholder 4">
            <a:extLst>
              <a:ext uri="{FF2B5EF4-FFF2-40B4-BE49-F238E27FC236}">
                <a16:creationId xmlns:a16="http://schemas.microsoft.com/office/drawing/2014/main" id="{BE430154-4CFD-5E40-B08A-CD3F5270226B}"/>
              </a:ext>
            </a:extLst>
          </p:cNvPr>
          <p:cNvSpPr>
            <a:spLocks noGrp="1"/>
          </p:cNvSpPr>
          <p:nvPr>
            <p:ph type="body" sz="quarter" idx="17" hasCustomPrompt="1"/>
          </p:nvPr>
        </p:nvSpPr>
        <p:spPr>
          <a:xfrm>
            <a:off x="1709382"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6" name="Text Placeholder 4">
            <a:extLst>
              <a:ext uri="{FF2B5EF4-FFF2-40B4-BE49-F238E27FC236}">
                <a16:creationId xmlns:a16="http://schemas.microsoft.com/office/drawing/2014/main" id="{2145205C-31D5-E445-99A2-DB5B7D610A9B}"/>
              </a:ext>
            </a:extLst>
          </p:cNvPr>
          <p:cNvSpPr>
            <a:spLocks noGrp="1"/>
          </p:cNvSpPr>
          <p:nvPr>
            <p:ph type="body" sz="quarter" idx="18" hasCustomPrompt="1"/>
          </p:nvPr>
        </p:nvSpPr>
        <p:spPr>
          <a:xfrm>
            <a:off x="5562600" y="2558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7" name="Text Placeholder 4">
            <a:extLst>
              <a:ext uri="{FF2B5EF4-FFF2-40B4-BE49-F238E27FC236}">
                <a16:creationId xmlns:a16="http://schemas.microsoft.com/office/drawing/2014/main" id="{CD89BFAE-D287-6A4F-92C8-61BB785AF3D3}"/>
              </a:ext>
            </a:extLst>
          </p:cNvPr>
          <p:cNvSpPr>
            <a:spLocks noGrp="1"/>
          </p:cNvSpPr>
          <p:nvPr>
            <p:ph type="body" sz="quarter" idx="19" hasCustomPrompt="1"/>
          </p:nvPr>
        </p:nvSpPr>
        <p:spPr>
          <a:xfrm>
            <a:off x="1709382"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8" name="Text Placeholder 4">
            <a:extLst>
              <a:ext uri="{FF2B5EF4-FFF2-40B4-BE49-F238E27FC236}">
                <a16:creationId xmlns:a16="http://schemas.microsoft.com/office/drawing/2014/main" id="{0F2205A5-4044-B74B-A2E2-8D4536C6DC96}"/>
              </a:ext>
            </a:extLst>
          </p:cNvPr>
          <p:cNvSpPr>
            <a:spLocks noGrp="1"/>
          </p:cNvSpPr>
          <p:nvPr>
            <p:ph type="body" sz="quarter" idx="20" hasCustomPrompt="1"/>
          </p:nvPr>
        </p:nvSpPr>
        <p:spPr>
          <a:xfrm>
            <a:off x="5562600" y="4088844"/>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
        <p:nvSpPr>
          <p:cNvPr id="49" name="Text Placeholder 4">
            <a:extLst>
              <a:ext uri="{FF2B5EF4-FFF2-40B4-BE49-F238E27FC236}">
                <a16:creationId xmlns:a16="http://schemas.microsoft.com/office/drawing/2014/main" id="{C249BDC1-CF90-7C45-A141-E928ACF7929D}"/>
              </a:ext>
            </a:extLst>
          </p:cNvPr>
          <p:cNvSpPr>
            <a:spLocks noGrp="1"/>
          </p:cNvSpPr>
          <p:nvPr>
            <p:ph type="body" sz="quarter" idx="21" hasCustomPrompt="1"/>
          </p:nvPr>
        </p:nvSpPr>
        <p:spPr>
          <a:xfrm>
            <a:off x="1709382" y="5572388"/>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spTree>
    <p:extLst>
      <p:ext uri="{BB962C8B-B14F-4D97-AF65-F5344CB8AC3E}">
        <p14:creationId xmlns:p14="http://schemas.microsoft.com/office/powerpoint/2010/main" val="4043643531"/>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Subtitle 2">
            <a:extLst>
              <a:ext uri="{FF2B5EF4-FFF2-40B4-BE49-F238E27FC236}">
                <a16:creationId xmlns:a16="http://schemas.microsoft.com/office/drawing/2014/main" id="{468650E4-A488-7904-48CA-7B933C791C30}"/>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3540210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_Subtitle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Picture Placeholder 3">
            <a:extLst>
              <a:ext uri="{FF2B5EF4-FFF2-40B4-BE49-F238E27FC236}">
                <a16:creationId xmlns:a16="http://schemas.microsoft.com/office/drawing/2014/main" id="{8104D7A8-6A7F-184C-8451-0D9643B9DB79}"/>
              </a:ext>
            </a:extLst>
          </p:cNvPr>
          <p:cNvSpPr>
            <a:spLocks noGrp="1"/>
          </p:cNvSpPr>
          <p:nvPr>
            <p:ph type="pic" sz="quarter" idx="13"/>
          </p:nvPr>
        </p:nvSpPr>
        <p:spPr>
          <a:xfrm>
            <a:off x="6134100" y="585788"/>
            <a:ext cx="5486400" cy="5683250"/>
          </a:xfrm>
        </p:spPr>
        <p:txBody>
          <a:bodyPr/>
          <a:lstStyle/>
          <a:p>
            <a:r>
              <a:rPr lang="en-US"/>
              <a:t>Click icon to add pictur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172887254"/>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7" name="Text Placeholder 4">
            <a:extLst>
              <a:ext uri="{FF2B5EF4-FFF2-40B4-BE49-F238E27FC236}">
                <a16:creationId xmlns:a16="http://schemas.microsoft.com/office/drawing/2014/main" id="{DA051E22-5706-0641-B839-C86D64313E72}"/>
              </a:ext>
            </a:extLst>
          </p:cNvPr>
          <p:cNvSpPr>
            <a:spLocks noGrp="1"/>
          </p:cNvSpPr>
          <p:nvPr>
            <p:ph type="body" sz="quarter" idx="14" hasCustomPrompt="1"/>
          </p:nvPr>
        </p:nvSpPr>
        <p:spPr>
          <a:xfrm>
            <a:off x="6136944" y="2314727"/>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9" name="Text Placeholder 4">
            <a:extLst>
              <a:ext uri="{FF2B5EF4-FFF2-40B4-BE49-F238E27FC236}">
                <a16:creationId xmlns:a16="http://schemas.microsoft.com/office/drawing/2014/main" id="{A4DB0EB2-F13F-EA44-A494-54AB883E8F20}"/>
              </a:ext>
            </a:extLst>
          </p:cNvPr>
          <p:cNvSpPr>
            <a:spLocks noGrp="1"/>
          </p:cNvSpPr>
          <p:nvPr>
            <p:ph type="body" sz="quarter" idx="16" hasCustomPrompt="1"/>
          </p:nvPr>
        </p:nvSpPr>
        <p:spPr>
          <a:xfrm>
            <a:off x="6136944" y="8381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1" name="Text Placeholder 4">
            <a:extLst>
              <a:ext uri="{FF2B5EF4-FFF2-40B4-BE49-F238E27FC236}">
                <a16:creationId xmlns:a16="http://schemas.microsoft.com/office/drawing/2014/main" id="{54AC069D-0D99-1449-BA56-CABAD1A30B51}"/>
              </a:ext>
            </a:extLst>
          </p:cNvPr>
          <p:cNvSpPr>
            <a:spLocks noGrp="1"/>
          </p:cNvSpPr>
          <p:nvPr>
            <p:ph type="body" sz="quarter" idx="18" hasCustomPrompt="1"/>
          </p:nvPr>
        </p:nvSpPr>
        <p:spPr>
          <a:xfrm>
            <a:off x="6136944" y="38099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3" name="Text Placeholder 4">
            <a:extLst>
              <a:ext uri="{FF2B5EF4-FFF2-40B4-BE49-F238E27FC236}">
                <a16:creationId xmlns:a16="http://schemas.microsoft.com/office/drawing/2014/main" id="{C4C488F7-08C3-AA48-9203-0739DBED7D31}"/>
              </a:ext>
            </a:extLst>
          </p:cNvPr>
          <p:cNvSpPr>
            <a:spLocks noGrp="1"/>
          </p:cNvSpPr>
          <p:nvPr>
            <p:ph type="body" sz="quarter" idx="20" hasCustomPrompt="1"/>
          </p:nvPr>
        </p:nvSpPr>
        <p:spPr>
          <a:xfrm>
            <a:off x="6136944" y="52577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54" name="Text Placeholder 4">
            <a:extLst>
              <a:ext uri="{FF2B5EF4-FFF2-40B4-BE49-F238E27FC236}">
                <a16:creationId xmlns:a16="http://schemas.microsoft.com/office/drawing/2014/main" id="{73C30779-5B33-B64E-A12E-25D5F3B74CDD}"/>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099585374"/>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_Subtitle_Content_Larg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3615519" cy="189810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3" name="Group 2">
            <a:extLst>
              <a:ext uri="{FF2B5EF4-FFF2-40B4-BE49-F238E27FC236}">
                <a16:creationId xmlns:a16="http://schemas.microsoft.com/office/drawing/2014/main" id="{188A3071-7768-0B46-B2E0-504A846B74CF}"/>
              </a:ext>
            </a:extLst>
          </p:cNvPr>
          <p:cNvGrpSpPr/>
          <p:nvPr userDrawn="1"/>
        </p:nvGrpSpPr>
        <p:grpSpPr>
          <a:xfrm>
            <a:off x="4305300" y="585968"/>
            <a:ext cx="7315200" cy="5687403"/>
            <a:chOff x="4392612" y="585968"/>
            <a:chExt cx="5475288" cy="5687403"/>
          </a:xfrm>
        </p:grpSpPr>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4392612"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4392612"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4392612"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4392612"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4392612"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4392612"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4392612"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4392612"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6134100" y="2314728"/>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7" name="Text Placeholder 4">
            <a:extLst>
              <a:ext uri="{FF2B5EF4-FFF2-40B4-BE49-F238E27FC236}">
                <a16:creationId xmlns:a16="http://schemas.microsoft.com/office/drawing/2014/main" id="{DA051E22-5706-0641-B839-C86D64313E72}"/>
              </a:ext>
            </a:extLst>
          </p:cNvPr>
          <p:cNvSpPr>
            <a:spLocks noGrp="1"/>
          </p:cNvSpPr>
          <p:nvPr>
            <p:ph type="body" sz="quarter" idx="14" hasCustomPrompt="1"/>
          </p:nvPr>
        </p:nvSpPr>
        <p:spPr>
          <a:xfrm>
            <a:off x="4305300" y="2314727"/>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6134100" y="8382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9" name="Text Placeholder 4">
            <a:extLst>
              <a:ext uri="{FF2B5EF4-FFF2-40B4-BE49-F238E27FC236}">
                <a16:creationId xmlns:a16="http://schemas.microsoft.com/office/drawing/2014/main" id="{A4DB0EB2-F13F-EA44-A494-54AB883E8F20}"/>
              </a:ext>
            </a:extLst>
          </p:cNvPr>
          <p:cNvSpPr>
            <a:spLocks noGrp="1"/>
          </p:cNvSpPr>
          <p:nvPr>
            <p:ph type="body" sz="quarter" idx="16" hasCustomPrompt="1"/>
          </p:nvPr>
        </p:nvSpPr>
        <p:spPr>
          <a:xfrm>
            <a:off x="4305300" y="8381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6134100" y="38100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1" name="Text Placeholder 4">
            <a:extLst>
              <a:ext uri="{FF2B5EF4-FFF2-40B4-BE49-F238E27FC236}">
                <a16:creationId xmlns:a16="http://schemas.microsoft.com/office/drawing/2014/main" id="{54AC069D-0D99-1449-BA56-CABAD1A30B51}"/>
              </a:ext>
            </a:extLst>
          </p:cNvPr>
          <p:cNvSpPr>
            <a:spLocks noGrp="1"/>
          </p:cNvSpPr>
          <p:nvPr>
            <p:ph type="body" sz="quarter" idx="18" hasCustomPrompt="1"/>
          </p:nvPr>
        </p:nvSpPr>
        <p:spPr>
          <a:xfrm>
            <a:off x="4305300" y="38099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6134100" y="52578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3" name="Text Placeholder 4">
            <a:extLst>
              <a:ext uri="{FF2B5EF4-FFF2-40B4-BE49-F238E27FC236}">
                <a16:creationId xmlns:a16="http://schemas.microsoft.com/office/drawing/2014/main" id="{C4C488F7-08C3-AA48-9203-0739DBED7D31}"/>
              </a:ext>
            </a:extLst>
          </p:cNvPr>
          <p:cNvSpPr>
            <a:spLocks noGrp="1"/>
          </p:cNvSpPr>
          <p:nvPr>
            <p:ph type="body" sz="quarter" idx="20" hasCustomPrompt="1"/>
          </p:nvPr>
        </p:nvSpPr>
        <p:spPr>
          <a:xfrm>
            <a:off x="4305300" y="52577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1" name="Text Placeholder 4">
            <a:extLst>
              <a:ext uri="{FF2B5EF4-FFF2-40B4-BE49-F238E27FC236}">
                <a16:creationId xmlns:a16="http://schemas.microsoft.com/office/drawing/2014/main" id="{7A1D12C3-3B5B-044C-A548-FEDB9E5D4028}"/>
              </a:ext>
            </a:extLst>
          </p:cNvPr>
          <p:cNvSpPr>
            <a:spLocks noGrp="1"/>
          </p:cNvSpPr>
          <p:nvPr>
            <p:ph type="body" sz="quarter" idx="12" hasCustomPrompt="1"/>
          </p:nvPr>
        </p:nvSpPr>
        <p:spPr>
          <a:xfrm>
            <a:off x="584201" y="2833345"/>
            <a:ext cx="3606799"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4279690254"/>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Subtitle_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290896238"/>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_Subtitle_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5"/>
            <a:ext cx="3615519" cy="2075525"/>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49" name="Group 48">
            <a:extLst>
              <a:ext uri="{FF2B5EF4-FFF2-40B4-BE49-F238E27FC236}">
                <a16:creationId xmlns:a16="http://schemas.microsoft.com/office/drawing/2014/main" id="{31FA41F1-2028-C841-A0E6-E62A36CD04B0}"/>
              </a:ext>
            </a:extLst>
          </p:cNvPr>
          <p:cNvGrpSpPr/>
          <p:nvPr userDrawn="1"/>
        </p:nvGrpSpPr>
        <p:grpSpPr>
          <a:xfrm>
            <a:off x="4305300" y="585968"/>
            <a:ext cx="7304088" cy="2780871"/>
            <a:chOff x="6134100" y="585968"/>
            <a:chExt cx="5475288" cy="2780871"/>
          </a:xfrm>
        </p:grpSpPr>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6134100" y="33668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158990C4-7AAA-874F-9992-5C649C6BAE73}"/>
              </a:ext>
            </a:extLst>
          </p:cNvPr>
          <p:cNvGrpSpPr/>
          <p:nvPr userDrawn="1"/>
        </p:nvGrpSpPr>
        <p:grpSpPr>
          <a:xfrm>
            <a:off x="4305300" y="3505200"/>
            <a:ext cx="7304088" cy="2753575"/>
            <a:chOff x="6134100" y="585968"/>
            <a:chExt cx="5475288" cy="2753575"/>
          </a:xfrm>
        </p:grpSpPr>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6134100" y="333954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4BD19EB2-7D8F-AC41-A8B6-1914246DD12A}"/>
              </a:ext>
            </a:extLst>
          </p:cNvPr>
          <p:cNvSpPr>
            <a:spLocks noGrp="1"/>
          </p:cNvSpPr>
          <p:nvPr>
            <p:ph type="body" sz="quarter" idx="15" hasCustomPrompt="1"/>
          </p:nvPr>
        </p:nvSpPr>
        <p:spPr>
          <a:xfrm>
            <a:off x="6134100" y="838200"/>
            <a:ext cx="5486400"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p:ph type="body" sz="quarter" idx="16" hasCustomPrompt="1"/>
          </p:nvPr>
        </p:nvSpPr>
        <p:spPr>
          <a:xfrm>
            <a:off x="4327194" y="838199"/>
            <a:ext cx="1692606"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p:ph type="body" sz="quarter" idx="17" hasCustomPrompt="1"/>
          </p:nvPr>
        </p:nvSpPr>
        <p:spPr>
          <a:xfrm>
            <a:off x="6134100" y="3761096"/>
            <a:ext cx="5486400"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p:ph type="body" sz="quarter" idx="18" hasCustomPrompt="1"/>
          </p:nvPr>
        </p:nvSpPr>
        <p:spPr>
          <a:xfrm>
            <a:off x="4327194" y="3761095"/>
            <a:ext cx="1692606"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5" name="Text Placeholder 4">
            <a:extLst>
              <a:ext uri="{FF2B5EF4-FFF2-40B4-BE49-F238E27FC236}">
                <a16:creationId xmlns:a16="http://schemas.microsoft.com/office/drawing/2014/main" id="{E21E97F0-3227-AE4F-A0C4-885867ED107D}"/>
              </a:ext>
            </a:extLst>
          </p:cNvPr>
          <p:cNvSpPr>
            <a:spLocks noGrp="1"/>
          </p:cNvSpPr>
          <p:nvPr>
            <p:ph type="body" sz="quarter" idx="12" hasCustomPrompt="1"/>
          </p:nvPr>
        </p:nvSpPr>
        <p:spPr>
          <a:xfrm>
            <a:off x="584201" y="2833345"/>
            <a:ext cx="3606799"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349337756"/>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_Subtitle_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5444319" cy="142043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49" name="Group 48">
            <a:extLst>
              <a:ext uri="{FF2B5EF4-FFF2-40B4-BE49-F238E27FC236}">
                <a16:creationId xmlns:a16="http://schemas.microsoft.com/office/drawing/2014/main" id="{31FA41F1-2028-C841-A0E6-E62A36CD04B0}"/>
              </a:ext>
            </a:extLst>
          </p:cNvPr>
          <p:cNvGrpSpPr/>
          <p:nvPr userDrawn="1"/>
        </p:nvGrpSpPr>
        <p:grpSpPr>
          <a:xfrm>
            <a:off x="6134100" y="585968"/>
            <a:ext cx="5475288" cy="2780871"/>
            <a:chOff x="6134100" y="585968"/>
            <a:chExt cx="5475288" cy="2780871"/>
          </a:xfrm>
        </p:grpSpPr>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6134100" y="33668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158990C4-7AAA-874F-9992-5C649C6BAE73}"/>
              </a:ext>
            </a:extLst>
          </p:cNvPr>
          <p:cNvGrpSpPr/>
          <p:nvPr userDrawn="1"/>
        </p:nvGrpSpPr>
        <p:grpSpPr>
          <a:xfrm>
            <a:off x="6134100" y="3505200"/>
            <a:ext cx="5475288" cy="2753575"/>
            <a:chOff x="6134100" y="585968"/>
            <a:chExt cx="5475288" cy="2753575"/>
          </a:xfrm>
        </p:grpSpPr>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6134100" y="333954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4BD19EB2-7D8F-AC41-A8B6-1914246DD12A}"/>
              </a:ext>
            </a:extLst>
          </p:cNvPr>
          <p:cNvSpPr>
            <a:spLocks noGrp="1"/>
          </p:cNvSpPr>
          <p:nvPr>
            <p:ph type="body" sz="quarter" idx="15" hasCustomPrompt="1"/>
          </p:nvPr>
        </p:nvSpPr>
        <p:spPr>
          <a:xfrm>
            <a:off x="7507786" y="838200"/>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p:ph type="body" sz="quarter" idx="16" hasCustomPrompt="1"/>
          </p:nvPr>
        </p:nvSpPr>
        <p:spPr>
          <a:xfrm>
            <a:off x="6134100" y="838199"/>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p:ph type="body" sz="quarter" idx="17" hasCustomPrompt="1"/>
          </p:nvPr>
        </p:nvSpPr>
        <p:spPr>
          <a:xfrm>
            <a:off x="7507786" y="3761096"/>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p:ph type="body" sz="quarter" idx="18" hasCustomPrompt="1"/>
          </p:nvPr>
        </p:nvSpPr>
        <p:spPr>
          <a:xfrm>
            <a:off x="6134100" y="3761095"/>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 name="Text Placeholder 4">
            <a:extLst>
              <a:ext uri="{FF2B5EF4-FFF2-40B4-BE49-F238E27FC236}">
                <a16:creationId xmlns:a16="http://schemas.microsoft.com/office/drawing/2014/main" id="{E75517DE-522B-D247-93F8-0782A7006717}"/>
              </a:ext>
            </a:extLst>
          </p:cNvPr>
          <p:cNvSpPr>
            <a:spLocks noGrp="1"/>
          </p:cNvSpPr>
          <p:nvPr>
            <p:ph type="body" sz="quarter" idx="19"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646151810"/>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1648324"/>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008656"/>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1054820"/>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102632"/>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 Slide">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BF6EF8E-FDB6-1545-7604-682F893E7C2A}"/>
              </a:ext>
            </a:extLst>
          </p:cNvPr>
          <p:cNvSpPr/>
          <p:nvPr userDrawn="1"/>
        </p:nvSpPr>
        <p:spPr bwMode="auto">
          <a:xfrm>
            <a:off x="-16828" y="2614263"/>
            <a:ext cx="12208828" cy="4256217"/>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pic>
        <p:nvPicPr>
          <p:cNvPr id="5" name="Graphic 4">
            <a:extLst>
              <a:ext uri="{FF2B5EF4-FFF2-40B4-BE49-F238E27FC236}">
                <a16:creationId xmlns:a16="http://schemas.microsoft.com/office/drawing/2014/main" id="{63220DF1-A7FE-5230-C19C-6ED1C2D1BA39}"/>
              </a:ext>
            </a:extLst>
          </p:cNvPr>
          <p:cNvPicPr>
            <a:picLocks noChangeAspect="1"/>
          </p:cNvPicPr>
          <p:nvPr userDrawn="1"/>
        </p:nvPicPr>
        <p:blipFill>
          <a:blip r:embed="rId2">
            <a:alphaModFix amt="40000"/>
            <a:extLst>
              <a:ext uri="{96DAC541-7B7A-43D3-8B79-37D633B846F1}">
                <asvg:svgBlip xmlns:asvg="http://schemas.microsoft.com/office/drawing/2016/SVG/main" r:embed="rId3"/>
              </a:ext>
            </a:extLst>
          </a:blip>
          <a:srcRect r="3226" b="30326"/>
          <a:stretch/>
        </p:blipFill>
        <p:spPr>
          <a:xfrm>
            <a:off x="1860550" y="2517777"/>
            <a:ext cx="10314622" cy="4340223"/>
          </a:xfrm>
          <a:prstGeom prst="rect">
            <a:avLst/>
          </a:prstGeom>
        </p:spPr>
      </p:pic>
      <p:sp>
        <p:nvSpPr>
          <p:cNvPr id="6" name="Rectangle: Top Corners Rounded 5">
            <a:extLst>
              <a:ext uri="{FF2B5EF4-FFF2-40B4-BE49-F238E27FC236}">
                <a16:creationId xmlns:a16="http://schemas.microsoft.com/office/drawing/2014/main" id="{CD43F114-41AB-67F1-020B-4601AFA6ACE3}"/>
              </a:ext>
            </a:extLst>
          </p:cNvPr>
          <p:cNvSpPr/>
          <p:nvPr userDrawn="1"/>
        </p:nvSpPr>
        <p:spPr bwMode="auto">
          <a:xfrm>
            <a:off x="568960" y="3113940"/>
            <a:ext cx="1539237" cy="3744060"/>
          </a:xfrm>
          <a:prstGeom prst="round2SameRect">
            <a:avLst>
              <a:gd name="adj1" fmla="val 5116"/>
              <a:gd name="adj2" fmla="val 0"/>
            </a:avLst>
          </a:prstGeom>
          <a:solidFill>
            <a:schemeClr val="accent3">
              <a:lumMod val="20000"/>
              <a:lumOff val="80000"/>
              <a:alpha val="19000"/>
            </a:schemeClr>
          </a:solidFill>
          <a:ln>
            <a:noFill/>
            <a:headEnd type="none" w="med" len="med"/>
            <a:tailEnd type="none" w="med" len="med"/>
          </a:ln>
          <a:effectLst>
            <a:innerShdw blurRad="304800">
              <a:schemeClr val="accent1">
                <a:alpha val="1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7" name="Group 6">
            <a:extLst>
              <a:ext uri="{FF2B5EF4-FFF2-40B4-BE49-F238E27FC236}">
                <a16:creationId xmlns:a16="http://schemas.microsoft.com/office/drawing/2014/main" id="{9D220094-FBBF-DE6D-A793-8395C892750B}"/>
              </a:ext>
            </a:extLst>
          </p:cNvPr>
          <p:cNvGrpSpPr/>
          <p:nvPr userDrawn="1"/>
        </p:nvGrpSpPr>
        <p:grpSpPr>
          <a:xfrm>
            <a:off x="142417" y="2283977"/>
            <a:ext cx="280398" cy="239696"/>
            <a:chOff x="4236063" y="2350592"/>
            <a:chExt cx="264766" cy="239696"/>
          </a:xfrm>
          <a:solidFill>
            <a:schemeClr val="accent2">
              <a:lumMod val="75000"/>
              <a:lumOff val="25000"/>
            </a:schemeClr>
          </a:solidFill>
        </p:grpSpPr>
        <p:sp>
          <p:nvSpPr>
            <p:cNvPr id="8" name="Freeform: Shape 7">
              <a:extLst>
                <a:ext uri="{FF2B5EF4-FFF2-40B4-BE49-F238E27FC236}">
                  <a16:creationId xmlns:a16="http://schemas.microsoft.com/office/drawing/2014/main" id="{A2B03088-3EE2-DFF6-C7DC-ACA9A68394D1}"/>
                </a:ext>
              </a:extLst>
            </p:cNvPr>
            <p:cNvSpPr/>
            <p:nvPr/>
          </p:nvSpPr>
          <p:spPr bwMode="auto">
            <a:xfrm rot="2700000">
              <a:off x="4261134" y="2350592"/>
              <a:ext cx="239696" cy="239695"/>
            </a:xfrm>
            <a:custGeom>
              <a:avLst/>
              <a:gdLst>
                <a:gd name="connsiteX0" fmla="*/ 30630 w 239696"/>
                <a:gd name="connsiteY0" fmla="*/ 30630 h 239695"/>
                <a:gd name="connsiteX1" fmla="*/ 104576 w 239696"/>
                <a:gd name="connsiteY1" fmla="*/ 0 h 239695"/>
                <a:gd name="connsiteX2" fmla="*/ 178489 w 239696"/>
                <a:gd name="connsiteY2" fmla="*/ 0 h 239695"/>
                <a:gd name="connsiteX3" fmla="*/ 219195 w 239696"/>
                <a:gd name="connsiteY3" fmla="*/ 8218 h 239695"/>
                <a:gd name="connsiteX4" fmla="*/ 239696 w 239696"/>
                <a:gd name="connsiteY4" fmla="*/ 22040 h 239695"/>
                <a:gd name="connsiteX5" fmla="*/ 22040 w 239696"/>
                <a:gd name="connsiteY5" fmla="*/ 239695 h 239695"/>
                <a:gd name="connsiteX6" fmla="*/ 8218 w 239696"/>
                <a:gd name="connsiteY6" fmla="*/ 219195 h 239695"/>
                <a:gd name="connsiteX7" fmla="*/ 0 w 239696"/>
                <a:gd name="connsiteY7" fmla="*/ 178489 h 239695"/>
                <a:gd name="connsiteX8" fmla="*/ 0 w 239696"/>
                <a:gd name="connsiteY8" fmla="*/ 104576 h 239695"/>
                <a:gd name="connsiteX9" fmla="*/ 30630 w 239696"/>
                <a:gd name="connsiteY9" fmla="*/ 30630 h 23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96" h="239695">
                  <a:moveTo>
                    <a:pt x="30630" y="30630"/>
                  </a:moveTo>
                  <a:cubicBezTo>
                    <a:pt x="49554" y="11705"/>
                    <a:pt x="75698" y="0"/>
                    <a:pt x="104576" y="0"/>
                  </a:cubicBezTo>
                  <a:lnTo>
                    <a:pt x="178489" y="0"/>
                  </a:lnTo>
                  <a:cubicBezTo>
                    <a:pt x="192928" y="0"/>
                    <a:pt x="206684" y="2926"/>
                    <a:pt x="219195" y="8218"/>
                  </a:cubicBezTo>
                  <a:lnTo>
                    <a:pt x="239696" y="22040"/>
                  </a:lnTo>
                  <a:lnTo>
                    <a:pt x="22040" y="239695"/>
                  </a:lnTo>
                  <a:lnTo>
                    <a:pt x="8218" y="219195"/>
                  </a:lnTo>
                  <a:cubicBezTo>
                    <a:pt x="2926" y="206683"/>
                    <a:pt x="0" y="192928"/>
                    <a:pt x="0" y="178489"/>
                  </a:cubicBezTo>
                  <a:lnTo>
                    <a:pt x="0" y="104576"/>
                  </a:lnTo>
                  <a:cubicBezTo>
                    <a:pt x="0" y="75698"/>
                    <a:pt x="11705" y="49554"/>
                    <a:pt x="30630" y="306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A97C7C48-1203-620F-E47B-F523FCABE379}"/>
                </a:ext>
              </a:extLst>
            </p:cNvPr>
            <p:cNvSpPr/>
            <p:nvPr/>
          </p:nvSpPr>
          <p:spPr bwMode="auto">
            <a:xfrm rot="2700000">
              <a:off x="4228151" y="2449801"/>
              <a:ext cx="70234" cy="54409"/>
            </a:xfrm>
            <a:custGeom>
              <a:avLst/>
              <a:gdLst>
                <a:gd name="connsiteX0" fmla="*/ 0 w 70234"/>
                <a:gd name="connsiteY0" fmla="*/ 0 h 54409"/>
                <a:gd name="connsiteX1" fmla="*/ 4842 w 70234"/>
                <a:gd name="connsiteY1" fmla="*/ 4842 h 54409"/>
                <a:gd name="connsiteX2" fmla="*/ 70234 w 70234"/>
                <a:gd name="connsiteY2" fmla="*/ 4841 h 54409"/>
                <a:gd name="connsiteX3" fmla="*/ 20667 w 70234"/>
                <a:gd name="connsiteY3" fmla="*/ 54409 h 54409"/>
                <a:gd name="connsiteX4" fmla="*/ 6845 w 70234"/>
                <a:gd name="connsiteY4" fmla="*/ 33909 h 54409"/>
                <a:gd name="connsiteX5" fmla="*/ 0 w 70234"/>
                <a:gd name="connsiteY5" fmla="*/ 0 h 5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34" h="54409">
                  <a:moveTo>
                    <a:pt x="0" y="0"/>
                  </a:moveTo>
                  <a:lnTo>
                    <a:pt x="4842" y="4842"/>
                  </a:lnTo>
                  <a:cubicBezTo>
                    <a:pt x="22868" y="22868"/>
                    <a:pt x="52146" y="22930"/>
                    <a:pt x="70234" y="4841"/>
                  </a:cubicBezTo>
                  <a:lnTo>
                    <a:pt x="20667" y="54409"/>
                  </a:lnTo>
                  <a:lnTo>
                    <a:pt x="6845" y="33909"/>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8AAE9A80-8C18-9B2E-1AC1-7CC56A93EEE3}"/>
              </a:ext>
            </a:extLst>
          </p:cNvPr>
          <p:cNvSpPr/>
          <p:nvPr userDrawn="1"/>
        </p:nvSpPr>
        <p:spPr bwMode="auto">
          <a:xfrm>
            <a:off x="293689" y="1258887"/>
            <a:ext cx="11898310" cy="1598613"/>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Text Placeholder 22">
            <a:extLst>
              <a:ext uri="{FF2B5EF4-FFF2-40B4-BE49-F238E27FC236}">
                <a16:creationId xmlns:a16="http://schemas.microsoft.com/office/drawing/2014/main" id="{8111B9D0-13BD-5F79-8695-80F7C64847E6}"/>
              </a:ext>
            </a:extLst>
          </p:cNvPr>
          <p:cNvSpPr>
            <a:spLocks noGrp="1"/>
          </p:cNvSpPr>
          <p:nvPr>
            <p:ph type="body" sz="quarter" idx="10" hasCustomPrompt="1"/>
          </p:nvPr>
        </p:nvSpPr>
        <p:spPr>
          <a:xfrm>
            <a:off x="588963" y="1450392"/>
            <a:ext cx="11017250" cy="830997"/>
          </a:xfrm>
        </p:spPr>
        <p:txBody>
          <a:bodyP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0" i="0" kern="1200" spc="0" baseline="0" dirty="0" smtClean="0">
                <a:solidFill>
                  <a:schemeClr val="tx1"/>
                </a:solidFill>
                <a:latin typeface="+mn-lt"/>
                <a:ea typeface="+mn-ea"/>
                <a:cs typeface="Segoe UI"/>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0" i="0" kern="1200" spc="0" baseline="0" dirty="0" smtClean="0">
                <a:solidFill>
                  <a:schemeClr val="tx1"/>
                </a:solidFill>
                <a:latin typeface="+mn-lt"/>
                <a:ea typeface="+mn-ea"/>
                <a:cs typeface="Segoe UI"/>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0" i="0" kern="1200" spc="0" baseline="0" dirty="0" smtClean="0">
                <a:solidFill>
                  <a:schemeClr val="tx1"/>
                </a:solidFill>
                <a:latin typeface="+mn-lt"/>
                <a:ea typeface="+mn-ea"/>
                <a:cs typeface="Segoe UI"/>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0" i="0" kern="1200" spc="0" baseline="0" dirty="0" smtClean="0">
                <a:solidFill>
                  <a:schemeClr val="tx1"/>
                </a:solidFill>
                <a:latin typeface="+mn-lt"/>
                <a:ea typeface="+mn-ea"/>
                <a:cs typeface="Segoe UI"/>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a:defRPr>
            </a:lvl5pPr>
          </a:lstStyle>
          <a:p>
            <a:pPr lvl="0"/>
            <a:r>
              <a:rPr lang="en-US"/>
              <a:t>Add text here</a:t>
            </a:r>
          </a:p>
        </p:txBody>
      </p:sp>
      <p:cxnSp>
        <p:nvCxnSpPr>
          <p:cNvPr id="12" name="Straight Connector 11">
            <a:extLst>
              <a:ext uri="{FF2B5EF4-FFF2-40B4-BE49-F238E27FC236}">
                <a16:creationId xmlns:a16="http://schemas.microsoft.com/office/drawing/2014/main" id="{02B5818E-80AF-9240-645B-B0ADA69274A1}"/>
              </a:ext>
            </a:extLst>
          </p:cNvPr>
          <p:cNvCxnSpPr>
            <a:cxnSpLocks/>
          </p:cNvCxnSpPr>
          <p:nvPr userDrawn="1"/>
        </p:nvCxnSpPr>
        <p:spPr>
          <a:xfrm flipH="1">
            <a:off x="0" y="1258888"/>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D41E5F6-BF35-99FA-342E-09CCCB16AD2F}"/>
              </a:ext>
            </a:extLst>
          </p:cNvPr>
          <p:cNvCxnSpPr>
            <a:cxnSpLocks/>
          </p:cNvCxnSpPr>
          <p:nvPr userDrawn="1"/>
        </p:nvCxnSpPr>
        <p:spPr>
          <a:xfrm>
            <a:off x="293688" y="401932"/>
            <a:ext cx="0" cy="5120640"/>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6CF94F20-28DD-BF01-17A4-887A40829AB2}"/>
              </a:ext>
            </a:extLst>
          </p:cNvPr>
          <p:cNvSpPr/>
          <p:nvPr userDrawn="1"/>
        </p:nvSpPr>
        <p:spPr>
          <a:xfrm>
            <a:off x="0" y="2590801"/>
            <a:ext cx="11606212" cy="3564776"/>
          </a:xfrm>
          <a:custGeom>
            <a:avLst/>
            <a:gdLst>
              <a:gd name="connsiteX0" fmla="*/ 0 w 11606212"/>
              <a:gd name="connsiteY0" fmla="*/ 0 h 3549031"/>
              <a:gd name="connsiteX1" fmla="*/ 8661641 w 11606212"/>
              <a:gd name="connsiteY1" fmla="*/ 0 h 3549031"/>
              <a:gd name="connsiteX2" fmla="*/ 10776922 w 11606212"/>
              <a:gd name="connsiteY2" fmla="*/ 0 h 3549031"/>
              <a:gd name="connsiteX3" fmla="*/ 11439520 w 11606212"/>
              <a:gd name="connsiteY3" fmla="*/ 0 h 3549031"/>
              <a:gd name="connsiteX4" fmla="*/ 11606212 w 11606212"/>
              <a:gd name="connsiteY4" fmla="*/ 195114 h 3549031"/>
              <a:gd name="connsiteX5" fmla="*/ 11606212 w 11606212"/>
              <a:gd name="connsiteY5" fmla="*/ 3353786 h 3549031"/>
              <a:gd name="connsiteX6" fmla="*/ 11439520 w 11606212"/>
              <a:gd name="connsiteY6" fmla="*/ 3548900 h 3549031"/>
              <a:gd name="connsiteX7" fmla="*/ 10776922 w 11606212"/>
              <a:gd name="connsiteY7" fmla="*/ 3548900 h 3549031"/>
              <a:gd name="connsiteX8" fmla="*/ 8661641 w 11606212"/>
              <a:gd name="connsiteY8" fmla="*/ 3548900 h 3549031"/>
              <a:gd name="connsiteX9" fmla="*/ 2349080 w 11606212"/>
              <a:gd name="connsiteY9" fmla="*/ 3548900 h 3549031"/>
              <a:gd name="connsiteX10" fmla="*/ 2222464 w 11606212"/>
              <a:gd name="connsiteY10" fmla="*/ 3408936 h 3549031"/>
              <a:gd name="connsiteX11" fmla="*/ 2222464 w 11606212"/>
              <a:gd name="connsiteY11" fmla="*/ 567568 h 3549031"/>
              <a:gd name="connsiteX12" fmla="*/ 2078587 w 11606212"/>
              <a:gd name="connsiteY12" fmla="*/ 408523 h 3549031"/>
              <a:gd name="connsiteX13" fmla="*/ 578817 w 11606212"/>
              <a:gd name="connsiteY13" fmla="*/ 408523 h 3549031"/>
              <a:gd name="connsiteX14" fmla="*/ 434940 w 11606212"/>
              <a:gd name="connsiteY14" fmla="*/ 567568 h 3549031"/>
              <a:gd name="connsiteX15" fmla="*/ 434940 w 11606212"/>
              <a:gd name="connsiteY15" fmla="*/ 3409066 h 3549031"/>
              <a:gd name="connsiteX16" fmla="*/ 308324 w 11606212"/>
              <a:gd name="connsiteY16" fmla="*/ 3549031 h 3549031"/>
              <a:gd name="connsiteX17" fmla="*/ 0 w 11606212"/>
              <a:gd name="connsiteY17" fmla="*/ 3549031 h 35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06212" h="3549031">
                <a:moveTo>
                  <a:pt x="0" y="0"/>
                </a:moveTo>
                <a:lnTo>
                  <a:pt x="8661641" y="0"/>
                </a:lnTo>
                <a:lnTo>
                  <a:pt x="10776922" y="0"/>
                </a:lnTo>
                <a:lnTo>
                  <a:pt x="11439520" y="0"/>
                </a:lnTo>
                <a:cubicBezTo>
                  <a:pt x="11531614" y="0"/>
                  <a:pt x="11606212" y="87298"/>
                  <a:pt x="11606212" y="195114"/>
                </a:cubicBezTo>
                <a:lnTo>
                  <a:pt x="11606212" y="3353786"/>
                </a:lnTo>
                <a:cubicBezTo>
                  <a:pt x="11606212" y="3461471"/>
                  <a:pt x="11531614" y="3548900"/>
                  <a:pt x="11439520" y="3548900"/>
                </a:cubicBezTo>
                <a:lnTo>
                  <a:pt x="10776922" y="3548900"/>
                </a:lnTo>
                <a:lnTo>
                  <a:pt x="8661641" y="3548900"/>
                </a:lnTo>
                <a:lnTo>
                  <a:pt x="2349080" y="3548900"/>
                </a:lnTo>
                <a:cubicBezTo>
                  <a:pt x="2279211" y="3548900"/>
                  <a:pt x="2222464" y="3486301"/>
                  <a:pt x="2222464" y="3408936"/>
                </a:cubicBezTo>
                <a:lnTo>
                  <a:pt x="2222464" y="567568"/>
                </a:lnTo>
                <a:cubicBezTo>
                  <a:pt x="2222464" y="479747"/>
                  <a:pt x="2158033" y="408523"/>
                  <a:pt x="2078587" y="408523"/>
                </a:cubicBezTo>
                <a:lnTo>
                  <a:pt x="578817" y="408523"/>
                </a:lnTo>
                <a:cubicBezTo>
                  <a:pt x="499372" y="408523"/>
                  <a:pt x="434940" y="479747"/>
                  <a:pt x="434940" y="567568"/>
                </a:cubicBezTo>
                <a:lnTo>
                  <a:pt x="434940" y="3409066"/>
                </a:lnTo>
                <a:cubicBezTo>
                  <a:pt x="434940" y="3486301"/>
                  <a:pt x="378312" y="3549031"/>
                  <a:pt x="308324" y="3549031"/>
                </a:cubicBezTo>
                <a:lnTo>
                  <a:pt x="0" y="3549031"/>
                </a:ln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a:p>
        </p:txBody>
      </p:sp>
      <p:sp>
        <p:nvSpPr>
          <p:cNvPr id="15" name="Freeform: Shape 14">
            <a:extLst>
              <a:ext uri="{FF2B5EF4-FFF2-40B4-BE49-F238E27FC236}">
                <a16:creationId xmlns:a16="http://schemas.microsoft.com/office/drawing/2014/main" id="{AF40AB93-FC23-1926-4801-A1F035BC485B}"/>
              </a:ext>
            </a:extLst>
          </p:cNvPr>
          <p:cNvSpPr>
            <a:spLocks noChangeAspect="1"/>
          </p:cNvSpPr>
          <p:nvPr userDrawn="1"/>
        </p:nvSpPr>
        <p:spPr>
          <a:xfrm>
            <a:off x="139702" y="2419408"/>
            <a:ext cx="4230591" cy="438092"/>
          </a:xfrm>
          <a:custGeom>
            <a:avLst/>
            <a:gdLst>
              <a:gd name="connsiteX0" fmla="*/ 0 w 4230591"/>
              <a:gd name="connsiteY0" fmla="*/ 0 h 438092"/>
              <a:gd name="connsiteX1" fmla="*/ 3348577 w 4230591"/>
              <a:gd name="connsiteY1" fmla="*/ 0 h 438092"/>
              <a:gd name="connsiteX2" fmla="*/ 3370473 w 4230591"/>
              <a:gd name="connsiteY2" fmla="*/ 0 h 438092"/>
              <a:gd name="connsiteX3" fmla="*/ 4082297 w 4230591"/>
              <a:gd name="connsiteY3" fmla="*/ 0 h 438092"/>
              <a:gd name="connsiteX4" fmla="*/ 4148874 w 4230591"/>
              <a:gd name="connsiteY4" fmla="*/ 58378 h 438092"/>
              <a:gd name="connsiteX5" fmla="*/ 4225869 w 4230591"/>
              <a:gd name="connsiteY5" fmla="*/ 315138 h 438092"/>
              <a:gd name="connsiteX6" fmla="*/ 4159293 w 4230591"/>
              <a:gd name="connsiteY6" fmla="*/ 438092 h 438092"/>
              <a:gd name="connsiteX7" fmla="*/ 3370473 w 4230591"/>
              <a:gd name="connsiteY7" fmla="*/ 438092 h 438092"/>
              <a:gd name="connsiteX8" fmla="*/ 3348577 w 4230591"/>
              <a:gd name="connsiteY8" fmla="*/ 438092 h 438092"/>
              <a:gd name="connsiteX9" fmla="*/ 180379 w 4230591"/>
              <a:gd name="connsiteY9" fmla="*/ 438092 h 438092"/>
              <a:gd name="connsiteX10" fmla="*/ 113802 w 4230591"/>
              <a:gd name="connsiteY10" fmla="*/ 379714 h 43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30591" h="438092">
                <a:moveTo>
                  <a:pt x="0" y="0"/>
                </a:moveTo>
                <a:lnTo>
                  <a:pt x="3348577" y="0"/>
                </a:lnTo>
                <a:lnTo>
                  <a:pt x="3370473" y="0"/>
                </a:lnTo>
                <a:lnTo>
                  <a:pt x="4082297" y="0"/>
                </a:lnTo>
                <a:cubicBezTo>
                  <a:pt x="4111796" y="0"/>
                  <a:pt x="4138318" y="23248"/>
                  <a:pt x="4148874" y="58378"/>
                </a:cubicBezTo>
                <a:lnTo>
                  <a:pt x="4225869" y="315138"/>
                </a:lnTo>
                <a:cubicBezTo>
                  <a:pt x="4243596" y="374549"/>
                  <a:pt x="4209225" y="438092"/>
                  <a:pt x="4159293" y="438092"/>
                </a:cubicBezTo>
                <a:lnTo>
                  <a:pt x="3370473" y="438092"/>
                </a:lnTo>
                <a:lnTo>
                  <a:pt x="3348577" y="438092"/>
                </a:lnTo>
                <a:lnTo>
                  <a:pt x="180379" y="438092"/>
                </a:lnTo>
                <a:cubicBezTo>
                  <a:pt x="150880" y="438092"/>
                  <a:pt x="124358" y="414844"/>
                  <a:pt x="113802" y="3797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solidFill>
                <a:schemeClr val="bg1"/>
              </a:solidFill>
              <a:latin typeface="+mj-lt"/>
              <a:cs typeface="Segoe Sans Text Light" pitchFamily="2" charset="0"/>
            </a:endParaRPr>
          </a:p>
        </p:txBody>
      </p:sp>
      <p:cxnSp>
        <p:nvCxnSpPr>
          <p:cNvPr id="16" name="Straight Connector 15">
            <a:extLst>
              <a:ext uri="{FF2B5EF4-FFF2-40B4-BE49-F238E27FC236}">
                <a16:creationId xmlns:a16="http://schemas.microsoft.com/office/drawing/2014/main" id="{D23D548F-C249-ECC5-4CF9-2A7821309838}"/>
              </a:ext>
            </a:extLst>
          </p:cNvPr>
          <p:cNvCxnSpPr>
            <a:cxnSpLocks/>
          </p:cNvCxnSpPr>
          <p:nvPr userDrawn="1"/>
        </p:nvCxnSpPr>
        <p:spPr>
          <a:xfrm>
            <a:off x="588963" y="1258888"/>
            <a:ext cx="887984" cy="0"/>
          </a:xfrm>
          <a:prstGeom prst="line">
            <a:avLst/>
          </a:prstGeom>
          <a:ln w="28575">
            <a:solidFill>
              <a:schemeClr val="accent6">
                <a:lumMod val="75000"/>
              </a:schemeClr>
            </a:solidFill>
            <a:headEnd type="none" w="lg" len="med"/>
            <a:tailEnd type="none" w="lg" len="med"/>
          </a:ln>
          <a:effectLst>
            <a:outerShdw blurRad="101600" dist="38100" dir="5400000" algn="t" rotWithShape="0">
              <a:schemeClr val="accent6">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048DD90-6659-B69A-1819-0F27AA3C13EB}"/>
              </a:ext>
            </a:extLst>
          </p:cNvPr>
          <p:cNvCxnSpPr>
            <a:cxnSpLocks/>
          </p:cNvCxnSpPr>
          <p:nvPr userDrawn="1"/>
        </p:nvCxnSpPr>
        <p:spPr>
          <a:xfrm flipV="1">
            <a:off x="11898312" y="3429000"/>
            <a:ext cx="0" cy="3429000"/>
          </a:xfrm>
          <a:prstGeom prst="line">
            <a:avLst/>
          </a:prstGeom>
          <a:ln w="3175">
            <a:gradFill flip="none" rotWithShape="1">
              <a:gsLst>
                <a:gs pos="14000">
                  <a:schemeClr val="bg1">
                    <a:alpha val="0"/>
                  </a:schemeClr>
                </a:gs>
                <a:gs pos="100000">
                  <a:schemeClr val="bg1"/>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F093DF0-352A-FF96-31B8-F87E9992B097}"/>
              </a:ext>
            </a:extLst>
          </p:cNvPr>
          <p:cNvCxnSpPr>
            <a:cxnSpLocks/>
          </p:cNvCxnSpPr>
          <p:nvPr userDrawn="1"/>
        </p:nvCxnSpPr>
        <p:spPr>
          <a:xfrm>
            <a:off x="4648200" y="6553201"/>
            <a:ext cx="7543800" cy="0"/>
          </a:xfrm>
          <a:prstGeom prst="line">
            <a:avLst/>
          </a:prstGeom>
          <a:ln w="3175">
            <a:gradFill flip="none" rotWithShape="1">
              <a:gsLst>
                <a:gs pos="0">
                  <a:schemeClr val="bg1">
                    <a:alpha val="0"/>
                  </a:schemeClr>
                </a:gs>
                <a:gs pos="100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E1CD273B-20F0-0154-E861-E8B1864EA000}"/>
              </a:ext>
            </a:extLst>
          </p:cNvPr>
          <p:cNvSpPr>
            <a:spLocks noGrp="1"/>
          </p:cNvSpPr>
          <p:nvPr>
            <p:ph type="body" sz="quarter" idx="11" hasCustomPrompt="1"/>
          </p:nvPr>
        </p:nvSpPr>
        <p:spPr>
          <a:xfrm>
            <a:off x="139702" y="2419408"/>
            <a:ext cx="4230591" cy="438092"/>
          </a:xfrm>
        </p:spPr>
        <p:txBody>
          <a:bodyPr lIns="457200" tIns="91440" rIns="182880" bIns="91440" anchor="ctr">
            <a:noAutofit/>
          </a:bodyPr>
          <a:lstStyle>
            <a:lvl1pPr marL="0" indent="0" algn="l" defTabSz="932472" rtl="0" eaLnBrk="1" fontAlgn="base" latinLnBrk="0" hangingPunct="1">
              <a:spcBef>
                <a:spcPct val="0"/>
              </a:spcBef>
              <a:spcAft>
                <a:spcPct val="0"/>
              </a:spcAft>
              <a:buNone/>
              <a:defRPr kumimoji="0" lang="en-US" sz="1800" b="1" i="0" u="none" strike="noStrike" kern="1200" cap="none" spc="0" normalizeH="0" baseline="0" dirty="0" smtClean="0">
                <a:ln>
                  <a:noFill/>
                </a:ln>
                <a:solidFill>
                  <a:schemeClr val="bg1"/>
                </a:solidFill>
                <a:effectLst/>
                <a:uLnTx/>
                <a:uFillTx/>
                <a:latin typeface="+mj-lt"/>
                <a:ea typeface="+mn-ea"/>
                <a:cs typeface="Segoe Sans Text Light" pitchFamily="2" charset="0"/>
              </a:defRPr>
            </a:lvl1pPr>
            <a:lvl2pPr marL="0" algn="l" defTabSz="932472" rtl="0" eaLnBrk="1" fontAlgn="base" latinLnBrk="0" hangingPunct="1">
              <a:spcBef>
                <a:spcPct val="0"/>
              </a:spcBef>
              <a:spcAft>
                <a:spcPct val="0"/>
              </a:spcAft>
              <a:defRPr kumimoji="0" lang="en-US" sz="1800" b="1" i="0" u="none" strike="noStrike" kern="1200" cap="none" spc="0" normalizeH="0" baseline="0" dirty="0" smtClean="0">
                <a:ln>
                  <a:noFill/>
                </a:ln>
                <a:solidFill>
                  <a:schemeClr val="bg1"/>
                </a:solidFill>
                <a:effectLst/>
                <a:uLnTx/>
                <a:uFillTx/>
                <a:latin typeface="+mj-lt"/>
                <a:ea typeface="+mn-ea"/>
                <a:cs typeface="Segoe Sans Text Light" pitchFamily="2" charset="0"/>
              </a:defRPr>
            </a:lvl2pPr>
            <a:lvl3pPr marL="0" algn="l" defTabSz="932472" rtl="0" eaLnBrk="1" fontAlgn="base" latinLnBrk="0" hangingPunct="1">
              <a:spcBef>
                <a:spcPct val="0"/>
              </a:spcBef>
              <a:spcAft>
                <a:spcPct val="0"/>
              </a:spcAft>
              <a:defRPr kumimoji="0" lang="en-US" sz="1800" b="1" i="0" u="none" strike="noStrike" kern="1200" cap="none" spc="0" normalizeH="0" baseline="0" dirty="0" smtClean="0">
                <a:ln>
                  <a:noFill/>
                </a:ln>
                <a:solidFill>
                  <a:schemeClr val="bg1"/>
                </a:solidFill>
                <a:effectLst/>
                <a:uLnTx/>
                <a:uFillTx/>
                <a:latin typeface="+mj-lt"/>
                <a:ea typeface="+mn-ea"/>
                <a:cs typeface="Segoe Sans Text Light" pitchFamily="2" charset="0"/>
              </a:defRPr>
            </a:lvl3pPr>
            <a:lvl4pPr marL="0" algn="l" defTabSz="932472" rtl="0" eaLnBrk="1" fontAlgn="base" latinLnBrk="0" hangingPunct="1">
              <a:spcBef>
                <a:spcPct val="0"/>
              </a:spcBef>
              <a:spcAft>
                <a:spcPct val="0"/>
              </a:spcAft>
              <a:defRPr kumimoji="0" lang="en-US" sz="1800" b="1" i="0" u="none" strike="noStrike" kern="1200" cap="none" spc="0" normalizeH="0" baseline="0" dirty="0" smtClean="0">
                <a:ln>
                  <a:noFill/>
                </a:ln>
                <a:solidFill>
                  <a:schemeClr val="bg1"/>
                </a:solidFill>
                <a:effectLst/>
                <a:uLnTx/>
                <a:uFillTx/>
                <a:latin typeface="+mj-lt"/>
                <a:ea typeface="+mn-ea"/>
                <a:cs typeface="Segoe Sans Text Light" pitchFamily="2" charset="0"/>
              </a:defRPr>
            </a:lvl4pPr>
            <a:lvl5pPr marL="0" algn="l" defTabSz="932472" rtl="0" eaLnBrk="1" fontAlgn="base" latinLnBrk="0" hangingPunct="1">
              <a:spcBef>
                <a:spcPct val="0"/>
              </a:spcBef>
              <a:spcAft>
                <a:spcPct val="0"/>
              </a:spcAft>
              <a:defRPr kumimoji="0" lang="en-US" sz="1800" b="1" i="0" u="none" strike="noStrike" kern="1200" cap="none" spc="0" normalizeH="0" baseline="0" dirty="0">
                <a:ln>
                  <a:noFill/>
                </a:ln>
                <a:solidFill>
                  <a:schemeClr val="bg1"/>
                </a:solidFill>
                <a:effectLst/>
                <a:uLnTx/>
                <a:uFillTx/>
                <a:latin typeface="+mj-lt"/>
                <a:ea typeface="+mn-ea"/>
                <a:cs typeface="Segoe Sans Text Light" pitchFamily="2" charset="0"/>
              </a:defRPr>
            </a:lvl5pPr>
          </a:lstStyle>
          <a:p>
            <a:pPr lvl="0"/>
            <a:r>
              <a:rPr lang="en-US"/>
              <a:t>Add text here</a:t>
            </a:r>
          </a:p>
        </p:txBody>
      </p:sp>
      <p:sp>
        <p:nvSpPr>
          <p:cNvPr id="3" name="Subtitle 2">
            <a:extLst>
              <a:ext uri="{FF2B5EF4-FFF2-40B4-BE49-F238E27FC236}">
                <a16:creationId xmlns:a16="http://schemas.microsoft.com/office/drawing/2014/main" id="{468650E4-A488-7904-48CA-7B933C791C30}"/>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964364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9324997"/>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3370181"/>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9564540"/>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FAB7CACE-1B2B-44A1-B165-401BE3FACDFB}"/>
              </a:ext>
            </a:extLst>
          </p:cNvPr>
          <p:cNvSpPr>
            <a:spLocks noGrp="1"/>
          </p:cNvSpPr>
          <p:nvPr>
            <p:ph type="ftr" sz="quarter" idx="3"/>
          </p:nvPr>
        </p:nvSpPr>
        <p:spPr>
          <a:xfrm>
            <a:off x="4038600" y="6564313"/>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3" name="Slide Number Placeholder 5">
            <a:extLst>
              <a:ext uri="{FF2B5EF4-FFF2-40B4-BE49-F238E27FC236}">
                <a16:creationId xmlns:a16="http://schemas.microsoft.com/office/drawing/2014/main" id="{A07E6754-55D1-4BA4-9BC3-D18627DD78D3}"/>
              </a:ext>
            </a:extLst>
          </p:cNvPr>
          <p:cNvSpPr>
            <a:spLocks noGrp="1"/>
          </p:cNvSpPr>
          <p:nvPr>
            <p:ph type="sldNum" sz="quarter" idx="4"/>
          </p:nvPr>
        </p:nvSpPr>
        <p:spPr>
          <a:xfrm>
            <a:off x="11733275" y="6564314"/>
            <a:ext cx="332233" cy="123110"/>
          </a:xfrm>
          <a:prstGeom prst="rect">
            <a:avLst/>
          </a:prstGeom>
        </p:spPr>
        <p:txBody>
          <a:bodyPr vert="horz" wrap="square" lIns="0" tIns="0" rIns="0" bIns="0" rtlCol="0" anchor="ctr">
            <a:spAutoFit/>
          </a:bodyPr>
          <a:lstStyle>
            <a:lvl1pPr algn="ctr">
              <a:defRPr sz="800">
                <a:solidFill>
                  <a:schemeClr val="tx1"/>
                </a:solidFill>
              </a:defRPr>
            </a:lvl1pPr>
          </a:lstStyle>
          <a:p>
            <a:fld id="{416D17C3-7140-4F20-8D47-B36B7FB3A655}" type="slidenum">
              <a:rPr lang="en-US" smtClean="0"/>
              <a:pPr/>
              <a:t>‹#›</a:t>
            </a:fld>
            <a:endParaRPr lang="en-US"/>
          </a:p>
        </p:txBody>
      </p:sp>
    </p:spTree>
    <p:extLst>
      <p:ext uri="{BB962C8B-B14F-4D97-AF65-F5344CB8AC3E}">
        <p14:creationId xmlns:p14="http://schemas.microsoft.com/office/powerpoint/2010/main" val="443752385"/>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FD67DDED-52D2-3F4D-A47A-0CA6844B1050}"/>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3290626122"/>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46CCCAF0-2120-0343-8617-3B2DC1C684F5}"/>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3022798221"/>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5B770BEB-160F-3F48-9002-0786BF71C824}"/>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4045686180"/>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888332885"/>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9158250"/>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27962628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ole Transition">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AEFE8A31-2C6B-CD62-E1D3-226A6AE3717E}"/>
              </a:ext>
            </a:extLst>
          </p:cNvPr>
          <p:cNvSpPr/>
          <p:nvPr userDrawn="1"/>
        </p:nvSpPr>
        <p:spPr bwMode="auto">
          <a:xfrm>
            <a:off x="367377" y="4943472"/>
            <a:ext cx="11334750" cy="1479600"/>
          </a:xfrm>
          <a:prstGeom prst="roundRect">
            <a:avLst>
              <a:gd name="adj" fmla="val 5828"/>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sp>
        <p:nvSpPr>
          <p:cNvPr id="4" name="Rectangle: Rounded Corners 3">
            <a:extLst>
              <a:ext uri="{FF2B5EF4-FFF2-40B4-BE49-F238E27FC236}">
                <a16:creationId xmlns:a16="http://schemas.microsoft.com/office/drawing/2014/main" id="{DBEB5555-0767-7B0B-2089-A4703FBB2E5D}"/>
              </a:ext>
            </a:extLst>
          </p:cNvPr>
          <p:cNvSpPr/>
          <p:nvPr userDrawn="1"/>
        </p:nvSpPr>
        <p:spPr bwMode="auto">
          <a:xfrm>
            <a:off x="479037" y="5037918"/>
            <a:ext cx="2233363" cy="1275924"/>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F43FF9E8-B3C7-85AA-1E8A-214DB5AC9E86}"/>
              </a:ext>
            </a:extLst>
          </p:cNvPr>
          <p:cNvSpPr/>
          <p:nvPr userDrawn="1"/>
        </p:nvSpPr>
        <p:spPr bwMode="auto">
          <a:xfrm>
            <a:off x="6536376" y="5037918"/>
            <a:ext cx="2233363" cy="1275924"/>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E79A6524-8927-3055-500C-B2E1E770CA47}"/>
              </a:ext>
            </a:extLst>
          </p:cNvPr>
          <p:cNvSpPr>
            <a:spLocks noGrp="1"/>
          </p:cNvSpPr>
          <p:nvPr>
            <p:ph type="title"/>
          </p:nvPr>
        </p:nvSpPr>
        <p:spPr/>
        <p:txBody>
          <a:bodyPr/>
          <a:lstStyle/>
          <a:p>
            <a:r>
              <a:rPr lang="en-US"/>
              <a:t>Click to edit Master title style</a:t>
            </a:r>
          </a:p>
        </p:txBody>
      </p:sp>
      <p:sp>
        <p:nvSpPr>
          <p:cNvPr id="22" name="Rectangle 21">
            <a:extLst>
              <a:ext uri="{FF2B5EF4-FFF2-40B4-BE49-F238E27FC236}">
                <a16:creationId xmlns:a16="http://schemas.microsoft.com/office/drawing/2014/main" id="{E4BC69D5-1D79-B839-2614-AABB8E82411A}"/>
              </a:ext>
            </a:extLst>
          </p:cNvPr>
          <p:cNvSpPr/>
          <p:nvPr userDrawn="1"/>
        </p:nvSpPr>
        <p:spPr bwMode="auto">
          <a:xfrm flipH="1">
            <a:off x="2380" y="1714002"/>
            <a:ext cx="12189620" cy="2977848"/>
          </a:xfrm>
          <a:prstGeom prst="rect">
            <a:avLst/>
          </a:prstGeom>
          <a:solidFill>
            <a:srgbClr val="EC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171A1E91-7898-7549-906F-8B74CB60E1FE}"/>
              </a:ext>
            </a:extLst>
          </p:cNvPr>
          <p:cNvCxnSpPr>
            <a:cxnSpLocks/>
          </p:cNvCxnSpPr>
          <p:nvPr userDrawn="1"/>
        </p:nvCxnSpPr>
        <p:spPr>
          <a:xfrm>
            <a:off x="6097190" y="1714002"/>
            <a:ext cx="0" cy="2977848"/>
          </a:xfrm>
          <a:prstGeom prst="line">
            <a:avLst/>
          </a:prstGeom>
          <a:ln w="6350">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F9DA2F7-18C4-6972-E57D-883CEE3C6513}"/>
              </a:ext>
            </a:extLst>
          </p:cNvPr>
          <p:cNvCxnSpPr>
            <a:cxnSpLocks/>
          </p:cNvCxnSpPr>
          <p:nvPr userDrawn="1"/>
        </p:nvCxnSpPr>
        <p:spPr>
          <a:xfrm flipH="1">
            <a:off x="0" y="4871238"/>
            <a:ext cx="12192000" cy="0"/>
          </a:xfrm>
          <a:prstGeom prst="line">
            <a:avLst/>
          </a:prstGeom>
          <a:ln w="3175">
            <a:gradFill flip="none" rotWithShape="1">
              <a:gsLst>
                <a:gs pos="55000">
                  <a:schemeClr val="bg1"/>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FC14A67-E8D8-24DC-FC22-4D7559D5EFBF}"/>
              </a:ext>
            </a:extLst>
          </p:cNvPr>
          <p:cNvCxnSpPr>
            <a:cxnSpLocks/>
          </p:cNvCxnSpPr>
          <p:nvPr userDrawn="1"/>
        </p:nvCxnSpPr>
        <p:spPr>
          <a:xfrm>
            <a:off x="588963" y="4871238"/>
            <a:ext cx="887984" cy="0"/>
          </a:xfrm>
          <a:prstGeom prst="line">
            <a:avLst/>
          </a:prstGeom>
          <a:ln w="28575">
            <a:solidFill>
              <a:schemeClr val="accent6">
                <a:lumMod val="75000"/>
              </a:schemeClr>
            </a:solidFill>
            <a:headEnd type="none" w="lg" len="med"/>
            <a:tailEnd type="none" w="lg" len="med"/>
          </a:ln>
          <a:effectLst>
            <a:outerShdw blurRad="101600" dist="38100" dir="5400000" algn="t" rotWithShape="0">
              <a:schemeClr val="accent6">
                <a:alpha val="40000"/>
              </a:schemeClr>
            </a:outerShdw>
          </a:effectLst>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90BBED6D-6782-C859-7F09-BEA5E28BD6A7}"/>
              </a:ext>
            </a:extLst>
          </p:cNvPr>
          <p:cNvGrpSpPr/>
          <p:nvPr userDrawn="1"/>
        </p:nvGrpSpPr>
        <p:grpSpPr>
          <a:xfrm>
            <a:off x="369466" y="1187058"/>
            <a:ext cx="269119" cy="239696"/>
            <a:chOff x="4236063" y="2350592"/>
            <a:chExt cx="264766" cy="239696"/>
          </a:xfrm>
          <a:solidFill>
            <a:schemeClr val="accent2">
              <a:lumMod val="75000"/>
              <a:lumOff val="25000"/>
            </a:schemeClr>
          </a:solidFill>
        </p:grpSpPr>
        <p:sp>
          <p:nvSpPr>
            <p:cNvPr id="29" name="Freeform: Shape 28">
              <a:extLst>
                <a:ext uri="{FF2B5EF4-FFF2-40B4-BE49-F238E27FC236}">
                  <a16:creationId xmlns:a16="http://schemas.microsoft.com/office/drawing/2014/main" id="{CC2D4FA8-D14B-51EB-59EE-5355A00859C0}"/>
                </a:ext>
              </a:extLst>
            </p:cNvPr>
            <p:cNvSpPr/>
            <p:nvPr/>
          </p:nvSpPr>
          <p:spPr bwMode="auto">
            <a:xfrm rot="2700000">
              <a:off x="4261134" y="2350592"/>
              <a:ext cx="239696" cy="239695"/>
            </a:xfrm>
            <a:custGeom>
              <a:avLst/>
              <a:gdLst>
                <a:gd name="connsiteX0" fmla="*/ 30630 w 239696"/>
                <a:gd name="connsiteY0" fmla="*/ 30630 h 239695"/>
                <a:gd name="connsiteX1" fmla="*/ 104576 w 239696"/>
                <a:gd name="connsiteY1" fmla="*/ 0 h 239695"/>
                <a:gd name="connsiteX2" fmla="*/ 178489 w 239696"/>
                <a:gd name="connsiteY2" fmla="*/ 0 h 239695"/>
                <a:gd name="connsiteX3" fmla="*/ 219195 w 239696"/>
                <a:gd name="connsiteY3" fmla="*/ 8218 h 239695"/>
                <a:gd name="connsiteX4" fmla="*/ 239696 w 239696"/>
                <a:gd name="connsiteY4" fmla="*/ 22040 h 239695"/>
                <a:gd name="connsiteX5" fmla="*/ 22040 w 239696"/>
                <a:gd name="connsiteY5" fmla="*/ 239695 h 239695"/>
                <a:gd name="connsiteX6" fmla="*/ 8218 w 239696"/>
                <a:gd name="connsiteY6" fmla="*/ 219195 h 239695"/>
                <a:gd name="connsiteX7" fmla="*/ 0 w 239696"/>
                <a:gd name="connsiteY7" fmla="*/ 178489 h 239695"/>
                <a:gd name="connsiteX8" fmla="*/ 0 w 239696"/>
                <a:gd name="connsiteY8" fmla="*/ 104576 h 239695"/>
                <a:gd name="connsiteX9" fmla="*/ 30630 w 239696"/>
                <a:gd name="connsiteY9" fmla="*/ 30630 h 23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96" h="239695">
                  <a:moveTo>
                    <a:pt x="30630" y="30630"/>
                  </a:moveTo>
                  <a:cubicBezTo>
                    <a:pt x="49554" y="11705"/>
                    <a:pt x="75698" y="0"/>
                    <a:pt x="104576" y="0"/>
                  </a:cubicBezTo>
                  <a:lnTo>
                    <a:pt x="178489" y="0"/>
                  </a:lnTo>
                  <a:cubicBezTo>
                    <a:pt x="192928" y="0"/>
                    <a:pt x="206684" y="2926"/>
                    <a:pt x="219195" y="8218"/>
                  </a:cubicBezTo>
                  <a:lnTo>
                    <a:pt x="239696" y="22040"/>
                  </a:lnTo>
                  <a:lnTo>
                    <a:pt x="22040" y="239695"/>
                  </a:lnTo>
                  <a:lnTo>
                    <a:pt x="8218" y="219195"/>
                  </a:lnTo>
                  <a:cubicBezTo>
                    <a:pt x="2926" y="206683"/>
                    <a:pt x="0" y="192928"/>
                    <a:pt x="0" y="178489"/>
                  </a:cubicBezTo>
                  <a:lnTo>
                    <a:pt x="0" y="104576"/>
                  </a:lnTo>
                  <a:cubicBezTo>
                    <a:pt x="0" y="75698"/>
                    <a:pt x="11705" y="49554"/>
                    <a:pt x="30630" y="306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724D2143-49FE-405B-8CB0-49DDB96037EE}"/>
                </a:ext>
              </a:extLst>
            </p:cNvPr>
            <p:cNvSpPr/>
            <p:nvPr/>
          </p:nvSpPr>
          <p:spPr bwMode="auto">
            <a:xfrm rot="2700000">
              <a:off x="4228151" y="2449801"/>
              <a:ext cx="70234" cy="54409"/>
            </a:xfrm>
            <a:custGeom>
              <a:avLst/>
              <a:gdLst>
                <a:gd name="connsiteX0" fmla="*/ 0 w 70234"/>
                <a:gd name="connsiteY0" fmla="*/ 0 h 54409"/>
                <a:gd name="connsiteX1" fmla="*/ 4842 w 70234"/>
                <a:gd name="connsiteY1" fmla="*/ 4842 h 54409"/>
                <a:gd name="connsiteX2" fmla="*/ 70234 w 70234"/>
                <a:gd name="connsiteY2" fmla="*/ 4841 h 54409"/>
                <a:gd name="connsiteX3" fmla="*/ 20667 w 70234"/>
                <a:gd name="connsiteY3" fmla="*/ 54409 h 54409"/>
                <a:gd name="connsiteX4" fmla="*/ 6845 w 70234"/>
                <a:gd name="connsiteY4" fmla="*/ 33909 h 54409"/>
                <a:gd name="connsiteX5" fmla="*/ 0 w 70234"/>
                <a:gd name="connsiteY5" fmla="*/ 0 h 5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34" h="54409">
                  <a:moveTo>
                    <a:pt x="0" y="0"/>
                  </a:moveTo>
                  <a:lnTo>
                    <a:pt x="4842" y="4842"/>
                  </a:lnTo>
                  <a:cubicBezTo>
                    <a:pt x="22868" y="22868"/>
                    <a:pt x="52146" y="22930"/>
                    <a:pt x="70234" y="4841"/>
                  </a:cubicBezTo>
                  <a:lnTo>
                    <a:pt x="20667" y="54409"/>
                  </a:lnTo>
                  <a:lnTo>
                    <a:pt x="6845" y="33909"/>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1" name="Graphic 30">
            <a:extLst>
              <a:ext uri="{FF2B5EF4-FFF2-40B4-BE49-F238E27FC236}">
                <a16:creationId xmlns:a16="http://schemas.microsoft.com/office/drawing/2014/main" id="{F6DDB4F4-9331-0FA1-715B-7B052EE66C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844" y="1256034"/>
            <a:ext cx="5581650" cy="838200"/>
          </a:xfrm>
          <a:prstGeom prst="rect">
            <a:avLst/>
          </a:prstGeom>
          <a:effectLst>
            <a:outerShdw blurRad="368300" dist="25400" dir="2700000" algn="tl" rotWithShape="0">
              <a:schemeClr val="accent1">
                <a:alpha val="15000"/>
              </a:schemeClr>
            </a:outerShdw>
          </a:effectLst>
        </p:spPr>
      </p:pic>
      <p:sp>
        <p:nvSpPr>
          <p:cNvPr id="32" name="Freeform: Shape 31">
            <a:extLst>
              <a:ext uri="{FF2B5EF4-FFF2-40B4-BE49-F238E27FC236}">
                <a16:creationId xmlns:a16="http://schemas.microsoft.com/office/drawing/2014/main" id="{2C2CF8BF-8147-4F9C-08D7-260772B68086}"/>
              </a:ext>
            </a:extLst>
          </p:cNvPr>
          <p:cNvSpPr>
            <a:spLocks noChangeAspect="1"/>
          </p:cNvSpPr>
          <p:nvPr userDrawn="1"/>
        </p:nvSpPr>
        <p:spPr>
          <a:xfrm>
            <a:off x="366858" y="1322490"/>
            <a:ext cx="5567332" cy="325056"/>
          </a:xfrm>
          <a:custGeom>
            <a:avLst/>
            <a:gdLst>
              <a:gd name="connsiteX0" fmla="*/ 0 w 4083071"/>
              <a:gd name="connsiteY0" fmla="*/ 0 h 242316"/>
              <a:gd name="connsiteX1" fmla="*/ 3978688 w 4083071"/>
              <a:gd name="connsiteY1" fmla="*/ 0 h 242316"/>
              <a:gd name="connsiteX2" fmla="*/ 4025551 w 4083071"/>
              <a:gd name="connsiteY2" fmla="*/ 32290 h 242316"/>
              <a:gd name="connsiteX3" fmla="*/ 4079748 w 4083071"/>
              <a:gd name="connsiteY3" fmla="*/ 174308 h 242316"/>
              <a:gd name="connsiteX4" fmla="*/ 4032885 w 4083071"/>
              <a:gd name="connsiteY4" fmla="*/ 242316 h 242316"/>
              <a:gd name="connsiteX5" fmla="*/ 126968 w 4083071"/>
              <a:gd name="connsiteY5" fmla="*/ 242316 h 242316"/>
              <a:gd name="connsiteX6" fmla="*/ 80105 w 4083071"/>
              <a:gd name="connsiteY6" fmla="*/ 210026 h 242316"/>
              <a:gd name="connsiteX7" fmla="*/ 0 w 4083071"/>
              <a:gd name="connsiteY7" fmla="*/ 0 h 242316"/>
              <a:gd name="connsiteX8" fmla="*/ 0 w 4083071"/>
              <a:gd name="connsiteY8" fmla="*/ 0 h 24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3071" h="242316">
                <a:moveTo>
                  <a:pt x="0" y="0"/>
                </a:moveTo>
                <a:lnTo>
                  <a:pt x="3978688" y="0"/>
                </a:lnTo>
                <a:cubicBezTo>
                  <a:pt x="3999452" y="0"/>
                  <a:pt x="4018121" y="12859"/>
                  <a:pt x="4025551" y="32290"/>
                </a:cubicBezTo>
                <a:lnTo>
                  <a:pt x="4079748" y="174308"/>
                </a:lnTo>
                <a:cubicBezTo>
                  <a:pt x="4092226" y="207169"/>
                  <a:pt x="4068032" y="242316"/>
                  <a:pt x="4032885" y="242316"/>
                </a:cubicBezTo>
                <a:lnTo>
                  <a:pt x="126968" y="242316"/>
                </a:lnTo>
                <a:cubicBezTo>
                  <a:pt x="106204" y="242316"/>
                  <a:pt x="87535" y="229457"/>
                  <a:pt x="80105" y="210026"/>
                </a:cubicBezTo>
                <a:lnTo>
                  <a:pt x="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a:solidFill>
                <a:srgbClr val="FFFFFF"/>
              </a:solidFill>
              <a:cs typeface="Segoe UI" pitchFamily="34" charset="0"/>
            </a:endParaRPr>
          </a:p>
        </p:txBody>
      </p:sp>
      <p:sp>
        <p:nvSpPr>
          <p:cNvPr id="90" name="Content Placeholder 89">
            <a:extLst>
              <a:ext uri="{FF2B5EF4-FFF2-40B4-BE49-F238E27FC236}">
                <a16:creationId xmlns:a16="http://schemas.microsoft.com/office/drawing/2014/main" id="{779E4D9B-9271-2A6F-4C0C-59D348522C57}"/>
              </a:ext>
            </a:extLst>
          </p:cNvPr>
          <p:cNvSpPr>
            <a:spLocks noGrp="1"/>
          </p:cNvSpPr>
          <p:nvPr>
            <p:ph sz="quarter" idx="10" hasCustomPrompt="1"/>
          </p:nvPr>
        </p:nvSpPr>
        <p:spPr>
          <a:xfrm>
            <a:off x="591434" y="1377296"/>
            <a:ext cx="5118180" cy="215444"/>
          </a:xfrm>
        </p:spPr>
        <p:txBody>
          <a:bodyPr anchor="ctr"/>
          <a:lstStyle>
            <a:lvl1pPr marL="0" indent="0" algn="ctr" defTabSz="914400" rtl="0" eaLnBrk="1" latinLnBrk="0" hangingPunct="1">
              <a:buClr>
                <a:srgbClr val="000000"/>
              </a:buClr>
              <a:buSzPts val="800"/>
              <a:buNone/>
              <a:defRPr lang="en-US" sz="1400" b="1" kern="1200" dirty="0">
                <a:solidFill>
                  <a:schemeClr val="bg1"/>
                </a:solidFill>
                <a:latin typeface="+mj-lt"/>
                <a:ea typeface="+mn-ea"/>
                <a:cs typeface="Arial"/>
              </a:defRPr>
            </a:lvl1pPr>
            <a:lvl2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2pPr>
            <a:lvl3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3pPr>
            <a:lvl4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4pPr>
            <a:lvl5pPr marL="0" indent="0" algn="ctr" defTabSz="914400" rtl="0" eaLnBrk="1" latinLnBrk="0" hangingPunct="1">
              <a:buClr>
                <a:srgbClr val="000000"/>
              </a:buClr>
              <a:buSzPts val="800"/>
              <a:buNone/>
              <a:defRPr lang="en-US" sz="1400" b="1" kern="1200" dirty="0">
                <a:solidFill>
                  <a:schemeClr val="bg1"/>
                </a:solidFill>
                <a:latin typeface="+mj-lt"/>
                <a:ea typeface="+mn-ea"/>
                <a:cs typeface="Arial"/>
              </a:defRPr>
            </a:lvl5pPr>
          </a:lstStyle>
          <a:p>
            <a:pPr lvl="0"/>
            <a:r>
              <a:rPr lang="en-US"/>
              <a:t>ADD TEXT HERE</a:t>
            </a:r>
          </a:p>
        </p:txBody>
      </p:sp>
      <p:grpSp>
        <p:nvGrpSpPr>
          <p:cNvPr id="34" name="Group 33">
            <a:extLst>
              <a:ext uri="{FF2B5EF4-FFF2-40B4-BE49-F238E27FC236}">
                <a16:creationId xmlns:a16="http://schemas.microsoft.com/office/drawing/2014/main" id="{51C92D76-BA0F-BADD-FEFA-36869C0306A9}"/>
              </a:ext>
            </a:extLst>
          </p:cNvPr>
          <p:cNvGrpSpPr/>
          <p:nvPr userDrawn="1"/>
        </p:nvGrpSpPr>
        <p:grpSpPr>
          <a:xfrm>
            <a:off x="6091760" y="1187058"/>
            <a:ext cx="269119" cy="239696"/>
            <a:chOff x="4236063" y="2350592"/>
            <a:chExt cx="264766" cy="239696"/>
          </a:xfrm>
          <a:solidFill>
            <a:schemeClr val="accent2">
              <a:lumMod val="75000"/>
              <a:lumOff val="25000"/>
            </a:schemeClr>
          </a:solidFill>
        </p:grpSpPr>
        <p:sp>
          <p:nvSpPr>
            <p:cNvPr id="35" name="Freeform: Shape 34">
              <a:extLst>
                <a:ext uri="{FF2B5EF4-FFF2-40B4-BE49-F238E27FC236}">
                  <a16:creationId xmlns:a16="http://schemas.microsoft.com/office/drawing/2014/main" id="{DC7B42E2-20EC-8C83-E6FC-531B61106E43}"/>
                </a:ext>
              </a:extLst>
            </p:cNvPr>
            <p:cNvSpPr/>
            <p:nvPr/>
          </p:nvSpPr>
          <p:spPr bwMode="auto">
            <a:xfrm rot="2700000">
              <a:off x="4261134" y="2350592"/>
              <a:ext cx="239696" cy="239695"/>
            </a:xfrm>
            <a:custGeom>
              <a:avLst/>
              <a:gdLst>
                <a:gd name="connsiteX0" fmla="*/ 30630 w 239696"/>
                <a:gd name="connsiteY0" fmla="*/ 30630 h 239695"/>
                <a:gd name="connsiteX1" fmla="*/ 104576 w 239696"/>
                <a:gd name="connsiteY1" fmla="*/ 0 h 239695"/>
                <a:gd name="connsiteX2" fmla="*/ 178489 w 239696"/>
                <a:gd name="connsiteY2" fmla="*/ 0 h 239695"/>
                <a:gd name="connsiteX3" fmla="*/ 219195 w 239696"/>
                <a:gd name="connsiteY3" fmla="*/ 8218 h 239695"/>
                <a:gd name="connsiteX4" fmla="*/ 239696 w 239696"/>
                <a:gd name="connsiteY4" fmla="*/ 22040 h 239695"/>
                <a:gd name="connsiteX5" fmla="*/ 22040 w 239696"/>
                <a:gd name="connsiteY5" fmla="*/ 239695 h 239695"/>
                <a:gd name="connsiteX6" fmla="*/ 8218 w 239696"/>
                <a:gd name="connsiteY6" fmla="*/ 219195 h 239695"/>
                <a:gd name="connsiteX7" fmla="*/ 0 w 239696"/>
                <a:gd name="connsiteY7" fmla="*/ 178489 h 239695"/>
                <a:gd name="connsiteX8" fmla="*/ 0 w 239696"/>
                <a:gd name="connsiteY8" fmla="*/ 104576 h 239695"/>
                <a:gd name="connsiteX9" fmla="*/ 30630 w 239696"/>
                <a:gd name="connsiteY9" fmla="*/ 30630 h 23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96" h="239695">
                  <a:moveTo>
                    <a:pt x="30630" y="30630"/>
                  </a:moveTo>
                  <a:cubicBezTo>
                    <a:pt x="49554" y="11705"/>
                    <a:pt x="75698" y="0"/>
                    <a:pt x="104576" y="0"/>
                  </a:cubicBezTo>
                  <a:lnTo>
                    <a:pt x="178489" y="0"/>
                  </a:lnTo>
                  <a:cubicBezTo>
                    <a:pt x="192928" y="0"/>
                    <a:pt x="206684" y="2926"/>
                    <a:pt x="219195" y="8218"/>
                  </a:cubicBezTo>
                  <a:lnTo>
                    <a:pt x="239696" y="22040"/>
                  </a:lnTo>
                  <a:lnTo>
                    <a:pt x="22040" y="239695"/>
                  </a:lnTo>
                  <a:lnTo>
                    <a:pt x="8218" y="219195"/>
                  </a:lnTo>
                  <a:cubicBezTo>
                    <a:pt x="2926" y="206683"/>
                    <a:pt x="0" y="192928"/>
                    <a:pt x="0" y="178489"/>
                  </a:cubicBezTo>
                  <a:lnTo>
                    <a:pt x="0" y="104576"/>
                  </a:lnTo>
                  <a:cubicBezTo>
                    <a:pt x="0" y="75698"/>
                    <a:pt x="11705" y="49554"/>
                    <a:pt x="30630" y="306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6D10CF51-DD6D-761E-FDFE-94B2200FD169}"/>
                </a:ext>
              </a:extLst>
            </p:cNvPr>
            <p:cNvSpPr/>
            <p:nvPr/>
          </p:nvSpPr>
          <p:spPr bwMode="auto">
            <a:xfrm rot="2700000">
              <a:off x="4228151" y="2449801"/>
              <a:ext cx="70234" cy="54409"/>
            </a:xfrm>
            <a:custGeom>
              <a:avLst/>
              <a:gdLst>
                <a:gd name="connsiteX0" fmla="*/ 0 w 70234"/>
                <a:gd name="connsiteY0" fmla="*/ 0 h 54409"/>
                <a:gd name="connsiteX1" fmla="*/ 4842 w 70234"/>
                <a:gd name="connsiteY1" fmla="*/ 4842 h 54409"/>
                <a:gd name="connsiteX2" fmla="*/ 70234 w 70234"/>
                <a:gd name="connsiteY2" fmla="*/ 4841 h 54409"/>
                <a:gd name="connsiteX3" fmla="*/ 20667 w 70234"/>
                <a:gd name="connsiteY3" fmla="*/ 54409 h 54409"/>
                <a:gd name="connsiteX4" fmla="*/ 6845 w 70234"/>
                <a:gd name="connsiteY4" fmla="*/ 33909 h 54409"/>
                <a:gd name="connsiteX5" fmla="*/ 0 w 70234"/>
                <a:gd name="connsiteY5" fmla="*/ 0 h 5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34" h="54409">
                  <a:moveTo>
                    <a:pt x="0" y="0"/>
                  </a:moveTo>
                  <a:lnTo>
                    <a:pt x="4842" y="4842"/>
                  </a:lnTo>
                  <a:cubicBezTo>
                    <a:pt x="22868" y="22868"/>
                    <a:pt x="52146" y="22930"/>
                    <a:pt x="70234" y="4841"/>
                  </a:cubicBezTo>
                  <a:lnTo>
                    <a:pt x="20667" y="54409"/>
                  </a:lnTo>
                  <a:lnTo>
                    <a:pt x="6845" y="33909"/>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7" name="Graphic 36">
            <a:extLst>
              <a:ext uri="{FF2B5EF4-FFF2-40B4-BE49-F238E27FC236}">
                <a16:creationId xmlns:a16="http://schemas.microsoft.com/office/drawing/2014/main" id="{4822C34C-0498-3DE5-9039-BDCA5178CA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80138" y="1256034"/>
            <a:ext cx="5581650" cy="838200"/>
          </a:xfrm>
          <a:prstGeom prst="rect">
            <a:avLst/>
          </a:prstGeom>
          <a:effectLst>
            <a:outerShdw blurRad="368300" dist="25400" dir="2700000" algn="tl" rotWithShape="0">
              <a:schemeClr val="accent1">
                <a:alpha val="15000"/>
              </a:schemeClr>
            </a:outerShdw>
          </a:effectLst>
        </p:spPr>
      </p:pic>
      <p:sp>
        <p:nvSpPr>
          <p:cNvPr id="38" name="Freeform: Shape 37">
            <a:extLst>
              <a:ext uri="{FF2B5EF4-FFF2-40B4-BE49-F238E27FC236}">
                <a16:creationId xmlns:a16="http://schemas.microsoft.com/office/drawing/2014/main" id="{5F0A9232-B5C2-C812-AF1A-81ABC7FD5748}"/>
              </a:ext>
            </a:extLst>
          </p:cNvPr>
          <p:cNvSpPr>
            <a:spLocks noChangeAspect="1"/>
          </p:cNvSpPr>
          <p:nvPr userDrawn="1"/>
        </p:nvSpPr>
        <p:spPr>
          <a:xfrm>
            <a:off x="6089152" y="1322490"/>
            <a:ext cx="5567332" cy="325056"/>
          </a:xfrm>
          <a:custGeom>
            <a:avLst/>
            <a:gdLst>
              <a:gd name="connsiteX0" fmla="*/ 0 w 4083071"/>
              <a:gd name="connsiteY0" fmla="*/ 0 h 242316"/>
              <a:gd name="connsiteX1" fmla="*/ 3978688 w 4083071"/>
              <a:gd name="connsiteY1" fmla="*/ 0 h 242316"/>
              <a:gd name="connsiteX2" fmla="*/ 4025551 w 4083071"/>
              <a:gd name="connsiteY2" fmla="*/ 32290 h 242316"/>
              <a:gd name="connsiteX3" fmla="*/ 4079748 w 4083071"/>
              <a:gd name="connsiteY3" fmla="*/ 174308 h 242316"/>
              <a:gd name="connsiteX4" fmla="*/ 4032885 w 4083071"/>
              <a:gd name="connsiteY4" fmla="*/ 242316 h 242316"/>
              <a:gd name="connsiteX5" fmla="*/ 126968 w 4083071"/>
              <a:gd name="connsiteY5" fmla="*/ 242316 h 242316"/>
              <a:gd name="connsiteX6" fmla="*/ 80105 w 4083071"/>
              <a:gd name="connsiteY6" fmla="*/ 210026 h 242316"/>
              <a:gd name="connsiteX7" fmla="*/ 0 w 4083071"/>
              <a:gd name="connsiteY7" fmla="*/ 0 h 242316"/>
              <a:gd name="connsiteX8" fmla="*/ 0 w 4083071"/>
              <a:gd name="connsiteY8" fmla="*/ 0 h 24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3071" h="242316">
                <a:moveTo>
                  <a:pt x="0" y="0"/>
                </a:moveTo>
                <a:lnTo>
                  <a:pt x="3978688" y="0"/>
                </a:lnTo>
                <a:cubicBezTo>
                  <a:pt x="3999452" y="0"/>
                  <a:pt x="4018121" y="12859"/>
                  <a:pt x="4025551" y="32290"/>
                </a:cubicBezTo>
                <a:lnTo>
                  <a:pt x="4079748" y="174308"/>
                </a:lnTo>
                <a:cubicBezTo>
                  <a:pt x="4092226" y="207169"/>
                  <a:pt x="4068032" y="242316"/>
                  <a:pt x="4032885" y="242316"/>
                </a:cubicBezTo>
                <a:lnTo>
                  <a:pt x="126968" y="242316"/>
                </a:lnTo>
                <a:cubicBezTo>
                  <a:pt x="106204" y="242316"/>
                  <a:pt x="87535" y="229457"/>
                  <a:pt x="80105" y="210026"/>
                </a:cubicBezTo>
                <a:lnTo>
                  <a:pt x="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a:solidFill>
                <a:srgbClr val="FFFFFF"/>
              </a:solidFill>
              <a:cs typeface="Segoe UI" pitchFamily="34" charset="0"/>
            </a:endParaRPr>
          </a:p>
        </p:txBody>
      </p:sp>
      <p:sp>
        <p:nvSpPr>
          <p:cNvPr id="91" name="Content Placeholder 89">
            <a:extLst>
              <a:ext uri="{FF2B5EF4-FFF2-40B4-BE49-F238E27FC236}">
                <a16:creationId xmlns:a16="http://schemas.microsoft.com/office/drawing/2014/main" id="{16701C36-5C9B-2600-07F0-A2630142B532}"/>
              </a:ext>
            </a:extLst>
          </p:cNvPr>
          <p:cNvSpPr>
            <a:spLocks noGrp="1"/>
          </p:cNvSpPr>
          <p:nvPr>
            <p:ph sz="quarter" idx="11" hasCustomPrompt="1"/>
          </p:nvPr>
        </p:nvSpPr>
        <p:spPr>
          <a:xfrm>
            <a:off x="6313728" y="1370116"/>
            <a:ext cx="5118180" cy="215444"/>
          </a:xfrm>
        </p:spPr>
        <p:txBody>
          <a:bodyPr anchor="ctr"/>
          <a:lstStyle>
            <a:lvl1pPr marL="0" indent="0" algn="ctr" defTabSz="914400" rtl="0" eaLnBrk="1" latinLnBrk="0" hangingPunct="1">
              <a:buClr>
                <a:srgbClr val="000000"/>
              </a:buClr>
              <a:buSzPts val="800"/>
              <a:buNone/>
              <a:defRPr lang="en-US" sz="1400" b="1" kern="1200" dirty="0">
                <a:solidFill>
                  <a:schemeClr val="bg1"/>
                </a:solidFill>
                <a:latin typeface="+mj-lt"/>
                <a:ea typeface="+mn-ea"/>
                <a:cs typeface="Arial"/>
              </a:defRPr>
            </a:lvl1pPr>
            <a:lvl2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2pPr>
            <a:lvl3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3pPr>
            <a:lvl4pPr marL="0" indent="0" algn="ctr" defTabSz="914400" rtl="0" eaLnBrk="1" latinLnBrk="0" hangingPunct="1">
              <a:buClr>
                <a:srgbClr val="000000"/>
              </a:buClr>
              <a:buSzPts val="800"/>
              <a:buNone/>
              <a:defRPr lang="en-US" sz="1400" b="1" kern="1200" dirty="0" smtClean="0">
                <a:solidFill>
                  <a:schemeClr val="bg1"/>
                </a:solidFill>
                <a:latin typeface="+mj-lt"/>
                <a:ea typeface="+mn-ea"/>
                <a:cs typeface="Arial"/>
              </a:defRPr>
            </a:lvl4pPr>
            <a:lvl5pPr marL="0" indent="0" algn="ctr" defTabSz="914400" rtl="0" eaLnBrk="1" latinLnBrk="0" hangingPunct="1">
              <a:buClr>
                <a:srgbClr val="000000"/>
              </a:buClr>
              <a:buSzPts val="800"/>
              <a:buNone/>
              <a:defRPr lang="en-US" sz="1400" b="1" kern="1200" dirty="0">
                <a:solidFill>
                  <a:schemeClr val="bg1"/>
                </a:solidFill>
                <a:latin typeface="+mj-lt"/>
                <a:ea typeface="+mn-ea"/>
                <a:cs typeface="Arial"/>
              </a:defRPr>
            </a:lvl5pPr>
          </a:lstStyle>
          <a:p>
            <a:pPr lvl="0"/>
            <a:r>
              <a:rPr lang="en-US"/>
              <a:t>ADD TEXT HERE</a:t>
            </a:r>
          </a:p>
        </p:txBody>
      </p:sp>
      <p:sp>
        <p:nvSpPr>
          <p:cNvPr id="96" name="Text Placeholder 95">
            <a:extLst>
              <a:ext uri="{FF2B5EF4-FFF2-40B4-BE49-F238E27FC236}">
                <a16:creationId xmlns:a16="http://schemas.microsoft.com/office/drawing/2014/main" id="{5214C2D6-B365-EC2F-33DE-A4709B0E2DB7}"/>
              </a:ext>
            </a:extLst>
          </p:cNvPr>
          <p:cNvSpPr>
            <a:spLocks noGrp="1"/>
          </p:cNvSpPr>
          <p:nvPr>
            <p:ph type="body" sz="quarter" idx="12" hasCustomPrompt="1"/>
          </p:nvPr>
        </p:nvSpPr>
        <p:spPr>
          <a:xfrm>
            <a:off x="492105"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sp>
        <p:nvSpPr>
          <p:cNvPr id="98" name="Text Placeholder 95">
            <a:extLst>
              <a:ext uri="{FF2B5EF4-FFF2-40B4-BE49-F238E27FC236}">
                <a16:creationId xmlns:a16="http://schemas.microsoft.com/office/drawing/2014/main" id="{273579CC-CA03-FB39-3BF1-BBDDF7784D16}"/>
              </a:ext>
            </a:extLst>
          </p:cNvPr>
          <p:cNvSpPr>
            <a:spLocks noGrp="1"/>
          </p:cNvSpPr>
          <p:nvPr>
            <p:ph type="body" sz="quarter" idx="14" hasCustomPrompt="1"/>
          </p:nvPr>
        </p:nvSpPr>
        <p:spPr>
          <a:xfrm>
            <a:off x="2369908"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sp>
        <p:nvSpPr>
          <p:cNvPr id="99" name="Text Placeholder 95">
            <a:extLst>
              <a:ext uri="{FF2B5EF4-FFF2-40B4-BE49-F238E27FC236}">
                <a16:creationId xmlns:a16="http://schemas.microsoft.com/office/drawing/2014/main" id="{A3C6B1B4-8B51-6301-DF42-3A395321F985}"/>
              </a:ext>
            </a:extLst>
          </p:cNvPr>
          <p:cNvSpPr>
            <a:spLocks noGrp="1"/>
          </p:cNvSpPr>
          <p:nvPr>
            <p:ph type="body" sz="quarter" idx="15" hasCustomPrompt="1"/>
          </p:nvPr>
        </p:nvSpPr>
        <p:spPr>
          <a:xfrm>
            <a:off x="4247710"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sp>
        <p:nvSpPr>
          <p:cNvPr id="100" name="Text Placeholder 95">
            <a:extLst>
              <a:ext uri="{FF2B5EF4-FFF2-40B4-BE49-F238E27FC236}">
                <a16:creationId xmlns:a16="http://schemas.microsoft.com/office/drawing/2014/main" id="{2A40F5C4-C276-D711-E1C6-10D26249C10A}"/>
              </a:ext>
            </a:extLst>
          </p:cNvPr>
          <p:cNvSpPr>
            <a:spLocks noGrp="1"/>
          </p:cNvSpPr>
          <p:nvPr>
            <p:ph type="body" sz="quarter" idx="16" hasCustomPrompt="1"/>
          </p:nvPr>
        </p:nvSpPr>
        <p:spPr>
          <a:xfrm>
            <a:off x="6214399"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sp>
        <p:nvSpPr>
          <p:cNvPr id="101" name="Text Placeholder 95">
            <a:extLst>
              <a:ext uri="{FF2B5EF4-FFF2-40B4-BE49-F238E27FC236}">
                <a16:creationId xmlns:a16="http://schemas.microsoft.com/office/drawing/2014/main" id="{F9B84595-DDE4-9C97-C08A-A17EA8B43695}"/>
              </a:ext>
            </a:extLst>
          </p:cNvPr>
          <p:cNvSpPr>
            <a:spLocks noGrp="1"/>
          </p:cNvSpPr>
          <p:nvPr>
            <p:ph type="body" sz="quarter" idx="17" hasCustomPrompt="1"/>
          </p:nvPr>
        </p:nvSpPr>
        <p:spPr>
          <a:xfrm>
            <a:off x="8092202"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sp>
        <p:nvSpPr>
          <p:cNvPr id="102" name="Text Placeholder 95">
            <a:extLst>
              <a:ext uri="{FF2B5EF4-FFF2-40B4-BE49-F238E27FC236}">
                <a16:creationId xmlns:a16="http://schemas.microsoft.com/office/drawing/2014/main" id="{1E75CAFC-6303-C5D9-9395-6484A36B30FC}"/>
              </a:ext>
            </a:extLst>
          </p:cNvPr>
          <p:cNvSpPr>
            <a:spLocks noGrp="1"/>
          </p:cNvSpPr>
          <p:nvPr>
            <p:ph type="body" sz="quarter" idx="18" hasCustomPrompt="1"/>
          </p:nvPr>
        </p:nvSpPr>
        <p:spPr>
          <a:xfrm>
            <a:off x="9970004" y="1671855"/>
            <a:ext cx="1757523" cy="374868"/>
          </a:xfrm>
        </p:spPr>
        <p:txBody>
          <a:bodyPr anchor="ctr">
            <a:noAutofit/>
          </a:bodyPr>
          <a:lstStyle>
            <a:lvl1pPr marL="0" indent="0" algn="ctr" defTabSz="914400" rtl="0" eaLnBrk="1" fontAlgn="base" latinLnBrk="0" hangingPunct="1">
              <a:spcBef>
                <a:spcPct val="0"/>
              </a:spcBef>
              <a:spcAft>
                <a:spcPct val="0"/>
              </a:spcAft>
              <a:buNone/>
              <a:defRPr lang="en-US" sz="1200" b="1" kern="1200" dirty="0">
                <a:solidFill>
                  <a:schemeClr val="accent3"/>
                </a:solidFill>
                <a:latin typeface="+mn-lt"/>
                <a:ea typeface="Segoe UI" pitchFamily="34" charset="0"/>
                <a:cs typeface="Segoe UI" pitchFamily="34" charset="0"/>
              </a:defRPr>
            </a:lvl1pPr>
          </a:lstStyle>
          <a:p>
            <a:pPr lvl="0"/>
            <a:r>
              <a:rPr lang="en-US"/>
              <a:t>ADD TEXT HERE</a:t>
            </a:r>
          </a:p>
        </p:txBody>
      </p:sp>
      <p:cxnSp>
        <p:nvCxnSpPr>
          <p:cNvPr id="46" name="Straight Connector 45">
            <a:extLst>
              <a:ext uri="{FF2B5EF4-FFF2-40B4-BE49-F238E27FC236}">
                <a16:creationId xmlns:a16="http://schemas.microsoft.com/office/drawing/2014/main" id="{336D79D2-8BA8-9E4A-4BEE-408DF96CBE41}"/>
              </a:ext>
            </a:extLst>
          </p:cNvPr>
          <p:cNvCxnSpPr>
            <a:cxnSpLocks/>
          </p:cNvCxnSpPr>
          <p:nvPr userDrawn="1"/>
        </p:nvCxnSpPr>
        <p:spPr>
          <a:xfrm>
            <a:off x="4187571" y="2094235"/>
            <a:ext cx="0" cy="2597616"/>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AA3D179-5676-4364-73A4-538A8915CC80}"/>
              </a:ext>
            </a:extLst>
          </p:cNvPr>
          <p:cNvCxnSpPr>
            <a:cxnSpLocks/>
          </p:cNvCxnSpPr>
          <p:nvPr userDrawn="1"/>
        </p:nvCxnSpPr>
        <p:spPr>
          <a:xfrm>
            <a:off x="2309768" y="2094235"/>
            <a:ext cx="0" cy="2597616"/>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763178F-E9F2-4F61-C3BC-EE139EC795B4}"/>
              </a:ext>
            </a:extLst>
          </p:cNvPr>
          <p:cNvCxnSpPr>
            <a:cxnSpLocks/>
          </p:cNvCxnSpPr>
          <p:nvPr userDrawn="1"/>
        </p:nvCxnSpPr>
        <p:spPr>
          <a:xfrm>
            <a:off x="9909865" y="2094235"/>
            <a:ext cx="0" cy="2597616"/>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7B29498-4AD9-5256-FAB7-151BD85E0D8E}"/>
              </a:ext>
            </a:extLst>
          </p:cNvPr>
          <p:cNvCxnSpPr>
            <a:cxnSpLocks/>
          </p:cNvCxnSpPr>
          <p:nvPr userDrawn="1"/>
        </p:nvCxnSpPr>
        <p:spPr>
          <a:xfrm>
            <a:off x="8032062" y="2094235"/>
            <a:ext cx="0" cy="2597616"/>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680F5FF-853A-1983-16DF-F6D9F2F51920}"/>
              </a:ext>
            </a:extLst>
          </p:cNvPr>
          <p:cNvGrpSpPr/>
          <p:nvPr userDrawn="1"/>
        </p:nvGrpSpPr>
        <p:grpSpPr>
          <a:xfrm>
            <a:off x="2309768" y="1774411"/>
            <a:ext cx="1877803" cy="169756"/>
            <a:chOff x="2309768" y="1691456"/>
            <a:chExt cx="1877803" cy="3021012"/>
          </a:xfrm>
        </p:grpSpPr>
        <p:cxnSp>
          <p:nvCxnSpPr>
            <p:cNvPr id="60" name="Straight Connector 59">
              <a:extLst>
                <a:ext uri="{FF2B5EF4-FFF2-40B4-BE49-F238E27FC236}">
                  <a16:creationId xmlns:a16="http://schemas.microsoft.com/office/drawing/2014/main" id="{D3039A3B-D938-DC4C-C5D6-5803A59D9330}"/>
                </a:ext>
              </a:extLst>
            </p:cNvPr>
            <p:cNvCxnSpPr>
              <a:cxnSpLocks/>
            </p:cNvCxnSpPr>
            <p:nvPr/>
          </p:nvCxnSpPr>
          <p:spPr>
            <a:xfrm>
              <a:off x="4187571" y="1691456"/>
              <a:ext cx="0" cy="3021012"/>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7E80A2A-EA7B-3CF8-901B-47767B69091D}"/>
                </a:ext>
              </a:extLst>
            </p:cNvPr>
            <p:cNvCxnSpPr>
              <a:cxnSpLocks/>
            </p:cNvCxnSpPr>
            <p:nvPr/>
          </p:nvCxnSpPr>
          <p:spPr>
            <a:xfrm>
              <a:off x="2309768" y="1691456"/>
              <a:ext cx="0" cy="3021012"/>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B5BA27CF-E5F0-DA67-956C-B22EF916A70D}"/>
              </a:ext>
            </a:extLst>
          </p:cNvPr>
          <p:cNvGrpSpPr/>
          <p:nvPr userDrawn="1"/>
        </p:nvGrpSpPr>
        <p:grpSpPr>
          <a:xfrm>
            <a:off x="8032062" y="1774411"/>
            <a:ext cx="1877803" cy="169756"/>
            <a:chOff x="8032062" y="1751865"/>
            <a:chExt cx="1877803" cy="3021012"/>
          </a:xfrm>
        </p:grpSpPr>
        <p:cxnSp>
          <p:nvCxnSpPr>
            <p:cNvPr id="63" name="Straight Connector 62">
              <a:extLst>
                <a:ext uri="{FF2B5EF4-FFF2-40B4-BE49-F238E27FC236}">
                  <a16:creationId xmlns:a16="http://schemas.microsoft.com/office/drawing/2014/main" id="{9D6EC595-548E-72BD-F7A8-00066EFDA973}"/>
                </a:ext>
              </a:extLst>
            </p:cNvPr>
            <p:cNvCxnSpPr>
              <a:cxnSpLocks/>
            </p:cNvCxnSpPr>
            <p:nvPr/>
          </p:nvCxnSpPr>
          <p:spPr>
            <a:xfrm>
              <a:off x="9909865" y="1751865"/>
              <a:ext cx="0" cy="3021012"/>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9DE3596-77D4-9413-6CA2-10DAA30BBFF7}"/>
                </a:ext>
              </a:extLst>
            </p:cNvPr>
            <p:cNvCxnSpPr>
              <a:cxnSpLocks/>
            </p:cNvCxnSpPr>
            <p:nvPr/>
          </p:nvCxnSpPr>
          <p:spPr>
            <a:xfrm>
              <a:off x="8032062" y="1751865"/>
              <a:ext cx="0" cy="3021012"/>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 name="Text Placeholder 103">
            <a:extLst>
              <a:ext uri="{FF2B5EF4-FFF2-40B4-BE49-F238E27FC236}">
                <a16:creationId xmlns:a16="http://schemas.microsoft.com/office/drawing/2014/main" id="{07536A7E-CC5A-12C5-E73E-92734F5A40C7}"/>
              </a:ext>
            </a:extLst>
          </p:cNvPr>
          <p:cNvSpPr>
            <a:spLocks noGrp="1"/>
          </p:cNvSpPr>
          <p:nvPr>
            <p:ph type="body" sz="quarter" idx="20" hasCustomPrompt="1"/>
          </p:nvPr>
        </p:nvSpPr>
        <p:spPr>
          <a:xfrm>
            <a:off x="2824258" y="5167747"/>
            <a:ext cx="3588856" cy="1031051"/>
          </a:xfrm>
        </p:spPr>
        <p:txBody>
          <a:bodyPr>
            <a:noAutofit/>
          </a:bodyPr>
          <a:lstStyle>
            <a:lvl1pPr marL="0" indent="0" algn="l" defTabSz="914400" rtl="0" eaLnBrk="1" latinLnBrk="0" hangingPunct="1">
              <a:buClr>
                <a:srgbClr val="000000"/>
              </a:buClr>
              <a:buSzPts val="800"/>
              <a:buNone/>
              <a:defRPr lang="en-US" sz="1400" b="0" u="none" strike="noStrike" kern="1200" dirty="0">
                <a:solidFill>
                  <a:schemeClr val="tx1"/>
                </a:solidFill>
                <a:latin typeface="+mn-lt"/>
                <a:ea typeface="+mn-ea"/>
                <a:cs typeface="+mn-cs"/>
              </a:defRPr>
            </a:lvl1pPr>
            <a:lvl2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2pPr>
            <a:lvl3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3pPr>
            <a:lvl4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4pPr>
            <a:lvl5pPr marL="0" indent="0" algn="l" defTabSz="914400" rtl="0" eaLnBrk="1" latinLnBrk="0" hangingPunct="1">
              <a:buClr>
                <a:srgbClr val="000000"/>
              </a:buClr>
              <a:buSzPts val="800"/>
              <a:buNone/>
              <a:defRPr lang="en-US" sz="1600" b="1" kern="1200" dirty="0">
                <a:solidFill>
                  <a:schemeClr val="bg1"/>
                </a:solidFill>
                <a:latin typeface="+mj-lt"/>
                <a:ea typeface="+mn-ea"/>
                <a:cs typeface="Arial"/>
              </a:defRPr>
            </a:lvl5pPr>
          </a:lstStyle>
          <a:p>
            <a:pPr marL="0" marR="0" lvl="0" indent="0" algn="l" defTabSz="914400" rtl="0" eaLnBrk="1" fontAlgn="auto" latinLnBrk="0" hangingPunct="1">
              <a:lnSpc>
                <a:spcPct val="100000"/>
              </a:lnSpc>
              <a:spcBef>
                <a:spcPts val="600"/>
              </a:spcBef>
              <a:spcAft>
                <a:spcPts val="0"/>
              </a:spcAft>
              <a:buClrTx/>
              <a:buSzTx/>
              <a:buNone/>
            </a:pPr>
            <a:r>
              <a:rPr lang="en-US"/>
              <a:t>Add text here</a:t>
            </a:r>
          </a:p>
        </p:txBody>
      </p:sp>
      <p:sp>
        <p:nvSpPr>
          <p:cNvPr id="107" name="Text Placeholder 103">
            <a:extLst>
              <a:ext uri="{FF2B5EF4-FFF2-40B4-BE49-F238E27FC236}">
                <a16:creationId xmlns:a16="http://schemas.microsoft.com/office/drawing/2014/main" id="{C206849A-D09A-07C5-9CD6-13DC6A43D3A4}"/>
              </a:ext>
            </a:extLst>
          </p:cNvPr>
          <p:cNvSpPr>
            <a:spLocks noGrp="1"/>
          </p:cNvSpPr>
          <p:nvPr>
            <p:ph type="body" sz="quarter" idx="22" hasCustomPrompt="1"/>
          </p:nvPr>
        </p:nvSpPr>
        <p:spPr>
          <a:xfrm>
            <a:off x="8887943" y="5167747"/>
            <a:ext cx="2718840" cy="1031051"/>
          </a:xfrm>
        </p:spPr>
        <p:txBody>
          <a:bodyPr>
            <a:noAutofit/>
          </a:bodyPr>
          <a:lstStyle>
            <a:lvl1pPr marL="0" indent="0" algn="l" defTabSz="914400" rtl="0" eaLnBrk="1" latinLnBrk="0" hangingPunct="1">
              <a:buClr>
                <a:srgbClr val="000000"/>
              </a:buClr>
              <a:buSzPts val="800"/>
              <a:buNone/>
              <a:defRPr lang="en-US" sz="1400" b="0" u="none" strike="noStrike" kern="1200" dirty="0">
                <a:solidFill>
                  <a:schemeClr val="tx1"/>
                </a:solidFill>
                <a:latin typeface="+mn-lt"/>
                <a:ea typeface="+mn-ea"/>
                <a:cs typeface="+mn-cs"/>
              </a:defRPr>
            </a:lvl1pPr>
            <a:lvl2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2pPr>
            <a:lvl3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3pPr>
            <a:lvl4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4pPr>
            <a:lvl5pPr marL="0" indent="0" algn="l" defTabSz="914400" rtl="0" eaLnBrk="1" latinLnBrk="0" hangingPunct="1">
              <a:buClr>
                <a:srgbClr val="000000"/>
              </a:buClr>
              <a:buSzPts val="800"/>
              <a:buNone/>
              <a:defRPr lang="en-US" sz="1600" b="1" kern="1200" dirty="0">
                <a:solidFill>
                  <a:schemeClr val="bg1"/>
                </a:solidFill>
                <a:latin typeface="+mj-lt"/>
                <a:ea typeface="+mn-ea"/>
                <a:cs typeface="Arial"/>
              </a:defRPr>
            </a:lvl5pPr>
          </a:lstStyle>
          <a:p>
            <a:pPr marL="0" marR="0" lvl="0" indent="0" algn="l" defTabSz="914400" rtl="0" eaLnBrk="1" fontAlgn="auto" latinLnBrk="0" hangingPunct="1">
              <a:lnSpc>
                <a:spcPct val="100000"/>
              </a:lnSpc>
              <a:spcBef>
                <a:spcPts val="600"/>
              </a:spcBef>
              <a:spcAft>
                <a:spcPts val="0"/>
              </a:spcAft>
              <a:buClrTx/>
              <a:buSzTx/>
              <a:buNone/>
            </a:pPr>
            <a:r>
              <a:rPr lang="en-US"/>
              <a:t>Add text here</a:t>
            </a:r>
          </a:p>
        </p:txBody>
      </p:sp>
      <p:sp>
        <p:nvSpPr>
          <p:cNvPr id="106" name="Text Placeholder 103">
            <a:extLst>
              <a:ext uri="{FF2B5EF4-FFF2-40B4-BE49-F238E27FC236}">
                <a16:creationId xmlns:a16="http://schemas.microsoft.com/office/drawing/2014/main" id="{16222D74-A0E7-9960-BE8A-CFF16F3C50A1}"/>
              </a:ext>
            </a:extLst>
          </p:cNvPr>
          <p:cNvSpPr>
            <a:spLocks noGrp="1"/>
          </p:cNvSpPr>
          <p:nvPr>
            <p:ph type="body" sz="quarter" idx="21" hasCustomPrompt="1"/>
          </p:nvPr>
        </p:nvSpPr>
        <p:spPr>
          <a:xfrm>
            <a:off x="1241354" y="5267774"/>
            <a:ext cx="1403531" cy="830997"/>
          </a:xfrm>
        </p:spPr>
        <p:txBody>
          <a:bodyPr anchor="ctr">
            <a:noAutofit/>
          </a:bodyPr>
          <a:lstStyle>
            <a:lvl1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1pPr>
            <a:lvl2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2pPr>
            <a:lvl3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3pPr>
            <a:lvl4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4pPr>
            <a:lvl5pPr marL="0" indent="0" algn="l" defTabSz="914400" rtl="0" eaLnBrk="1" latinLnBrk="0" hangingPunct="1">
              <a:buClr>
                <a:srgbClr val="000000"/>
              </a:buClr>
              <a:buSzPts val="800"/>
              <a:buNone/>
              <a:defRPr lang="en-US" sz="1600" b="1" kern="1200" dirty="0">
                <a:solidFill>
                  <a:schemeClr val="bg1"/>
                </a:solidFill>
                <a:latin typeface="+mj-lt"/>
                <a:ea typeface="+mn-ea"/>
                <a:cs typeface="Arial"/>
              </a:defRPr>
            </a:lvl5pPr>
          </a:lstStyle>
          <a:p>
            <a:pPr lvl="0"/>
            <a:r>
              <a:rPr lang="en-US"/>
              <a:t>Add text here</a:t>
            </a:r>
          </a:p>
        </p:txBody>
      </p:sp>
      <p:sp>
        <p:nvSpPr>
          <p:cNvPr id="83" name="Oval 82">
            <a:extLst>
              <a:ext uri="{FF2B5EF4-FFF2-40B4-BE49-F238E27FC236}">
                <a16:creationId xmlns:a16="http://schemas.microsoft.com/office/drawing/2014/main" id="{F8CE60BE-B9D2-5F52-6B1E-5D776BD9282A}"/>
              </a:ext>
              <a:ext uri="{C183D7F6-B498-43B3-948B-1728B52AA6E4}">
                <adec:decorative xmlns:adec="http://schemas.microsoft.com/office/drawing/2017/decorative" val="1"/>
              </a:ext>
            </a:extLst>
          </p:cNvPr>
          <p:cNvSpPr>
            <a:spLocks noChangeAspect="1"/>
          </p:cNvSpPr>
          <p:nvPr userDrawn="1"/>
        </p:nvSpPr>
        <p:spPr bwMode="auto">
          <a:xfrm>
            <a:off x="584186" y="5408088"/>
            <a:ext cx="550368" cy="550368"/>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pic>
        <p:nvPicPr>
          <p:cNvPr id="84" name="Picture 83" descr="A check mark and check mark on a piece of paper&#10;&#10;AI-generated content may be incorrect.">
            <a:extLst>
              <a:ext uri="{FF2B5EF4-FFF2-40B4-BE49-F238E27FC236}">
                <a16:creationId xmlns:a16="http://schemas.microsoft.com/office/drawing/2014/main" id="{22101298-C187-7459-75FF-E4DD44C20D8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442" y="5521347"/>
            <a:ext cx="311856" cy="323850"/>
          </a:xfrm>
          <a:prstGeom prst="rect">
            <a:avLst/>
          </a:prstGeom>
        </p:spPr>
      </p:pic>
      <p:sp>
        <p:nvSpPr>
          <p:cNvPr id="104" name="Text Placeholder 103">
            <a:extLst>
              <a:ext uri="{FF2B5EF4-FFF2-40B4-BE49-F238E27FC236}">
                <a16:creationId xmlns:a16="http://schemas.microsoft.com/office/drawing/2014/main" id="{A8068EB3-5F9A-3229-566A-9B044C53F8D8}"/>
              </a:ext>
            </a:extLst>
          </p:cNvPr>
          <p:cNvSpPr>
            <a:spLocks noGrp="1"/>
          </p:cNvSpPr>
          <p:nvPr>
            <p:ph type="body" sz="quarter" idx="19" hasCustomPrompt="1"/>
          </p:nvPr>
        </p:nvSpPr>
        <p:spPr>
          <a:xfrm>
            <a:off x="7305040" y="5267774"/>
            <a:ext cx="1403531" cy="830997"/>
          </a:xfrm>
        </p:spPr>
        <p:txBody>
          <a:bodyPr anchor="ctr">
            <a:noAutofit/>
          </a:bodyPr>
          <a:lstStyle>
            <a:lvl1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1pPr>
            <a:lvl2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2pPr>
            <a:lvl3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3pPr>
            <a:lvl4pPr marL="0" indent="0" algn="l" defTabSz="914400" rtl="0" eaLnBrk="1" latinLnBrk="0" hangingPunct="1">
              <a:buClr>
                <a:srgbClr val="000000"/>
              </a:buClr>
              <a:buSzPts val="800"/>
              <a:buNone/>
              <a:defRPr lang="en-US" sz="1600" b="1" kern="1200" dirty="0" smtClean="0">
                <a:solidFill>
                  <a:schemeClr val="bg1"/>
                </a:solidFill>
                <a:latin typeface="+mj-lt"/>
                <a:ea typeface="+mn-ea"/>
                <a:cs typeface="Arial"/>
              </a:defRPr>
            </a:lvl4pPr>
            <a:lvl5pPr marL="0" indent="0" algn="l" defTabSz="914400" rtl="0" eaLnBrk="1" latinLnBrk="0" hangingPunct="1">
              <a:buClr>
                <a:srgbClr val="000000"/>
              </a:buClr>
              <a:buSzPts val="800"/>
              <a:buNone/>
              <a:defRPr lang="en-US" sz="1600" b="1" kern="1200" dirty="0">
                <a:solidFill>
                  <a:schemeClr val="bg1"/>
                </a:solidFill>
                <a:latin typeface="+mj-lt"/>
                <a:ea typeface="+mn-ea"/>
                <a:cs typeface="Arial"/>
              </a:defRPr>
            </a:lvl5pPr>
          </a:lstStyle>
          <a:p>
            <a:pPr lvl="0"/>
            <a:r>
              <a:rPr lang="en-US"/>
              <a:t>Add text here</a:t>
            </a:r>
          </a:p>
        </p:txBody>
      </p:sp>
      <p:sp>
        <p:nvSpPr>
          <p:cNvPr id="86" name="Oval 85">
            <a:extLst>
              <a:ext uri="{FF2B5EF4-FFF2-40B4-BE49-F238E27FC236}">
                <a16:creationId xmlns:a16="http://schemas.microsoft.com/office/drawing/2014/main" id="{2A93771C-FFF1-E780-8564-874892F5BFE3}"/>
              </a:ext>
              <a:ext uri="{C183D7F6-B498-43B3-948B-1728B52AA6E4}">
                <adec:decorative xmlns:adec="http://schemas.microsoft.com/office/drawing/2017/decorative" val="1"/>
              </a:ext>
            </a:extLst>
          </p:cNvPr>
          <p:cNvSpPr>
            <a:spLocks noChangeAspect="1"/>
          </p:cNvSpPr>
          <p:nvPr userDrawn="1"/>
        </p:nvSpPr>
        <p:spPr bwMode="auto">
          <a:xfrm>
            <a:off x="6647872" y="5408088"/>
            <a:ext cx="550368" cy="550368"/>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pic>
        <p:nvPicPr>
          <p:cNvPr id="87" name="Picture 86" descr="A blue and purple symbols&#10;&#10;AI-generated content may be incorrect.">
            <a:extLst>
              <a:ext uri="{FF2B5EF4-FFF2-40B4-BE49-F238E27FC236}">
                <a16:creationId xmlns:a16="http://schemas.microsoft.com/office/drawing/2014/main" id="{705903BE-D2FE-C598-FA5B-B6C4E5F07B6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55872" y="5522677"/>
            <a:ext cx="334369" cy="321190"/>
          </a:xfrm>
          <a:prstGeom prst="rect">
            <a:avLst/>
          </a:prstGeom>
        </p:spPr>
      </p:pic>
    </p:spTree>
    <p:extLst>
      <p:ext uri="{BB962C8B-B14F-4D97-AF65-F5344CB8AC3E}">
        <p14:creationId xmlns:p14="http://schemas.microsoft.com/office/powerpoint/2010/main" val="12499411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1751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rea and Rol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EE03AA3-62B9-186E-4457-E433391D469A}"/>
              </a:ext>
            </a:extLst>
          </p:cNvPr>
          <p:cNvPicPr>
            <a:picLocks noChangeAspect="1"/>
          </p:cNvPicPr>
          <p:nvPr userDrawn="1"/>
        </p:nvPicPr>
        <p:blipFill>
          <a:blip r:embed="rId2">
            <a:alphaModFix amt="40000"/>
            <a:extLst>
              <a:ext uri="{96DAC541-7B7A-43D3-8B79-37D633B846F1}">
                <asvg:svgBlip xmlns:asvg="http://schemas.microsoft.com/office/drawing/2016/SVG/main" r:embed="rId3"/>
              </a:ext>
            </a:extLst>
          </a:blip>
          <a:srcRect r="3226" b="30326"/>
          <a:stretch/>
        </p:blipFill>
        <p:spPr>
          <a:xfrm flipH="1">
            <a:off x="0" y="2517777"/>
            <a:ext cx="10314622" cy="4340223"/>
          </a:xfrm>
          <a:prstGeom prst="rect">
            <a:avLst/>
          </a:prstGeom>
        </p:spPr>
      </p:pic>
      <p:sp>
        <p:nvSpPr>
          <p:cNvPr id="3" name="Rectangle: Rounded Corners 2">
            <a:extLst>
              <a:ext uri="{FF2B5EF4-FFF2-40B4-BE49-F238E27FC236}">
                <a16:creationId xmlns:a16="http://schemas.microsoft.com/office/drawing/2014/main" id="{4DF42F8E-7B02-9A87-2A07-38A00FBD140D}"/>
              </a:ext>
            </a:extLst>
          </p:cNvPr>
          <p:cNvSpPr/>
          <p:nvPr userDrawn="1"/>
        </p:nvSpPr>
        <p:spPr bwMode="auto">
          <a:xfrm>
            <a:off x="336398" y="4562064"/>
            <a:ext cx="11519202" cy="1679659"/>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5115F893-EFB2-3C24-1BC4-2277EDB06F65}"/>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Rectangle: Rounded Corners 5">
            <a:extLst>
              <a:ext uri="{FF2B5EF4-FFF2-40B4-BE49-F238E27FC236}">
                <a16:creationId xmlns:a16="http://schemas.microsoft.com/office/drawing/2014/main" id="{43A6780A-9461-263C-D57B-890103BA770F}"/>
              </a:ext>
            </a:extLst>
          </p:cNvPr>
          <p:cNvSpPr/>
          <p:nvPr userDrawn="1"/>
        </p:nvSpPr>
        <p:spPr bwMode="auto">
          <a:xfrm>
            <a:off x="529167" y="1687406"/>
            <a:ext cx="11077043" cy="2796891"/>
          </a:xfrm>
          <a:prstGeom prst="roundRect">
            <a:avLst>
              <a:gd name="adj" fmla="val 4635"/>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cxnSp>
        <p:nvCxnSpPr>
          <p:cNvPr id="8" name="Straight Connector 7">
            <a:extLst>
              <a:ext uri="{FF2B5EF4-FFF2-40B4-BE49-F238E27FC236}">
                <a16:creationId xmlns:a16="http://schemas.microsoft.com/office/drawing/2014/main" id="{8D736D73-C2B1-981C-2BEC-DA29DE972243}"/>
              </a:ext>
            </a:extLst>
          </p:cNvPr>
          <p:cNvCxnSpPr>
            <a:cxnSpLocks/>
          </p:cNvCxnSpPr>
          <p:nvPr userDrawn="1"/>
        </p:nvCxnSpPr>
        <p:spPr>
          <a:xfrm>
            <a:off x="469928" y="1412056"/>
            <a:ext cx="0" cy="2462359"/>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04758CCC-2BC7-64D8-C178-0874BA4868FA}"/>
              </a:ext>
            </a:extLst>
          </p:cNvPr>
          <p:cNvSpPr/>
          <p:nvPr userDrawn="1"/>
        </p:nvSpPr>
        <p:spPr bwMode="auto">
          <a:xfrm>
            <a:off x="0" y="1052364"/>
            <a:ext cx="11606213" cy="575880"/>
          </a:xfrm>
          <a:prstGeom prst="roundRect">
            <a:avLst>
              <a:gd name="adj" fmla="val 1756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 name="Rectangle: Top Corners Rounded 9">
            <a:extLst>
              <a:ext uri="{FF2B5EF4-FFF2-40B4-BE49-F238E27FC236}">
                <a16:creationId xmlns:a16="http://schemas.microsoft.com/office/drawing/2014/main" id="{39644949-11DC-F361-866F-5E82B4D62CB9}"/>
              </a:ext>
            </a:extLst>
          </p:cNvPr>
          <p:cNvSpPr/>
          <p:nvPr userDrawn="1"/>
        </p:nvSpPr>
        <p:spPr bwMode="auto">
          <a:xfrm rot="5400000">
            <a:off x="-351668" y="1238869"/>
            <a:ext cx="906206" cy="20287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34" name="Text Placeholder 33">
            <a:extLst>
              <a:ext uri="{FF2B5EF4-FFF2-40B4-BE49-F238E27FC236}">
                <a16:creationId xmlns:a16="http://schemas.microsoft.com/office/drawing/2014/main" id="{6F5B2696-8C67-2C2E-B11D-83649B804FDC}"/>
              </a:ext>
            </a:extLst>
          </p:cNvPr>
          <p:cNvSpPr>
            <a:spLocks noGrp="1"/>
          </p:cNvSpPr>
          <p:nvPr>
            <p:ph type="body" sz="quarter" idx="10" hasCustomPrompt="1"/>
          </p:nvPr>
        </p:nvSpPr>
        <p:spPr>
          <a:xfrm>
            <a:off x="469928"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5" name="Text Placeholder 33">
            <a:extLst>
              <a:ext uri="{FF2B5EF4-FFF2-40B4-BE49-F238E27FC236}">
                <a16:creationId xmlns:a16="http://schemas.microsoft.com/office/drawing/2014/main" id="{F9F66FB1-4B39-1AF3-BF4C-3B66024D6605}"/>
              </a:ext>
            </a:extLst>
          </p:cNvPr>
          <p:cNvSpPr>
            <a:spLocks noGrp="1"/>
          </p:cNvSpPr>
          <p:nvPr>
            <p:ph type="body" sz="quarter" idx="11" hasCustomPrompt="1"/>
          </p:nvPr>
        </p:nvSpPr>
        <p:spPr>
          <a:xfrm>
            <a:off x="4183155"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6" name="Text Placeholder 33">
            <a:extLst>
              <a:ext uri="{FF2B5EF4-FFF2-40B4-BE49-F238E27FC236}">
                <a16:creationId xmlns:a16="http://schemas.microsoft.com/office/drawing/2014/main" id="{2E5524EC-7C0D-9387-B71E-F0F343389466}"/>
              </a:ext>
            </a:extLst>
          </p:cNvPr>
          <p:cNvSpPr>
            <a:spLocks noGrp="1"/>
          </p:cNvSpPr>
          <p:nvPr>
            <p:ph type="body" sz="quarter" idx="12" hasCustomPrompt="1"/>
          </p:nvPr>
        </p:nvSpPr>
        <p:spPr>
          <a:xfrm>
            <a:off x="7896382"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8" name="Text Placeholder 37">
            <a:extLst>
              <a:ext uri="{FF2B5EF4-FFF2-40B4-BE49-F238E27FC236}">
                <a16:creationId xmlns:a16="http://schemas.microsoft.com/office/drawing/2014/main" id="{F387E48C-24DD-7A23-F81E-03F6A6993C0A}"/>
              </a:ext>
            </a:extLst>
          </p:cNvPr>
          <p:cNvSpPr>
            <a:spLocks noGrp="1"/>
          </p:cNvSpPr>
          <p:nvPr>
            <p:ph type="body" sz="quarter" idx="13" hasCustomPrompt="1"/>
          </p:nvPr>
        </p:nvSpPr>
        <p:spPr>
          <a:xfrm>
            <a:off x="566926" y="1774682"/>
            <a:ext cx="3493798" cy="2603548"/>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chemeClr val="tx1"/>
                </a:solidFill>
                <a:effectLst/>
                <a:uLnTx/>
                <a:uFillTx/>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0" name="Text Placeholder 37">
            <a:extLst>
              <a:ext uri="{FF2B5EF4-FFF2-40B4-BE49-F238E27FC236}">
                <a16:creationId xmlns:a16="http://schemas.microsoft.com/office/drawing/2014/main" id="{B4F17A27-9A8F-62D8-332E-336218DB3365}"/>
              </a:ext>
            </a:extLst>
          </p:cNvPr>
          <p:cNvSpPr>
            <a:spLocks noGrp="1"/>
          </p:cNvSpPr>
          <p:nvPr>
            <p:ph type="body" sz="quarter" idx="15" hasCustomPrompt="1"/>
          </p:nvPr>
        </p:nvSpPr>
        <p:spPr>
          <a:xfrm>
            <a:off x="7985760" y="1774682"/>
            <a:ext cx="3493798" cy="2603548"/>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rgbClr val="000000"/>
                </a:solidFill>
                <a:effectLst/>
                <a:uLnTx/>
                <a:uFillTx/>
                <a:latin typeface="+mn-lt"/>
                <a:ea typeface="ＭＳ Ｐゴシック"/>
                <a:cs typeface="Segoe Sans Text" pitchFamily="2"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t>Add text here</a:t>
            </a:r>
          </a:p>
        </p:txBody>
      </p:sp>
      <p:sp>
        <p:nvSpPr>
          <p:cNvPr id="39" name="Text Placeholder 37">
            <a:extLst>
              <a:ext uri="{FF2B5EF4-FFF2-40B4-BE49-F238E27FC236}">
                <a16:creationId xmlns:a16="http://schemas.microsoft.com/office/drawing/2014/main" id="{551EC328-4F45-4CE1-206F-9D8D2CA0F340}"/>
              </a:ext>
            </a:extLst>
          </p:cNvPr>
          <p:cNvSpPr>
            <a:spLocks noGrp="1"/>
          </p:cNvSpPr>
          <p:nvPr>
            <p:ph type="body" sz="quarter" idx="14" hasCustomPrompt="1"/>
          </p:nvPr>
        </p:nvSpPr>
        <p:spPr>
          <a:xfrm>
            <a:off x="4272532" y="1774682"/>
            <a:ext cx="3493798" cy="2603548"/>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rgbClr val="000000"/>
                </a:solidFill>
                <a:effectLst/>
                <a:uLnTx/>
                <a:uFillTx/>
                <a:latin typeface="+mn-lt"/>
                <a:ea typeface="ＭＳ Ｐゴシック"/>
                <a:cs typeface="Segoe Sans Text" pitchFamily="2"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t>Add text here</a:t>
            </a:r>
          </a:p>
        </p:txBody>
      </p:sp>
      <p:cxnSp>
        <p:nvCxnSpPr>
          <p:cNvPr id="17" name="Straight Connector 16">
            <a:extLst>
              <a:ext uri="{FF2B5EF4-FFF2-40B4-BE49-F238E27FC236}">
                <a16:creationId xmlns:a16="http://schemas.microsoft.com/office/drawing/2014/main" id="{202F519F-7F38-2258-90C3-7D5085EA7B99}"/>
              </a:ext>
            </a:extLst>
          </p:cNvPr>
          <p:cNvCxnSpPr>
            <a:cxnSpLocks/>
          </p:cNvCxnSpPr>
          <p:nvPr userDrawn="1"/>
        </p:nvCxnSpPr>
        <p:spPr>
          <a:xfrm>
            <a:off x="4170438" y="1774681"/>
            <a:ext cx="0" cy="256032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35B7D01-9C85-C70D-ECC4-E567A13D80BA}"/>
              </a:ext>
            </a:extLst>
          </p:cNvPr>
          <p:cNvCxnSpPr>
            <a:cxnSpLocks/>
          </p:cNvCxnSpPr>
          <p:nvPr userDrawn="1"/>
        </p:nvCxnSpPr>
        <p:spPr>
          <a:xfrm>
            <a:off x="7883665" y="1774681"/>
            <a:ext cx="0" cy="256032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71237F32-627C-7237-CAE4-9275A21EFD08}"/>
              </a:ext>
            </a:extLst>
          </p:cNvPr>
          <p:cNvGrpSpPr/>
          <p:nvPr userDrawn="1"/>
        </p:nvGrpSpPr>
        <p:grpSpPr>
          <a:xfrm>
            <a:off x="4170438" y="1148783"/>
            <a:ext cx="3713227" cy="383043"/>
            <a:chOff x="4170438" y="1432376"/>
            <a:chExt cx="3713227" cy="1648173"/>
          </a:xfrm>
        </p:grpSpPr>
        <p:cxnSp>
          <p:nvCxnSpPr>
            <p:cNvPr id="20" name="Straight Connector 19">
              <a:extLst>
                <a:ext uri="{FF2B5EF4-FFF2-40B4-BE49-F238E27FC236}">
                  <a16:creationId xmlns:a16="http://schemas.microsoft.com/office/drawing/2014/main" id="{A29FDD1D-2789-7C8B-CE4D-532D6D34619C}"/>
                </a:ext>
              </a:extLst>
            </p:cNvPr>
            <p:cNvCxnSpPr>
              <a:cxnSpLocks/>
            </p:cNvCxnSpPr>
            <p:nvPr/>
          </p:nvCxnSpPr>
          <p:spPr>
            <a:xfrm>
              <a:off x="4170438" y="1432376"/>
              <a:ext cx="0" cy="1648173"/>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C236DF4-37AD-D900-E4B6-107117E57ECD}"/>
                </a:ext>
              </a:extLst>
            </p:cNvPr>
            <p:cNvCxnSpPr>
              <a:cxnSpLocks/>
            </p:cNvCxnSpPr>
            <p:nvPr/>
          </p:nvCxnSpPr>
          <p:spPr>
            <a:xfrm>
              <a:off x="7883665" y="1432376"/>
              <a:ext cx="0" cy="1648173"/>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2" name="Rectangle: Rounded Corners 21">
            <a:extLst>
              <a:ext uri="{FF2B5EF4-FFF2-40B4-BE49-F238E27FC236}">
                <a16:creationId xmlns:a16="http://schemas.microsoft.com/office/drawing/2014/main" id="{9036F4B1-0482-C133-E8FF-591E554A5E94}"/>
              </a:ext>
            </a:extLst>
          </p:cNvPr>
          <p:cNvSpPr>
            <a:spLocks noChangeAspect="1"/>
          </p:cNvSpPr>
          <p:nvPr userDrawn="1"/>
        </p:nvSpPr>
        <p:spPr>
          <a:xfrm>
            <a:off x="469929" y="4635316"/>
            <a:ext cx="1149322" cy="43809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600" b="1" i="0" u="none" strike="noStrike" kern="1200" cap="none" spc="0" normalizeH="0" baseline="0" noProof="0">
              <a:ln>
                <a:noFill/>
              </a:ln>
              <a:solidFill>
                <a:schemeClr val="bg1"/>
              </a:solidFill>
              <a:effectLst/>
              <a:uLnTx/>
              <a:uFillTx/>
              <a:latin typeface="+mj-lt"/>
              <a:cs typeface="Segoe Sans Text Light" pitchFamily="2" charset="0"/>
            </a:endParaRPr>
          </a:p>
        </p:txBody>
      </p:sp>
      <p:sp>
        <p:nvSpPr>
          <p:cNvPr id="23" name="Rectangle: Top Corners Rounded 22">
            <a:extLst>
              <a:ext uri="{FF2B5EF4-FFF2-40B4-BE49-F238E27FC236}">
                <a16:creationId xmlns:a16="http://schemas.microsoft.com/office/drawing/2014/main" id="{D70A6837-5B11-16E6-09DD-80674481D6E9}"/>
              </a:ext>
            </a:extLst>
          </p:cNvPr>
          <p:cNvSpPr/>
          <p:nvPr userDrawn="1"/>
        </p:nvSpPr>
        <p:spPr bwMode="auto">
          <a:xfrm rot="5400000">
            <a:off x="160158" y="4811557"/>
            <a:ext cx="438091" cy="85611"/>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1C5DDEA3-44F8-ACD4-F465-9C741BD1F75A}"/>
              </a:ext>
            </a:extLst>
          </p:cNvPr>
          <p:cNvSpPr/>
          <p:nvPr userDrawn="1"/>
        </p:nvSpPr>
        <p:spPr bwMode="auto">
          <a:xfrm>
            <a:off x="469928" y="5166166"/>
            <a:ext cx="11252144" cy="930416"/>
          </a:xfrm>
          <a:prstGeom prst="roundRect">
            <a:avLst>
              <a:gd name="adj" fmla="val 5828"/>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sp>
        <p:nvSpPr>
          <p:cNvPr id="44" name="Text Placeholder 37">
            <a:extLst>
              <a:ext uri="{FF2B5EF4-FFF2-40B4-BE49-F238E27FC236}">
                <a16:creationId xmlns:a16="http://schemas.microsoft.com/office/drawing/2014/main" id="{70F69308-6B4E-D35D-33C1-E84506C58B50}"/>
              </a:ext>
            </a:extLst>
          </p:cNvPr>
          <p:cNvSpPr>
            <a:spLocks noGrp="1"/>
          </p:cNvSpPr>
          <p:nvPr>
            <p:ph type="body" sz="quarter" idx="17" hasCustomPrompt="1"/>
          </p:nvPr>
        </p:nvSpPr>
        <p:spPr>
          <a:xfrm>
            <a:off x="566926" y="5253074"/>
            <a:ext cx="3493798" cy="680501"/>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6" name="Text Placeholder 37">
            <a:extLst>
              <a:ext uri="{FF2B5EF4-FFF2-40B4-BE49-F238E27FC236}">
                <a16:creationId xmlns:a16="http://schemas.microsoft.com/office/drawing/2014/main" id="{D18D830F-F394-E15B-F76D-2D85C54EBDB1}"/>
              </a:ext>
            </a:extLst>
          </p:cNvPr>
          <p:cNvSpPr>
            <a:spLocks noGrp="1"/>
          </p:cNvSpPr>
          <p:nvPr>
            <p:ph type="body" sz="quarter" idx="19" hasCustomPrompt="1"/>
          </p:nvPr>
        </p:nvSpPr>
        <p:spPr>
          <a:xfrm>
            <a:off x="7993380" y="5253074"/>
            <a:ext cx="3493798" cy="680502"/>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5" name="Text Placeholder 37">
            <a:extLst>
              <a:ext uri="{FF2B5EF4-FFF2-40B4-BE49-F238E27FC236}">
                <a16:creationId xmlns:a16="http://schemas.microsoft.com/office/drawing/2014/main" id="{3B022EFB-B416-2596-AEFA-B8FD11440B61}"/>
              </a:ext>
            </a:extLst>
          </p:cNvPr>
          <p:cNvSpPr>
            <a:spLocks noGrp="1"/>
          </p:cNvSpPr>
          <p:nvPr>
            <p:ph type="body" sz="quarter" idx="18" hasCustomPrompt="1"/>
          </p:nvPr>
        </p:nvSpPr>
        <p:spPr>
          <a:xfrm>
            <a:off x="4280152" y="5253074"/>
            <a:ext cx="3493798" cy="680502"/>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grpSp>
        <p:nvGrpSpPr>
          <p:cNvPr id="28" name="Group 27">
            <a:extLst>
              <a:ext uri="{FF2B5EF4-FFF2-40B4-BE49-F238E27FC236}">
                <a16:creationId xmlns:a16="http://schemas.microsoft.com/office/drawing/2014/main" id="{EEE24943-B0C2-B9D9-7197-B98A78336660}"/>
              </a:ext>
            </a:extLst>
          </p:cNvPr>
          <p:cNvGrpSpPr/>
          <p:nvPr userDrawn="1"/>
        </p:nvGrpSpPr>
        <p:grpSpPr>
          <a:xfrm>
            <a:off x="4170438" y="5253074"/>
            <a:ext cx="3713227" cy="750504"/>
            <a:chOff x="4170438" y="4957411"/>
            <a:chExt cx="3713227" cy="1648173"/>
          </a:xfrm>
        </p:grpSpPr>
        <p:cxnSp>
          <p:nvCxnSpPr>
            <p:cNvPr id="29" name="Straight Connector 28">
              <a:extLst>
                <a:ext uri="{FF2B5EF4-FFF2-40B4-BE49-F238E27FC236}">
                  <a16:creationId xmlns:a16="http://schemas.microsoft.com/office/drawing/2014/main" id="{1D7F29C8-F2C9-62CE-D63E-A40376AF7114}"/>
                </a:ext>
              </a:extLst>
            </p:cNvPr>
            <p:cNvCxnSpPr>
              <a:cxnSpLocks/>
            </p:cNvCxnSpPr>
            <p:nvPr/>
          </p:nvCxnSpPr>
          <p:spPr>
            <a:xfrm>
              <a:off x="4170438" y="4957411"/>
              <a:ext cx="0" cy="164817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33FD1E0-D38B-748D-63A1-38C779D4C71C}"/>
                </a:ext>
              </a:extLst>
            </p:cNvPr>
            <p:cNvCxnSpPr>
              <a:cxnSpLocks/>
            </p:cNvCxnSpPr>
            <p:nvPr/>
          </p:nvCxnSpPr>
          <p:spPr>
            <a:xfrm>
              <a:off x="7883665" y="4957411"/>
              <a:ext cx="0" cy="164817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Text Placeholder 33">
            <a:extLst>
              <a:ext uri="{FF2B5EF4-FFF2-40B4-BE49-F238E27FC236}">
                <a16:creationId xmlns:a16="http://schemas.microsoft.com/office/drawing/2014/main" id="{95FA16A4-C195-CDF0-92CB-CE0AA6083A7A}"/>
              </a:ext>
            </a:extLst>
          </p:cNvPr>
          <p:cNvSpPr>
            <a:spLocks noGrp="1"/>
          </p:cNvSpPr>
          <p:nvPr>
            <p:ph type="body" sz="quarter" idx="16" hasCustomPrompt="1"/>
          </p:nvPr>
        </p:nvSpPr>
        <p:spPr>
          <a:xfrm>
            <a:off x="469929" y="4657385"/>
            <a:ext cx="1149322" cy="393954"/>
          </a:xfrm>
          <a:solidFill>
            <a:schemeClr val="accent2"/>
          </a:solidFill>
        </p:spPr>
        <p:txBody>
          <a:bodyPr lIns="146304" tIns="73152" rIns="146304" bIns="73152" anchor="ctr"/>
          <a:lstStyle>
            <a:lvl1pPr marL="0" indent="0" algn="l" defTabSz="932472" rtl="0" eaLnBrk="1" fontAlgn="base" latinLnBrk="0" hangingPunct="1">
              <a:spcBef>
                <a:spcPct val="0"/>
              </a:spcBef>
              <a:spcAft>
                <a:spcPct val="0"/>
              </a:spcAft>
              <a:buNone/>
              <a:defRPr kumimoji="0" lang="en-US" sz="1600" b="1" i="0" u="none" strike="noStrike" kern="1200" cap="none" spc="0" normalizeH="0" baseline="0" dirty="0" smtClean="0">
                <a:ln>
                  <a:noFill/>
                </a:ln>
                <a:solidFill>
                  <a:schemeClr val="bg1"/>
                </a:solidFill>
                <a:effectLst/>
                <a:uLnTx/>
                <a:uFillTx/>
                <a:latin typeface="+mj-lt"/>
                <a:ea typeface="+mn-ea"/>
                <a:cs typeface="Segoe Sans Text Light" pitchFamily="2" charset="0"/>
              </a:defRPr>
            </a:lvl1pPr>
            <a:lvl2pPr>
              <a:defRPr/>
            </a:lvl2pPr>
            <a:lvl3pPr>
              <a:defRPr/>
            </a:lvl3pPr>
            <a:lvl4pPr>
              <a:defRPr/>
            </a:lvl4pPr>
            <a:lvl5pPr>
              <a:defRPr/>
            </a:lvl5pPr>
          </a:lstStyle>
          <a:p>
            <a:pPr marL="285750" marR="0" lvl="0" indent="-285750" algn="l" defTabSz="932472" rtl="0" eaLnBrk="1" fontAlgn="base" latinLnBrk="0" hangingPunct="1">
              <a:lnSpc>
                <a:spcPct val="100000"/>
              </a:lnSpc>
              <a:spcBef>
                <a:spcPct val="0"/>
              </a:spcBef>
              <a:spcAft>
                <a:spcPct val="0"/>
              </a:spcAft>
              <a:buClrTx/>
              <a:buSzTx/>
              <a:tabLst/>
              <a:defRPr/>
            </a:pPr>
            <a:r>
              <a:rPr lang="en-US"/>
              <a:t>Add text</a:t>
            </a:r>
          </a:p>
        </p:txBody>
      </p:sp>
    </p:spTree>
    <p:extLst>
      <p:ext uri="{BB962C8B-B14F-4D97-AF65-F5344CB8AC3E}">
        <p14:creationId xmlns:p14="http://schemas.microsoft.com/office/powerpoint/2010/main" val="15691683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rea and Rol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EE03AA3-62B9-186E-4457-E433391D469A}"/>
              </a:ext>
            </a:extLst>
          </p:cNvPr>
          <p:cNvPicPr>
            <a:picLocks noChangeAspect="1"/>
          </p:cNvPicPr>
          <p:nvPr userDrawn="1"/>
        </p:nvPicPr>
        <p:blipFill>
          <a:blip r:embed="rId2">
            <a:alphaModFix amt="40000"/>
            <a:extLst>
              <a:ext uri="{96DAC541-7B7A-43D3-8B79-37D633B846F1}">
                <asvg:svgBlip xmlns:asvg="http://schemas.microsoft.com/office/drawing/2016/SVG/main" r:embed="rId3"/>
              </a:ext>
            </a:extLst>
          </a:blip>
          <a:srcRect r="3226" b="30326"/>
          <a:stretch/>
        </p:blipFill>
        <p:spPr>
          <a:xfrm flipH="1">
            <a:off x="0" y="2517777"/>
            <a:ext cx="10314622" cy="4340223"/>
          </a:xfrm>
          <a:prstGeom prst="rect">
            <a:avLst/>
          </a:prstGeom>
        </p:spPr>
      </p:pic>
      <p:sp>
        <p:nvSpPr>
          <p:cNvPr id="3" name="Rectangle: Rounded Corners 2">
            <a:extLst>
              <a:ext uri="{FF2B5EF4-FFF2-40B4-BE49-F238E27FC236}">
                <a16:creationId xmlns:a16="http://schemas.microsoft.com/office/drawing/2014/main" id="{4DF42F8E-7B02-9A87-2A07-38A00FBD140D}"/>
              </a:ext>
            </a:extLst>
          </p:cNvPr>
          <p:cNvSpPr/>
          <p:nvPr userDrawn="1"/>
        </p:nvSpPr>
        <p:spPr bwMode="auto">
          <a:xfrm>
            <a:off x="336398" y="4225274"/>
            <a:ext cx="11519202" cy="2340118"/>
          </a:xfrm>
          <a:prstGeom prst="roundRect">
            <a:avLst>
              <a:gd name="adj" fmla="val 64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5115F893-EFB2-3C24-1BC4-2277EDB06F65}"/>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Rectangle: Rounded Corners 5">
            <a:extLst>
              <a:ext uri="{FF2B5EF4-FFF2-40B4-BE49-F238E27FC236}">
                <a16:creationId xmlns:a16="http://schemas.microsoft.com/office/drawing/2014/main" id="{43A6780A-9461-263C-D57B-890103BA770F}"/>
              </a:ext>
            </a:extLst>
          </p:cNvPr>
          <p:cNvSpPr/>
          <p:nvPr userDrawn="1"/>
        </p:nvSpPr>
        <p:spPr bwMode="auto">
          <a:xfrm>
            <a:off x="529167" y="1687407"/>
            <a:ext cx="11077043" cy="2462360"/>
          </a:xfrm>
          <a:prstGeom prst="roundRect">
            <a:avLst>
              <a:gd name="adj" fmla="val 4635"/>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cxnSp>
        <p:nvCxnSpPr>
          <p:cNvPr id="8" name="Straight Connector 7">
            <a:extLst>
              <a:ext uri="{FF2B5EF4-FFF2-40B4-BE49-F238E27FC236}">
                <a16:creationId xmlns:a16="http://schemas.microsoft.com/office/drawing/2014/main" id="{8D736D73-C2B1-981C-2BEC-DA29DE972243}"/>
              </a:ext>
            </a:extLst>
          </p:cNvPr>
          <p:cNvCxnSpPr>
            <a:cxnSpLocks/>
          </p:cNvCxnSpPr>
          <p:nvPr userDrawn="1"/>
        </p:nvCxnSpPr>
        <p:spPr>
          <a:xfrm>
            <a:off x="469928" y="1412056"/>
            <a:ext cx="0" cy="2462359"/>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04758CCC-2BC7-64D8-C178-0874BA4868FA}"/>
              </a:ext>
            </a:extLst>
          </p:cNvPr>
          <p:cNvSpPr/>
          <p:nvPr userDrawn="1"/>
        </p:nvSpPr>
        <p:spPr bwMode="auto">
          <a:xfrm>
            <a:off x="0" y="1052364"/>
            <a:ext cx="11606213" cy="575880"/>
          </a:xfrm>
          <a:prstGeom prst="roundRect">
            <a:avLst>
              <a:gd name="adj" fmla="val 1756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 name="Rectangle: Top Corners Rounded 9">
            <a:extLst>
              <a:ext uri="{FF2B5EF4-FFF2-40B4-BE49-F238E27FC236}">
                <a16:creationId xmlns:a16="http://schemas.microsoft.com/office/drawing/2014/main" id="{39644949-11DC-F361-866F-5E82B4D62CB9}"/>
              </a:ext>
            </a:extLst>
          </p:cNvPr>
          <p:cNvSpPr/>
          <p:nvPr userDrawn="1"/>
        </p:nvSpPr>
        <p:spPr bwMode="auto">
          <a:xfrm rot="5400000">
            <a:off x="-351668" y="1238869"/>
            <a:ext cx="906206" cy="20287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34" name="Text Placeholder 33">
            <a:extLst>
              <a:ext uri="{FF2B5EF4-FFF2-40B4-BE49-F238E27FC236}">
                <a16:creationId xmlns:a16="http://schemas.microsoft.com/office/drawing/2014/main" id="{6F5B2696-8C67-2C2E-B11D-83649B804FDC}"/>
              </a:ext>
            </a:extLst>
          </p:cNvPr>
          <p:cNvSpPr>
            <a:spLocks noGrp="1"/>
          </p:cNvSpPr>
          <p:nvPr>
            <p:ph type="body" sz="quarter" idx="10" hasCustomPrompt="1"/>
          </p:nvPr>
        </p:nvSpPr>
        <p:spPr>
          <a:xfrm>
            <a:off x="469928"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5" name="Text Placeholder 33">
            <a:extLst>
              <a:ext uri="{FF2B5EF4-FFF2-40B4-BE49-F238E27FC236}">
                <a16:creationId xmlns:a16="http://schemas.microsoft.com/office/drawing/2014/main" id="{F9F66FB1-4B39-1AF3-BF4C-3B66024D6605}"/>
              </a:ext>
            </a:extLst>
          </p:cNvPr>
          <p:cNvSpPr>
            <a:spLocks noGrp="1"/>
          </p:cNvSpPr>
          <p:nvPr>
            <p:ph type="body" sz="quarter" idx="11" hasCustomPrompt="1"/>
          </p:nvPr>
        </p:nvSpPr>
        <p:spPr>
          <a:xfrm>
            <a:off x="4183155"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6" name="Text Placeholder 33">
            <a:extLst>
              <a:ext uri="{FF2B5EF4-FFF2-40B4-BE49-F238E27FC236}">
                <a16:creationId xmlns:a16="http://schemas.microsoft.com/office/drawing/2014/main" id="{2E5524EC-7C0D-9387-B71E-F0F343389466}"/>
              </a:ext>
            </a:extLst>
          </p:cNvPr>
          <p:cNvSpPr>
            <a:spLocks noGrp="1"/>
          </p:cNvSpPr>
          <p:nvPr>
            <p:ph type="body" sz="quarter" idx="12" hasCustomPrompt="1"/>
          </p:nvPr>
        </p:nvSpPr>
        <p:spPr>
          <a:xfrm>
            <a:off x="7896382" y="1143327"/>
            <a:ext cx="3590796" cy="393954"/>
          </a:xfrm>
        </p:spPr>
        <p:txBody>
          <a:bodyPr lIns="146304" tIns="73152" rIns="146304" bIns="73152" anchor="ctr"/>
          <a:lstStyle>
            <a:lvl1pPr marL="0" indent="0">
              <a:buNone/>
              <a:defRPr kumimoji="0" lang="en-US" sz="1600" b="1" i="0" u="none" strike="noStrike" kern="1200" cap="none" spc="0" normalizeH="0" baseline="0" dirty="0">
                <a:ln>
                  <a:noFill/>
                </a:ln>
                <a:solidFill>
                  <a:schemeClr val="bg1"/>
                </a:solidFill>
                <a:effectLst/>
                <a:uLnTx/>
                <a:uFillTx/>
                <a:latin typeface="+mn-lt"/>
                <a:ea typeface="Segoe UI" pitchFamily="34" charset="0"/>
                <a:cs typeface="Segoe Sans Text Semibold" pitchFamily="2" charset="0"/>
              </a:defRPr>
            </a:lvl1pPr>
            <a:lvl2pPr>
              <a:defRPr/>
            </a:lvl2pPr>
            <a:lvl3pPr>
              <a:defRPr/>
            </a:lvl3pPr>
            <a:lvl4pPr>
              <a:defRPr/>
            </a:lvl4pPr>
            <a:lvl5pPr>
              <a:defRPr/>
            </a:lvl5pPr>
          </a:lstStyle>
          <a:p>
            <a:pPr marL="228600" marR="0" lvl="0" indent="-228600" algn="l" defTabSz="932472" rtl="0" eaLnBrk="1" fontAlgn="base" latinLnBrk="0" hangingPunct="1">
              <a:lnSpc>
                <a:spcPct val="100000"/>
              </a:lnSpc>
              <a:spcBef>
                <a:spcPct val="0"/>
              </a:spcBef>
              <a:spcAft>
                <a:spcPct val="0"/>
              </a:spcAft>
              <a:buClrTx/>
              <a:buSzTx/>
              <a:tabLst/>
              <a:defRPr/>
            </a:pPr>
            <a:r>
              <a:rPr lang="en-US"/>
              <a:t>Add text here</a:t>
            </a:r>
          </a:p>
        </p:txBody>
      </p:sp>
      <p:sp>
        <p:nvSpPr>
          <p:cNvPr id="38" name="Text Placeholder 37">
            <a:extLst>
              <a:ext uri="{FF2B5EF4-FFF2-40B4-BE49-F238E27FC236}">
                <a16:creationId xmlns:a16="http://schemas.microsoft.com/office/drawing/2014/main" id="{F387E48C-24DD-7A23-F81E-03F6A6993C0A}"/>
              </a:ext>
            </a:extLst>
          </p:cNvPr>
          <p:cNvSpPr>
            <a:spLocks noGrp="1"/>
          </p:cNvSpPr>
          <p:nvPr>
            <p:ph type="body" sz="quarter" idx="13" hasCustomPrompt="1"/>
          </p:nvPr>
        </p:nvSpPr>
        <p:spPr>
          <a:xfrm>
            <a:off x="566926" y="1774682"/>
            <a:ext cx="3493798" cy="2171105"/>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chemeClr val="tx1"/>
                </a:solidFill>
                <a:effectLst/>
                <a:uLnTx/>
                <a:uFillTx/>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0" name="Text Placeholder 37">
            <a:extLst>
              <a:ext uri="{FF2B5EF4-FFF2-40B4-BE49-F238E27FC236}">
                <a16:creationId xmlns:a16="http://schemas.microsoft.com/office/drawing/2014/main" id="{B4F17A27-9A8F-62D8-332E-336218DB3365}"/>
              </a:ext>
            </a:extLst>
          </p:cNvPr>
          <p:cNvSpPr>
            <a:spLocks noGrp="1"/>
          </p:cNvSpPr>
          <p:nvPr>
            <p:ph type="body" sz="quarter" idx="15" hasCustomPrompt="1"/>
          </p:nvPr>
        </p:nvSpPr>
        <p:spPr>
          <a:xfrm>
            <a:off x="7985760" y="1774682"/>
            <a:ext cx="3493798" cy="2171105"/>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rgbClr val="000000"/>
                </a:solidFill>
                <a:effectLst/>
                <a:uLnTx/>
                <a:uFillTx/>
                <a:latin typeface="+mn-lt"/>
                <a:ea typeface="ＭＳ Ｐゴシック"/>
                <a:cs typeface="Segoe Sans Text" pitchFamily="2"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t>Add text here</a:t>
            </a:r>
          </a:p>
        </p:txBody>
      </p:sp>
      <p:sp>
        <p:nvSpPr>
          <p:cNvPr id="39" name="Text Placeholder 37">
            <a:extLst>
              <a:ext uri="{FF2B5EF4-FFF2-40B4-BE49-F238E27FC236}">
                <a16:creationId xmlns:a16="http://schemas.microsoft.com/office/drawing/2014/main" id="{551EC328-4F45-4CE1-206F-9D8D2CA0F340}"/>
              </a:ext>
            </a:extLst>
          </p:cNvPr>
          <p:cNvSpPr>
            <a:spLocks noGrp="1"/>
          </p:cNvSpPr>
          <p:nvPr>
            <p:ph type="body" sz="quarter" idx="14" hasCustomPrompt="1"/>
          </p:nvPr>
        </p:nvSpPr>
        <p:spPr>
          <a:xfrm>
            <a:off x="4272532" y="1774682"/>
            <a:ext cx="3493798" cy="2171105"/>
          </a:xfrm>
        </p:spPr>
        <p:txBody>
          <a:bodyPr lIns="146304" rIns="146304">
            <a:noAutofit/>
          </a:bodyPr>
          <a:lstStyle>
            <a:lvl1pPr marL="0" indent="0" algn="l" defTabSz="932472" rtl="0" eaLnBrk="1" fontAlgn="base" latinLnBrk="0" hangingPunct="1">
              <a:spcBef>
                <a:spcPts val="400"/>
              </a:spcBef>
              <a:buNone/>
              <a:defRPr kumimoji="0" lang="en-US" sz="1200" b="0" i="0" u="none" strike="noStrike" kern="1200" cap="none" spc="0" normalizeH="0" baseline="0" dirty="0" smtClean="0">
                <a:ln>
                  <a:noFill/>
                </a:ln>
                <a:solidFill>
                  <a:srgbClr val="000000"/>
                </a:solidFill>
                <a:effectLst/>
                <a:uLnTx/>
                <a:uFillTx/>
                <a:latin typeface="+mn-lt"/>
                <a:ea typeface="ＭＳ Ｐゴシック"/>
                <a:cs typeface="Segoe Sans Text" pitchFamily="2"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t>Add text here</a:t>
            </a:r>
          </a:p>
        </p:txBody>
      </p:sp>
      <p:cxnSp>
        <p:nvCxnSpPr>
          <p:cNvPr id="17" name="Straight Connector 16">
            <a:extLst>
              <a:ext uri="{FF2B5EF4-FFF2-40B4-BE49-F238E27FC236}">
                <a16:creationId xmlns:a16="http://schemas.microsoft.com/office/drawing/2014/main" id="{202F519F-7F38-2258-90C3-7D5085EA7B99}"/>
              </a:ext>
            </a:extLst>
          </p:cNvPr>
          <p:cNvCxnSpPr>
            <a:cxnSpLocks/>
          </p:cNvCxnSpPr>
          <p:nvPr userDrawn="1"/>
        </p:nvCxnSpPr>
        <p:spPr>
          <a:xfrm>
            <a:off x="4170438" y="1774681"/>
            <a:ext cx="0" cy="237744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35B7D01-9C85-C70D-ECC4-E567A13D80BA}"/>
              </a:ext>
            </a:extLst>
          </p:cNvPr>
          <p:cNvCxnSpPr>
            <a:cxnSpLocks/>
          </p:cNvCxnSpPr>
          <p:nvPr userDrawn="1"/>
        </p:nvCxnSpPr>
        <p:spPr>
          <a:xfrm>
            <a:off x="7883665" y="1774681"/>
            <a:ext cx="0" cy="237744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71237F32-627C-7237-CAE4-9275A21EFD08}"/>
              </a:ext>
            </a:extLst>
          </p:cNvPr>
          <p:cNvGrpSpPr/>
          <p:nvPr userDrawn="1"/>
        </p:nvGrpSpPr>
        <p:grpSpPr>
          <a:xfrm>
            <a:off x="4170438" y="1148783"/>
            <a:ext cx="3713227" cy="383043"/>
            <a:chOff x="4170438" y="1432376"/>
            <a:chExt cx="3713227" cy="1648173"/>
          </a:xfrm>
        </p:grpSpPr>
        <p:cxnSp>
          <p:nvCxnSpPr>
            <p:cNvPr id="20" name="Straight Connector 19">
              <a:extLst>
                <a:ext uri="{FF2B5EF4-FFF2-40B4-BE49-F238E27FC236}">
                  <a16:creationId xmlns:a16="http://schemas.microsoft.com/office/drawing/2014/main" id="{A29FDD1D-2789-7C8B-CE4D-532D6D34619C}"/>
                </a:ext>
              </a:extLst>
            </p:cNvPr>
            <p:cNvCxnSpPr>
              <a:cxnSpLocks/>
            </p:cNvCxnSpPr>
            <p:nvPr/>
          </p:nvCxnSpPr>
          <p:spPr>
            <a:xfrm>
              <a:off x="4170438" y="1432376"/>
              <a:ext cx="0" cy="1648173"/>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C236DF4-37AD-D900-E4B6-107117E57ECD}"/>
                </a:ext>
              </a:extLst>
            </p:cNvPr>
            <p:cNvCxnSpPr>
              <a:cxnSpLocks/>
            </p:cNvCxnSpPr>
            <p:nvPr/>
          </p:nvCxnSpPr>
          <p:spPr>
            <a:xfrm>
              <a:off x="7883665" y="1432376"/>
              <a:ext cx="0" cy="1648173"/>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2" name="Rectangle: Rounded Corners 21">
            <a:extLst>
              <a:ext uri="{FF2B5EF4-FFF2-40B4-BE49-F238E27FC236}">
                <a16:creationId xmlns:a16="http://schemas.microsoft.com/office/drawing/2014/main" id="{9036F4B1-0482-C133-E8FF-591E554A5E94}"/>
              </a:ext>
            </a:extLst>
          </p:cNvPr>
          <p:cNvSpPr>
            <a:spLocks noChangeAspect="1"/>
          </p:cNvSpPr>
          <p:nvPr userDrawn="1"/>
        </p:nvSpPr>
        <p:spPr>
          <a:xfrm>
            <a:off x="469929" y="4287844"/>
            <a:ext cx="1149322" cy="43809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600" b="1" i="0" u="none" strike="noStrike" kern="1200" cap="none" spc="0" normalizeH="0" baseline="0" noProof="0">
              <a:ln>
                <a:noFill/>
              </a:ln>
              <a:solidFill>
                <a:schemeClr val="bg1"/>
              </a:solidFill>
              <a:effectLst/>
              <a:uLnTx/>
              <a:uFillTx/>
              <a:latin typeface="+mj-lt"/>
              <a:cs typeface="Segoe Sans Text Light" pitchFamily="2" charset="0"/>
            </a:endParaRPr>
          </a:p>
        </p:txBody>
      </p:sp>
      <p:sp>
        <p:nvSpPr>
          <p:cNvPr id="23" name="Rectangle: Top Corners Rounded 22">
            <a:extLst>
              <a:ext uri="{FF2B5EF4-FFF2-40B4-BE49-F238E27FC236}">
                <a16:creationId xmlns:a16="http://schemas.microsoft.com/office/drawing/2014/main" id="{D70A6837-5B11-16E6-09DD-80674481D6E9}"/>
              </a:ext>
            </a:extLst>
          </p:cNvPr>
          <p:cNvSpPr/>
          <p:nvPr userDrawn="1"/>
        </p:nvSpPr>
        <p:spPr bwMode="auto">
          <a:xfrm rot="5400000">
            <a:off x="160158" y="4464085"/>
            <a:ext cx="438091" cy="85611"/>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1C5DDEA3-44F8-ACD4-F465-9C741BD1F75A}"/>
              </a:ext>
            </a:extLst>
          </p:cNvPr>
          <p:cNvSpPr/>
          <p:nvPr userDrawn="1"/>
        </p:nvSpPr>
        <p:spPr bwMode="auto">
          <a:xfrm>
            <a:off x="469928" y="4807457"/>
            <a:ext cx="11252144" cy="1663988"/>
          </a:xfrm>
          <a:prstGeom prst="roundRect">
            <a:avLst>
              <a:gd name="adj" fmla="val 5828"/>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sp>
        <p:nvSpPr>
          <p:cNvPr id="44" name="Text Placeholder 37">
            <a:extLst>
              <a:ext uri="{FF2B5EF4-FFF2-40B4-BE49-F238E27FC236}">
                <a16:creationId xmlns:a16="http://schemas.microsoft.com/office/drawing/2014/main" id="{70F69308-6B4E-D35D-33C1-E84506C58B50}"/>
              </a:ext>
            </a:extLst>
          </p:cNvPr>
          <p:cNvSpPr>
            <a:spLocks noGrp="1"/>
          </p:cNvSpPr>
          <p:nvPr>
            <p:ph type="body" sz="quarter" idx="17" hasCustomPrompt="1"/>
          </p:nvPr>
        </p:nvSpPr>
        <p:spPr>
          <a:xfrm>
            <a:off x="566926" y="4903875"/>
            <a:ext cx="3493798" cy="1496923"/>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6" name="Text Placeholder 37">
            <a:extLst>
              <a:ext uri="{FF2B5EF4-FFF2-40B4-BE49-F238E27FC236}">
                <a16:creationId xmlns:a16="http://schemas.microsoft.com/office/drawing/2014/main" id="{D18D830F-F394-E15B-F76D-2D85C54EBDB1}"/>
              </a:ext>
            </a:extLst>
          </p:cNvPr>
          <p:cNvSpPr>
            <a:spLocks noGrp="1"/>
          </p:cNvSpPr>
          <p:nvPr>
            <p:ph type="body" sz="quarter" idx="19" hasCustomPrompt="1"/>
          </p:nvPr>
        </p:nvSpPr>
        <p:spPr>
          <a:xfrm>
            <a:off x="7993380" y="4903875"/>
            <a:ext cx="3493798" cy="1496925"/>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sp>
        <p:nvSpPr>
          <p:cNvPr id="45" name="Text Placeholder 37">
            <a:extLst>
              <a:ext uri="{FF2B5EF4-FFF2-40B4-BE49-F238E27FC236}">
                <a16:creationId xmlns:a16="http://schemas.microsoft.com/office/drawing/2014/main" id="{3B022EFB-B416-2596-AEFA-B8FD11440B61}"/>
              </a:ext>
            </a:extLst>
          </p:cNvPr>
          <p:cNvSpPr>
            <a:spLocks noGrp="1"/>
          </p:cNvSpPr>
          <p:nvPr>
            <p:ph type="body" sz="quarter" idx="18" hasCustomPrompt="1"/>
          </p:nvPr>
        </p:nvSpPr>
        <p:spPr>
          <a:xfrm>
            <a:off x="4280152" y="4903875"/>
            <a:ext cx="3493798" cy="1496925"/>
          </a:xfrm>
        </p:spPr>
        <p:txBody>
          <a:bodyPr lIns="146304" rIns="146304">
            <a:noAutofit/>
          </a:bodyPr>
          <a:lstStyle>
            <a:lvl1pPr marL="0" indent="0" algn="l" defTabSz="932472" rtl="0" eaLnBrk="1" fontAlgn="base" latinLnBrk="0" hangingPunct="1">
              <a:spcBef>
                <a:spcPts val="400"/>
              </a:spcBef>
              <a:buNone/>
              <a:defRPr lang="en-US" sz="1200" b="1" kern="1200" dirty="0" smtClean="0">
                <a:solidFill>
                  <a:schemeClr val="accent3"/>
                </a:solidFill>
                <a:latin typeface="+mn-lt"/>
                <a:ea typeface="+mn-ea"/>
                <a:cs typeface="Segoe UI" pitchFamily="34" charset="0"/>
              </a:defRPr>
            </a:lvl1pPr>
            <a:lvl2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2pPr>
            <a:lvl3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3pPr>
            <a:lvl4pPr algn="l" defTabSz="932472" rtl="0" eaLnBrk="1" fontAlgn="base" latinLnBrk="0" hangingPunct="1">
              <a:spcBef>
                <a:spcPts val="400"/>
              </a:spcBef>
              <a:defRPr kumimoji="0" lang="en-US" sz="1200" i="0" u="none" strike="noStrike" kern="1200" cap="none" spc="0" normalizeH="0" baseline="0" dirty="0" smtClean="0">
                <a:ln>
                  <a:noFill/>
                </a:ln>
                <a:solidFill>
                  <a:schemeClr val="tx1"/>
                </a:solidFill>
                <a:effectLst/>
                <a:uLnTx/>
                <a:uFillTx/>
                <a:latin typeface="+mn-lt"/>
                <a:ea typeface="+mn-ea"/>
                <a:cs typeface="Segoe UI" pitchFamily="34" charset="0"/>
              </a:defRPr>
            </a:lvl4pPr>
            <a:lvl5pPr algn="l" defTabSz="932472" rtl="0" eaLnBrk="1" fontAlgn="base" latinLnBrk="0" hangingPunct="1">
              <a:spcBef>
                <a:spcPts val="400"/>
              </a:spcBef>
              <a:defRPr kumimoji="0" lang="en-US" sz="1200" i="0" u="none" strike="noStrike" kern="1200" cap="none" spc="0" normalizeH="0" baseline="0" dirty="0">
                <a:ln>
                  <a:noFill/>
                </a:ln>
                <a:solidFill>
                  <a:schemeClr val="tx1"/>
                </a:solidFill>
                <a:effectLst/>
                <a:uLnTx/>
                <a:uFillTx/>
                <a:latin typeface="+mn-lt"/>
                <a:ea typeface="+mn-ea"/>
                <a:cs typeface="Segoe UI" pitchFamily="34" charset="0"/>
              </a:defRPr>
            </a:lvl5pPr>
          </a:lstStyle>
          <a:p>
            <a:pPr lvl="0"/>
            <a:r>
              <a:rPr lang="en-US"/>
              <a:t>Add text here</a:t>
            </a:r>
          </a:p>
        </p:txBody>
      </p:sp>
      <p:grpSp>
        <p:nvGrpSpPr>
          <p:cNvPr id="28" name="Group 27">
            <a:extLst>
              <a:ext uri="{FF2B5EF4-FFF2-40B4-BE49-F238E27FC236}">
                <a16:creationId xmlns:a16="http://schemas.microsoft.com/office/drawing/2014/main" id="{EEE24943-B0C2-B9D9-7197-B98A78336660}"/>
              </a:ext>
            </a:extLst>
          </p:cNvPr>
          <p:cNvGrpSpPr/>
          <p:nvPr userDrawn="1"/>
        </p:nvGrpSpPr>
        <p:grpSpPr>
          <a:xfrm>
            <a:off x="4170438" y="5143346"/>
            <a:ext cx="3713227" cy="750504"/>
            <a:chOff x="4170438" y="4957411"/>
            <a:chExt cx="3713227" cy="1648173"/>
          </a:xfrm>
        </p:grpSpPr>
        <p:cxnSp>
          <p:nvCxnSpPr>
            <p:cNvPr id="29" name="Straight Connector 28">
              <a:extLst>
                <a:ext uri="{FF2B5EF4-FFF2-40B4-BE49-F238E27FC236}">
                  <a16:creationId xmlns:a16="http://schemas.microsoft.com/office/drawing/2014/main" id="{1D7F29C8-F2C9-62CE-D63E-A40376AF7114}"/>
                </a:ext>
              </a:extLst>
            </p:cNvPr>
            <p:cNvCxnSpPr>
              <a:cxnSpLocks/>
            </p:cNvCxnSpPr>
            <p:nvPr/>
          </p:nvCxnSpPr>
          <p:spPr>
            <a:xfrm>
              <a:off x="4170438" y="4957411"/>
              <a:ext cx="0" cy="164817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33FD1E0-D38B-748D-63A1-38C779D4C71C}"/>
                </a:ext>
              </a:extLst>
            </p:cNvPr>
            <p:cNvCxnSpPr>
              <a:cxnSpLocks/>
            </p:cNvCxnSpPr>
            <p:nvPr/>
          </p:nvCxnSpPr>
          <p:spPr>
            <a:xfrm>
              <a:off x="7883665" y="4957411"/>
              <a:ext cx="0" cy="164817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Text Placeholder 33">
            <a:extLst>
              <a:ext uri="{FF2B5EF4-FFF2-40B4-BE49-F238E27FC236}">
                <a16:creationId xmlns:a16="http://schemas.microsoft.com/office/drawing/2014/main" id="{95FA16A4-C195-CDF0-92CB-CE0AA6083A7A}"/>
              </a:ext>
            </a:extLst>
          </p:cNvPr>
          <p:cNvSpPr>
            <a:spLocks noGrp="1"/>
          </p:cNvSpPr>
          <p:nvPr>
            <p:ph type="body" sz="quarter" idx="16" hasCustomPrompt="1"/>
          </p:nvPr>
        </p:nvSpPr>
        <p:spPr>
          <a:xfrm>
            <a:off x="469929" y="4309913"/>
            <a:ext cx="1149322" cy="393954"/>
          </a:xfrm>
          <a:solidFill>
            <a:schemeClr val="accent2"/>
          </a:solidFill>
        </p:spPr>
        <p:txBody>
          <a:bodyPr lIns="146304" tIns="73152" rIns="146304" bIns="73152" anchor="ctr"/>
          <a:lstStyle>
            <a:lvl1pPr marL="0" indent="0" algn="l" defTabSz="932472" rtl="0" eaLnBrk="1" fontAlgn="base" latinLnBrk="0" hangingPunct="1">
              <a:spcBef>
                <a:spcPct val="0"/>
              </a:spcBef>
              <a:spcAft>
                <a:spcPct val="0"/>
              </a:spcAft>
              <a:buNone/>
              <a:defRPr kumimoji="0" lang="en-US" sz="1600" b="1" i="0" u="none" strike="noStrike" kern="1200" cap="none" spc="0" normalizeH="0" baseline="0" dirty="0" smtClean="0">
                <a:ln>
                  <a:noFill/>
                </a:ln>
                <a:solidFill>
                  <a:schemeClr val="bg1"/>
                </a:solidFill>
                <a:effectLst/>
                <a:uLnTx/>
                <a:uFillTx/>
                <a:latin typeface="+mj-lt"/>
                <a:ea typeface="+mn-ea"/>
                <a:cs typeface="Segoe Sans Text Light" pitchFamily="2" charset="0"/>
              </a:defRPr>
            </a:lvl1pPr>
            <a:lvl2pPr>
              <a:defRPr/>
            </a:lvl2pPr>
            <a:lvl3pPr>
              <a:defRPr/>
            </a:lvl3pPr>
            <a:lvl4pPr>
              <a:defRPr/>
            </a:lvl4pPr>
            <a:lvl5pPr>
              <a:defRPr/>
            </a:lvl5pPr>
          </a:lstStyle>
          <a:p>
            <a:pPr marL="285750" marR="0" lvl="0" indent="-285750" algn="l" defTabSz="932472" rtl="0" eaLnBrk="1" fontAlgn="base" latinLnBrk="0" hangingPunct="1">
              <a:lnSpc>
                <a:spcPct val="100000"/>
              </a:lnSpc>
              <a:spcBef>
                <a:spcPct val="0"/>
              </a:spcBef>
              <a:spcAft>
                <a:spcPct val="0"/>
              </a:spcAft>
              <a:buClrTx/>
              <a:buSzTx/>
              <a:tabLst/>
              <a:defRPr/>
            </a:pPr>
            <a:r>
              <a:rPr lang="en-US"/>
              <a:t>Add text</a:t>
            </a:r>
          </a:p>
        </p:txBody>
      </p:sp>
    </p:spTree>
    <p:extLst>
      <p:ext uri="{BB962C8B-B14F-4D97-AF65-F5344CB8AC3E}">
        <p14:creationId xmlns:p14="http://schemas.microsoft.com/office/powerpoint/2010/main" val="17977969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6286645F-4E3D-BD94-37D9-32D269828B3A}"/>
              </a:ext>
            </a:extLst>
          </p:cNvPr>
          <p:cNvPicPr>
            <a:picLocks noChangeAspect="1"/>
          </p:cNvPicPr>
          <p:nvPr userDrawn="1"/>
        </p:nvPicPr>
        <p:blipFill rotWithShape="1">
          <a:blip r:embed="rId3">
            <a:alphaModFix amt="40000"/>
            <a:extLst>
              <a:ext uri="{96DAC541-7B7A-43D3-8B79-37D633B846F1}">
                <asvg:svgBlip xmlns:asvg="http://schemas.microsoft.com/office/drawing/2016/SVG/main" r:embed="rId4"/>
              </a:ext>
            </a:extLst>
          </a:blip>
          <a:srcRect l="6728" t="15844" r="2559" b="24788"/>
          <a:stretch/>
        </p:blipFill>
        <p:spPr>
          <a:xfrm flipV="1">
            <a:off x="5133040" y="0"/>
            <a:ext cx="7023101" cy="2686336"/>
          </a:xfrm>
          <a:prstGeom prst="rect">
            <a:avLst/>
          </a:prstGeom>
        </p:spPr>
      </p:pic>
      <p:sp>
        <p:nvSpPr>
          <p:cNvPr id="2" name="Title 1">
            <a:extLst>
              <a:ext uri="{FF2B5EF4-FFF2-40B4-BE49-F238E27FC236}">
                <a16:creationId xmlns:a16="http://schemas.microsoft.com/office/drawing/2014/main" id="{C3BF0C2D-D3A3-7737-C84A-70FB23FA9320}"/>
              </a:ext>
            </a:extLst>
          </p:cNvPr>
          <p:cNvSpPr>
            <a:spLocks noGrp="1"/>
          </p:cNvSpPr>
          <p:nvPr>
            <p:ph type="title"/>
          </p:nvPr>
        </p:nvSpPr>
        <p:spPr/>
        <p:txBody>
          <a:bodyPr/>
          <a:lstStyle/>
          <a:p>
            <a:r>
              <a:rPr lang="en-US"/>
              <a:t>Click to edit Master title style</a:t>
            </a:r>
          </a:p>
        </p:txBody>
      </p:sp>
      <p:sp>
        <p:nvSpPr>
          <p:cNvPr id="4" name="Rectangle: Top Corners Rounded 3">
            <a:extLst>
              <a:ext uri="{FF2B5EF4-FFF2-40B4-BE49-F238E27FC236}">
                <a16:creationId xmlns:a16="http://schemas.microsoft.com/office/drawing/2014/main" id="{7EB21DCC-8385-A061-1F9F-5F0D4969A473}"/>
              </a:ext>
            </a:extLst>
          </p:cNvPr>
          <p:cNvSpPr/>
          <p:nvPr/>
        </p:nvSpPr>
        <p:spPr bwMode="auto">
          <a:xfrm flipV="1">
            <a:off x="10344475" y="-3"/>
            <a:ext cx="1195062" cy="1185865"/>
          </a:xfrm>
          <a:prstGeom prst="round2SameRect">
            <a:avLst>
              <a:gd name="adj1" fmla="val 50000"/>
              <a:gd name="adj2" fmla="val 0"/>
            </a:avLst>
          </a:prstGeom>
          <a:solidFill>
            <a:schemeClr val="bg1">
              <a:lumMod val="95000"/>
            </a:schemeClr>
          </a:solidFill>
          <a:ln>
            <a:noFill/>
            <a:headEnd type="none" w="med" len="med"/>
            <a:tailEnd type="none" w="med" len="med"/>
          </a:ln>
          <a:effectLst>
            <a:outerShdw blurRad="63500" dist="38100" algn="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CFF83783-4E52-DF14-9878-E6A3B679ADEC}"/>
              </a:ext>
              <a:ext uri="{C183D7F6-B498-43B3-948B-1728B52AA6E4}">
                <adec:decorative xmlns:adec="http://schemas.microsoft.com/office/drawing/2017/decorative" val="1"/>
              </a:ext>
            </a:extLst>
          </p:cNvPr>
          <p:cNvSpPr>
            <a:spLocks noChangeAspect="1"/>
          </p:cNvSpPr>
          <p:nvPr/>
        </p:nvSpPr>
        <p:spPr bwMode="auto">
          <a:xfrm>
            <a:off x="10483578" y="139101"/>
            <a:ext cx="916856" cy="916856"/>
          </a:xfrm>
          <a:prstGeom prst="ellipse">
            <a:avLst/>
          </a:prstGeom>
          <a:solidFill>
            <a:schemeClr val="bg1"/>
          </a:solidFill>
          <a:ln>
            <a:solidFill>
              <a:schemeClr val="accent1"/>
            </a:solid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60"/>
            <a:endParaRPr lang="en-US" sz="1600" b="1" err="1">
              <a:solidFill>
                <a:schemeClr val="tx1"/>
              </a:solidFill>
              <a:cs typeface="Segoe UI Semibold" panose="020B0702040204020203" pitchFamily="34" charset="0"/>
            </a:endParaRPr>
          </a:p>
        </p:txBody>
      </p:sp>
      <p:sp>
        <p:nvSpPr>
          <p:cNvPr id="7" name="Rectangle: Top Corners Rounded 6">
            <a:extLst>
              <a:ext uri="{FF2B5EF4-FFF2-40B4-BE49-F238E27FC236}">
                <a16:creationId xmlns:a16="http://schemas.microsoft.com/office/drawing/2014/main" id="{BD7738AD-846E-3E04-826C-D74ECE06F366}"/>
              </a:ext>
            </a:extLst>
          </p:cNvPr>
          <p:cNvSpPr/>
          <p:nvPr/>
        </p:nvSpPr>
        <p:spPr bwMode="auto">
          <a:xfrm rot="10800000" flipH="1">
            <a:off x="10303993" y="-2"/>
            <a:ext cx="1276026" cy="85611"/>
          </a:xfrm>
          <a:prstGeom prst="round2SameRect">
            <a:avLst>
              <a:gd name="adj1" fmla="val 50000"/>
              <a:gd name="adj2" fmla="val 0"/>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8" name="Graphic 79">
            <a:extLst>
              <a:ext uri="{FF2B5EF4-FFF2-40B4-BE49-F238E27FC236}">
                <a16:creationId xmlns:a16="http://schemas.microsoft.com/office/drawing/2014/main" id="{E5F25AC5-390A-1EDE-9CE0-72A2CCB7B8BF}"/>
              </a:ext>
            </a:extLst>
          </p:cNvPr>
          <p:cNvSpPr/>
          <p:nvPr userDrawn="1"/>
        </p:nvSpPr>
        <p:spPr>
          <a:xfrm>
            <a:off x="588963" y="1116510"/>
            <a:ext cx="11020418" cy="2343148"/>
          </a:xfrm>
          <a:custGeom>
            <a:avLst/>
            <a:gdLst>
              <a:gd name="connsiteX0" fmla="*/ 142972 w 11020418"/>
              <a:gd name="connsiteY0" fmla="*/ -121 h 2343148"/>
              <a:gd name="connsiteX1" fmla="*/ 3783085 w 11020418"/>
              <a:gd name="connsiteY1" fmla="*/ -121 h 2343148"/>
              <a:gd name="connsiteX2" fmla="*/ 3926141 w 11020418"/>
              <a:gd name="connsiteY2" fmla="*/ 142935 h 2343148"/>
              <a:gd name="connsiteX3" fmla="*/ 3926141 w 11020418"/>
              <a:gd name="connsiteY3" fmla="*/ 336797 h 2343148"/>
              <a:gd name="connsiteX4" fmla="*/ 4063358 w 11020418"/>
              <a:gd name="connsiteY4" fmla="*/ 474014 h 2343148"/>
              <a:gd name="connsiteX5" fmla="*/ 10847763 w 11020418"/>
              <a:gd name="connsiteY5" fmla="*/ 474014 h 2343148"/>
              <a:gd name="connsiteX6" fmla="*/ 11020356 w 11020418"/>
              <a:gd name="connsiteY6" fmla="*/ 646617 h 2343148"/>
              <a:gd name="connsiteX7" fmla="*/ 11020356 w 11020418"/>
              <a:gd name="connsiteY7" fmla="*/ 2200000 h 2343148"/>
              <a:gd name="connsiteX8" fmla="*/ 10877291 w 11020418"/>
              <a:gd name="connsiteY8" fmla="*/ 2343028 h 2343148"/>
              <a:gd name="connsiteX9" fmla="*/ 142972 w 11020418"/>
              <a:gd name="connsiteY9" fmla="*/ 2343028 h 2343148"/>
              <a:gd name="connsiteX10" fmla="*/ -62 w 11020418"/>
              <a:gd name="connsiteY10" fmla="*/ 2200000 h 2343148"/>
              <a:gd name="connsiteX11" fmla="*/ -62 w 11020418"/>
              <a:gd name="connsiteY11" fmla="*/ 142906 h 2343148"/>
              <a:gd name="connsiteX12" fmla="*/ 142972 w 11020418"/>
              <a:gd name="connsiteY12" fmla="*/ -121 h 234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0418" h="2343148">
                <a:moveTo>
                  <a:pt x="142972" y="-121"/>
                </a:moveTo>
                <a:lnTo>
                  <a:pt x="3783085" y="-121"/>
                </a:lnTo>
                <a:cubicBezTo>
                  <a:pt x="3862095" y="-121"/>
                  <a:pt x="3926141" y="63925"/>
                  <a:pt x="3926141" y="142935"/>
                </a:cubicBezTo>
                <a:lnTo>
                  <a:pt x="3926141" y="336797"/>
                </a:lnTo>
                <a:cubicBezTo>
                  <a:pt x="3926141" y="412578"/>
                  <a:pt x="3987577" y="474014"/>
                  <a:pt x="4063358" y="474014"/>
                </a:cubicBezTo>
                <a:lnTo>
                  <a:pt x="10847763" y="474014"/>
                </a:lnTo>
                <a:cubicBezTo>
                  <a:pt x="10943109" y="474014"/>
                  <a:pt x="11020356" y="551291"/>
                  <a:pt x="11020356" y="646617"/>
                </a:cubicBezTo>
                <a:lnTo>
                  <a:pt x="11020356" y="2200000"/>
                </a:lnTo>
                <a:cubicBezTo>
                  <a:pt x="11020356" y="2278991"/>
                  <a:pt x="10956349" y="2343028"/>
                  <a:pt x="10877291" y="2343028"/>
                </a:cubicBezTo>
                <a:lnTo>
                  <a:pt x="142972" y="2343028"/>
                </a:lnTo>
                <a:cubicBezTo>
                  <a:pt x="63977" y="2343028"/>
                  <a:pt x="-62" y="2278991"/>
                  <a:pt x="-62" y="2200000"/>
                </a:cubicBezTo>
                <a:lnTo>
                  <a:pt x="-62" y="142906"/>
                </a:lnTo>
                <a:cubicBezTo>
                  <a:pt x="-62" y="63916"/>
                  <a:pt x="63977" y="-121"/>
                  <a:pt x="142972" y="-121"/>
                </a:cubicBezTo>
                <a:close/>
              </a:path>
            </a:pathLst>
          </a:cu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a:p>
        </p:txBody>
      </p:sp>
      <p:sp>
        <p:nvSpPr>
          <p:cNvPr id="9" name="TextBox 8">
            <a:extLst>
              <a:ext uri="{FF2B5EF4-FFF2-40B4-BE49-F238E27FC236}">
                <a16:creationId xmlns:a16="http://schemas.microsoft.com/office/drawing/2014/main" id="{1B0F00EE-2AB7-C552-D343-42582F748D2F}"/>
              </a:ext>
            </a:extLst>
          </p:cNvPr>
          <p:cNvSpPr txBox="1"/>
          <p:nvPr userDrawn="1"/>
        </p:nvSpPr>
        <p:spPr>
          <a:xfrm>
            <a:off x="4610131" y="1275672"/>
            <a:ext cx="7023100" cy="215444"/>
          </a:xfrm>
          <a:prstGeom prst="rect">
            <a:avLst/>
          </a:prstGeom>
          <a:noFill/>
        </p:spPr>
        <p:txBody>
          <a:bodyPr wrap="squar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accent3"/>
                </a:solidFill>
                <a:effectLst/>
                <a:uLnTx/>
                <a:uFillTx/>
                <a:latin typeface="+mj-lt"/>
                <a:ea typeface="+mn-ea"/>
                <a:cs typeface="Segoe UI"/>
              </a:rPr>
              <a:t>What’s in it for me?</a:t>
            </a:r>
          </a:p>
        </p:txBody>
      </p:sp>
      <p:cxnSp>
        <p:nvCxnSpPr>
          <p:cNvPr id="10" name="Straight Connector 9">
            <a:extLst>
              <a:ext uri="{FF2B5EF4-FFF2-40B4-BE49-F238E27FC236}">
                <a16:creationId xmlns:a16="http://schemas.microsoft.com/office/drawing/2014/main" id="{AD6AB35D-39C7-080B-1F6F-721FABDD6E99}"/>
              </a:ext>
            </a:extLst>
          </p:cNvPr>
          <p:cNvCxnSpPr>
            <a:cxnSpLocks/>
          </p:cNvCxnSpPr>
          <p:nvPr userDrawn="1"/>
        </p:nvCxnSpPr>
        <p:spPr>
          <a:xfrm>
            <a:off x="4515104" y="1286463"/>
            <a:ext cx="0" cy="193862"/>
          </a:xfrm>
          <a:prstGeom prst="line">
            <a:avLst/>
          </a:prstGeom>
          <a:ln w="28575" cap="rnd">
            <a:solidFill>
              <a:schemeClr val="accent6">
                <a:lumMod val="75000"/>
              </a:schemeClr>
            </a:solidFill>
            <a:headEnd type="none" w="lg" len="med"/>
            <a:tailEnd type="none" w="lg" len="med"/>
          </a:ln>
          <a:effectLst>
            <a:outerShdw blurRad="101600" dist="38100" dir="5400000" algn="t" rotWithShape="0">
              <a:schemeClr val="accent6">
                <a:alpha val="40000"/>
              </a:schemeClr>
            </a:outerShdw>
          </a:effectLst>
        </p:spPr>
        <p:style>
          <a:lnRef idx="1">
            <a:schemeClr val="accent1"/>
          </a:lnRef>
          <a:fillRef idx="0">
            <a:schemeClr val="accent1"/>
          </a:fillRef>
          <a:effectRef idx="0">
            <a:schemeClr val="accent1"/>
          </a:effectRef>
          <a:fontRef idx="minor">
            <a:schemeClr val="tx1"/>
          </a:fontRef>
        </p:style>
      </p:cxnSp>
      <p:sp>
        <p:nvSpPr>
          <p:cNvPr id="35" name="Content Placeholder 34">
            <a:extLst>
              <a:ext uri="{FF2B5EF4-FFF2-40B4-BE49-F238E27FC236}">
                <a16:creationId xmlns:a16="http://schemas.microsoft.com/office/drawing/2014/main" id="{56248178-3583-1EC8-4613-18A57D313A43}"/>
              </a:ext>
            </a:extLst>
          </p:cNvPr>
          <p:cNvSpPr>
            <a:spLocks noGrp="1"/>
          </p:cNvSpPr>
          <p:nvPr userDrawn="1">
            <p:ph sz="quarter" idx="10" hasCustomPrompt="1"/>
          </p:nvPr>
        </p:nvSpPr>
        <p:spPr>
          <a:xfrm>
            <a:off x="684047" y="1212850"/>
            <a:ext cx="3736031" cy="2150618"/>
          </a:xfrm>
          <a:prstGeom prst="roundRect">
            <a:avLst>
              <a:gd name="adj" fmla="val 3676"/>
            </a:avLst>
          </a:prstGeom>
          <a:solidFill>
            <a:srgbClr val="ECF5FA"/>
          </a:solidFill>
        </p:spPr>
        <p:txBody>
          <a:bodyPr lIns="91440" tIns="45720" rIns="91440" bIns="45720">
            <a:noAutofit/>
          </a:bodyPr>
          <a:lstStyle>
            <a:lvl1pPr marL="0" indent="0">
              <a:buNone/>
              <a:defRPr kumimoji="0" lang="en-US" sz="1050" b="0" i="0" u="none" strike="noStrike" kern="1200" cap="none" spc="0" normalizeH="0" baseline="0" dirty="0">
                <a:ln>
                  <a:noFill/>
                </a:ln>
                <a:solidFill>
                  <a:srgbClr val="000000"/>
                </a:solidFill>
                <a:effectLst/>
                <a:uLnTx/>
                <a:uFillTx/>
                <a:latin typeface="+mn-lt"/>
                <a:ea typeface="+mn-lt"/>
                <a:cs typeface="Segoe UI"/>
              </a:defRPr>
            </a:lvl1pPr>
          </a:lstStyle>
          <a:p>
            <a:pPr marL="228600" marR="0" lvl="0" indent="-228600" algn="l" defTabSz="932742" rtl="0" eaLnBrk="1" fontAlgn="auto" latinLnBrk="0" hangingPunct="1">
              <a:lnSpc>
                <a:spcPct val="100000"/>
              </a:lnSpc>
              <a:spcBef>
                <a:spcPts val="300"/>
              </a:spcBef>
              <a:spcAft>
                <a:spcPts val="0"/>
              </a:spcAft>
              <a:buClrTx/>
              <a:buSzPct val="90000"/>
              <a:tabLst/>
              <a:defRPr/>
            </a:pPr>
            <a:r>
              <a:rPr lang="en-US"/>
              <a:t>Add text here </a:t>
            </a:r>
          </a:p>
        </p:txBody>
      </p:sp>
      <p:sp>
        <p:nvSpPr>
          <p:cNvPr id="38" name="Content Placeholder 37">
            <a:extLst>
              <a:ext uri="{FF2B5EF4-FFF2-40B4-BE49-F238E27FC236}">
                <a16:creationId xmlns:a16="http://schemas.microsoft.com/office/drawing/2014/main" id="{6625A42E-76A2-A1AA-A777-CEFE44EDC5F0}"/>
              </a:ext>
            </a:extLst>
          </p:cNvPr>
          <p:cNvSpPr>
            <a:spLocks noGrp="1"/>
          </p:cNvSpPr>
          <p:nvPr userDrawn="1">
            <p:ph sz="quarter" idx="11" hasCustomPrompt="1"/>
          </p:nvPr>
        </p:nvSpPr>
        <p:spPr>
          <a:xfrm>
            <a:off x="4423246" y="1684589"/>
            <a:ext cx="7182968" cy="253916"/>
          </a:xfrm>
        </p:spPr>
        <p:txBody>
          <a:bodyPr lIns="91440" tIns="45720" rIns="91440" bIns="45720"/>
          <a:lstStyle>
            <a:lvl1pPr marL="228600" indent="-228600">
              <a:defRPr kumimoji="0" lang="en-US" sz="1050" b="0" i="0" u="none" strike="noStrike" kern="1200" cap="none" spc="0" normalizeH="0" baseline="0" dirty="0">
                <a:ln>
                  <a:noFill/>
                </a:ln>
                <a:solidFill>
                  <a:schemeClr val="tx1"/>
                </a:solidFill>
                <a:effectLst/>
                <a:uLnTx/>
                <a:uFillTx/>
                <a:latin typeface="+mn-lt"/>
                <a:ea typeface="+mn-lt"/>
                <a:cs typeface="Segoe UI"/>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
              <a:tabLst/>
              <a:defRPr/>
            </a:pPr>
            <a:r>
              <a:rPr lang="en-US"/>
              <a:t>Add text here </a:t>
            </a:r>
          </a:p>
        </p:txBody>
      </p:sp>
      <p:cxnSp>
        <p:nvCxnSpPr>
          <p:cNvPr id="13" name="Straight Connector 12">
            <a:extLst>
              <a:ext uri="{FF2B5EF4-FFF2-40B4-BE49-F238E27FC236}">
                <a16:creationId xmlns:a16="http://schemas.microsoft.com/office/drawing/2014/main" id="{6CC812DD-56F5-0F9D-DE7D-174B78E8C2F8}"/>
              </a:ext>
            </a:extLst>
          </p:cNvPr>
          <p:cNvCxnSpPr>
            <a:cxnSpLocks/>
          </p:cNvCxnSpPr>
          <p:nvPr userDrawn="1"/>
        </p:nvCxnSpPr>
        <p:spPr>
          <a:xfrm flipH="1">
            <a:off x="0" y="4021065"/>
            <a:ext cx="12192000" cy="0"/>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EB68119-2753-D092-ACFC-A8FE6CDE3EE8}"/>
              </a:ext>
            </a:extLst>
          </p:cNvPr>
          <p:cNvCxnSpPr>
            <a:cxnSpLocks/>
          </p:cNvCxnSpPr>
          <p:nvPr userDrawn="1"/>
        </p:nvCxnSpPr>
        <p:spPr>
          <a:xfrm>
            <a:off x="588963" y="3930275"/>
            <a:ext cx="0" cy="2927725"/>
          </a:xfrm>
          <a:prstGeom prst="line">
            <a:avLst/>
          </a:prstGeom>
          <a:ln w="3175">
            <a:gradFill flip="none" rotWithShape="1">
              <a:gsLst>
                <a:gs pos="14000">
                  <a:schemeClr val="bg1"/>
                </a:gs>
                <a:gs pos="100000">
                  <a:schemeClr val="accent6"/>
                </a:gs>
              </a:gsLst>
              <a:lin ang="162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4F4FA0A1-B991-59B9-794A-BB25573315CE}"/>
              </a:ext>
            </a:extLst>
          </p:cNvPr>
          <p:cNvSpPr/>
          <p:nvPr userDrawn="1"/>
        </p:nvSpPr>
        <p:spPr bwMode="auto">
          <a:xfrm>
            <a:off x="1074057" y="4076244"/>
            <a:ext cx="10532155" cy="2526305"/>
          </a:xfrm>
          <a:prstGeom prst="roundRect">
            <a:avLst>
              <a:gd name="adj" fmla="val 4635"/>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endParaRPr lang="en-US" err="1">
              <a:solidFill>
                <a:schemeClr val="tx1"/>
              </a:solidFill>
            </a:endParaRPr>
          </a:p>
        </p:txBody>
      </p:sp>
      <p:sp>
        <p:nvSpPr>
          <p:cNvPr id="40" name="Content Placeholder 39">
            <a:extLst>
              <a:ext uri="{FF2B5EF4-FFF2-40B4-BE49-F238E27FC236}">
                <a16:creationId xmlns:a16="http://schemas.microsoft.com/office/drawing/2014/main" id="{78FF6A5B-AFAD-57EE-D9FC-F240F9DD10DA}"/>
              </a:ext>
            </a:extLst>
          </p:cNvPr>
          <p:cNvSpPr>
            <a:spLocks noGrp="1"/>
          </p:cNvSpPr>
          <p:nvPr userDrawn="1">
            <p:ph sz="quarter" idx="12" hasCustomPrompt="1"/>
          </p:nvPr>
        </p:nvSpPr>
        <p:spPr>
          <a:xfrm rot="16200000">
            <a:off x="300852" y="4608906"/>
            <a:ext cx="1055551" cy="350864"/>
          </a:xfrm>
        </p:spPr>
        <p:txBody>
          <a:bodyPr anchor="ctr"/>
          <a:lstStyle>
            <a:lvl1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1pPr>
            <a:lvl2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2pPr>
            <a:lvl3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3pPr>
            <a:lvl4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4pPr>
            <a:lvl5pPr marL="0" indent="0" algn="ctr" defTabSz="932742" rtl="0" eaLnBrk="1" latinLnBrk="0" hangingPunct="1">
              <a:spcBef>
                <a:spcPct val="20000"/>
              </a:spcBef>
              <a:buSzPct val="90000"/>
              <a:buNone/>
              <a:defRPr lang="en-US" sz="1200" b="1" kern="1200" dirty="0">
                <a:solidFill>
                  <a:schemeClr val="tx1"/>
                </a:solidFill>
                <a:latin typeface="+mj-lt"/>
                <a:ea typeface="+mn-ea"/>
                <a:cs typeface="Segoe UI"/>
              </a:defRPr>
            </a:lvl5pPr>
          </a:lstStyle>
          <a:p>
            <a:pPr lvl="0"/>
            <a:r>
              <a:rPr lang="en-US"/>
              <a:t>Add text</a:t>
            </a:r>
          </a:p>
        </p:txBody>
      </p:sp>
      <p:sp>
        <p:nvSpPr>
          <p:cNvPr id="44" name="Content Placeholder 43">
            <a:extLst>
              <a:ext uri="{FF2B5EF4-FFF2-40B4-BE49-F238E27FC236}">
                <a16:creationId xmlns:a16="http://schemas.microsoft.com/office/drawing/2014/main" id="{71F37FD5-64DF-FDC6-D90E-C6A4C4864DCD}"/>
              </a:ext>
            </a:extLst>
          </p:cNvPr>
          <p:cNvSpPr>
            <a:spLocks noGrp="1"/>
          </p:cNvSpPr>
          <p:nvPr userDrawn="1">
            <p:ph sz="quarter" idx="14" hasCustomPrompt="1"/>
          </p:nvPr>
        </p:nvSpPr>
        <p:spPr>
          <a:xfrm>
            <a:off x="1124654" y="4180738"/>
            <a:ext cx="4676706" cy="1138773"/>
          </a:xfrm>
        </p:spPr>
        <p:txBody>
          <a:bodyPr lIns="91440" tIns="45720" rIns="91440" bIns="45720"/>
          <a:lstStyle>
            <a:lvl1pPr marL="228600" indent="-228600">
              <a:defRPr kumimoji="0" lang="en-US" sz="1050" b="0" u="none" strike="noStrike" kern="0" cap="none" spc="0" normalizeH="0" baseline="0" dirty="0">
                <a:ln>
                  <a:noFill/>
                </a:ln>
                <a:solidFill>
                  <a:srgbClr val="000000"/>
                </a:solidFill>
                <a:effectLst/>
                <a:uLnTx/>
                <a:uFillTx/>
                <a:latin typeface="+mn-lt"/>
                <a:ea typeface="+mn-ea"/>
                <a:cs typeface="Segoe UI" panose="020B0502040204020203" pitchFamily="34" charset="0"/>
              </a:defRPr>
            </a:lvl1pPr>
            <a:lvl2pPr marL="228600" indent="-228600">
              <a:defRPr/>
            </a:lvl2pPr>
            <a:lvl3pPr marL="228600" indent="-228600">
              <a:defRPr/>
            </a:lvl3pPr>
            <a:lvl4pPr marL="228600" indent="-228600">
              <a:defRPr/>
            </a:lvl4pPr>
            <a:lvl5pPr marL="228600" indent="-228600">
              <a:defRPr/>
            </a:lvl5pPr>
          </a:lstStyle>
          <a:p>
            <a:pPr marL="139700" marR="0" lvl="0" indent="-1397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a:t>Add text here</a:t>
            </a:r>
          </a:p>
        </p:txBody>
      </p:sp>
      <p:sp>
        <p:nvSpPr>
          <p:cNvPr id="46" name="Content Placeholder 43">
            <a:extLst>
              <a:ext uri="{FF2B5EF4-FFF2-40B4-BE49-F238E27FC236}">
                <a16:creationId xmlns:a16="http://schemas.microsoft.com/office/drawing/2014/main" id="{C656C0C9-741A-0FAB-AA03-C775221E0B64}"/>
              </a:ext>
            </a:extLst>
          </p:cNvPr>
          <p:cNvSpPr>
            <a:spLocks noGrp="1"/>
          </p:cNvSpPr>
          <p:nvPr userDrawn="1">
            <p:ph sz="quarter" idx="16" hasCustomPrompt="1"/>
          </p:nvPr>
        </p:nvSpPr>
        <p:spPr>
          <a:xfrm>
            <a:off x="6421120" y="4180738"/>
            <a:ext cx="5059680" cy="1138773"/>
          </a:xfrm>
        </p:spPr>
        <p:txBody>
          <a:bodyPr lIns="91440" tIns="45720" rIns="91440" bIns="45720"/>
          <a:lstStyle>
            <a:lvl1pPr marL="228600" indent="-228600">
              <a:defRPr kumimoji="0" lang="en-US" sz="1050" b="0" u="none" strike="noStrike" kern="0" cap="none" spc="0" normalizeH="0" baseline="0" dirty="0">
                <a:ln>
                  <a:noFill/>
                </a:ln>
                <a:solidFill>
                  <a:srgbClr val="000000"/>
                </a:solidFill>
                <a:effectLst/>
                <a:uLnTx/>
                <a:uFillTx/>
                <a:latin typeface="+mn-lt"/>
                <a:ea typeface="+mn-ea"/>
                <a:cs typeface="Segoe UI" panose="020B0502040204020203" pitchFamily="34" charset="0"/>
              </a:defRPr>
            </a:lvl1pPr>
            <a:lvl2pPr marL="228600" indent="-228600">
              <a:defRPr/>
            </a:lvl2pPr>
            <a:lvl3pPr marL="228600" indent="-228600">
              <a:defRPr/>
            </a:lvl3pPr>
            <a:lvl4pPr marL="228600" indent="-228600">
              <a:defRPr/>
            </a:lvl4pPr>
            <a:lvl5pPr marL="228600" indent="-228600">
              <a:defRPr/>
            </a:lvl5pPr>
          </a:lstStyle>
          <a:p>
            <a:pPr marL="139700" marR="0" lvl="0" indent="-1397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a:t>Add text here</a:t>
            </a:r>
          </a:p>
        </p:txBody>
      </p:sp>
      <p:sp>
        <p:nvSpPr>
          <p:cNvPr id="41" name="Content Placeholder 39">
            <a:extLst>
              <a:ext uri="{FF2B5EF4-FFF2-40B4-BE49-F238E27FC236}">
                <a16:creationId xmlns:a16="http://schemas.microsoft.com/office/drawing/2014/main" id="{6849DF6D-2A20-C890-E937-D65857F85ABB}"/>
              </a:ext>
            </a:extLst>
          </p:cNvPr>
          <p:cNvSpPr>
            <a:spLocks noGrp="1"/>
          </p:cNvSpPr>
          <p:nvPr userDrawn="1">
            <p:ph sz="quarter" idx="13" hasCustomPrompt="1"/>
          </p:nvPr>
        </p:nvSpPr>
        <p:spPr>
          <a:xfrm rot="16200000">
            <a:off x="319317" y="5830245"/>
            <a:ext cx="1055551" cy="350864"/>
          </a:xfrm>
        </p:spPr>
        <p:txBody>
          <a:bodyPr anchor="ctr"/>
          <a:lstStyle>
            <a:lvl1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1pPr>
            <a:lvl2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2pPr>
            <a:lvl3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3pPr>
            <a:lvl4pPr marL="0" indent="0" algn="ctr" defTabSz="932742" rtl="0" eaLnBrk="1" latinLnBrk="0" hangingPunct="1">
              <a:spcBef>
                <a:spcPct val="20000"/>
              </a:spcBef>
              <a:buSzPct val="90000"/>
              <a:buNone/>
              <a:defRPr lang="en-US" sz="1200" b="1" kern="1200" dirty="0" smtClean="0">
                <a:solidFill>
                  <a:schemeClr val="tx1"/>
                </a:solidFill>
                <a:latin typeface="+mj-lt"/>
                <a:ea typeface="+mn-ea"/>
                <a:cs typeface="Segoe UI"/>
              </a:defRPr>
            </a:lvl4pPr>
            <a:lvl5pPr marL="0" indent="0" algn="ctr" defTabSz="932742" rtl="0" eaLnBrk="1" latinLnBrk="0" hangingPunct="1">
              <a:spcBef>
                <a:spcPct val="20000"/>
              </a:spcBef>
              <a:buSzPct val="90000"/>
              <a:buNone/>
              <a:defRPr lang="en-US" sz="1200" b="1" kern="1200" dirty="0">
                <a:solidFill>
                  <a:schemeClr val="tx1"/>
                </a:solidFill>
                <a:latin typeface="+mj-lt"/>
                <a:ea typeface="+mn-ea"/>
                <a:cs typeface="Segoe UI"/>
              </a:defRPr>
            </a:lvl5pPr>
          </a:lstStyle>
          <a:p>
            <a:pPr lvl="0"/>
            <a:r>
              <a:rPr lang="en-US"/>
              <a:t>Add text</a:t>
            </a:r>
          </a:p>
        </p:txBody>
      </p:sp>
      <p:sp>
        <p:nvSpPr>
          <p:cNvPr id="45" name="Content Placeholder 43">
            <a:extLst>
              <a:ext uri="{FF2B5EF4-FFF2-40B4-BE49-F238E27FC236}">
                <a16:creationId xmlns:a16="http://schemas.microsoft.com/office/drawing/2014/main" id="{1958D3C1-707F-3FA1-6F83-B12698CB26AD}"/>
              </a:ext>
            </a:extLst>
          </p:cNvPr>
          <p:cNvSpPr>
            <a:spLocks noGrp="1"/>
          </p:cNvSpPr>
          <p:nvPr userDrawn="1">
            <p:ph sz="quarter" idx="15" hasCustomPrompt="1"/>
          </p:nvPr>
        </p:nvSpPr>
        <p:spPr>
          <a:xfrm>
            <a:off x="1124654" y="5455527"/>
            <a:ext cx="4676706" cy="1138773"/>
          </a:xfrm>
        </p:spPr>
        <p:txBody>
          <a:bodyPr lIns="91440" tIns="45720" rIns="91440" bIns="45720"/>
          <a:lstStyle>
            <a:lvl1pPr marL="228600" indent="-228600">
              <a:defRPr kumimoji="0" lang="en-US" sz="1050" b="0" u="none" strike="noStrike" kern="0" cap="none" spc="0" normalizeH="0" baseline="0" dirty="0">
                <a:ln>
                  <a:noFill/>
                </a:ln>
                <a:solidFill>
                  <a:srgbClr val="000000"/>
                </a:solidFill>
                <a:effectLst/>
                <a:uLnTx/>
                <a:uFillTx/>
                <a:latin typeface="+mn-lt"/>
                <a:ea typeface="+mn-ea"/>
                <a:cs typeface="Segoe UI" panose="020B0502040204020203" pitchFamily="34" charset="0"/>
              </a:defRPr>
            </a:lvl1pPr>
            <a:lvl2pPr marL="228600" indent="-228600">
              <a:defRPr/>
            </a:lvl2pPr>
            <a:lvl3pPr marL="228600" indent="-228600">
              <a:defRPr/>
            </a:lvl3pPr>
            <a:lvl4pPr marL="228600" indent="-228600">
              <a:defRPr/>
            </a:lvl4pPr>
            <a:lvl5pPr marL="228600" indent="-228600">
              <a:defRPr/>
            </a:lvl5pPr>
          </a:lstStyle>
          <a:p>
            <a:pPr marL="139700" marR="0" lvl="0" indent="-1397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a:t>Add text here</a:t>
            </a:r>
          </a:p>
        </p:txBody>
      </p:sp>
      <p:sp>
        <p:nvSpPr>
          <p:cNvPr id="47" name="Content Placeholder 43">
            <a:extLst>
              <a:ext uri="{FF2B5EF4-FFF2-40B4-BE49-F238E27FC236}">
                <a16:creationId xmlns:a16="http://schemas.microsoft.com/office/drawing/2014/main" id="{CDFB262F-6928-B982-10B1-8CD0EE81476D}"/>
              </a:ext>
            </a:extLst>
          </p:cNvPr>
          <p:cNvSpPr>
            <a:spLocks noGrp="1"/>
          </p:cNvSpPr>
          <p:nvPr userDrawn="1">
            <p:ph sz="quarter" idx="17" hasCustomPrompt="1"/>
          </p:nvPr>
        </p:nvSpPr>
        <p:spPr>
          <a:xfrm>
            <a:off x="6421120" y="5455527"/>
            <a:ext cx="5059680" cy="1138773"/>
          </a:xfrm>
        </p:spPr>
        <p:txBody>
          <a:bodyPr lIns="91440" tIns="45720" rIns="91440" bIns="45720"/>
          <a:lstStyle>
            <a:lvl1pPr marL="228600" indent="-228600">
              <a:defRPr kumimoji="0" lang="en-US" sz="1050" b="0" u="none" strike="noStrike" kern="0" cap="none" spc="0" normalizeH="0" baseline="0" dirty="0">
                <a:ln>
                  <a:noFill/>
                </a:ln>
                <a:solidFill>
                  <a:srgbClr val="000000"/>
                </a:solidFill>
                <a:effectLst/>
                <a:uLnTx/>
                <a:uFillTx/>
                <a:latin typeface="+mn-lt"/>
                <a:ea typeface="+mn-ea"/>
                <a:cs typeface="Segoe UI" panose="020B0502040204020203" pitchFamily="34" charset="0"/>
              </a:defRPr>
            </a:lvl1pPr>
            <a:lvl2pPr marL="228600" indent="-228600">
              <a:defRPr/>
            </a:lvl2pPr>
            <a:lvl3pPr marL="228600" indent="-228600">
              <a:defRPr/>
            </a:lvl3pPr>
            <a:lvl4pPr marL="228600" indent="-228600">
              <a:defRPr/>
            </a:lvl4pPr>
            <a:lvl5pPr marL="228600" indent="-228600">
              <a:defRPr/>
            </a:lvl5pPr>
          </a:lstStyle>
          <a:p>
            <a:pPr marL="139700" marR="0" lvl="0" indent="-1397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a:t>Add text here</a:t>
            </a:r>
          </a:p>
        </p:txBody>
      </p:sp>
      <p:sp>
        <p:nvSpPr>
          <p:cNvPr id="22" name="TextBox 21">
            <a:extLst>
              <a:ext uri="{FF2B5EF4-FFF2-40B4-BE49-F238E27FC236}">
                <a16:creationId xmlns:a16="http://schemas.microsoft.com/office/drawing/2014/main" id="{2AF0A9B0-69E1-7C02-709B-9A02DD45DB0B}"/>
              </a:ext>
            </a:extLst>
          </p:cNvPr>
          <p:cNvSpPr txBox="1">
            <a:spLocks/>
          </p:cNvSpPr>
          <p:nvPr userDrawn="1">
            <p:custDataLst>
              <p:tags r:id="rId1"/>
            </p:custDataLst>
          </p:nvPr>
        </p:nvSpPr>
        <p:spPr>
          <a:xfrm rot="16200000" flipV="1">
            <a:off x="4767119" y="5058236"/>
            <a:ext cx="2657759" cy="430865"/>
          </a:xfrm>
          <a:prstGeom prst="round2SameRect">
            <a:avLst>
              <a:gd name="adj1" fmla="val 0"/>
              <a:gd name="adj2" fmla="val 0"/>
            </a:avLst>
          </a:prstGeom>
          <a:solidFill>
            <a:schemeClr val="bg1">
              <a:lumMod val="95000"/>
            </a:schemeClr>
          </a:solidFill>
          <a:ln w="9525">
            <a:noFill/>
            <a:miter lim="800000"/>
            <a:headEnd/>
            <a:tailEnd/>
          </a:ln>
          <a:effectLst/>
        </p:spPr>
        <p:style>
          <a:lnRef idx="0">
            <a:scrgbClr r="0" g="0" b="0"/>
          </a:lnRef>
          <a:fillRef idx="0">
            <a:scrgbClr r="0" g="0" b="0"/>
          </a:fillRef>
          <a:effectRef idx="0">
            <a:scrgbClr r="0" g="0" b="0"/>
          </a:effectRef>
          <a:fontRef idx="major"/>
        </p:style>
        <p:txBody>
          <a:bodyPr vert="horz" wrap="square" lIns="76189" tIns="76189" rIns="76189" bIns="76189" numCol="1" anchor="ctr" anchorCtr="0" compatLnSpc="1">
            <a:prstTxWarp prst="textNoShape">
              <a:avLst/>
            </a:prstTxWarp>
            <a:spAutoFit/>
          </a:bodyPr>
          <a:lstStyle>
            <a:lvl1pPr marL="0" lvl="0" indent="0" defTabSz="1087313" eaLnBrk="1" hangingPunct="1">
              <a:buClr>
                <a:schemeClr val="tx2"/>
              </a:buClr>
              <a:defRPr sz="1800" baseline="0">
                <a:latin typeface="+mn-lt"/>
                <a:ea typeface="Arial Unicode MS" pitchFamily="34" charset="-128"/>
                <a:cs typeface="Arial Unicode MS" pitchFamily="34" charset="-128"/>
              </a:defRPr>
            </a:lvl1pPr>
            <a:lvl2pPr marL="235199" lvl="1" indent="-233272" defTabSz="1087313" eaLnBrk="1" hangingPunct="1">
              <a:buClr>
                <a:schemeClr val="tx2"/>
              </a:buClr>
              <a:buSzPct val="125000"/>
              <a:buFont typeface="Arial" charset="0"/>
              <a:buChar char="▪"/>
              <a:defRPr sz="1800" baseline="0">
                <a:latin typeface="+mn-lt"/>
                <a:ea typeface="Arial Unicode MS" pitchFamily="34" charset="-128"/>
                <a:cs typeface="Arial Unicode MS" pitchFamily="34" charset="-128"/>
              </a:defRPr>
            </a:lvl2pPr>
            <a:lvl3pPr marL="555224" lvl="2" indent="-318098" defTabSz="1087313" eaLnBrk="1" hangingPunct="1">
              <a:buClr>
                <a:schemeClr val="tx2"/>
              </a:buClr>
              <a:buSzPct val="120000"/>
              <a:buFont typeface="Arial" charset="0"/>
              <a:buChar char="–"/>
              <a:defRPr sz="1800" baseline="0">
                <a:latin typeface="+mn-lt"/>
                <a:ea typeface="Arial Unicode MS" pitchFamily="34" charset="-128"/>
                <a:cs typeface="Arial Unicode MS" pitchFamily="34" charset="-128"/>
              </a:defRPr>
            </a:lvl3pPr>
            <a:lvl4pPr marL="746082" lvl="3" indent="-188930" defTabSz="1087313" eaLnBrk="1" hangingPunct="1">
              <a:buClr>
                <a:schemeClr val="tx2"/>
              </a:buClr>
              <a:buSzPct val="120000"/>
              <a:buFont typeface="Arial" charset="0"/>
              <a:buChar char="▫"/>
              <a:defRPr sz="1800" baseline="0">
                <a:latin typeface="+mn-lt"/>
                <a:ea typeface="Arial Unicode MS" pitchFamily="34" charset="-128"/>
                <a:cs typeface="Arial Unicode MS" pitchFamily="34" charset="-128"/>
              </a:defRPr>
            </a:lvl4pPr>
            <a:lvl5pPr marL="910567" lvl="4" indent="-158085" defTabSz="1087313" eaLnBrk="1" hangingPunct="1">
              <a:buClr>
                <a:schemeClr val="tx2"/>
              </a:buClr>
              <a:buSzPct val="89000"/>
              <a:buFont typeface="Arial" charset="0"/>
              <a:buChar char="-"/>
              <a:defRPr sz="1800" baseline="0">
                <a:latin typeface="+mn-lt"/>
                <a:ea typeface="Arial Unicode MS" pitchFamily="34" charset="-128"/>
                <a:cs typeface="Arial Unicode MS" pitchFamily="34" charset="-128"/>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1087313" rtl="0" eaLnBrk="1" fontAlgn="auto" latinLnBrk="0" hangingPunct="1">
              <a:lnSpc>
                <a:spcPct val="100000"/>
              </a:lnSpc>
              <a:spcBef>
                <a:spcPts val="0"/>
              </a:spcBef>
              <a:spcAft>
                <a:spcPts val="0"/>
              </a:spcAft>
              <a:buClr>
                <a:srgbClr val="0072C6"/>
              </a:buClr>
              <a:buSzTx/>
              <a:buFontTx/>
              <a:buNone/>
              <a:tabLst/>
              <a:defRPr/>
            </a:pPr>
            <a:r>
              <a:rPr kumimoji="0" lang="en-US" b="1" i="0" u="none" strike="noStrike" kern="0" cap="none" spc="0" normalizeH="0" baseline="0" noProof="0">
                <a:ln>
                  <a:noFill/>
                </a:ln>
                <a:solidFill>
                  <a:schemeClr val="accent3"/>
                </a:solidFill>
                <a:effectLst/>
                <a:uLnTx/>
                <a:uFillTx/>
                <a:latin typeface="+mj-lt"/>
                <a:ea typeface="Segoe UI Symbol"/>
                <a:cs typeface="Arial Unicode MS"/>
              </a:rPr>
              <a:t>FY26 focus</a:t>
            </a:r>
            <a:endParaRPr kumimoji="0" lang="en-US" b="1" i="0" u="none" strike="noStrike" kern="0" cap="none" spc="0" normalizeH="0" baseline="0" noProof="0">
              <a:ln>
                <a:noFill/>
              </a:ln>
              <a:solidFill>
                <a:schemeClr val="accent3"/>
              </a:solidFill>
              <a:effectLst/>
              <a:uLnTx/>
              <a:uFillTx/>
              <a:latin typeface="+mj-lt"/>
              <a:ea typeface="Segoe UI Symbol" panose="020B0502040204020203" pitchFamily="34" charset="0"/>
              <a:cs typeface="Arial Unicode MS" pitchFamily="34" charset="-128"/>
            </a:endParaRPr>
          </a:p>
        </p:txBody>
      </p:sp>
      <p:sp>
        <p:nvSpPr>
          <p:cNvPr id="23" name="Freeform: Shape 22">
            <a:extLst>
              <a:ext uri="{FF2B5EF4-FFF2-40B4-BE49-F238E27FC236}">
                <a16:creationId xmlns:a16="http://schemas.microsoft.com/office/drawing/2014/main" id="{12701C9F-6690-C87A-F02B-905B681F0F41}"/>
              </a:ext>
            </a:extLst>
          </p:cNvPr>
          <p:cNvSpPr/>
          <p:nvPr userDrawn="1"/>
        </p:nvSpPr>
        <p:spPr bwMode="auto">
          <a:xfrm>
            <a:off x="1" y="3541501"/>
            <a:ext cx="11606213" cy="408324"/>
          </a:xfrm>
          <a:custGeom>
            <a:avLst/>
            <a:gdLst>
              <a:gd name="connsiteX0" fmla="*/ 0 w 11606213"/>
              <a:gd name="connsiteY0" fmla="*/ 0 h 408324"/>
              <a:gd name="connsiteX1" fmla="*/ 11402051 w 11606213"/>
              <a:gd name="connsiteY1" fmla="*/ 0 h 408324"/>
              <a:gd name="connsiteX2" fmla="*/ 11606213 w 11606213"/>
              <a:gd name="connsiteY2" fmla="*/ 204162 h 408324"/>
              <a:gd name="connsiteX3" fmla="*/ 11606212 w 11606213"/>
              <a:gd name="connsiteY3" fmla="*/ 204162 h 408324"/>
              <a:gd name="connsiteX4" fmla="*/ 11402050 w 11606213"/>
              <a:gd name="connsiteY4" fmla="*/ 408324 h 408324"/>
              <a:gd name="connsiteX5" fmla="*/ 0 w 11606213"/>
              <a:gd name="connsiteY5" fmla="*/ 408323 h 40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213" h="408324">
                <a:moveTo>
                  <a:pt x="0" y="0"/>
                </a:moveTo>
                <a:lnTo>
                  <a:pt x="11402051" y="0"/>
                </a:lnTo>
                <a:cubicBezTo>
                  <a:pt x="11514807" y="0"/>
                  <a:pt x="11606213" y="91406"/>
                  <a:pt x="11606213" y="204162"/>
                </a:cubicBezTo>
                <a:lnTo>
                  <a:pt x="11606212" y="204162"/>
                </a:lnTo>
                <a:cubicBezTo>
                  <a:pt x="11606212" y="316918"/>
                  <a:pt x="11514806" y="408324"/>
                  <a:pt x="11402050" y="408324"/>
                </a:cubicBezTo>
                <a:lnTo>
                  <a:pt x="0" y="40832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err="1">
              <a:solidFill>
                <a:schemeClr val="bg1"/>
              </a:solidFill>
              <a:latin typeface="+mj-lt"/>
              <a:cs typeface="Segoe Sans Text Light" pitchFamily="2" charset="0"/>
            </a:endParaRPr>
          </a:p>
        </p:txBody>
      </p:sp>
      <p:sp>
        <p:nvSpPr>
          <p:cNvPr id="24" name="TextBox 23">
            <a:extLst>
              <a:ext uri="{FF2B5EF4-FFF2-40B4-BE49-F238E27FC236}">
                <a16:creationId xmlns:a16="http://schemas.microsoft.com/office/drawing/2014/main" id="{6BA76C7E-0477-7148-9EBB-6DDDF31DAFC8}"/>
              </a:ext>
            </a:extLst>
          </p:cNvPr>
          <p:cNvSpPr txBox="1"/>
          <p:nvPr userDrawn="1"/>
        </p:nvSpPr>
        <p:spPr>
          <a:xfrm>
            <a:off x="2714437" y="3637940"/>
            <a:ext cx="679004" cy="215444"/>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bg1"/>
                </a:solidFill>
                <a:effectLst/>
                <a:uLnTx/>
                <a:uFillTx/>
                <a:latin typeface="+mj-lt"/>
                <a:ea typeface="+mn-ea"/>
                <a:cs typeface="Segoe UI"/>
              </a:rPr>
              <a:t>From</a:t>
            </a:r>
          </a:p>
        </p:txBody>
      </p:sp>
      <p:sp>
        <p:nvSpPr>
          <p:cNvPr id="25" name="TextBox 24">
            <a:extLst>
              <a:ext uri="{FF2B5EF4-FFF2-40B4-BE49-F238E27FC236}">
                <a16:creationId xmlns:a16="http://schemas.microsoft.com/office/drawing/2014/main" id="{B55856CE-6798-AC47-656E-1D41F099E4E9}"/>
              </a:ext>
            </a:extLst>
          </p:cNvPr>
          <p:cNvSpPr txBox="1"/>
          <p:nvPr userDrawn="1"/>
        </p:nvSpPr>
        <p:spPr>
          <a:xfrm>
            <a:off x="8348544" y="3637940"/>
            <a:ext cx="643056" cy="215444"/>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bg1"/>
                </a:solidFill>
                <a:effectLst/>
                <a:uLnTx/>
                <a:uFillTx/>
                <a:latin typeface="+mj-lt"/>
                <a:ea typeface="+mn-ea"/>
                <a:cs typeface="Segoe UI"/>
              </a:rPr>
              <a:t>To</a:t>
            </a:r>
          </a:p>
        </p:txBody>
      </p:sp>
      <p:pic>
        <p:nvPicPr>
          <p:cNvPr id="26" name="Graphic 25">
            <a:extLst>
              <a:ext uri="{FF2B5EF4-FFF2-40B4-BE49-F238E27FC236}">
                <a16:creationId xmlns:a16="http://schemas.microsoft.com/office/drawing/2014/main" id="{785514B4-F4BF-3FE7-0DA4-FE45B1409B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96874" y="3546537"/>
            <a:ext cx="398252" cy="398252"/>
          </a:xfrm>
          <a:prstGeom prst="rect">
            <a:avLst/>
          </a:prstGeom>
        </p:spPr>
      </p:pic>
      <p:cxnSp>
        <p:nvCxnSpPr>
          <p:cNvPr id="27" name="Straight Connector 26">
            <a:extLst>
              <a:ext uri="{FF2B5EF4-FFF2-40B4-BE49-F238E27FC236}">
                <a16:creationId xmlns:a16="http://schemas.microsoft.com/office/drawing/2014/main" id="{14658842-8EF6-76C2-42F5-9D72EF894133}"/>
              </a:ext>
            </a:extLst>
          </p:cNvPr>
          <p:cNvCxnSpPr>
            <a:cxnSpLocks/>
          </p:cNvCxnSpPr>
          <p:nvPr userDrawn="1"/>
        </p:nvCxnSpPr>
        <p:spPr>
          <a:xfrm flipH="1">
            <a:off x="711079" y="5387519"/>
            <a:ext cx="292981" cy="0"/>
          </a:xfrm>
          <a:prstGeom prst="line">
            <a:avLst/>
          </a:prstGeom>
          <a:ln w="15875"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EDC6F6-4F79-1C0C-C15F-D4F7F988945A}"/>
              </a:ext>
            </a:extLst>
          </p:cNvPr>
          <p:cNvCxnSpPr>
            <a:cxnSpLocks/>
          </p:cNvCxnSpPr>
          <p:nvPr userDrawn="1"/>
        </p:nvCxnSpPr>
        <p:spPr>
          <a:xfrm flipH="1">
            <a:off x="1191297" y="5387519"/>
            <a:ext cx="4610063"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423EB5-6ED0-DCF4-B8C7-81B0DB67A375}"/>
              </a:ext>
            </a:extLst>
          </p:cNvPr>
          <p:cNvCxnSpPr>
            <a:cxnSpLocks/>
          </p:cNvCxnSpPr>
          <p:nvPr userDrawn="1"/>
        </p:nvCxnSpPr>
        <p:spPr>
          <a:xfrm flipH="1">
            <a:off x="6505575" y="5387519"/>
            <a:ext cx="4894859"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162625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image" Target="../media/image25.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6.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17"/>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Subtitle 2">
            <a:extLst>
              <a:ext uri="{FF2B5EF4-FFF2-40B4-BE49-F238E27FC236}">
                <a16:creationId xmlns:a16="http://schemas.microsoft.com/office/drawing/2014/main" id="{CC7322C1-CB1F-E35D-794E-9393F594656E}"/>
              </a:ext>
            </a:extLst>
          </p:cNvPr>
          <p:cNvSpPr txBox="1">
            <a:spLocks/>
          </p:cNvSpPr>
          <p:nvPr userDrawn="1"/>
        </p:nvSpPr>
        <p:spPr bwMode="auto">
          <a:xfrm>
            <a:off x="1264069" y="6647542"/>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solidFill>
                <a:effectLst/>
                <a:uLnTx/>
                <a:uFillTx/>
                <a:latin typeface="+mn-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45477755"/>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930" r:id="rId8"/>
    <p:sldLayoutId id="2147483820" r:id="rId9"/>
    <p:sldLayoutId id="2147483821" r:id="rId10"/>
    <p:sldLayoutId id="2147483822" r:id="rId11"/>
    <p:sldLayoutId id="2147483899" r:id="rId12"/>
    <p:sldLayoutId id="2147483823" r:id="rId13"/>
    <p:sldLayoutId id="2147483900" r:id="rId14"/>
    <p:sldLayoutId id="2147483929" r:id="rId15"/>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mn-lt"/>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pitchFamily="2" charset="0"/>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pitchFamily="2" charset="0"/>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rot="5400000">
            <a:off x="9509919" y="2743200"/>
            <a:ext cx="6858000" cy="1371600"/>
          </a:xfrm>
          <a:prstGeom prst="rect">
            <a:avLst/>
          </a:prstGeom>
        </p:spPr>
      </p:pic>
      <p:sp>
        <p:nvSpPr>
          <p:cNvPr id="6" name="TextBox 5">
            <a:extLst>
              <a:ext uri="{FF2B5EF4-FFF2-40B4-BE49-F238E27FC236}">
                <a16:creationId xmlns:a16="http://schemas.microsoft.com/office/drawing/2014/main" id="{F04E4DF6-1CDF-83D2-366C-BAF273EF9984}"/>
              </a:ext>
            </a:extLst>
          </p:cNvPr>
          <p:cNvSpPr txBox="1"/>
          <p:nvPr userDrawn="1">
            <p:extLst>
              <p:ext uri="{1162E1C5-73C7-4A58-AE30-91384D911F3F}">
                <p184:classification xmlns:p184="http://schemas.microsoft.com/office/powerpoint/2018/4/main" val="ftr"/>
              </p:ext>
            </p:extLst>
          </p:nvPr>
        </p:nvSpPr>
        <p:spPr>
          <a:xfrm>
            <a:off x="9791700" y="6642100"/>
            <a:ext cx="1828800" cy="123111"/>
          </a:xfrm>
          <a:prstGeom prst="rect">
            <a:avLst/>
          </a:prstGeom>
        </p:spPr>
        <p:txBody>
          <a:bodyPr horzOverflow="overflow"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alpha val="50000"/>
                  </a:schemeClr>
                </a:solidFill>
                <a:effectLst/>
                <a:uLnTx/>
                <a:uFillTx/>
                <a:latin typeface="+mn-lt"/>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92549015"/>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901"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2884A8F2-1481-48F2-8122-BBBD872A78A6}"/>
              </a:ext>
            </a:extLst>
          </p:cNvPr>
          <p:cNvSpPr>
            <a:spLocks noGrp="1"/>
          </p:cNvSpPr>
          <p:nvPr>
            <p:ph type="ftr" sz="quarter" idx="3"/>
          </p:nvPr>
        </p:nvSpPr>
        <p:spPr>
          <a:xfrm>
            <a:off x="4038600" y="6564313"/>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6" name="Slide Number Placeholder 5">
            <a:extLst>
              <a:ext uri="{FF2B5EF4-FFF2-40B4-BE49-F238E27FC236}">
                <a16:creationId xmlns:a16="http://schemas.microsoft.com/office/drawing/2014/main" id="{844621BE-D92D-475F-835D-AAA605167F51}"/>
              </a:ext>
            </a:extLst>
          </p:cNvPr>
          <p:cNvSpPr>
            <a:spLocks noGrp="1"/>
          </p:cNvSpPr>
          <p:nvPr>
            <p:ph type="sldNum" sz="quarter" idx="4"/>
          </p:nvPr>
        </p:nvSpPr>
        <p:spPr>
          <a:xfrm>
            <a:off x="11733275" y="6564314"/>
            <a:ext cx="332233" cy="123110"/>
          </a:xfrm>
          <a:prstGeom prst="rect">
            <a:avLst/>
          </a:prstGeom>
        </p:spPr>
        <p:txBody>
          <a:bodyPr vert="horz" wrap="square" lIns="0" tIns="0" rIns="0" bIns="0" rtlCol="0" anchor="ctr">
            <a:spAutoFit/>
          </a:bodyPr>
          <a:lstStyle>
            <a:lvl1pPr algn="ctr">
              <a:defRPr sz="800">
                <a:solidFill>
                  <a:schemeClr val="tx1"/>
                </a:solidFill>
              </a:defRPr>
            </a:lvl1pPr>
          </a:lstStyle>
          <a:p>
            <a:fld id="{416D17C3-7140-4F20-8D47-B36B7FB3A655}" type="slidenum">
              <a:rPr lang="en-US" smtClean="0"/>
              <a:pPr/>
              <a:t>‹#›</a:t>
            </a:fld>
            <a:endParaRPr lang="en-US"/>
          </a:p>
        </p:txBody>
      </p:sp>
    </p:spTree>
    <p:extLst>
      <p:ext uri="{BB962C8B-B14F-4D97-AF65-F5344CB8AC3E}">
        <p14:creationId xmlns:p14="http://schemas.microsoft.com/office/powerpoint/2010/main" val="415391771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18.xml"/><Relationship Id="rId7" Type="http://schemas.openxmlformats.org/officeDocument/2006/relationships/slide" Target="slide52.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slide" Target="slide45.xml"/><Relationship Id="rId5" Type="http://schemas.openxmlformats.org/officeDocument/2006/relationships/slide" Target="slide36.xml"/><Relationship Id="rId4" Type="http://schemas.openxmlformats.org/officeDocument/2006/relationships/slide" Target="slide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UnifiedSolutionsGuide" TargetMode="External"/><Relationship Id="rId2" Type="http://schemas.openxmlformats.org/officeDocument/2006/relationships/notesSlide" Target="../notesSlides/notesSlide11.xml"/><Relationship Id="rId1" Type="http://schemas.openxmlformats.org/officeDocument/2006/relationships/slideLayout" Target="../slideLayouts/slideLayout31.xml"/><Relationship Id="rId4" Type="http://schemas.openxmlformats.org/officeDocument/2006/relationships/hyperlink" Target="https://aka.ms/csudocs/AzureCloudAI"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msit.powerbi.com/groups/me/reports/eee666f7-539c-49a8-b63d-475edaa483ce/6d537e7b7f2db6a8f878?experience=power-bi" TargetMode="External"/><Relationship Id="rId3" Type="http://schemas.openxmlformats.org/officeDocument/2006/relationships/hyperlink" Target="https://aka.ms/AzureCloseRate" TargetMode="External"/><Relationship Id="rId7" Type="http://schemas.openxmlformats.org/officeDocument/2006/relationships/hyperlink" Target="https://aka.ms/CXPulseOSATwithMicrosoft" TargetMode="External"/><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hyperlink" Target="https://aka.ms/CES-DeliveryInsights" TargetMode="External"/><Relationship Id="rId5" Type="http://schemas.openxmlformats.org/officeDocument/2006/relationships/hyperlink" Target="https://msxinsights.microsoft.com/User/report/bec4ba27-50b7-4ee9-b12f-fb4a4b04e391?reportTab=ReportSection44a6b27807651e0c218e&amp;pb=dacb927d-ba73-41b7-9e2f-60b932bd17e7" TargetMode="External"/><Relationship Id="rId10" Type="http://schemas.openxmlformats.org/officeDocument/2006/relationships/hyperlink" Target="https://aka.ms/unifiedreports" TargetMode="External"/><Relationship Id="rId4" Type="http://schemas.openxmlformats.org/officeDocument/2006/relationships/hyperlink" Target="https://aka.ms/azurepipegen" TargetMode="External"/><Relationship Id="rId9" Type="http://schemas.openxmlformats.org/officeDocument/2006/relationships/hyperlink" Target="https://msit.powerbi.com/groups/b73484fc-98f3-4df6-999c-bc317a840052/reports/5603ad66-57e6-4dd6-97fa-efea161b8e30/bce764228a33e3a7887d?experience=power-bi"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hyperlink" Target="https://aka.ms/mcemazurepipeline" TargetMode="External"/><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hyperlink" Target="https://aka.ms/FY26GitHubCopilotPlaybook" TargetMode="External"/><Relationship Id="rId2" Type="http://schemas.openxmlformats.org/officeDocument/2006/relationships/notesSlide" Target="../notesSlides/notesSlide17.xml"/><Relationship Id="rId1" Type="http://schemas.openxmlformats.org/officeDocument/2006/relationships/slideLayout" Target="../slideLayouts/slideLayout31.xml"/><Relationship Id="rId4" Type="http://schemas.openxmlformats.org/officeDocument/2006/relationships/hyperlink" Target="https://aka.ms/octodash"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18.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5.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2.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19.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19.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6.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2.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xml"/><Relationship Id="rId1" Type="http://schemas.openxmlformats.org/officeDocument/2006/relationships/tags" Target="../tags/tag7.xml"/><Relationship Id="rId5" Type="http://schemas.openxmlformats.org/officeDocument/2006/relationships/image" Target="../media/image57.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hyperlink" Target="https://aka.ms/rain" TargetMode="External"/><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credentials/certifications/azure-solutions-architect/" TargetMode="External"/><Relationship Id="rId2" Type="http://schemas.openxmlformats.org/officeDocument/2006/relationships/notesSlide" Target="../notesSlides/notesSlide22.xml"/><Relationship Id="rId1" Type="http://schemas.openxmlformats.org/officeDocument/2006/relationships/slideLayout" Target="../slideLayouts/slideLayout31.xml"/><Relationship Id="rId5" Type="http://schemas.openxmlformats.org/officeDocument/2006/relationships/hyperlink" Target="https://training.linuxfoundation.org/certification/linux-foundation-certified-sysadmin-lfcs/" TargetMode="External"/><Relationship Id="rId4" Type="http://schemas.openxmlformats.org/officeDocument/2006/relationships/hyperlink" Target="https://learn.microsoft.com/en-us/credentials/certifications/azure-network-engineer-associate/"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8" Type="http://schemas.openxmlformats.org/officeDocument/2006/relationships/hyperlink" Target="https://aka.ms/ISDServicesAssistance" TargetMode="External"/><Relationship Id="rId3" Type="http://schemas.openxmlformats.org/officeDocument/2006/relationships/hyperlink" Target="https://aka.ms/caiJob2" TargetMode="External"/><Relationship Id="rId7" Type="http://schemas.openxmlformats.org/officeDocument/2006/relationships/hyperlink" Target="https://aka.ms/FY26CAIPCosellPlaybook" TargetMode="External"/><Relationship Id="rId2" Type="http://schemas.openxmlformats.org/officeDocument/2006/relationships/notesSlide" Target="../notesSlides/notesSlide25.xml"/><Relationship Id="rId1" Type="http://schemas.openxmlformats.org/officeDocument/2006/relationships/slideLayout" Target="../slideLayouts/slideLayout31.xml"/><Relationship Id="rId6" Type="http://schemas.openxmlformats.org/officeDocument/2006/relationships/hyperlink" Target="https://aka.ms/csuinvested" TargetMode="External"/><Relationship Id="rId11" Type="http://schemas.openxmlformats.org/officeDocument/2006/relationships/hyperlink" Target="https://aka.ms/CAIPCSUSkillsAgent" TargetMode="External"/><Relationship Id="rId5" Type="http://schemas.openxmlformats.org/officeDocument/2006/relationships/hyperlink" Target="https://aka.ms/csudocs/AzureCloudAI" TargetMode="External"/><Relationship Id="rId10" Type="http://schemas.openxmlformats.org/officeDocument/2006/relationships/hyperlink" Target="https://aka.ms/caipcsuskills" TargetMode="External"/><Relationship Id="rId4" Type="http://schemas.openxmlformats.org/officeDocument/2006/relationships/hyperlink" Target="https://aka.ms/UnifiedSolutionsGuide" TargetMode="External"/><Relationship Id="rId9" Type="http://schemas.openxmlformats.org/officeDocument/2006/relationships/hyperlink" Target="https://aka.ms/OfferCatalog"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microsoft.sharepoint.com/:p:/r/sites/ExecutionExcellence/Shared%20Documents/Pipeline-Azure/FY26_AzureJob2.pptx?d=w0e5be8d7da2d44188af24f740130decc&amp;csf=1&amp;web=1&amp;e=dgDx3l" TargetMode="External"/><Relationship Id="rId7" Type="http://schemas.openxmlformats.org/officeDocument/2006/relationships/hyperlink" Target="https://eng.ms/docs/microsoft-customer-partner-solutions-mcaps/customer-experience-and-support/asd-management/security/resource-center/vbd/security/threat-protection/intro" TargetMode="External"/><Relationship Id="rId2" Type="http://schemas.openxmlformats.org/officeDocument/2006/relationships/hyperlink" Target="https://aka.ms/csumigrationfactory" TargetMode="External"/><Relationship Id="rId1" Type="http://schemas.openxmlformats.org/officeDocument/2006/relationships/slideLayout" Target="../slideLayouts/slideLayout31.xml"/><Relationship Id="rId6" Type="http://schemas.openxmlformats.org/officeDocument/2006/relationships/hyperlink" Target="https://eng.ms/docs/microsoft-customer-partner-solutions-mcaps/customer-experience-and-support/asd-management/security/resource-center/vbd/security/threat-protection/microsoft-defender-for-endpoint/onboarding-accelerator-mde" TargetMode="External"/><Relationship Id="rId5" Type="http://schemas.openxmlformats.org/officeDocument/2006/relationships/hyperlink" Target="http://aka.ms/vbd/monitoringVBD" TargetMode="External"/><Relationship Id="rId4" Type="http://schemas.openxmlformats.org/officeDocument/2006/relationships/slide" Target="slide21.xml"/></Relationships>
</file>

<file path=ppt/slides/_rels/slide27.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26.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8.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2.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28.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27.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9.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2.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1.xml"/><Relationship Id="rId1" Type="http://schemas.openxmlformats.org/officeDocument/2006/relationships/tags" Target="../tags/tag10.xml"/><Relationship Id="rId5" Type="http://schemas.openxmlformats.org/officeDocument/2006/relationships/image" Target="../media/image57.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hyperlink" Target="https://aka.ms/CAIPCh4"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aka.ms/rain" TargetMode="External"/><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credentials/certifications/azure-solutions-architect/" TargetMode="External"/><Relationship Id="rId2" Type="http://schemas.openxmlformats.org/officeDocument/2006/relationships/notesSlide" Target="../notesSlides/notesSlide30.xml"/><Relationship Id="rId1" Type="http://schemas.openxmlformats.org/officeDocument/2006/relationships/slideLayout" Target="../slideLayouts/slideLayout31.xml"/><Relationship Id="rId5" Type="http://schemas.openxmlformats.org/officeDocument/2006/relationships/hyperlink" Target="https://training.linuxfoundation.org/certification/linux-foundation-certified-sysadmin-lfcs/" TargetMode="External"/><Relationship Id="rId4" Type="http://schemas.openxmlformats.org/officeDocument/2006/relationships/hyperlink" Target="https://learn.microsoft.com/en-us/credentials/certifications/azure-network-engineer-associate/"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8" Type="http://schemas.openxmlformats.org/officeDocument/2006/relationships/hyperlink" Target="https://aka.ms/ISDServicesAssistance" TargetMode="External"/><Relationship Id="rId3" Type="http://schemas.openxmlformats.org/officeDocument/2006/relationships/hyperlink" Target="https://aka.ms/UnifiedSolutionsGuide" TargetMode="External"/><Relationship Id="rId7" Type="http://schemas.openxmlformats.org/officeDocument/2006/relationships/hyperlink" Target="https://aka.ms/FY26CAIPCosellPlaybook" TargetMode="External"/><Relationship Id="rId2" Type="http://schemas.openxmlformats.org/officeDocument/2006/relationships/notesSlide" Target="../notesSlides/notesSlide33.xml"/><Relationship Id="rId1" Type="http://schemas.openxmlformats.org/officeDocument/2006/relationships/slideLayout" Target="../slideLayouts/slideLayout31.xml"/><Relationship Id="rId6" Type="http://schemas.openxmlformats.org/officeDocument/2006/relationships/hyperlink" Target="https://aka.ms/csuinvested" TargetMode="External"/><Relationship Id="rId11" Type="http://schemas.openxmlformats.org/officeDocument/2006/relationships/hyperlink" Target="https://aka.ms/CAIPCSUSkillsAgent" TargetMode="External"/><Relationship Id="rId5" Type="http://schemas.openxmlformats.org/officeDocument/2006/relationships/hyperlink" Target="https://aka.ms/caiJob2" TargetMode="External"/><Relationship Id="rId10" Type="http://schemas.openxmlformats.org/officeDocument/2006/relationships/hyperlink" Target="https://aka.ms/caipcsuskills" TargetMode="External"/><Relationship Id="rId4" Type="http://schemas.openxmlformats.org/officeDocument/2006/relationships/hyperlink" Target="https://aka.ms/vbd/AIapps" TargetMode="External"/><Relationship Id="rId9" Type="http://schemas.openxmlformats.org/officeDocument/2006/relationships/hyperlink" Target="https://aka.ms/OfferCatalog" TargetMode="External"/></Relationships>
</file>

<file path=ppt/slides/_rels/slide35.xml.rels><?xml version="1.0" encoding="UTF-8" standalone="yes"?>
<Relationships xmlns="http://schemas.openxmlformats.org/package/2006/relationships"><Relationship Id="rId2" Type="http://schemas.openxmlformats.org/officeDocument/2006/relationships/hyperlink" Target="https://microsoft.sharepoint.com/:p:/r/sites/ExecutionExcellence/Shared%20Documents/Pipeline-Azure/FY26_AzureJob2.pptx?d=w0e5be8d7da2d44188af24f740130decc&amp;csf=1&amp;web=1&amp;e=dgDx3l" TargetMode="Externa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8" Type="http://schemas.openxmlformats.org/officeDocument/2006/relationships/hyperlink" Target="https://aka.ms/cloudaicsu" TargetMode="External"/><Relationship Id="rId13" Type="http://schemas.openxmlformats.org/officeDocument/2006/relationships/hyperlink" Target="http://aka.ms/msx" TargetMode="External"/><Relationship Id="rId3" Type="http://schemas.openxmlformats.org/officeDocument/2006/relationships/notesSlide" Target="../notesSlides/notesSlide34.xml"/><Relationship Id="rId7" Type="http://schemas.openxmlformats.org/officeDocument/2006/relationships/image" Target="../media/image56.svg"/><Relationship Id="rId12" Type="http://schemas.openxmlformats.org/officeDocument/2006/relationships/hyperlink" Target="https://aka.ms/ceslaborinsights" TargetMode="External"/><Relationship Id="rId2" Type="http://schemas.openxmlformats.org/officeDocument/2006/relationships/slideLayout" Target="../slideLayouts/slideLayout31.xml"/><Relationship Id="rId1" Type="http://schemas.openxmlformats.org/officeDocument/2006/relationships/tags" Target="../tags/tag11.xml"/><Relationship Id="rId6" Type="http://schemas.openxmlformats.org/officeDocument/2006/relationships/image" Target="../media/image55.png"/><Relationship Id="rId11" Type="http://schemas.openxmlformats.org/officeDocument/2006/relationships/hyperlink" Target="https://aka.ms/deliveryinsights" TargetMode="External"/><Relationship Id="rId5" Type="http://schemas.openxmlformats.org/officeDocument/2006/relationships/image" Target="../media/image54.svg"/><Relationship Id="rId15" Type="http://schemas.openxmlformats.org/officeDocument/2006/relationships/image" Target="../media/image52.svg"/><Relationship Id="rId10" Type="http://schemas.openxmlformats.org/officeDocument/2006/relationships/hyperlink" Target="https://aka.ms/caipcsuskills" TargetMode="External"/><Relationship Id="rId4" Type="http://schemas.openxmlformats.org/officeDocument/2006/relationships/image" Target="../media/image53.png"/><Relationship Id="rId9" Type="http://schemas.openxmlformats.org/officeDocument/2006/relationships/hyperlink" Target="https://msit.powerbi.com/groups/me/reports/eee666f7-539c-49a8-b63d-475edaa483ce/6d537e7b7f2db6a8f878?experience=power-bi" TargetMode="External"/><Relationship Id="rId14"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hyperlink" Target="https://aka.ms/cloudaicsu" TargetMode="External"/><Relationship Id="rId13" Type="http://schemas.openxmlformats.org/officeDocument/2006/relationships/hyperlink" Target="http://aka.ms/msx" TargetMode="External"/><Relationship Id="rId3" Type="http://schemas.openxmlformats.org/officeDocument/2006/relationships/notesSlide" Target="../notesSlides/notesSlide35.xml"/><Relationship Id="rId7" Type="http://schemas.openxmlformats.org/officeDocument/2006/relationships/image" Target="../media/image56.svg"/><Relationship Id="rId12" Type="http://schemas.openxmlformats.org/officeDocument/2006/relationships/hyperlink" Target="https://aka.ms/ceslaborinsights" TargetMode="External"/><Relationship Id="rId2" Type="http://schemas.openxmlformats.org/officeDocument/2006/relationships/slideLayout" Target="../slideLayouts/slideLayout31.xml"/><Relationship Id="rId1" Type="http://schemas.openxmlformats.org/officeDocument/2006/relationships/tags" Target="../tags/tag12.xml"/><Relationship Id="rId6" Type="http://schemas.openxmlformats.org/officeDocument/2006/relationships/image" Target="../media/image55.png"/><Relationship Id="rId11" Type="http://schemas.openxmlformats.org/officeDocument/2006/relationships/hyperlink" Target="https://aka.ms/deliveryinsights" TargetMode="External"/><Relationship Id="rId5" Type="http://schemas.openxmlformats.org/officeDocument/2006/relationships/image" Target="../media/image54.svg"/><Relationship Id="rId15" Type="http://schemas.openxmlformats.org/officeDocument/2006/relationships/image" Target="../media/image52.svg"/><Relationship Id="rId10" Type="http://schemas.openxmlformats.org/officeDocument/2006/relationships/hyperlink" Target="https://aka.ms/caipcsuskills" TargetMode="External"/><Relationship Id="rId4" Type="http://schemas.openxmlformats.org/officeDocument/2006/relationships/image" Target="../media/image53.png"/><Relationship Id="rId9" Type="http://schemas.openxmlformats.org/officeDocument/2006/relationships/hyperlink" Target="https://msit.powerbi.com/groups/me/reports/eee666f7-539c-49a8-b63d-475edaa483ce/6d537e7b7f2db6a8f878?experience=power-bi" TargetMode="External"/><Relationship Id="rId1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1.xml"/><Relationship Id="rId1" Type="http://schemas.openxmlformats.org/officeDocument/2006/relationships/tags" Target="../tags/tag13.xml"/><Relationship Id="rId5" Type="http://schemas.openxmlformats.org/officeDocument/2006/relationships/image" Target="../media/image57.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hyperlink" Target="https://aka.ms/rain" TargetMode="External"/><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hyperlink" Target="https://aka.ms/fy26solutionplays"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3" Type="http://schemas.openxmlformats.org/officeDocument/2006/relationships/hyperlink" Target="https://learn.microsoft.com/en-us/credentials/certifications/azure-solutions-architect/" TargetMode="External"/><Relationship Id="rId2" Type="http://schemas.openxmlformats.org/officeDocument/2006/relationships/notesSlide" Target="../notesSlides/notesSlide38.xml"/><Relationship Id="rId1" Type="http://schemas.openxmlformats.org/officeDocument/2006/relationships/slideLayout" Target="../slideLayouts/slideLayout31.xml"/><Relationship Id="rId5" Type="http://schemas.openxmlformats.org/officeDocument/2006/relationships/hyperlink" Target="https://training.linuxfoundation.org/certification/linux-foundation-certified-sysadmin-lfcs/" TargetMode="External"/><Relationship Id="rId4" Type="http://schemas.openxmlformats.org/officeDocument/2006/relationships/hyperlink" Target="https://learn.microsoft.com/en-us/credentials/certifications/azure-network-engineer-associate/"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8" Type="http://schemas.openxmlformats.org/officeDocument/2006/relationships/hyperlink" Target="https://microsoft.sharepoint.com/:p:/t/GCS-DataAICSU/EcpST1fVtv1IgDZmHZSzKNABw6QAYw8wrC4lDnFj05BjXQ?e=950Q0g" TargetMode="External"/><Relationship Id="rId13" Type="http://schemas.openxmlformats.org/officeDocument/2006/relationships/hyperlink" Target="https://aka.ms/OfferCatalog" TargetMode="External"/><Relationship Id="rId3" Type="http://schemas.openxmlformats.org/officeDocument/2006/relationships/hyperlink" Target="https://learn.microsoft.com/en-us/fabric/security/white-paper-landing-page#download-the-fabric-security-white-paper" TargetMode="External"/><Relationship Id="rId7" Type="http://schemas.openxmlformats.org/officeDocument/2006/relationships/hyperlink" Target="https://aka.ms/csudocs/AzureCloudAI" TargetMode="External"/><Relationship Id="rId12" Type="http://schemas.openxmlformats.org/officeDocument/2006/relationships/hyperlink" Target="https://aka.ms/ISDServicesAssistance" TargetMode="External"/><Relationship Id="rId2" Type="http://schemas.openxmlformats.org/officeDocument/2006/relationships/notesSlide" Target="../notesSlides/notesSlide41.xml"/><Relationship Id="rId1" Type="http://schemas.openxmlformats.org/officeDocument/2006/relationships/slideLayout" Target="../slideLayouts/slideLayout31.xml"/><Relationship Id="rId6" Type="http://schemas.openxmlformats.org/officeDocument/2006/relationships/hyperlink" Target="https://aka.ms/UnifiedSolutionsGuide" TargetMode="External"/><Relationship Id="rId11" Type="http://schemas.openxmlformats.org/officeDocument/2006/relationships/hyperlink" Target="https://aka.ms/FY26CAIPCosellPlaybook" TargetMode="External"/><Relationship Id="rId5" Type="http://schemas.openxmlformats.org/officeDocument/2006/relationships/hyperlink" Target="https://microsoft.seismic.com/Link/Content/DCG6VpG2WqRVg8QQ8pcpFGfpPfgG" TargetMode="External"/><Relationship Id="rId15" Type="http://schemas.openxmlformats.org/officeDocument/2006/relationships/hyperlink" Target="https://aka.ms/CAIPCSUSkillsAgent" TargetMode="External"/><Relationship Id="rId10" Type="http://schemas.openxmlformats.org/officeDocument/2006/relationships/hyperlink" Target="https://aka.ms/csuinvested" TargetMode="External"/><Relationship Id="rId4" Type="http://schemas.openxmlformats.org/officeDocument/2006/relationships/hyperlink" Target="https://microsoft.sharepoint.com/sites/FabricCATPortal/SitePages/Fabric-Security.aspx" TargetMode="External"/><Relationship Id="rId9" Type="http://schemas.openxmlformats.org/officeDocument/2006/relationships/hyperlink" Target="https://aka.ms/caiJob2" TargetMode="External"/><Relationship Id="rId14" Type="http://schemas.openxmlformats.org/officeDocument/2006/relationships/hyperlink" Target="https://aka.ms/caipcsuskills" TargetMode="External"/></Relationships>
</file>

<file path=ppt/slides/_rels/slide44.xml.rels><?xml version="1.0" encoding="UTF-8" standalone="yes"?>
<Relationships xmlns="http://schemas.openxmlformats.org/package/2006/relationships"><Relationship Id="rId2" Type="http://schemas.openxmlformats.org/officeDocument/2006/relationships/hyperlink" Target="https://microsoft.sharepoint.com/:p:/r/sites/ExecutionExcellence/Shared%20Documents/Pipeline-Azure/FY26_AzureJob2.pptx?d=w0e5be8d7da2d44188af24f740130decc&amp;csf=1&amp;web=1&amp;e=dgDx3l" TargetMode="Externa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42.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14.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2.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1.xml"/><Relationship Id="rId1" Type="http://schemas.openxmlformats.org/officeDocument/2006/relationships/tags" Target="../tags/tag15.xml"/><Relationship Id="rId5" Type="http://schemas.openxmlformats.org/officeDocument/2006/relationships/image" Target="../media/image57.emf"/><Relationship Id="rId4" Type="http://schemas.openxmlformats.org/officeDocument/2006/relationships/oleObject" Target="../embeddings/oleObject2.bin"/></Relationships>
</file>

<file path=ppt/slides/_rels/slide47.xml.rels><?xml version="1.0" encoding="UTF-8" standalone="yes"?>
<Relationships xmlns="http://schemas.openxmlformats.org/package/2006/relationships"><Relationship Id="rId3" Type="http://schemas.openxmlformats.org/officeDocument/2006/relationships/hyperlink" Target="https://aka.ms/rain" TargetMode="External"/><Relationship Id="rId2" Type="http://schemas.openxmlformats.org/officeDocument/2006/relationships/notesSlide" Target="../notesSlides/notesSlide44.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credentials/certifications/azure-solutions-architect/" TargetMode="External"/><Relationship Id="rId2" Type="http://schemas.openxmlformats.org/officeDocument/2006/relationships/notesSlide" Target="../notesSlides/notesSlide45.xml"/><Relationship Id="rId1" Type="http://schemas.openxmlformats.org/officeDocument/2006/relationships/slideLayout" Target="../slideLayouts/slideLayout31.xml"/><Relationship Id="rId5" Type="http://schemas.openxmlformats.org/officeDocument/2006/relationships/hyperlink" Target="https://training.linuxfoundation.org/certification/linux-foundation-certified-sysadmin-lfcs/" TargetMode="External"/><Relationship Id="rId4" Type="http://schemas.openxmlformats.org/officeDocument/2006/relationships/hyperlink" Target="https://learn.microsoft.com/en-us/credentials/certifications/azure-network-engineer-associate/"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hyperlink" Target="https://microsoftapc-my.sharepoint.com/:p:/g/personal/lopaglia_microsoft_com/EasSeutiQyRMu6_Dk8Lt1OcBy8aqfN7W-YH6KNaiXyFuxg?e=CtZW6y&amp;nav=eyJzSWQiOjI4NSwiY0lkIjozMzcyMDQwMDk0fQ" TargetMode="External"/><Relationship Id="rId2" Type="http://schemas.openxmlformats.org/officeDocument/2006/relationships/hyperlink" Target="https://aka.ms/FactoryNom" TargetMode="External"/><Relationship Id="rId1" Type="http://schemas.openxmlformats.org/officeDocument/2006/relationships/slideLayout" Target="../slideLayouts/slideLayout8.xml"/><Relationship Id="rId5" Type="http://schemas.openxmlformats.org/officeDocument/2006/relationships/hyperlink" Target="http://aka.ms/caijob2" TargetMode="External"/><Relationship Id="rId4" Type="http://schemas.openxmlformats.org/officeDocument/2006/relationships/hyperlink" Target="https://azure.microsoft.com/en-us/pricing/calculator/"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aka.ms/caipcsuskills" TargetMode="External"/><Relationship Id="rId13" Type="http://schemas.openxmlformats.org/officeDocument/2006/relationships/image" Target="../media/image54.svg"/><Relationship Id="rId3" Type="http://schemas.openxmlformats.org/officeDocument/2006/relationships/notesSlide" Target="../notesSlides/notesSlide47.xml"/><Relationship Id="rId7" Type="http://schemas.openxmlformats.org/officeDocument/2006/relationships/hyperlink" Target="https://msit.powerbi.com/groups/me/reports/eee666f7-539c-49a8-b63d-475edaa483ce/6d537e7b7f2db6a8f878?experience=power-bi" TargetMode="External"/><Relationship Id="rId12" Type="http://schemas.openxmlformats.org/officeDocument/2006/relationships/image" Target="../media/image53.png"/><Relationship Id="rId2" Type="http://schemas.openxmlformats.org/officeDocument/2006/relationships/slideLayout" Target="../slideLayouts/slideLayout31.xml"/><Relationship Id="rId1" Type="http://schemas.openxmlformats.org/officeDocument/2006/relationships/tags" Target="../tags/tag16.xml"/><Relationship Id="rId6" Type="http://schemas.openxmlformats.org/officeDocument/2006/relationships/hyperlink" Target="https://aka.ms/cloudaicsu" TargetMode="External"/><Relationship Id="rId11" Type="http://schemas.openxmlformats.org/officeDocument/2006/relationships/hyperlink" Target="http://aka.ms/msx" TargetMode="External"/><Relationship Id="rId5" Type="http://schemas.openxmlformats.org/officeDocument/2006/relationships/image" Target="../media/image58.svg"/><Relationship Id="rId15" Type="http://schemas.openxmlformats.org/officeDocument/2006/relationships/image" Target="../media/image56.svg"/><Relationship Id="rId10" Type="http://schemas.openxmlformats.org/officeDocument/2006/relationships/hyperlink" Target="https://aka.ms/ceslaborinsights" TargetMode="External"/><Relationship Id="rId4" Type="http://schemas.openxmlformats.org/officeDocument/2006/relationships/image" Target="../media/image51.png"/><Relationship Id="rId9" Type="http://schemas.openxmlformats.org/officeDocument/2006/relationships/hyperlink" Target="https://aka.ms/deliveryinsights" TargetMode="External"/><Relationship Id="rId14" Type="http://schemas.openxmlformats.org/officeDocument/2006/relationships/image" Target="../media/image55.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3" Type="http://schemas.openxmlformats.org/officeDocument/2006/relationships/hyperlink" Target="https://learn.microsoft.com/en-us/credentials/certifications/azure-solutions-architect/" TargetMode="External"/><Relationship Id="rId2" Type="http://schemas.openxmlformats.org/officeDocument/2006/relationships/notesSlide" Target="../notesSlides/notesSlide48.xml"/><Relationship Id="rId1" Type="http://schemas.openxmlformats.org/officeDocument/2006/relationships/slideLayout" Target="../slideLayouts/slideLayout31.xml"/><Relationship Id="rId5" Type="http://schemas.openxmlformats.org/officeDocument/2006/relationships/hyperlink" Target="https://training.linuxfoundation.org/certification/linux-foundation-certified-sysadmin-lfcs/" TargetMode="External"/><Relationship Id="rId4" Type="http://schemas.openxmlformats.org/officeDocument/2006/relationships/hyperlink" Target="https://learn.microsoft.com/en-us/credentials/certifications/azure-network-engineer-associate/"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hyperlink" Target="https://aka.ms/caipcsuskills" TargetMode="External"/><Relationship Id="rId2" Type="http://schemas.openxmlformats.org/officeDocument/2006/relationships/slideLayout" Target="../slideLayouts/slideLayout13.xml"/><Relationship Id="rId1" Type="http://schemas.openxmlformats.org/officeDocument/2006/relationships/tags" Target="../tags/tag17.xml"/></Relationships>
</file>

<file path=ppt/slides/_rels/slide57.xml.rels><?xml version="1.0" encoding="UTF-8" standalone="yes"?>
<Relationships xmlns="http://schemas.openxmlformats.org/package/2006/relationships"><Relationship Id="rId3" Type="http://schemas.openxmlformats.org/officeDocument/2006/relationships/hyperlink" Target="https://aka.ms/AzureCloseRate" TargetMode="External"/><Relationship Id="rId2" Type="http://schemas.openxmlformats.org/officeDocument/2006/relationships/slideLayout" Target="../slideLayouts/slideLayout13.xml"/><Relationship Id="rId1" Type="http://schemas.openxmlformats.org/officeDocument/2006/relationships/tags" Target="../tags/tag18.xml"/><Relationship Id="rId6" Type="http://schemas.openxmlformats.org/officeDocument/2006/relationships/slide" Target="slide60.xml"/><Relationship Id="rId5" Type="http://schemas.openxmlformats.org/officeDocument/2006/relationships/hyperlink" Target="https://aka.ms/CES-DeliveryInsights" TargetMode="External"/><Relationship Id="rId4" Type="http://schemas.openxmlformats.org/officeDocument/2006/relationships/hyperlink" Target="https://aka.ms/azurepipegen" TargetMode="External"/></Relationships>
</file>

<file path=ppt/slides/_rels/slide5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slideLayout" Target="../slideLayouts/slideLayout13.xml"/><Relationship Id="rId1" Type="http://schemas.openxmlformats.org/officeDocument/2006/relationships/tags" Target="../tags/tag19.xml"/></Relationships>
</file>

<file path=ppt/slides/_rels/slide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31.xml"/><Relationship Id="rId6" Type="http://schemas.openxmlformats.org/officeDocument/2006/relationships/hyperlink" Target="https://aka.ms/caipcsuskills" TargetMode="External"/><Relationship Id="rId5" Type="http://schemas.openxmlformats.org/officeDocument/2006/relationships/hyperlink" Target="https://aka.ms/VivaLearningWeb" TargetMode="External"/><Relationship Id="rId4" Type="http://schemas.openxmlformats.org/officeDocument/2006/relationships/hyperlink" Target="https://engage360.microsoft.com/skills?xcv=10db4cad-8d26-7808-a91b-424bb0f1125f&amp;ts=1717543409065"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60.xml.rels><?xml version="1.0" encoding="UTF-8" standalone="yes"?>
<Relationships xmlns="http://schemas.openxmlformats.org/package/2006/relationships"><Relationship Id="rId3" Type="http://schemas.openxmlformats.org/officeDocument/2006/relationships/hyperlink" Target="https://aka.ms/cloudaicsu" TargetMode="External"/><Relationship Id="rId2" Type="http://schemas.openxmlformats.org/officeDocument/2006/relationships/notesSlide" Target="../notesSlides/notesSlide51.xml"/><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4.svg"/></Relationships>
</file>

<file path=ppt/slides/_rels/slide62.xml.rels><?xml version="1.0" encoding="UTF-8" standalone="yes"?>
<Relationships xmlns="http://schemas.openxmlformats.org/package/2006/relationships"><Relationship Id="rId13" Type="http://schemas.openxmlformats.org/officeDocument/2006/relationships/hyperlink" Target="https://aka.ms/CSUCCE" TargetMode="External"/><Relationship Id="rId18" Type="http://schemas.openxmlformats.org/officeDocument/2006/relationships/hyperlink" Target="https://www.linkedin.com/learning/" TargetMode="External"/><Relationship Id="rId26" Type="http://schemas.openxmlformats.org/officeDocument/2006/relationships/hyperlink" Target="https://csahub.microsoft.com/" TargetMode="External"/><Relationship Id="rId3" Type="http://schemas.openxmlformats.org/officeDocument/2006/relationships/notesSlide" Target="../notesSlides/notesSlide53.xml"/><Relationship Id="rId21" Type="http://schemas.openxmlformats.org/officeDocument/2006/relationships/hyperlink" Target="http://aka.ms/rain" TargetMode="External"/><Relationship Id="rId34" Type="http://schemas.openxmlformats.org/officeDocument/2006/relationships/hyperlink" Target="mailto:%20asklearning@microsoft.com" TargetMode="External"/><Relationship Id="rId7" Type="http://schemas.openxmlformats.org/officeDocument/2006/relationships/hyperlink" Target="https://aka.ms/cloudaicsu" TargetMode="External"/><Relationship Id="rId12" Type="http://schemas.openxmlformats.org/officeDocument/2006/relationships/hyperlink" Target="https://microsoft.sharepoint.com/teams/IncentiveCompensationGuide" TargetMode="External"/><Relationship Id="rId17" Type="http://schemas.openxmlformats.org/officeDocument/2006/relationships/hyperlink" Target="https://aka.ms/Seismic" TargetMode="External"/><Relationship Id="rId25" Type="http://schemas.openxmlformats.org/officeDocument/2006/relationships/hyperlink" Target="https://aka.ms/VBDinsights" TargetMode="External"/><Relationship Id="rId33" Type="http://schemas.openxmlformats.org/officeDocument/2006/relationships/hyperlink" Target="mailto:AskRolEx@microsoft.com" TargetMode="External"/><Relationship Id="rId2" Type="http://schemas.openxmlformats.org/officeDocument/2006/relationships/slideLayout" Target="../slideLayouts/slideLayout15.xml"/><Relationship Id="rId16" Type="http://schemas.openxmlformats.org/officeDocument/2006/relationships/hyperlink" Target="http://aka.ms/acrengagements" TargetMode="External"/><Relationship Id="rId20" Type="http://schemas.openxmlformats.org/officeDocument/2006/relationships/hyperlink" Target="https://microsoft.sharepoint.com/teams/SPandP/SitePages/MSX%20D365.aspx" TargetMode="External"/><Relationship Id="rId29" Type="http://schemas.openxmlformats.org/officeDocument/2006/relationships/hyperlink" Target="https://aka.ms/msxd365" TargetMode="External"/><Relationship Id="rId1" Type="http://schemas.openxmlformats.org/officeDocument/2006/relationships/tags" Target="../tags/tag20.xml"/><Relationship Id="rId6" Type="http://schemas.openxmlformats.org/officeDocument/2006/relationships/hyperlink" Target="https://microsoft.sharepoint.com/teams/CustomerExperienceSuccess" TargetMode="External"/><Relationship Id="rId11" Type="http://schemas.openxmlformats.org/officeDocument/2006/relationships/hyperlink" Target="https://aka.ms/hrweb" TargetMode="External"/><Relationship Id="rId24" Type="http://schemas.openxmlformats.org/officeDocument/2006/relationships/hyperlink" Target="https://aka.ms/TrackMyTime" TargetMode="External"/><Relationship Id="rId32" Type="http://schemas.openxmlformats.org/officeDocument/2006/relationships/hyperlink" Target="https://onelistfeedback.microsoft.com/" TargetMode="External"/><Relationship Id="rId5" Type="http://schemas.openxmlformats.org/officeDocument/2006/relationships/image" Target="../media/image57.emf"/><Relationship Id="rId15" Type="http://schemas.openxmlformats.org/officeDocument/2006/relationships/hyperlink" Target="https://aka.ms/msxi" TargetMode="External"/><Relationship Id="rId23" Type="http://schemas.openxmlformats.org/officeDocument/2006/relationships/hyperlink" Target="https://aka.ms/myvivalearning" TargetMode="External"/><Relationship Id="rId28" Type="http://schemas.openxmlformats.org/officeDocument/2006/relationships/hyperlink" Target="https://microsoft.sharepoint.com/teams/Customer-Success/SitePages/Scrum.aspx" TargetMode="External"/><Relationship Id="rId10" Type="http://schemas.openxmlformats.org/officeDocument/2006/relationships/hyperlink" Target="https://eng.ms/docs/microsoft-customer-partner-solutions-mcaps-core/customer-experience-and-support/customer-success/azure-core/resource-center" TargetMode="External"/><Relationship Id="rId19" Type="http://schemas.openxmlformats.org/officeDocument/2006/relationships/hyperlink" Target="https://docs.microsoft.com/learn/" TargetMode="External"/><Relationship Id="rId31" Type="http://schemas.openxmlformats.org/officeDocument/2006/relationships/hyperlink" Target="https://oneask.microsoft.com/" TargetMode="External"/><Relationship Id="rId4" Type="http://schemas.openxmlformats.org/officeDocument/2006/relationships/oleObject" Target="../embeddings/oleObject2.bin"/><Relationship Id="rId9" Type="http://schemas.openxmlformats.org/officeDocument/2006/relationships/hyperlink" Target="https://aka.ms/customersuccess" TargetMode="External"/><Relationship Id="rId14" Type="http://schemas.openxmlformats.org/officeDocument/2006/relationships/hyperlink" Target="https://cxp.azure.com/cxobserve/home" TargetMode="External"/><Relationship Id="rId22" Type="http://schemas.openxmlformats.org/officeDocument/2006/relationships/hyperlink" Target="http://aka.ms/learning" TargetMode="External"/><Relationship Id="rId27" Type="http://schemas.openxmlformats.org/officeDocument/2006/relationships/hyperlink" Target="https://esxp.microsoft.com/#/opdashboard/" TargetMode="External"/><Relationship Id="rId30" Type="http://schemas.openxmlformats.org/officeDocument/2006/relationships/hyperlink" Target="https://mint.microsoft.com/" TargetMode="External"/><Relationship Id="rId8" Type="http://schemas.openxmlformats.org/officeDocument/2006/relationships/hyperlink" Target="https://aka.ms/caipcsuskills"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50.svg"/></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3218DF-F018-5FF0-8373-854CEC817DE7}"/>
              </a:ext>
            </a:extLst>
          </p:cNvPr>
          <p:cNvSpPr>
            <a:spLocks noGrp="1"/>
          </p:cNvSpPr>
          <p:nvPr>
            <p:ph type="title"/>
          </p:nvPr>
        </p:nvSpPr>
        <p:spPr/>
        <p:txBody>
          <a:bodyPr/>
          <a:lstStyle/>
          <a:p>
            <a:r>
              <a:rPr lang="en-US"/>
              <a:t>Welcome to your new role! </a:t>
            </a:r>
          </a:p>
        </p:txBody>
      </p:sp>
      <p:sp>
        <p:nvSpPr>
          <p:cNvPr id="7" name="Text Placeholder 6">
            <a:extLst>
              <a:ext uri="{FF2B5EF4-FFF2-40B4-BE49-F238E27FC236}">
                <a16:creationId xmlns:a16="http://schemas.microsoft.com/office/drawing/2014/main" id="{A6A0E4CC-E805-C593-851B-B128E23A2B57}"/>
              </a:ext>
            </a:extLst>
          </p:cNvPr>
          <p:cNvSpPr>
            <a:spLocks noGrp="1"/>
          </p:cNvSpPr>
          <p:nvPr>
            <p:ph type="body" sz="quarter" idx="10"/>
          </p:nvPr>
        </p:nvSpPr>
        <p:spPr>
          <a:xfrm>
            <a:off x="568961" y="1340762"/>
            <a:ext cx="11017250" cy="830997"/>
          </a:xfrm>
        </p:spPr>
        <p:txBody>
          <a:bodyPr/>
          <a:lstStyle/>
          <a:p>
            <a:pPr defTabSz="914400">
              <a:spcBef>
                <a:spcPts val="0"/>
              </a:spcBef>
              <a:buSzTx/>
              <a:defRPr/>
            </a:pPr>
            <a:r>
              <a:rPr kumimoji="0" lang="en-US" sz="1600" b="0" i="0" u="none" strike="noStrike" kern="1200" cap="none" spc="0" normalizeH="0" baseline="0" noProof="0">
                <a:ln>
                  <a:noFill/>
                </a:ln>
                <a:solidFill>
                  <a:srgbClr val="000000"/>
                </a:solidFill>
                <a:effectLst/>
                <a:uLnTx/>
                <a:uFillTx/>
                <a:ea typeface="+mn-ea"/>
                <a:cs typeface="Segoe UI"/>
              </a:rPr>
              <a:t>This onboarding kit is designed to guide you through your first 90 days and help you confidently step into FY26 with momentum and clarity. </a:t>
            </a:r>
            <a:r>
              <a:rPr lang="en-US" sz="1600">
                <a:solidFill>
                  <a:srgbClr val="242424"/>
                </a:solidFill>
                <a:latin typeface="Segoe Sans Text" pitchFamily="2" charset="0"/>
                <a:cs typeface="Segoe Sans Text" pitchFamily="2" charset="0"/>
              </a:rPr>
              <a:t>Inside, you’ll find a comprehensive overview of what’s ahead. This is your roadmap to success, equipping you with the insights, tools, and actions to make an immediate impact. </a:t>
            </a:r>
            <a:br>
              <a:rPr lang="en-US" sz="1600">
                <a:solidFill>
                  <a:srgbClr val="242424"/>
                </a:solidFill>
                <a:latin typeface="Segoe Sans Text" pitchFamily="2" charset="0"/>
                <a:cs typeface="Segoe Sans Text" pitchFamily="2" charset="0"/>
              </a:rPr>
            </a:br>
            <a:r>
              <a:rPr lang="en-US" sz="1600">
                <a:solidFill>
                  <a:srgbClr val="242424"/>
                </a:solidFill>
                <a:latin typeface="Segoe Sans Text" pitchFamily="2" charset="0"/>
                <a:cs typeface="Segoe Sans Text" pitchFamily="2" charset="0"/>
              </a:rPr>
              <a:t>Let’s get started!</a:t>
            </a:r>
          </a:p>
          <a:p>
            <a:pPr lvl="0" defTabSz="914400">
              <a:spcBef>
                <a:spcPts val="0"/>
              </a:spcBef>
              <a:buSzTx/>
              <a:defRPr/>
            </a:pPr>
            <a:endParaRPr kumimoji="0" lang="en-US" sz="1600" b="0" i="0" u="none" strike="noStrike" kern="1200" cap="none" spc="0" normalizeH="0" baseline="0" noProof="0">
              <a:ln>
                <a:noFill/>
              </a:ln>
              <a:solidFill>
                <a:srgbClr val="000000"/>
              </a:solidFill>
              <a:effectLst/>
              <a:uLnTx/>
              <a:uFillTx/>
              <a:ea typeface="+mn-ea"/>
              <a:cs typeface="Segoe UI"/>
            </a:endParaRPr>
          </a:p>
        </p:txBody>
      </p:sp>
      <p:sp>
        <p:nvSpPr>
          <p:cNvPr id="8" name="Text Placeholder 7">
            <a:extLst>
              <a:ext uri="{FF2B5EF4-FFF2-40B4-BE49-F238E27FC236}">
                <a16:creationId xmlns:a16="http://schemas.microsoft.com/office/drawing/2014/main" id="{1C62C724-219E-CD9B-A508-82E7F39664A9}"/>
              </a:ext>
            </a:extLst>
          </p:cNvPr>
          <p:cNvSpPr>
            <a:spLocks noGrp="1"/>
          </p:cNvSpPr>
          <p:nvPr>
            <p:ph type="body" sz="quarter" idx="1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ea typeface="+mn-ea"/>
                <a:cs typeface="Segoe Sans Text Light" pitchFamily="2" charset="0"/>
              </a:rPr>
              <a:t>What you will find in this deck </a:t>
            </a:r>
          </a:p>
        </p:txBody>
      </p:sp>
      <p:graphicFrame>
        <p:nvGraphicFramePr>
          <p:cNvPr id="30" name="Table 29">
            <a:extLst>
              <a:ext uri="{FF2B5EF4-FFF2-40B4-BE49-F238E27FC236}">
                <a16:creationId xmlns:a16="http://schemas.microsoft.com/office/drawing/2014/main" id="{845D9A4A-FCFF-C4A5-2E2C-D12ACC891A8D}"/>
              </a:ext>
            </a:extLst>
          </p:cNvPr>
          <p:cNvGraphicFramePr>
            <a:graphicFrameLocks noGrp="1"/>
          </p:cNvGraphicFramePr>
          <p:nvPr>
            <p:extLst>
              <p:ext uri="{D42A27DB-BD31-4B8C-83A1-F6EECF244321}">
                <p14:modId xmlns:p14="http://schemas.microsoft.com/office/powerpoint/2010/main" val="2577043655"/>
              </p:ext>
            </p:extLst>
          </p:nvPr>
        </p:nvGraphicFramePr>
        <p:xfrm>
          <a:off x="568961" y="3105148"/>
          <a:ext cx="11037252" cy="3050325"/>
        </p:xfrm>
        <a:graphic>
          <a:graphicData uri="http://schemas.openxmlformats.org/drawingml/2006/table">
            <a:tbl>
              <a:tblPr bandRow="1">
                <a:tableStyleId>{9D7B26C5-4107-4FEC-AEDC-1716B250A1EF}</a:tableStyleId>
              </a:tblPr>
              <a:tblGrid>
                <a:gridCol w="1655127">
                  <a:extLst>
                    <a:ext uri="{9D8B030D-6E8A-4147-A177-3AD203B41FA5}">
                      <a16:colId xmlns:a16="http://schemas.microsoft.com/office/drawing/2014/main" val="932416147"/>
                    </a:ext>
                  </a:extLst>
                </a:gridCol>
                <a:gridCol w="9382125">
                  <a:extLst>
                    <a:ext uri="{9D8B030D-6E8A-4147-A177-3AD203B41FA5}">
                      <a16:colId xmlns:a16="http://schemas.microsoft.com/office/drawing/2014/main" val="1466316775"/>
                    </a:ext>
                  </a:extLst>
                </a:gridCol>
              </a:tblGrid>
              <a:tr h="610065">
                <a:tc>
                  <a:txBody>
                    <a:bodyPr/>
                    <a:lstStyle/>
                    <a:p>
                      <a:pPr algn="l"/>
                      <a:r>
                        <a:rPr lang="en-US" sz="1400" b="1" kern="1200">
                          <a:solidFill>
                            <a:schemeClr val="bg1"/>
                          </a:solidFill>
                          <a:latin typeface="+mj-lt"/>
                          <a:ea typeface="+mn-ea"/>
                          <a:cs typeface="Segoe Sans Text Semibold" pitchFamily="2" charset="0"/>
                        </a:rPr>
                        <a:t>Slides 3–18</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1" i="0" u="none" strike="noStrike" kern="1200" cap="none" spc="0" normalizeH="0" baseline="0" noProof="0">
                          <a:ln>
                            <a:noFill/>
                          </a:ln>
                          <a:solidFill>
                            <a:schemeClr val="tx1"/>
                          </a:solidFill>
                          <a:effectLst/>
                          <a:uLnTx/>
                          <a:uFillTx/>
                          <a:latin typeface="+mn-lt"/>
                          <a:ea typeface="+mn-ea"/>
                          <a:cs typeface="Segoe Sans Text" pitchFamily="2" charset="0"/>
                        </a:rPr>
                        <a:t>What’s New: </a:t>
                      </a:r>
                      <a:r>
                        <a:rPr kumimoji="0" lang="en-US" sz="1600" b="0" i="0" u="none" strike="noStrike" kern="1200" cap="none" spc="0" normalizeH="0" baseline="0" noProof="0">
                          <a:ln>
                            <a:noFill/>
                          </a:ln>
                          <a:solidFill>
                            <a:schemeClr val="tx1"/>
                          </a:solidFill>
                          <a:effectLst/>
                          <a:uLnTx/>
                          <a:uFillTx/>
                          <a:latin typeface="+mn-lt"/>
                          <a:ea typeface="+mn-ea"/>
                          <a:cs typeface="Segoe Sans Text" pitchFamily="2" charset="0"/>
                        </a:rPr>
                        <a:t>Key Changes to Delivery Strategy, Sales Model and Orchestration Model</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568478"/>
                  </a:ext>
                </a:extLst>
              </a:tr>
              <a:tr h="61006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C00000"/>
                        </a:solidFill>
                        <a:effectLst/>
                        <a:uLnTx/>
                        <a:uFillTx/>
                        <a:latin typeface="+mj-lt"/>
                        <a:ea typeface="+mn-ea"/>
                        <a:cs typeface="Segoe Sans Text Semibold" pitchFamily="2" charset="0"/>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mn-lt"/>
                          <a:ea typeface="+mn-ea"/>
                          <a:cs typeface="Segoe Sans Text" pitchFamily="2" charset="0"/>
                        </a:rPr>
                        <a:t>Role-specific changes, relevant Azure solution play, technical expectations:</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06421845"/>
                  </a:ext>
                </a:extLst>
              </a:tr>
              <a:tr h="61006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bg1"/>
                        </a:solidFill>
                        <a:effectLst/>
                        <a:highlight>
                          <a:srgbClr val="FFFF00"/>
                        </a:highlight>
                        <a:uLnTx/>
                        <a:uFillTx/>
                        <a:latin typeface="+mj-lt"/>
                        <a:ea typeface="+mn-ea"/>
                        <a:cs typeface="Segoe Sans Text Semibold" pitchFamily="2" charset="0"/>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lumMod val="20000"/>
                          <a:lumOff val="80000"/>
                        </a:schemeClr>
                      </a:solidFill>
                      <a:prstDash val="solid"/>
                      <a:round/>
                      <a:headEnd type="none" w="med" len="med"/>
                      <a:tailEnd type="none" w="med" len="med"/>
                    </a:lnB>
                    <a:noFill/>
                  </a:tcPr>
                </a:tc>
                <a:tc>
                  <a:txBody>
                    <a:bodyPr/>
                    <a:lstStyle/>
                    <a:p>
                      <a:pPr marL="466371"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hlinkClick r:id="rId3" action="ppaction://hlinksldjump"/>
                        </a:rPr>
                        <a:t>Cloud &amp; AI Infra CSA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rPr>
                        <a:t>  |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hlinkClick r:id="rId4" action="ppaction://hlinksldjump"/>
                        </a:rPr>
                        <a:t>Cloud &amp; AI Apps CSA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rPr>
                        <a:t>  |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hlinkClick r:id="rId5" action="ppaction://hlinksldjump"/>
                        </a:rPr>
                        <a:t>Cloud &amp; AI Data CSA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rPr>
                        <a:t>  |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hlinkClick r:id="rId6" action="ppaction://hlinksldjump"/>
                        </a:rPr>
                        <a:t>Cloud &amp; AI CSA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rPr>
                        <a:t>&amp; </a:t>
                      </a: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hlinkClick r:id="rId7" action="ppaction://hlinksldjump"/>
                        </a:rPr>
                        <a:t>GSA</a:t>
                      </a:r>
                      <a:endPar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endParaRPr>
                    </a:p>
                    <a:p>
                      <a:pPr marL="466371"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a:ln>
                            <a:noFill/>
                          </a:ln>
                          <a:solidFill>
                            <a:schemeClr val="tx1"/>
                          </a:solidFill>
                          <a:effectLst/>
                          <a:uLnTx/>
                          <a:uFillTx/>
                          <a:latin typeface="+mn-lt"/>
                          <a:ea typeface="+mn-ea"/>
                          <a:cs typeface="Segoe Sans Text" pitchFamily="2" charset="0"/>
                        </a:rPr>
                        <a:t>Slides 18-26                       Slides 27-35                       Slides 36-44                       Slides 45-55</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4594198"/>
                  </a:ext>
                </a:extLst>
              </a:tr>
              <a:tr h="61006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Segoe Sans Text Semibold" pitchFamily="2" charset="0"/>
                        </a:rPr>
                        <a:t>Slides 56-60</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lumMod val="20000"/>
                          <a:lumOff val="80000"/>
                        </a:schemeClr>
                      </a:solidFill>
                      <a:prstDash val="solid"/>
                      <a:round/>
                      <a:headEnd type="none" w="med" len="med"/>
                      <a:tailEnd type="none" w="med" len="med"/>
                    </a:lnT>
                    <a:lnB w="6350" cap="flat" cmpd="sng" algn="ctr">
                      <a:solidFill>
                        <a:schemeClr val="accent3">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a:ln>
                            <a:noFill/>
                          </a:ln>
                          <a:solidFill>
                            <a:schemeClr val="tx1"/>
                          </a:solidFill>
                          <a:effectLst/>
                          <a:uLnTx/>
                          <a:uFillTx/>
                          <a:latin typeface="+mn-lt"/>
                          <a:ea typeface="+mn-ea"/>
                          <a:cs typeface="Segoe Sans Text" pitchFamily="2" charset="0"/>
                        </a:rPr>
                        <a:t>A clear </a:t>
                      </a:r>
                      <a:r>
                        <a:rPr kumimoji="0" lang="en-US" sz="1600" b="1" i="0" u="none" strike="noStrike" kern="1200" cap="none" spc="0" normalizeH="0" baseline="0">
                          <a:ln>
                            <a:noFill/>
                          </a:ln>
                          <a:solidFill>
                            <a:schemeClr val="tx1"/>
                          </a:solidFill>
                          <a:effectLst/>
                          <a:uLnTx/>
                          <a:uFillTx/>
                          <a:latin typeface="+mn-lt"/>
                          <a:ea typeface="+mn-ea"/>
                          <a:cs typeface="Segoe Sans Text" pitchFamily="2" charset="0"/>
                        </a:rPr>
                        <a:t>30/60/90-day action plan </a:t>
                      </a:r>
                      <a:r>
                        <a:rPr kumimoji="0" lang="en-US" sz="1600" b="0" i="0" u="none" strike="noStrike" kern="1200" cap="none" spc="0" normalizeH="0" baseline="0">
                          <a:ln>
                            <a:noFill/>
                          </a:ln>
                          <a:solidFill>
                            <a:schemeClr val="tx1"/>
                          </a:solidFill>
                          <a:effectLst/>
                          <a:uLnTx/>
                          <a:uFillTx/>
                          <a:latin typeface="+mn-lt"/>
                          <a:ea typeface="+mn-ea"/>
                          <a:cs typeface="Segoe Sans Text" pitchFamily="2" charset="0"/>
                        </a:rPr>
                        <a:t>to help you focus, learn, and lead effectively</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2219177"/>
                  </a:ext>
                </a:extLst>
              </a:tr>
              <a:tr h="61006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Segoe Sans Text Semibold" pitchFamily="2" charset="0"/>
                        </a:rPr>
                        <a:t>Slides 61-62</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3">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mn-lt"/>
                          <a:ea typeface="+mn-ea"/>
                          <a:cs typeface="Segoe Sans Text" pitchFamily="2" charset="0"/>
                        </a:rPr>
                        <a:t>Resources and a glossary</a:t>
                      </a:r>
                      <a:endParaRPr kumimoji="0" lang="en-US" sz="1600" b="0" i="0" u="none" strike="noStrike" kern="1200" cap="none" spc="0" normalizeH="0" baseline="0">
                        <a:ln>
                          <a:noFill/>
                        </a:ln>
                        <a:solidFill>
                          <a:schemeClr val="tx1"/>
                        </a:solidFill>
                        <a:effectLst/>
                        <a:uLnTx/>
                        <a:uFillTx/>
                        <a:latin typeface="+mn-lt"/>
                        <a:ea typeface="+mn-ea"/>
                        <a:cs typeface="Segoe Sans Text" pitchFamily="2" charset="0"/>
                      </a:endParaRP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34180102"/>
                  </a:ext>
                </a:extLst>
              </a:tr>
            </a:tbl>
          </a:graphicData>
        </a:graphic>
      </p:graphicFrame>
      <p:grpSp>
        <p:nvGrpSpPr>
          <p:cNvPr id="2" name="Group 1">
            <a:extLst>
              <a:ext uri="{FF2B5EF4-FFF2-40B4-BE49-F238E27FC236}">
                <a16:creationId xmlns:a16="http://schemas.microsoft.com/office/drawing/2014/main" id="{180A9815-924C-AD75-7ABD-CAA4B79A9118}"/>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 name="Table 2 Cell 1, 1 to Text">
              <a:extLst>
                <a:ext uri="{FF2B5EF4-FFF2-40B4-BE49-F238E27FC236}">
                  <a16:creationId xmlns:a16="http://schemas.microsoft.com/office/drawing/2014/main" id="{5CE064F6-3F57-DB16-BDB1-BB723C3F43EF}"/>
                </a:ext>
              </a:extLst>
            </p:cNvPr>
            <p:cNvSpPr txBox="1"/>
            <p:nvPr/>
          </p:nvSpPr>
          <p:spPr>
            <a:xfrm>
              <a:off x="59315" y="1786404"/>
              <a:ext cx="1709244" cy="167926"/>
            </a:xfrm>
            <a:prstGeom prst="round2SameRect">
              <a:avLst>
                <a:gd name="adj1" fmla="val 0"/>
                <a:gd name="adj2" fmla="val 15599"/>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Text Semibold"/>
                  <a:ea typeface="+mj-ea"/>
                  <a:cs typeface="+mj-cs"/>
                </a:rPr>
                <a:t>1. Welcome</a:t>
              </a:r>
            </a:p>
          </p:txBody>
        </p:sp>
        <p:sp>
          <p:nvSpPr>
            <p:cNvPr id="4" name="Table 2 Cell 2, 1 to Text">
              <a:extLst>
                <a:ext uri="{FF2B5EF4-FFF2-40B4-BE49-F238E27FC236}">
                  <a16:creationId xmlns:a16="http://schemas.microsoft.com/office/drawing/2014/main" id="{C8D647CD-A1EC-3BE2-1199-AA5C7052FEC8}"/>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2. What’s New</a:t>
              </a:r>
            </a:p>
          </p:txBody>
        </p:sp>
        <p:sp>
          <p:nvSpPr>
            <p:cNvPr id="5" name="Table 2 Cell 3, 1 to Text">
              <a:extLst>
                <a:ext uri="{FF2B5EF4-FFF2-40B4-BE49-F238E27FC236}">
                  <a16:creationId xmlns:a16="http://schemas.microsoft.com/office/drawing/2014/main" id="{D5C03E30-6349-71CD-DD2E-EE3A3113CFF2}"/>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9" name="Table 2 Cell 4, 1 to Text">
              <a:extLst>
                <a:ext uri="{FF2B5EF4-FFF2-40B4-BE49-F238E27FC236}">
                  <a16:creationId xmlns:a16="http://schemas.microsoft.com/office/drawing/2014/main" id="{3920727B-90F8-8B05-038E-E54AEA51A620}"/>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0" name="Table 2 Cell 5, 1 to Text">
              <a:extLst>
                <a:ext uri="{FF2B5EF4-FFF2-40B4-BE49-F238E27FC236}">
                  <a16:creationId xmlns:a16="http://schemas.microsoft.com/office/drawing/2014/main" id="{E418287D-C90E-4178-77D2-601118FC5B1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1" name="Table 2 Cell 6, 1 to Text">
              <a:extLst>
                <a:ext uri="{FF2B5EF4-FFF2-40B4-BE49-F238E27FC236}">
                  <a16:creationId xmlns:a16="http://schemas.microsoft.com/office/drawing/2014/main" id="{2E10591A-964D-89D5-F877-37141CF838A3}"/>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6. Cloud &amp; AI CSA &amp; GSA</a:t>
              </a:r>
            </a:p>
          </p:txBody>
        </p:sp>
        <p:sp>
          <p:nvSpPr>
            <p:cNvPr id="12" name="Table 2 Cell 7, 1 to Text">
              <a:extLst>
                <a:ext uri="{FF2B5EF4-FFF2-40B4-BE49-F238E27FC236}">
                  <a16:creationId xmlns:a16="http://schemas.microsoft.com/office/drawing/2014/main" id="{4EE449A9-6DE8-7CCE-49D8-FF555E8F3404}"/>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3" name="Table 2 Cell 1, 2 to Text">
              <a:extLst>
                <a:ext uri="{FF2B5EF4-FFF2-40B4-BE49-F238E27FC236}">
                  <a16:creationId xmlns:a16="http://schemas.microsoft.com/office/drawing/2014/main" id="{C0D2E0A5-6060-0BD2-FD7D-E31B9547912C}"/>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1.1. Table of Contents</a:t>
              </a:r>
            </a:p>
          </p:txBody>
        </p:sp>
        <p:sp>
          <p:nvSpPr>
            <p:cNvPr id="14" name="Table 2 Cell 1, 3 to Text">
              <a:extLst>
                <a:ext uri="{FF2B5EF4-FFF2-40B4-BE49-F238E27FC236}">
                  <a16:creationId xmlns:a16="http://schemas.microsoft.com/office/drawing/2014/main" id="{7055E050-CB40-ACE5-1FCB-F3CB111569C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1.2. Skilling Journey</a:t>
              </a:r>
            </a:p>
          </p:txBody>
        </p:sp>
      </p:grpSp>
    </p:spTree>
    <p:extLst>
      <p:ext uri="{BB962C8B-B14F-4D97-AF65-F5344CB8AC3E}">
        <p14:creationId xmlns:p14="http://schemas.microsoft.com/office/powerpoint/2010/main" val="6455272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EC45E-8FBB-6912-BCAA-36CE7C201D2F}"/>
            </a:ext>
          </a:extLst>
        </p:cNvPr>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D369667C-27A2-A8F1-038C-F4361B19F869}"/>
              </a:ext>
              <a:ext uri="{C183D7F6-B498-43B3-948B-1728B52AA6E4}">
                <adec:decorative xmlns:adec="http://schemas.microsoft.com/office/drawing/2017/decorative" val="1"/>
              </a:ext>
            </a:extLst>
          </p:cNvPr>
          <p:cNvSpPr/>
          <p:nvPr/>
        </p:nvSpPr>
        <p:spPr bwMode="auto">
          <a:xfrm>
            <a:off x="588962" y="1192709"/>
            <a:ext cx="11017250" cy="5299531"/>
          </a:xfrm>
          <a:prstGeom prst="roundRect">
            <a:avLst>
              <a:gd name="adj" fmla="val 1186"/>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2" name="Title 1">
            <a:extLst>
              <a:ext uri="{FF2B5EF4-FFF2-40B4-BE49-F238E27FC236}">
                <a16:creationId xmlns:a16="http://schemas.microsoft.com/office/drawing/2014/main" id="{4C1FCCC2-54CC-8D97-68BC-8F1843AE9283}"/>
              </a:ext>
            </a:extLst>
          </p:cNvPr>
          <p:cNvSpPr>
            <a:spLocks noGrp="1"/>
          </p:cNvSpPr>
          <p:nvPr>
            <p:ph type="title"/>
          </p:nvPr>
        </p:nvSpPr>
        <p:spPr>
          <a:xfrm>
            <a:off x="588962" y="457200"/>
            <a:ext cx="11017250" cy="492443"/>
          </a:xfrm>
        </p:spPr>
        <p:txBody>
          <a:bodyPr/>
          <a:lstStyle/>
          <a:p>
            <a:r>
              <a:rPr lang="en-US"/>
              <a:t>FY26 Cloud + AI CSU | Role &amp; Sales Model Design</a:t>
            </a:r>
          </a:p>
        </p:txBody>
      </p:sp>
      <p:sp>
        <p:nvSpPr>
          <p:cNvPr id="61" name="Rectangle: Rounded Corners 60">
            <a:extLst>
              <a:ext uri="{FF2B5EF4-FFF2-40B4-BE49-F238E27FC236}">
                <a16:creationId xmlns:a16="http://schemas.microsoft.com/office/drawing/2014/main" id="{DF44A4FD-62B2-3A8A-483B-9CE7F58FB9FA}"/>
              </a:ext>
            </a:extLst>
          </p:cNvPr>
          <p:cNvSpPr>
            <a:spLocks/>
          </p:cNvSpPr>
          <p:nvPr/>
        </p:nvSpPr>
        <p:spPr bwMode="auto">
          <a:xfrm>
            <a:off x="680402" y="1284149"/>
            <a:ext cx="2971140" cy="345266"/>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Y25</a:t>
            </a:r>
          </a:p>
        </p:txBody>
      </p:sp>
      <p:sp>
        <p:nvSpPr>
          <p:cNvPr id="4" name="Rectangle: Rounded Corners 3">
            <a:extLst>
              <a:ext uri="{FF2B5EF4-FFF2-40B4-BE49-F238E27FC236}">
                <a16:creationId xmlns:a16="http://schemas.microsoft.com/office/drawing/2014/main" id="{96D9BA7C-D097-6779-A44B-B51BB23D044E}"/>
              </a:ext>
            </a:extLst>
          </p:cNvPr>
          <p:cNvSpPr/>
          <p:nvPr/>
        </p:nvSpPr>
        <p:spPr>
          <a:xfrm>
            <a:off x="771842" y="1787798"/>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Infra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 </a:t>
            </a:r>
          </a:p>
        </p:txBody>
      </p:sp>
      <p:sp>
        <p:nvSpPr>
          <p:cNvPr id="5" name="Rectangle: Rounded Corners 4">
            <a:extLst>
              <a:ext uri="{FF2B5EF4-FFF2-40B4-BE49-F238E27FC236}">
                <a16:creationId xmlns:a16="http://schemas.microsoft.com/office/drawing/2014/main" id="{B4F6DAAB-3E11-81E1-F80D-42AC65CC847F}"/>
              </a:ext>
            </a:extLst>
          </p:cNvPr>
          <p:cNvSpPr/>
          <p:nvPr/>
        </p:nvSpPr>
        <p:spPr>
          <a:xfrm>
            <a:off x="771842" y="2365332"/>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SAP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6" name="Rectangle: Rounded Corners 5">
            <a:extLst>
              <a:ext uri="{FF2B5EF4-FFF2-40B4-BE49-F238E27FC236}">
                <a16:creationId xmlns:a16="http://schemas.microsoft.com/office/drawing/2014/main" id="{60318A3B-4683-868F-B061-EA728D2953EA}"/>
              </a:ext>
            </a:extLst>
          </p:cNvPr>
          <p:cNvSpPr/>
          <p:nvPr/>
        </p:nvSpPr>
        <p:spPr>
          <a:xfrm>
            <a:off x="771842" y="2942867"/>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pp Inno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7" name="Rectangle: Rounded Corners 6">
            <a:extLst>
              <a:ext uri="{FF2B5EF4-FFF2-40B4-BE49-F238E27FC236}">
                <a16:creationId xmlns:a16="http://schemas.microsoft.com/office/drawing/2014/main" id="{AFE8CFF6-4C75-D424-4194-2646779FDD83}"/>
              </a:ext>
            </a:extLst>
          </p:cNvPr>
          <p:cNvSpPr/>
          <p:nvPr/>
        </p:nvSpPr>
        <p:spPr>
          <a:xfrm>
            <a:off x="771842" y="3520401"/>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Dev Adv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8" name="Rectangle: Rounded Corners 7">
            <a:extLst>
              <a:ext uri="{FF2B5EF4-FFF2-40B4-BE49-F238E27FC236}">
                <a16:creationId xmlns:a16="http://schemas.microsoft.com/office/drawing/2014/main" id="{9400654E-0A85-ECAA-5C09-D82BB0DC54B2}"/>
              </a:ext>
            </a:extLst>
          </p:cNvPr>
          <p:cNvSpPr/>
          <p:nvPr/>
        </p:nvSpPr>
        <p:spPr>
          <a:xfrm>
            <a:off x="771842" y="4097936"/>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I</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9" name="Rectangle: Rounded Corners 8">
            <a:extLst>
              <a:ext uri="{FF2B5EF4-FFF2-40B4-BE49-F238E27FC236}">
                <a16:creationId xmlns:a16="http://schemas.microsoft.com/office/drawing/2014/main" id="{9AC413DA-37F2-1073-D854-20B02AA213C9}"/>
              </a:ext>
            </a:extLst>
          </p:cNvPr>
          <p:cNvSpPr/>
          <p:nvPr/>
        </p:nvSpPr>
        <p:spPr>
          <a:xfrm>
            <a:off x="771842" y="4675472"/>
            <a:ext cx="2788257" cy="486634"/>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Data &amp; Analytics</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cxnSp>
        <p:nvCxnSpPr>
          <p:cNvPr id="16" name="Connector: Elbow 15">
            <a:extLst>
              <a:ext uri="{FF2B5EF4-FFF2-40B4-BE49-F238E27FC236}">
                <a16:creationId xmlns:a16="http://schemas.microsoft.com/office/drawing/2014/main" id="{5F7A9CEE-44A0-200A-889B-9886152653E3}"/>
              </a:ext>
              <a:ext uri="{C183D7F6-B498-43B3-948B-1728B52AA6E4}">
                <adec:decorative xmlns:adec="http://schemas.microsoft.com/office/drawing/2017/decorative" val="1"/>
              </a:ext>
            </a:extLst>
          </p:cNvPr>
          <p:cNvCxnSpPr>
            <a:cxnSpLocks/>
            <a:stCxn id="4" idx="3"/>
            <a:endCxn id="11" idx="1"/>
          </p:cNvCxnSpPr>
          <p:nvPr/>
        </p:nvCxnSpPr>
        <p:spPr>
          <a:xfrm>
            <a:off x="3560099" y="2031115"/>
            <a:ext cx="275560" cy="288767"/>
          </a:xfrm>
          <a:prstGeom prst="bentConnector3">
            <a:avLst/>
          </a:prstGeom>
          <a:ln w="6350">
            <a:solidFill>
              <a:schemeClr val="bg1">
                <a:lumMod val="75000"/>
              </a:schemeClr>
            </a:solidFill>
            <a:tailEnd type="arrow" w="med" len="sm"/>
          </a:ln>
        </p:spPr>
        <p:style>
          <a:lnRef idx="1">
            <a:schemeClr val="accent6"/>
          </a:lnRef>
          <a:fillRef idx="0">
            <a:schemeClr val="accent6"/>
          </a:fillRef>
          <a:effectRef idx="0">
            <a:schemeClr val="accent6"/>
          </a:effectRef>
          <a:fontRef idx="minor">
            <a:schemeClr val="tx1"/>
          </a:fontRef>
        </p:style>
      </p:cxnSp>
      <p:cxnSp>
        <p:nvCxnSpPr>
          <p:cNvPr id="18" name="Connector: Elbow 17">
            <a:extLst>
              <a:ext uri="{FF2B5EF4-FFF2-40B4-BE49-F238E27FC236}">
                <a16:creationId xmlns:a16="http://schemas.microsoft.com/office/drawing/2014/main" id="{37CA0D2A-E4FF-9285-3061-747FB2154B8E}"/>
              </a:ext>
              <a:ext uri="{C183D7F6-B498-43B3-948B-1728B52AA6E4}">
                <adec:decorative xmlns:adec="http://schemas.microsoft.com/office/drawing/2017/decorative" val="1"/>
              </a:ext>
            </a:extLst>
          </p:cNvPr>
          <p:cNvCxnSpPr>
            <a:cxnSpLocks/>
            <a:stCxn id="5" idx="3"/>
            <a:endCxn id="11" idx="1"/>
          </p:cNvCxnSpPr>
          <p:nvPr/>
        </p:nvCxnSpPr>
        <p:spPr>
          <a:xfrm flipV="1">
            <a:off x="3560099" y="2319882"/>
            <a:ext cx="275560" cy="288767"/>
          </a:xfrm>
          <a:prstGeom prst="bentConnector3">
            <a:avLst/>
          </a:prstGeom>
          <a:ln w="6350">
            <a:solidFill>
              <a:schemeClr val="bg1">
                <a:lumMod val="75000"/>
              </a:schemeClr>
            </a:solidFill>
            <a:tailEnd type="arrow" w="med" len="sm"/>
          </a:ln>
        </p:spPr>
        <p:style>
          <a:lnRef idx="1">
            <a:schemeClr val="accent6"/>
          </a:lnRef>
          <a:fillRef idx="0">
            <a:schemeClr val="accent6"/>
          </a:fillRef>
          <a:effectRef idx="0">
            <a:schemeClr val="accent6"/>
          </a:effectRef>
          <a:fontRef idx="minor">
            <a:schemeClr val="tx1"/>
          </a:fontRef>
        </p:style>
      </p:cxnSp>
      <p:cxnSp>
        <p:nvCxnSpPr>
          <p:cNvPr id="44" name="Straight Arrow Connector 43">
            <a:extLst>
              <a:ext uri="{FF2B5EF4-FFF2-40B4-BE49-F238E27FC236}">
                <a16:creationId xmlns:a16="http://schemas.microsoft.com/office/drawing/2014/main" id="{3C7342DD-420E-2EBC-F874-7C9134DEEAF6}"/>
              </a:ext>
              <a:ext uri="{C183D7F6-B498-43B3-948B-1728B52AA6E4}">
                <adec:decorative xmlns:adec="http://schemas.microsoft.com/office/drawing/2017/decorative" val="1"/>
              </a:ext>
            </a:extLst>
          </p:cNvPr>
          <p:cNvCxnSpPr>
            <a:cxnSpLocks/>
            <a:stCxn id="9" idx="3"/>
            <a:endCxn id="13" idx="1"/>
          </p:cNvCxnSpPr>
          <p:nvPr/>
        </p:nvCxnSpPr>
        <p:spPr>
          <a:xfrm>
            <a:off x="3560099" y="4918789"/>
            <a:ext cx="306432" cy="0"/>
          </a:xfrm>
          <a:prstGeom prst="straightConnector1">
            <a:avLst/>
          </a:prstGeom>
          <a:ln w="6350">
            <a:solidFill>
              <a:schemeClr val="bg1">
                <a:lumMod val="75000"/>
              </a:schemeClr>
            </a:solidFill>
            <a:tailEnd type="arrow" w="med" len="sm"/>
          </a:ln>
        </p:spPr>
        <p:style>
          <a:lnRef idx="1">
            <a:schemeClr val="accent6"/>
          </a:lnRef>
          <a:fillRef idx="0">
            <a:schemeClr val="accent6"/>
          </a:fillRef>
          <a:effectRef idx="0">
            <a:schemeClr val="accent6"/>
          </a:effectRef>
          <a:fontRef idx="minor">
            <a:schemeClr val="tx1"/>
          </a:fontRef>
        </p:style>
      </p:cxnSp>
      <p:sp>
        <p:nvSpPr>
          <p:cNvPr id="62" name="Rectangle: Rounded Corners 61">
            <a:extLst>
              <a:ext uri="{FF2B5EF4-FFF2-40B4-BE49-F238E27FC236}">
                <a16:creationId xmlns:a16="http://schemas.microsoft.com/office/drawing/2014/main" id="{A98D2B77-E6BE-6113-F37D-76F59316165A}"/>
              </a:ext>
            </a:extLst>
          </p:cNvPr>
          <p:cNvSpPr>
            <a:spLocks/>
          </p:cNvSpPr>
          <p:nvPr/>
        </p:nvSpPr>
        <p:spPr bwMode="auto">
          <a:xfrm>
            <a:off x="3744219" y="1284149"/>
            <a:ext cx="2971140" cy="345266"/>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Y26</a:t>
            </a:r>
          </a:p>
        </p:txBody>
      </p:sp>
      <p:sp>
        <p:nvSpPr>
          <p:cNvPr id="11" name="Rectangle: Rounded Corners 10">
            <a:extLst>
              <a:ext uri="{FF2B5EF4-FFF2-40B4-BE49-F238E27FC236}">
                <a16:creationId xmlns:a16="http://schemas.microsoft.com/office/drawing/2014/main" id="{72071ED4-871B-AD03-4B8D-28117FED20E8}"/>
              </a:ext>
            </a:extLst>
          </p:cNvPr>
          <p:cNvSpPr/>
          <p:nvPr/>
        </p:nvSpPr>
        <p:spPr>
          <a:xfrm>
            <a:off x="3835659" y="2098242"/>
            <a:ext cx="2788257" cy="443280"/>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 AI Infrastructure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 </a:t>
            </a:r>
          </a:p>
        </p:txBody>
      </p:sp>
      <p:sp>
        <p:nvSpPr>
          <p:cNvPr id="17" name="Rectangle: Top Corners Rounded 16">
            <a:extLst>
              <a:ext uri="{FF2B5EF4-FFF2-40B4-BE49-F238E27FC236}">
                <a16:creationId xmlns:a16="http://schemas.microsoft.com/office/drawing/2014/main" id="{18C018ED-A75E-EBAD-B33A-5F49003F3DD4}"/>
              </a:ext>
            </a:extLst>
          </p:cNvPr>
          <p:cNvSpPr/>
          <p:nvPr/>
        </p:nvSpPr>
        <p:spPr>
          <a:xfrm>
            <a:off x="4085656" y="2541202"/>
            <a:ext cx="2350008" cy="373961"/>
          </a:xfrm>
          <a:prstGeom prst="round2SameRect">
            <a:avLst>
              <a:gd name="adj1" fmla="val 0"/>
              <a:gd name="adj2" fmla="val 12226"/>
            </a:avLst>
          </a:prstGeom>
          <a:solidFill>
            <a:schemeClr val="bg1">
              <a:lumMod val="95000"/>
              <a:alpha val="50000"/>
            </a:schemeClr>
          </a:solidFill>
          <a:ln w="9525">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78D4"/>
                </a:solidFill>
                <a:effectLst/>
                <a:uLnTx/>
                <a:uFillTx/>
                <a:latin typeface="Segoe Sans Text"/>
                <a:ea typeface="+mn-ea"/>
                <a:cs typeface="+mn-cs"/>
              </a:rPr>
              <a:t>Focused on Solution Play:</a:t>
            </a:r>
            <a:br>
              <a:rPr kumimoji="0" lang="en-US" sz="1000" b="0" i="1"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Migrate &amp; Modernize your Estate</a:t>
            </a:r>
          </a:p>
        </p:txBody>
      </p:sp>
      <p:sp>
        <p:nvSpPr>
          <p:cNvPr id="12" name="Rectangle: Rounded Corners 11">
            <a:extLst>
              <a:ext uri="{FF2B5EF4-FFF2-40B4-BE49-F238E27FC236}">
                <a16:creationId xmlns:a16="http://schemas.microsoft.com/office/drawing/2014/main" id="{DB80B953-C182-F960-0FEA-9A4D160773F0}"/>
              </a:ext>
            </a:extLst>
          </p:cNvPr>
          <p:cNvSpPr/>
          <p:nvPr/>
        </p:nvSpPr>
        <p:spPr>
          <a:xfrm>
            <a:off x="3866531" y="3542078"/>
            <a:ext cx="2788257" cy="443280"/>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 AI Apps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20" name="Rectangle: Top Corners Rounded 19">
            <a:extLst>
              <a:ext uri="{FF2B5EF4-FFF2-40B4-BE49-F238E27FC236}">
                <a16:creationId xmlns:a16="http://schemas.microsoft.com/office/drawing/2014/main" id="{2D11F06E-3208-7B16-1FF1-7691DAF1E698}"/>
              </a:ext>
            </a:extLst>
          </p:cNvPr>
          <p:cNvSpPr/>
          <p:nvPr/>
        </p:nvSpPr>
        <p:spPr>
          <a:xfrm>
            <a:off x="4085656" y="3985638"/>
            <a:ext cx="2350008" cy="373961"/>
          </a:xfrm>
          <a:prstGeom prst="round2SameRect">
            <a:avLst>
              <a:gd name="adj1" fmla="val 0"/>
              <a:gd name="adj2" fmla="val 12226"/>
            </a:avLst>
          </a:prstGeom>
          <a:solidFill>
            <a:schemeClr val="bg1">
              <a:lumMod val="95000"/>
              <a:alpha val="50000"/>
            </a:schemeClr>
          </a:solidFill>
          <a:ln w="9525">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78D4"/>
                </a:solidFill>
                <a:effectLst/>
                <a:uLnTx/>
                <a:uFillTx/>
                <a:latin typeface="Segoe Sans Text"/>
                <a:ea typeface="+mn-ea"/>
                <a:cs typeface="+mn-cs"/>
              </a:rPr>
              <a:t>Focused on Solution Play:</a:t>
            </a:r>
            <a:br>
              <a:rPr kumimoji="0" lang="en-US" sz="1000" b="0" i="1"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Innovate with AI Apps &amp; Agents</a:t>
            </a:r>
          </a:p>
        </p:txBody>
      </p:sp>
      <p:sp>
        <p:nvSpPr>
          <p:cNvPr id="13" name="Rectangle: Rounded Corners 12">
            <a:extLst>
              <a:ext uri="{FF2B5EF4-FFF2-40B4-BE49-F238E27FC236}">
                <a16:creationId xmlns:a16="http://schemas.microsoft.com/office/drawing/2014/main" id="{EC38F380-5257-CE44-6B30-0AC46F5FC67D}"/>
              </a:ext>
            </a:extLst>
          </p:cNvPr>
          <p:cNvSpPr/>
          <p:nvPr/>
        </p:nvSpPr>
        <p:spPr>
          <a:xfrm>
            <a:off x="3866531" y="4697149"/>
            <a:ext cx="2788257" cy="443280"/>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 AI Data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21" name="Rectangle: Top Corners Rounded 20">
            <a:extLst>
              <a:ext uri="{FF2B5EF4-FFF2-40B4-BE49-F238E27FC236}">
                <a16:creationId xmlns:a16="http://schemas.microsoft.com/office/drawing/2014/main" id="{EAC58A8D-2883-4BA5-DA8A-AC578DF500DD}"/>
              </a:ext>
            </a:extLst>
          </p:cNvPr>
          <p:cNvSpPr/>
          <p:nvPr/>
        </p:nvSpPr>
        <p:spPr>
          <a:xfrm>
            <a:off x="4085656" y="5128196"/>
            <a:ext cx="2350008" cy="373961"/>
          </a:xfrm>
          <a:prstGeom prst="round2SameRect">
            <a:avLst>
              <a:gd name="adj1" fmla="val 0"/>
              <a:gd name="adj2" fmla="val 12226"/>
            </a:avLst>
          </a:prstGeom>
          <a:solidFill>
            <a:schemeClr val="bg1">
              <a:lumMod val="95000"/>
              <a:alpha val="50000"/>
            </a:schemeClr>
          </a:solidFill>
          <a:ln w="9525">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78D4"/>
                </a:solidFill>
                <a:effectLst/>
                <a:uLnTx/>
                <a:uFillTx/>
                <a:latin typeface="Segoe Sans Text"/>
                <a:ea typeface="+mn-ea"/>
                <a:cs typeface="+mn-cs"/>
              </a:rPr>
              <a:t>Focused on Solution Play:</a:t>
            </a:r>
            <a:br>
              <a:rPr kumimoji="0" lang="en-US" sz="1000" b="0" i="1"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Unify Data &amp; Analytics Platform</a:t>
            </a:r>
          </a:p>
        </p:txBody>
      </p:sp>
      <p:sp>
        <p:nvSpPr>
          <p:cNvPr id="14" name="Rectangle: Rounded Corners 13">
            <a:extLst>
              <a:ext uri="{FF2B5EF4-FFF2-40B4-BE49-F238E27FC236}">
                <a16:creationId xmlns:a16="http://schemas.microsoft.com/office/drawing/2014/main" id="{D128E55F-00A1-C8E3-3E6A-3CED7F267137}"/>
              </a:ext>
            </a:extLst>
          </p:cNvPr>
          <p:cNvSpPr/>
          <p:nvPr/>
        </p:nvSpPr>
        <p:spPr>
          <a:xfrm>
            <a:off x="3866531" y="5589069"/>
            <a:ext cx="2788257" cy="443280"/>
          </a:xfrm>
          <a:prstGeom prst="roundRect">
            <a:avLst>
              <a:gd name="adj" fmla="val 11459"/>
            </a:avLst>
          </a:prstGeom>
          <a:solidFill>
            <a:schemeClr val="accent1">
              <a:lumMod val="20000"/>
              <a:lumOff val="80000"/>
              <a:alpha val="50000"/>
            </a:schemeClr>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 AI</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oud Solution Architect</a:t>
            </a:r>
          </a:p>
        </p:txBody>
      </p:sp>
      <p:sp>
        <p:nvSpPr>
          <p:cNvPr id="24" name="Rectangle: Top Corners Rounded 23">
            <a:extLst>
              <a:ext uri="{FF2B5EF4-FFF2-40B4-BE49-F238E27FC236}">
                <a16:creationId xmlns:a16="http://schemas.microsoft.com/office/drawing/2014/main" id="{C7EF2719-44D8-AD6D-8818-5431BF67D20B}"/>
              </a:ext>
            </a:extLst>
          </p:cNvPr>
          <p:cNvSpPr/>
          <p:nvPr/>
        </p:nvSpPr>
        <p:spPr>
          <a:xfrm>
            <a:off x="4085656" y="6026839"/>
            <a:ext cx="2350008" cy="373961"/>
          </a:xfrm>
          <a:prstGeom prst="round2SameRect">
            <a:avLst>
              <a:gd name="adj1" fmla="val 0"/>
              <a:gd name="adj2" fmla="val 12226"/>
            </a:avLst>
          </a:prstGeom>
          <a:solidFill>
            <a:schemeClr val="bg1">
              <a:lumMod val="95000"/>
              <a:alpha val="50000"/>
            </a:schemeClr>
          </a:solidFill>
          <a:ln w="9525">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78D4"/>
                </a:solidFill>
                <a:effectLst/>
                <a:uLnTx/>
                <a:uFillTx/>
                <a:latin typeface="Segoe Sans Text"/>
                <a:ea typeface="+mn-ea"/>
                <a:cs typeface="+mn-cs"/>
              </a:rPr>
              <a:t>Focused on All Azure Solution Plays, MACC/Unified Health</a:t>
            </a:r>
            <a:endParaRPr kumimoji="0" lang="en-US" sz="1000" b="1" i="0" u="none" strike="noStrike" kern="1200" cap="none" spc="0" normalizeH="0" baseline="0" noProof="0">
              <a:ln>
                <a:noFill/>
              </a:ln>
              <a:solidFill>
                <a:srgbClr val="0078D4"/>
              </a:solidFill>
              <a:effectLst/>
              <a:uLnTx/>
              <a:uFillTx/>
              <a:latin typeface="Segoe Sans Text"/>
              <a:ea typeface="+mn-ea"/>
              <a:cs typeface="+mn-cs"/>
            </a:endParaRPr>
          </a:p>
        </p:txBody>
      </p:sp>
      <p:sp>
        <p:nvSpPr>
          <p:cNvPr id="56" name="Rectangle: Rounded Corners 55">
            <a:extLst>
              <a:ext uri="{FF2B5EF4-FFF2-40B4-BE49-F238E27FC236}">
                <a16:creationId xmlns:a16="http://schemas.microsoft.com/office/drawing/2014/main" id="{02ED2E74-995B-9D39-9004-40D0E7C28B68}"/>
              </a:ext>
            </a:extLst>
          </p:cNvPr>
          <p:cNvSpPr/>
          <p:nvPr/>
        </p:nvSpPr>
        <p:spPr bwMode="auto">
          <a:xfrm>
            <a:off x="6808037" y="1284149"/>
            <a:ext cx="4703558" cy="345266"/>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Cloud Solution Architect Design Principles</a:t>
            </a:r>
          </a:p>
        </p:txBody>
      </p:sp>
      <p:sp>
        <p:nvSpPr>
          <p:cNvPr id="64" name="TextBox 63">
            <a:extLst>
              <a:ext uri="{FF2B5EF4-FFF2-40B4-BE49-F238E27FC236}">
                <a16:creationId xmlns:a16="http://schemas.microsoft.com/office/drawing/2014/main" id="{F545018F-C788-B6C9-F3B7-243D7DCB6A95}"/>
              </a:ext>
            </a:extLst>
          </p:cNvPr>
          <p:cNvSpPr txBox="1"/>
          <p:nvPr/>
        </p:nvSpPr>
        <p:spPr>
          <a:xfrm>
            <a:off x="6891345" y="1787798"/>
            <a:ext cx="4482042" cy="440120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Cloud Solution Architects Skills Mapping Guidance</a:t>
            </a:r>
          </a:p>
          <a:p>
            <a:pPr marL="241300" marR="0" lvl="1" indent="-1524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00" cap="none" spc="0" normalizeH="0" baseline="0" noProof="0">
                <a:ln>
                  <a:noFill/>
                </a:ln>
                <a:solidFill>
                  <a:srgbClr val="000000"/>
                </a:solidFill>
                <a:effectLst/>
                <a:uLnTx/>
                <a:uFillTx/>
                <a:latin typeface="Segoe Sans Text"/>
                <a:ea typeface="+mn-ea"/>
                <a:cs typeface="+mn-cs"/>
              </a:rPr>
              <a:t>Existing SAP CSA moved to the Infra CSA role</a:t>
            </a:r>
            <a:endParaRPr kumimoji="0" lang="en-US" sz="1200" b="0" i="0" u="none" strike="noStrike" kern="1200" cap="none" spc="0" normalizeH="0" baseline="0" noProof="0">
              <a:ln>
                <a:noFill/>
              </a:ln>
              <a:solidFill>
                <a:srgbClr val="000000"/>
              </a:solidFill>
              <a:effectLst/>
              <a:uLnTx/>
              <a:uFillTx/>
              <a:latin typeface="Segoe Sans Text"/>
              <a:ea typeface="+mn-ea"/>
              <a:cs typeface="+mn-cs"/>
            </a:endParaRPr>
          </a:p>
          <a:p>
            <a:pPr marL="241300" marR="0" lvl="1" indent="-1524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ll flavors of existing App CSA role moved to the AI Apps</a:t>
            </a:r>
            <a:br>
              <a:rPr kumimoji="0" lang="en-US" sz="1200" b="0" i="0" u="none" strike="noStrike" kern="1200" cap="none" spc="0" normalizeH="0" baseline="0" noProof="0">
                <a:ln>
                  <a:noFill/>
                </a:ln>
                <a:solidFill>
                  <a:srgbClr val="000000"/>
                </a:solidFill>
                <a:effectLst/>
                <a:uLnTx/>
                <a:uFillTx/>
                <a:latin typeface="Segoe Sans Text"/>
                <a:ea typeface="+mn-ea"/>
                <a:cs typeface="+mn-cs"/>
              </a:rPr>
            </a:br>
            <a:r>
              <a:rPr kumimoji="0" lang="en-US" sz="1200" b="0" i="0" u="none" strike="noStrike" kern="1200" cap="none" spc="0" normalizeH="0" baseline="0" noProof="0">
                <a:ln>
                  <a:noFill/>
                </a:ln>
                <a:solidFill>
                  <a:srgbClr val="000000"/>
                </a:solidFill>
                <a:effectLst/>
                <a:uLnTx/>
                <a:uFillTx/>
                <a:latin typeface="Segoe Sans Text"/>
                <a:ea typeface="+mn-ea"/>
                <a:cs typeface="+mn-cs"/>
              </a:rPr>
              <a:t>CSA role</a:t>
            </a:r>
          </a:p>
          <a:p>
            <a:pPr marL="241300" marR="0" lvl="1" indent="-152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xisting Data &amp; AI CSA with Q2 = ‘AI’ moved to the AI Apps CSA rol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Additional Recommended YoY Changes</a:t>
            </a:r>
          </a:p>
          <a:p>
            <a:pPr marL="241300" marR="0" lvl="1" indent="-1524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00" cap="none" spc="0" normalizeH="0" baseline="0" noProof="0">
                <a:ln>
                  <a:noFill/>
                </a:ln>
                <a:solidFill>
                  <a:srgbClr val="000000"/>
                </a:solidFill>
                <a:effectLst/>
                <a:uLnTx/>
                <a:uFillTx/>
                <a:latin typeface="Segoe Sans Text"/>
                <a:ea typeface="+mn-ea"/>
                <a:cs typeface="+mn-cs"/>
              </a:rPr>
              <a:t>Move a portion of existing Data &amp; AI CSAs with deep SQL skills (IaaS, PaaS) to “seed” FY26 Infra CSA role</a:t>
            </a:r>
          </a:p>
          <a:p>
            <a:pPr marL="241300" marR="0" lvl="1" indent="-152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00" cap="none" spc="0" normalizeH="0" baseline="0" noProof="0">
                <a:ln>
                  <a:noFill/>
                </a:ln>
                <a:solidFill>
                  <a:srgbClr val="000000"/>
                </a:solidFill>
                <a:effectLst/>
                <a:uLnTx/>
                <a:uFillTx/>
                <a:latin typeface="Segoe Sans Text"/>
                <a:ea typeface="+mn-ea"/>
                <a:cs typeface="+mn-cs"/>
              </a:rPr>
              <a:t>Move a portion of existing App Inno CSAs with deep App Mod skills (AKS, App Service) to “seed” FY26 Infra CSA role</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Cloud Solution Architects Delivery Focus</a:t>
            </a:r>
          </a:p>
          <a:p>
            <a:pPr marL="241300" marR="0" lvl="1" indent="-1524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00" cap="none" spc="0" normalizeH="0" baseline="0" noProof="0">
                <a:ln>
                  <a:noFill/>
                </a:ln>
                <a:solidFill>
                  <a:srgbClr val="000000"/>
                </a:solidFill>
                <a:effectLst/>
                <a:uLnTx/>
                <a:uFillTx/>
                <a:latin typeface="Segoe Sans Text"/>
                <a:ea typeface="+mn-ea"/>
                <a:cs typeface="+mn-cs"/>
              </a:rPr>
              <a:t>Core priorities of CSA role will remain anchored on Job 1, </a:t>
            </a:r>
            <a:br>
              <a:rPr kumimoji="0" lang="en-US" sz="1200" b="0" i="0" u="none" strike="noStrike" kern="100" cap="none" spc="0" normalizeH="0" baseline="0" noProof="0">
                <a:ln>
                  <a:noFill/>
                </a:ln>
                <a:solidFill>
                  <a:srgbClr val="000000"/>
                </a:solidFill>
                <a:effectLst/>
                <a:uLnTx/>
                <a:uFillTx/>
                <a:latin typeface="Segoe Sans Text"/>
                <a:ea typeface="+mn-ea"/>
                <a:cs typeface="+mn-cs"/>
              </a:rPr>
            </a:br>
            <a:r>
              <a:rPr kumimoji="0" lang="en-US" sz="1200" b="0" i="0" u="none" strike="noStrike" kern="100" cap="none" spc="0" normalizeH="0" baseline="0" noProof="0">
                <a:ln>
                  <a:noFill/>
                </a:ln>
                <a:solidFill>
                  <a:srgbClr val="000000"/>
                </a:solidFill>
                <a:effectLst/>
                <a:uLnTx/>
                <a:uFillTx/>
                <a:latin typeface="Segoe Sans Text"/>
                <a:ea typeface="+mn-ea"/>
                <a:cs typeface="+mn-cs"/>
              </a:rPr>
              <a:t>Job 2, and Unified delivery (inclusive of Factory oversight)</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New Cloud &amp; AI-Cloud Solution Architect</a:t>
            </a:r>
          </a:p>
          <a:p>
            <a:pPr marL="241300" marR="0" lvl="1" indent="-1524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00" cap="none" spc="0" normalizeH="0" baseline="0" noProof="0">
                <a:ln>
                  <a:noFill/>
                </a:ln>
                <a:solidFill>
                  <a:srgbClr val="000000"/>
                </a:solidFill>
                <a:effectLst/>
                <a:uLnTx/>
                <a:uFillTx/>
                <a:latin typeface="Segoe Sans Text"/>
                <a:ea typeface="+mn-ea"/>
                <a:cs typeface="+mn-cs"/>
              </a:rPr>
              <a:t>Pinned to </a:t>
            </a:r>
            <a:r>
              <a:rPr kumimoji="0" lang="en-US" sz="1200" b="0" i="0" u="none" strike="noStrike" kern="1200" cap="none" spc="-30" normalizeH="0" baseline="0" noProof="0">
                <a:ln w="3175">
                  <a:noFill/>
                </a:ln>
                <a:solidFill>
                  <a:srgbClr val="000000"/>
                </a:solidFill>
                <a:effectLst/>
                <a:uLnTx/>
                <a:uFillTx/>
                <a:latin typeface="Segoe Sans Text"/>
                <a:ea typeface="+mn-ea"/>
                <a:cs typeface="+mn-cs"/>
              </a:rPr>
              <a:t>Classic</a:t>
            </a:r>
            <a:r>
              <a:rPr kumimoji="0" lang="en-US" sz="1200" b="0" i="0" u="none" strike="noStrike" kern="100" cap="none" spc="0" normalizeH="0" baseline="0" noProof="0">
                <a:ln>
                  <a:noFill/>
                </a:ln>
                <a:solidFill>
                  <a:srgbClr val="000000"/>
                </a:solidFill>
                <a:effectLst/>
                <a:uLnTx/>
                <a:uFillTx/>
                <a:latin typeface="Segoe Sans Text"/>
                <a:ea typeface="+mn-ea"/>
                <a:cs typeface="+mn-cs"/>
              </a:rPr>
              <a:t> accounts with $10M+ MACC or Underperforming MACC and Unified, measured on MACC/Unified Health in addition to ACR attainment and consumption excellence</a:t>
            </a:r>
          </a:p>
        </p:txBody>
      </p:sp>
      <p:cxnSp>
        <p:nvCxnSpPr>
          <p:cNvPr id="126" name="Connector: Elbow 125">
            <a:extLst>
              <a:ext uri="{FF2B5EF4-FFF2-40B4-BE49-F238E27FC236}">
                <a16:creationId xmlns:a16="http://schemas.microsoft.com/office/drawing/2014/main" id="{AFC127A9-9999-8F35-4F90-D15FF6C463BC}"/>
              </a:ext>
              <a:ext uri="{C183D7F6-B498-43B3-948B-1728B52AA6E4}">
                <adec:decorative xmlns:adec="http://schemas.microsoft.com/office/drawing/2017/decorative" val="1"/>
              </a:ext>
            </a:extLst>
          </p:cNvPr>
          <p:cNvCxnSpPr>
            <a:cxnSpLocks/>
            <a:stCxn id="6" idx="3"/>
            <a:endCxn id="12" idx="1"/>
          </p:cNvCxnSpPr>
          <p:nvPr/>
        </p:nvCxnSpPr>
        <p:spPr>
          <a:xfrm>
            <a:off x="3560099" y="3186184"/>
            <a:ext cx="306432" cy="577534"/>
          </a:xfrm>
          <a:prstGeom prst="bentConnector3">
            <a:avLst>
              <a:gd name="adj1" fmla="val 50000"/>
            </a:avLst>
          </a:prstGeom>
          <a:ln w="6350">
            <a:solidFill>
              <a:schemeClr val="bg1">
                <a:lumMod val="75000"/>
              </a:schemeClr>
            </a:solidFill>
            <a:tailEnd type="arrow" w="med" len="sm"/>
          </a:ln>
        </p:spPr>
        <p:style>
          <a:lnRef idx="1">
            <a:schemeClr val="accent6"/>
          </a:lnRef>
          <a:fillRef idx="0">
            <a:schemeClr val="accent6"/>
          </a:fillRef>
          <a:effectRef idx="0">
            <a:schemeClr val="accent6"/>
          </a:effectRef>
          <a:fontRef idx="minor">
            <a:schemeClr val="tx1"/>
          </a:fontRef>
        </p:style>
      </p:cxnSp>
      <p:cxnSp>
        <p:nvCxnSpPr>
          <p:cNvPr id="127" name="Connector: Elbow 126">
            <a:extLst>
              <a:ext uri="{FF2B5EF4-FFF2-40B4-BE49-F238E27FC236}">
                <a16:creationId xmlns:a16="http://schemas.microsoft.com/office/drawing/2014/main" id="{3E57A72F-1F6B-F5E1-0980-580283C59430}"/>
              </a:ext>
              <a:ext uri="{C183D7F6-B498-43B3-948B-1728B52AA6E4}">
                <adec:decorative xmlns:adec="http://schemas.microsoft.com/office/drawing/2017/decorative" val="1"/>
              </a:ext>
            </a:extLst>
          </p:cNvPr>
          <p:cNvCxnSpPr>
            <a:cxnSpLocks/>
            <a:stCxn id="8" idx="3"/>
            <a:endCxn id="12" idx="1"/>
          </p:cNvCxnSpPr>
          <p:nvPr/>
        </p:nvCxnSpPr>
        <p:spPr>
          <a:xfrm flipV="1">
            <a:off x="3560099" y="3763718"/>
            <a:ext cx="306432" cy="577535"/>
          </a:xfrm>
          <a:prstGeom prst="bentConnector3">
            <a:avLst>
              <a:gd name="adj1" fmla="val 50000"/>
            </a:avLst>
          </a:prstGeom>
          <a:ln w="6350">
            <a:solidFill>
              <a:schemeClr val="bg1">
                <a:lumMod val="75000"/>
              </a:schemeClr>
            </a:solidFill>
            <a:tailEnd type="arrow" w="med" len="sm"/>
          </a:ln>
        </p:spPr>
        <p:style>
          <a:lnRef idx="1">
            <a:schemeClr val="accent6"/>
          </a:lnRef>
          <a:fillRef idx="0">
            <a:schemeClr val="accent6"/>
          </a:fillRef>
          <a:effectRef idx="0">
            <a:schemeClr val="accent6"/>
          </a:effectRef>
          <a:fontRef idx="minor">
            <a:schemeClr val="tx1"/>
          </a:fontRef>
        </p:style>
      </p:cxnSp>
      <p:cxnSp>
        <p:nvCxnSpPr>
          <p:cNvPr id="129" name="Straight Arrow Connector 128">
            <a:extLst>
              <a:ext uri="{FF2B5EF4-FFF2-40B4-BE49-F238E27FC236}">
                <a16:creationId xmlns:a16="http://schemas.microsoft.com/office/drawing/2014/main" id="{0BF0D828-B51D-F413-0C36-C2EBFE2B1EE4}"/>
              </a:ext>
              <a:ext uri="{C183D7F6-B498-43B3-948B-1728B52AA6E4}">
                <adec:decorative xmlns:adec="http://schemas.microsoft.com/office/drawing/2017/decorative" val="1"/>
              </a:ext>
            </a:extLst>
          </p:cNvPr>
          <p:cNvCxnSpPr>
            <a:cxnSpLocks/>
            <a:stCxn id="7" idx="3"/>
            <a:endCxn id="12" idx="1"/>
          </p:cNvCxnSpPr>
          <p:nvPr/>
        </p:nvCxnSpPr>
        <p:spPr>
          <a:xfrm>
            <a:off x="3560099" y="3763718"/>
            <a:ext cx="306432" cy="0"/>
          </a:xfrm>
          <a:prstGeom prst="straightConnector1">
            <a:avLst/>
          </a:prstGeom>
          <a:ln w="6350">
            <a:solidFill>
              <a:schemeClr val="bg1">
                <a:lumMod val="75000"/>
              </a:schemeClr>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F1363E0-FF9D-2A1A-6493-97E1A9D07803}"/>
              </a:ext>
              <a:ext uri="{C183D7F6-B498-43B3-948B-1728B52AA6E4}">
                <adec:decorative xmlns:adec="http://schemas.microsoft.com/office/drawing/2017/decorative" val="1"/>
              </a:ext>
            </a:extLst>
          </p:cNvPr>
          <p:cNvCxnSpPr/>
          <p:nvPr/>
        </p:nvCxnSpPr>
        <p:spPr>
          <a:xfrm>
            <a:off x="6761698" y="1787798"/>
            <a:ext cx="0" cy="459374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80861018-1807-517A-9D78-DE42B6ACF762}"/>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5" name="Table 2 Cell 1, 1 to Text">
              <a:extLst>
                <a:ext uri="{FF2B5EF4-FFF2-40B4-BE49-F238E27FC236}">
                  <a16:creationId xmlns:a16="http://schemas.microsoft.com/office/drawing/2014/main" id="{A1FA71EB-D5E1-29A5-99AE-63508183D84A}"/>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36" name="Table 2 Cell 2, 1 to Text">
              <a:extLst>
                <a:ext uri="{FF2B5EF4-FFF2-40B4-BE49-F238E27FC236}">
                  <a16:creationId xmlns:a16="http://schemas.microsoft.com/office/drawing/2014/main" id="{B91CF1F4-EE88-CEF5-E874-E0A8656DAB52}"/>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37" name="Table 2 Cell 3, 1 to Text">
              <a:extLst>
                <a:ext uri="{FF2B5EF4-FFF2-40B4-BE49-F238E27FC236}">
                  <a16:creationId xmlns:a16="http://schemas.microsoft.com/office/drawing/2014/main" id="{85AE2469-1749-C12C-87D1-7340C7E5DA7B}"/>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38" name="Table 2 Cell 4, 1 to Text">
              <a:extLst>
                <a:ext uri="{FF2B5EF4-FFF2-40B4-BE49-F238E27FC236}">
                  <a16:creationId xmlns:a16="http://schemas.microsoft.com/office/drawing/2014/main" id="{AEFDAA56-5117-9E0B-224A-640CFE4CABBC}"/>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9" name="Table 2 Cell 5, 1 to Text">
              <a:extLst>
                <a:ext uri="{FF2B5EF4-FFF2-40B4-BE49-F238E27FC236}">
                  <a16:creationId xmlns:a16="http://schemas.microsoft.com/office/drawing/2014/main" id="{F5A9072F-56E4-C3E0-069D-BAD509B00A28}"/>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0" name="Table 2 Cell 6, 1 to Text">
              <a:extLst>
                <a:ext uri="{FF2B5EF4-FFF2-40B4-BE49-F238E27FC236}">
                  <a16:creationId xmlns:a16="http://schemas.microsoft.com/office/drawing/2014/main" id="{EDC83824-3729-1F60-1488-CDB465CBF468}"/>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1" name="Table 2 Cell 7, 1 to Text">
              <a:extLst>
                <a:ext uri="{FF2B5EF4-FFF2-40B4-BE49-F238E27FC236}">
                  <a16:creationId xmlns:a16="http://schemas.microsoft.com/office/drawing/2014/main" id="{4404B5C2-7047-C2B9-3AE3-960027432BB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2" name="Table 2 Cell 1, 2 to Text">
              <a:extLst>
                <a:ext uri="{FF2B5EF4-FFF2-40B4-BE49-F238E27FC236}">
                  <a16:creationId xmlns:a16="http://schemas.microsoft.com/office/drawing/2014/main" id="{CACFC8BC-2382-9AF1-4A86-AB1C21D72A4A}"/>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43" name="Table 2 Cell 1, 3 to Text">
              <a:extLst>
                <a:ext uri="{FF2B5EF4-FFF2-40B4-BE49-F238E27FC236}">
                  <a16:creationId xmlns:a16="http://schemas.microsoft.com/office/drawing/2014/main" id="{3651FC1F-B0D6-2FB2-D2E3-0802409CFD1A}"/>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45" name="Table 2 Cell 1, 4 to Text">
              <a:extLst>
                <a:ext uri="{FF2B5EF4-FFF2-40B4-BE49-F238E27FC236}">
                  <a16:creationId xmlns:a16="http://schemas.microsoft.com/office/drawing/2014/main" id="{5548B334-F1F3-7846-2FAB-89FAA190A1B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46" name="Table 2 Cell 1, 5 to Text">
              <a:extLst>
                <a:ext uri="{FF2B5EF4-FFF2-40B4-BE49-F238E27FC236}">
                  <a16:creationId xmlns:a16="http://schemas.microsoft.com/office/drawing/2014/main" id="{734CE53C-E10C-F3FE-C2A1-AC81EBAEA1F8}"/>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4 Sales Model &amp; Role Changes</a:t>
              </a:r>
            </a:p>
          </p:txBody>
        </p:sp>
        <p:sp>
          <p:nvSpPr>
            <p:cNvPr id="47" name="Table 2 Cell 1, 6 to Text">
              <a:extLst>
                <a:ext uri="{FF2B5EF4-FFF2-40B4-BE49-F238E27FC236}">
                  <a16:creationId xmlns:a16="http://schemas.microsoft.com/office/drawing/2014/main" id="{E8BE09D6-25DB-3F29-9898-233B4D55DB5D}"/>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48" name="Table 2 Cell 1, 7 to Text">
              <a:extLst>
                <a:ext uri="{FF2B5EF4-FFF2-40B4-BE49-F238E27FC236}">
                  <a16:creationId xmlns:a16="http://schemas.microsoft.com/office/drawing/2014/main" id="{68D44584-0E2E-20B1-A0C8-6E70FF756198}"/>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49" name="Table 2 Cell 1, 8 to Text">
              <a:extLst>
                <a:ext uri="{FF2B5EF4-FFF2-40B4-BE49-F238E27FC236}">
                  <a16:creationId xmlns:a16="http://schemas.microsoft.com/office/drawing/2014/main" id="{1A764792-1F52-BFB8-32C2-E58DF3185822}"/>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23779750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69F02-8C92-9E7A-E3F2-B93D8108649E}"/>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AF60DF55-E868-171C-22FD-8D4591CE5FA0}"/>
              </a:ext>
            </a:extLst>
          </p:cNvPr>
          <p:cNvSpPr>
            <a:spLocks noGrp="1"/>
          </p:cNvSpPr>
          <p:nvPr>
            <p:ph type="title"/>
          </p:nvPr>
        </p:nvSpPr>
        <p:spPr>
          <a:xfrm>
            <a:off x="571500" y="457200"/>
            <a:ext cx="11049000" cy="492443"/>
          </a:xfrm>
        </p:spPr>
        <p:txBody>
          <a:bodyPr/>
          <a:lstStyle/>
          <a:p>
            <a:r>
              <a:rPr lang="en-US"/>
              <a:t>Unified, Factory, and ISD Offers | Cloud &amp; AI Platforms</a:t>
            </a:r>
          </a:p>
        </p:txBody>
      </p:sp>
      <p:sp>
        <p:nvSpPr>
          <p:cNvPr id="8" name="Rectangle: Rounded Corners 7">
            <a:extLst>
              <a:ext uri="{FF2B5EF4-FFF2-40B4-BE49-F238E27FC236}">
                <a16:creationId xmlns:a16="http://schemas.microsoft.com/office/drawing/2014/main" id="{2ACDAC70-4B9E-2CAD-3336-990AD11C54DD}"/>
              </a:ext>
              <a:ext uri="{C183D7F6-B498-43B3-948B-1728B52AA6E4}">
                <adec:decorative xmlns:adec="http://schemas.microsoft.com/office/drawing/2017/decorative" val="1"/>
              </a:ext>
            </a:extLst>
          </p:cNvPr>
          <p:cNvSpPr>
            <a:spLocks/>
          </p:cNvSpPr>
          <p:nvPr/>
        </p:nvSpPr>
        <p:spPr bwMode="auto">
          <a:xfrm>
            <a:off x="571500" y="1169988"/>
            <a:ext cx="11049000" cy="5127624"/>
          </a:xfrm>
          <a:prstGeom prst="roundRect">
            <a:avLst>
              <a:gd name="adj" fmla="val 2330"/>
            </a:avLst>
          </a:prstGeom>
          <a:solidFill>
            <a:schemeClr val="bg1"/>
          </a:solidFill>
          <a:ln w="6350" cap="rnd">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7" name="Rectangle: Rounded Corners 46">
            <a:extLst>
              <a:ext uri="{FF2B5EF4-FFF2-40B4-BE49-F238E27FC236}">
                <a16:creationId xmlns:a16="http://schemas.microsoft.com/office/drawing/2014/main" id="{019CC7D9-74C1-6149-C161-E9AD121EF352}"/>
              </a:ext>
              <a:ext uri="{C183D7F6-B498-43B3-948B-1728B52AA6E4}">
                <adec:decorative xmlns:adec="http://schemas.microsoft.com/office/drawing/2017/decorative" val="1"/>
              </a:ext>
            </a:extLst>
          </p:cNvPr>
          <p:cNvSpPr/>
          <p:nvPr/>
        </p:nvSpPr>
        <p:spPr bwMode="auto">
          <a:xfrm>
            <a:off x="739697" y="5340232"/>
            <a:ext cx="10712606" cy="804089"/>
          </a:xfrm>
          <a:prstGeom prst="roundRect">
            <a:avLst>
              <a:gd name="adj" fmla="val 9716"/>
            </a:avLst>
          </a:prstGeom>
          <a:solidFill>
            <a:schemeClr val="bg1">
              <a:lumMod val="95000"/>
            </a:schemeClr>
          </a:solidFill>
          <a:ln w="6350">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76000" tIns="0" rIns="18000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7" name="Text Placeholder 35">
            <a:extLst>
              <a:ext uri="{FF2B5EF4-FFF2-40B4-BE49-F238E27FC236}">
                <a16:creationId xmlns:a16="http://schemas.microsoft.com/office/drawing/2014/main" id="{EC00E65C-7F71-2091-4377-56D493034E13}"/>
              </a:ext>
            </a:extLst>
          </p:cNvPr>
          <p:cNvSpPr txBox="1">
            <a:spLocks/>
          </p:cNvSpPr>
          <p:nvPr/>
        </p:nvSpPr>
        <p:spPr>
          <a:xfrm>
            <a:off x="1045022" y="1715770"/>
            <a:ext cx="2468370" cy="995172"/>
          </a:xfrm>
          <a:prstGeom prst="roundRect">
            <a:avLst>
              <a:gd name="adj" fmla="val 815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t>Migrate and Modernize </a:t>
            </a:r>
            <a:b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br>
            <a: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t>your Estate</a:t>
            </a:r>
          </a:p>
        </p:txBody>
      </p:sp>
      <p:sp>
        <p:nvSpPr>
          <p:cNvPr id="69" name="Text Placeholder 35">
            <a:extLst>
              <a:ext uri="{FF2B5EF4-FFF2-40B4-BE49-F238E27FC236}">
                <a16:creationId xmlns:a16="http://schemas.microsoft.com/office/drawing/2014/main" id="{1197A5DE-F3F3-32B4-DCAF-B53C6FC66429}"/>
              </a:ext>
            </a:extLst>
          </p:cNvPr>
          <p:cNvSpPr txBox="1">
            <a:spLocks/>
          </p:cNvSpPr>
          <p:nvPr/>
        </p:nvSpPr>
        <p:spPr>
          <a:xfrm>
            <a:off x="1045022" y="2823464"/>
            <a:ext cx="2468370" cy="995172"/>
          </a:xfrm>
          <a:prstGeom prst="roundRect">
            <a:avLst>
              <a:gd name="adj" fmla="val 815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t>Innovate with Azure AI </a:t>
            </a:r>
            <a:b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br>
            <a: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t>Apps and Agents</a:t>
            </a:r>
          </a:p>
        </p:txBody>
      </p:sp>
      <p:sp>
        <p:nvSpPr>
          <p:cNvPr id="71" name="Text Placeholder 35">
            <a:extLst>
              <a:ext uri="{FF2B5EF4-FFF2-40B4-BE49-F238E27FC236}">
                <a16:creationId xmlns:a16="http://schemas.microsoft.com/office/drawing/2014/main" id="{9ED43E5B-0AC4-71D3-D6FF-E5B558E51022}"/>
              </a:ext>
            </a:extLst>
          </p:cNvPr>
          <p:cNvSpPr txBox="1">
            <a:spLocks/>
          </p:cNvSpPr>
          <p:nvPr/>
        </p:nvSpPr>
        <p:spPr>
          <a:xfrm>
            <a:off x="1045022" y="3931158"/>
            <a:ext cx="2468370" cy="995172"/>
          </a:xfrm>
          <a:prstGeom prst="roundRect">
            <a:avLst>
              <a:gd name="adj" fmla="val 815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itchFamily="34" charset="0"/>
              </a:rPr>
              <a:t>Unify your Data Platform</a:t>
            </a:r>
          </a:p>
        </p:txBody>
      </p:sp>
      <p:cxnSp>
        <p:nvCxnSpPr>
          <p:cNvPr id="72" name="Straight Connector 71">
            <a:extLst>
              <a:ext uri="{FF2B5EF4-FFF2-40B4-BE49-F238E27FC236}">
                <a16:creationId xmlns:a16="http://schemas.microsoft.com/office/drawing/2014/main" id="{316579AD-7C56-853E-6218-808BC8681A21}"/>
              </a:ext>
              <a:ext uri="{C183D7F6-B498-43B3-948B-1728B52AA6E4}">
                <adec:decorative xmlns:adec="http://schemas.microsoft.com/office/drawing/2017/decorative" val="1"/>
              </a:ext>
            </a:extLst>
          </p:cNvPr>
          <p:cNvCxnSpPr>
            <a:cxnSpLocks/>
          </p:cNvCxnSpPr>
          <p:nvPr/>
        </p:nvCxnSpPr>
        <p:spPr>
          <a:xfrm>
            <a:off x="3705224" y="2767203"/>
            <a:ext cx="7765238" cy="0"/>
          </a:xfrm>
          <a:prstGeom prst="line">
            <a:avLst/>
          </a:prstGeom>
          <a:solidFill>
            <a:srgbClr val="F6F6F6"/>
          </a:solidFill>
          <a:ln w="6350" cap="rnd">
            <a:solidFill>
              <a:schemeClr val="bg1">
                <a:lumMod val="75000"/>
              </a:schemeClr>
            </a:solidFill>
            <a:prstDash val="solid"/>
            <a:headEnd type="none" w="lg" len="med"/>
            <a:tailEnd type="none" w="lg" len="sm"/>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2F5DA12-3D27-EC58-6C1A-59A461D0D86C}"/>
              </a:ext>
              <a:ext uri="{C183D7F6-B498-43B3-948B-1728B52AA6E4}">
                <adec:decorative xmlns:adec="http://schemas.microsoft.com/office/drawing/2017/decorative" val="1"/>
              </a:ext>
            </a:extLst>
          </p:cNvPr>
          <p:cNvCxnSpPr>
            <a:cxnSpLocks/>
          </p:cNvCxnSpPr>
          <p:nvPr/>
        </p:nvCxnSpPr>
        <p:spPr>
          <a:xfrm>
            <a:off x="3705224" y="3874897"/>
            <a:ext cx="7765238" cy="0"/>
          </a:xfrm>
          <a:prstGeom prst="line">
            <a:avLst/>
          </a:prstGeom>
          <a:solidFill>
            <a:srgbClr val="F6F6F6"/>
          </a:solidFill>
          <a:ln w="6350" cap="rnd">
            <a:solidFill>
              <a:schemeClr val="bg1">
                <a:lumMod val="75000"/>
              </a:schemeClr>
            </a:solidFill>
            <a:prstDash val="solid"/>
            <a:headEnd type="none" w="lg" len="med"/>
            <a:tailEnd type="none" w="lg" len="sm"/>
          </a:ln>
          <a:effectLst/>
        </p:spPr>
        <p:style>
          <a:lnRef idx="1">
            <a:schemeClr val="accent1"/>
          </a:lnRef>
          <a:fillRef idx="0">
            <a:schemeClr val="accent1"/>
          </a:fillRef>
          <a:effectRef idx="0">
            <a:schemeClr val="accent1"/>
          </a:effectRef>
          <a:fontRef idx="minor">
            <a:schemeClr val="tx1"/>
          </a:fontRef>
        </p:style>
      </p:cxnSp>
      <p:sp>
        <p:nvSpPr>
          <p:cNvPr id="74" name="Freeform 52">
            <a:extLst>
              <a:ext uri="{FF2B5EF4-FFF2-40B4-BE49-F238E27FC236}">
                <a16:creationId xmlns:a16="http://schemas.microsoft.com/office/drawing/2014/main" id="{DD6A7D74-B08B-D7C8-0B63-B09E6EB59EFA}"/>
              </a:ext>
              <a:ext uri="{C183D7F6-B498-43B3-948B-1728B52AA6E4}">
                <adec:decorative xmlns:adec="http://schemas.microsoft.com/office/drawing/2017/decorative" val="1"/>
              </a:ext>
            </a:extLst>
          </p:cNvPr>
          <p:cNvSpPr/>
          <p:nvPr/>
        </p:nvSpPr>
        <p:spPr bwMode="auto">
          <a:xfrm>
            <a:off x="1045022" y="1486514"/>
            <a:ext cx="2468370" cy="199462"/>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ln>
            <a:gradFill>
              <a:gsLst>
                <a:gs pos="20000">
                  <a:schemeClr val="bg2">
                    <a:lumMod val="75000"/>
                  </a:schemeClr>
                </a:gs>
                <a:gs pos="100000">
                  <a:schemeClr val="bg1">
                    <a:lumMod val="95000"/>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13E3B"/>
              </a:solidFill>
              <a:effectLst/>
              <a:uLnTx/>
              <a:uFillTx/>
              <a:latin typeface="Post Grotesk Medium" panose="02000000000000000000" pitchFamily="2" charset="77"/>
              <a:ea typeface="Post Grotesk Medium" panose="02000000000000000000" pitchFamily="2" charset="77"/>
              <a:cs typeface="+mn-cs"/>
            </a:endParaRPr>
          </a:p>
        </p:txBody>
      </p:sp>
      <p:sp>
        <p:nvSpPr>
          <p:cNvPr id="75" name="Freeform 16">
            <a:extLst>
              <a:ext uri="{FF2B5EF4-FFF2-40B4-BE49-F238E27FC236}">
                <a16:creationId xmlns:a16="http://schemas.microsoft.com/office/drawing/2014/main" id="{DD408B5A-FF2A-6B73-2681-B726BDC82322}"/>
              </a:ext>
              <a:ext uri="{C183D7F6-B498-43B3-948B-1728B52AA6E4}">
                <adec:decorative xmlns:adec="http://schemas.microsoft.com/office/drawing/2017/decorative" val="1"/>
              </a:ext>
            </a:extLst>
          </p:cNvPr>
          <p:cNvSpPr/>
          <p:nvPr/>
        </p:nvSpPr>
        <p:spPr bwMode="auto">
          <a:xfrm rot="16200000">
            <a:off x="-733992" y="3228653"/>
            <a:ext cx="3211870" cy="183487"/>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ln>
            <a:gradFill>
              <a:gsLst>
                <a:gs pos="20000">
                  <a:schemeClr val="bg2">
                    <a:lumMod val="75000"/>
                  </a:schemeClr>
                </a:gs>
                <a:gs pos="100000">
                  <a:schemeClr val="bg1">
                    <a:lumMod val="95000"/>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13E3B"/>
              </a:solidFill>
              <a:effectLst/>
              <a:uLnTx/>
              <a:uFillTx/>
              <a:latin typeface="Post Grotesk Medium" panose="02000000000000000000" pitchFamily="2" charset="77"/>
              <a:ea typeface="+mn-ea"/>
              <a:cs typeface="+mn-cs"/>
            </a:endParaRPr>
          </a:p>
        </p:txBody>
      </p:sp>
      <p:sp>
        <p:nvSpPr>
          <p:cNvPr id="76" name="Rectangle: Rounded Corners 36">
            <a:extLst>
              <a:ext uri="{FF2B5EF4-FFF2-40B4-BE49-F238E27FC236}">
                <a16:creationId xmlns:a16="http://schemas.microsoft.com/office/drawing/2014/main" id="{FDBCABA4-9700-3187-10EB-9D1BB63DF3F9}"/>
              </a:ext>
              <a:ext uri="{C183D7F6-B498-43B3-948B-1728B52AA6E4}">
                <adec:decorative xmlns:adec="http://schemas.microsoft.com/office/drawing/2017/decorative" val="1"/>
              </a:ext>
            </a:extLst>
          </p:cNvPr>
          <p:cNvSpPr/>
          <p:nvPr/>
        </p:nvSpPr>
        <p:spPr>
          <a:xfrm rot="16200000">
            <a:off x="179377" y="3203442"/>
            <a:ext cx="1198296" cy="233910"/>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spAutoFit/>
          </a:bodyPr>
          <a:lstStyle/>
          <a:p>
            <a:pPr marL="0" marR="0" lvl="0" indent="0" algn="ctr" defTabSz="932742" rtl="0" eaLnBrk="1" fontAlgn="auto" latinLnBrk="0" hangingPunct="1">
              <a:lnSpc>
                <a:spcPct val="100000"/>
              </a:lnSpc>
              <a:spcBef>
                <a:spcPts val="1200"/>
              </a:spcBef>
              <a:spcAft>
                <a:spcPts val="1200"/>
              </a:spcAft>
              <a:buClrTx/>
              <a:buSzPct val="90000"/>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Mainstream</a:t>
            </a:r>
          </a:p>
        </p:txBody>
      </p:sp>
      <p:sp>
        <p:nvSpPr>
          <p:cNvPr id="77" name="Text Placeholder 35">
            <a:extLst>
              <a:ext uri="{FF2B5EF4-FFF2-40B4-BE49-F238E27FC236}">
                <a16:creationId xmlns:a16="http://schemas.microsoft.com/office/drawing/2014/main" id="{C6DBDD86-191A-1691-223B-9C2B14BD4317}"/>
              </a:ext>
            </a:extLst>
          </p:cNvPr>
          <p:cNvSpPr txBox="1">
            <a:spLocks/>
          </p:cNvSpPr>
          <p:nvPr/>
        </p:nvSpPr>
        <p:spPr>
          <a:xfrm>
            <a:off x="1336447" y="1375498"/>
            <a:ext cx="1885519" cy="215444"/>
          </a:xfrm>
          <a:prstGeom prst="rect">
            <a:avLst/>
          </a:prstGeom>
          <a:solidFill>
            <a:srgbClr val="FFFFFF"/>
          </a:solid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FY26 Solution Plays</a:t>
            </a:r>
          </a:p>
        </p:txBody>
      </p:sp>
      <p:sp>
        <p:nvSpPr>
          <p:cNvPr id="78" name="Freeform 52">
            <a:extLst>
              <a:ext uri="{FF2B5EF4-FFF2-40B4-BE49-F238E27FC236}">
                <a16:creationId xmlns:a16="http://schemas.microsoft.com/office/drawing/2014/main" id="{90C3668D-2905-8F43-E3AC-CC414960E006}"/>
              </a:ext>
              <a:ext uri="{C183D7F6-B498-43B3-948B-1728B52AA6E4}">
                <adec:decorative xmlns:adec="http://schemas.microsoft.com/office/drawing/2017/decorative" val="1"/>
              </a:ext>
            </a:extLst>
          </p:cNvPr>
          <p:cNvSpPr/>
          <p:nvPr/>
        </p:nvSpPr>
        <p:spPr bwMode="auto">
          <a:xfrm>
            <a:off x="3705225" y="1486514"/>
            <a:ext cx="2527952" cy="199462"/>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ln>
            <a:gradFill>
              <a:gsLst>
                <a:gs pos="20000">
                  <a:schemeClr val="bg2">
                    <a:lumMod val="75000"/>
                  </a:schemeClr>
                </a:gs>
                <a:gs pos="100000">
                  <a:schemeClr val="bg1">
                    <a:lumMod val="95000"/>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13E3B"/>
              </a:solidFill>
              <a:effectLst/>
              <a:uLnTx/>
              <a:uFillTx/>
              <a:latin typeface="Post Grotesk Medium" panose="02000000000000000000" pitchFamily="2" charset="77"/>
              <a:ea typeface="Post Grotesk Medium" panose="02000000000000000000" pitchFamily="2" charset="77"/>
              <a:cs typeface="+mn-cs"/>
            </a:endParaRPr>
          </a:p>
        </p:txBody>
      </p:sp>
      <p:sp>
        <p:nvSpPr>
          <p:cNvPr id="79" name="Freeform 52">
            <a:extLst>
              <a:ext uri="{FF2B5EF4-FFF2-40B4-BE49-F238E27FC236}">
                <a16:creationId xmlns:a16="http://schemas.microsoft.com/office/drawing/2014/main" id="{0BD06732-CB66-A8B7-9110-759F3508726A}"/>
              </a:ext>
              <a:ext uri="{C183D7F6-B498-43B3-948B-1728B52AA6E4}">
                <adec:decorative xmlns:adec="http://schemas.microsoft.com/office/drawing/2017/decorative" val="1"/>
              </a:ext>
            </a:extLst>
          </p:cNvPr>
          <p:cNvSpPr/>
          <p:nvPr/>
        </p:nvSpPr>
        <p:spPr bwMode="auto">
          <a:xfrm>
            <a:off x="6323868" y="1486514"/>
            <a:ext cx="2527952" cy="199462"/>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ln>
            <a:gradFill>
              <a:gsLst>
                <a:gs pos="20000">
                  <a:schemeClr val="bg2">
                    <a:lumMod val="75000"/>
                  </a:schemeClr>
                </a:gs>
                <a:gs pos="100000">
                  <a:schemeClr val="bg1">
                    <a:lumMod val="95000"/>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13E3B"/>
              </a:solidFill>
              <a:effectLst/>
              <a:uLnTx/>
              <a:uFillTx/>
              <a:latin typeface="Post Grotesk Medium" panose="02000000000000000000" pitchFamily="2" charset="77"/>
              <a:ea typeface="Post Grotesk Medium" panose="02000000000000000000" pitchFamily="2" charset="77"/>
              <a:cs typeface="+mn-cs"/>
            </a:endParaRPr>
          </a:p>
        </p:txBody>
      </p:sp>
      <p:sp>
        <p:nvSpPr>
          <p:cNvPr id="80" name="Freeform 52">
            <a:extLst>
              <a:ext uri="{FF2B5EF4-FFF2-40B4-BE49-F238E27FC236}">
                <a16:creationId xmlns:a16="http://schemas.microsoft.com/office/drawing/2014/main" id="{655CEA7A-C6BA-1BB8-824B-2C9B38FDDBC9}"/>
              </a:ext>
              <a:ext uri="{C183D7F6-B498-43B3-948B-1728B52AA6E4}">
                <adec:decorative xmlns:adec="http://schemas.microsoft.com/office/drawing/2017/decorative" val="1"/>
              </a:ext>
            </a:extLst>
          </p:cNvPr>
          <p:cNvSpPr/>
          <p:nvPr/>
        </p:nvSpPr>
        <p:spPr bwMode="auto">
          <a:xfrm>
            <a:off x="8942510" y="1486514"/>
            <a:ext cx="2527952" cy="199462"/>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ln>
            <a:gradFill>
              <a:gsLst>
                <a:gs pos="20000">
                  <a:schemeClr val="bg2">
                    <a:lumMod val="75000"/>
                  </a:schemeClr>
                </a:gs>
                <a:gs pos="100000">
                  <a:schemeClr val="bg1">
                    <a:lumMod val="95000"/>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13E3B"/>
              </a:solidFill>
              <a:effectLst/>
              <a:uLnTx/>
              <a:uFillTx/>
              <a:latin typeface="Post Grotesk Medium" panose="02000000000000000000" pitchFamily="2" charset="77"/>
              <a:ea typeface="Post Grotesk Medium" panose="02000000000000000000" pitchFamily="2" charset="77"/>
              <a:cs typeface="+mn-cs"/>
            </a:endParaRPr>
          </a:p>
        </p:txBody>
      </p:sp>
      <p:sp>
        <p:nvSpPr>
          <p:cNvPr id="81" name="Text Placeholder 35">
            <a:extLst>
              <a:ext uri="{FF2B5EF4-FFF2-40B4-BE49-F238E27FC236}">
                <a16:creationId xmlns:a16="http://schemas.microsoft.com/office/drawing/2014/main" id="{88D053FF-9E0B-AED3-6AD5-E80108F25039}"/>
              </a:ext>
            </a:extLst>
          </p:cNvPr>
          <p:cNvSpPr txBox="1">
            <a:spLocks/>
          </p:cNvSpPr>
          <p:nvPr/>
        </p:nvSpPr>
        <p:spPr>
          <a:xfrm>
            <a:off x="4075937" y="1375498"/>
            <a:ext cx="1786528" cy="215444"/>
          </a:xfrm>
          <a:prstGeom prst="rect">
            <a:avLst/>
          </a:prstGeom>
          <a:solidFill>
            <a:srgbClr val="FFFFFF"/>
          </a:solidFill>
        </p:spPr>
        <p:txBody>
          <a:bodyPr wrap="square" lIns="0" tIns="0" rIns="0" bIns="0" anchor="ctr">
            <a:noAutofit/>
          </a:bodyPr>
          <a:lstStyle>
            <a:defPPr>
              <a:defRPr lang="en-US"/>
            </a:defPPr>
            <a:lvl1pPr marR="0" lvl="0" indent="0" algn="ctr" defTabSz="932742" fontAlgn="auto">
              <a:lnSpc>
                <a:spcPct val="100000"/>
              </a:lnSpc>
              <a:spcBef>
                <a:spcPts val="1200"/>
              </a:spcBef>
              <a:spcAft>
                <a:spcPts val="1200"/>
              </a:spcAft>
              <a:buClrTx/>
              <a:buSzPct val="90000"/>
              <a:buFont typeface="Wingdings" panose="05000000000000000000" pitchFamily="2" charset="2"/>
              <a:buNone/>
              <a:tabLst/>
              <a:defRPr kumimoji="0" sz="1400" b="0" i="0" u="none" strike="noStrike" cap="none" spc="0" normalizeH="0" baseline="0">
                <a:ln>
                  <a:noFill/>
                </a:ln>
                <a:solidFill>
                  <a:srgbClr val="0078D4"/>
                </a:solidFill>
                <a:effectLst/>
                <a:uLnTx/>
                <a:uFillTx/>
                <a:latin typeface="+mj-lt"/>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tx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tx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5pPr>
            <a:lvl6pPr marL="2565040" indent="-233186" defTabSz="932742">
              <a:spcBef>
                <a:spcPct val="20000"/>
              </a:spcBef>
              <a:buFont typeface="Arial" pitchFamily="34" charset="0"/>
              <a:buChar char="•"/>
              <a:defRPr sz="2000">
                <a:solidFill>
                  <a:schemeClr val="tx1"/>
                </a:solidFill>
              </a:defRPr>
            </a:lvl6pPr>
            <a:lvl7pPr marL="3031412" indent="-233186" defTabSz="932742">
              <a:spcBef>
                <a:spcPct val="20000"/>
              </a:spcBef>
              <a:buFont typeface="Arial" pitchFamily="34" charset="0"/>
              <a:buChar char="•"/>
              <a:defRPr sz="2000">
                <a:solidFill>
                  <a:schemeClr val="tx1"/>
                </a:solidFill>
              </a:defRPr>
            </a:lvl7pPr>
            <a:lvl8pPr marL="3497783" indent="-233186" defTabSz="932742">
              <a:spcBef>
                <a:spcPct val="20000"/>
              </a:spcBef>
              <a:buFont typeface="Arial" pitchFamily="34" charset="0"/>
              <a:buChar char="•"/>
              <a:defRPr sz="2000">
                <a:solidFill>
                  <a:schemeClr val="tx1"/>
                </a:solidFill>
              </a:defRPr>
            </a:lvl8pPr>
            <a:lvl9pPr marL="3964155" indent="-233186" defTabSz="932742">
              <a:spcBef>
                <a:spcPct val="20000"/>
              </a:spcBef>
              <a:buFont typeface="Arial" pitchFamily="34" charset="0"/>
              <a:buChar char="•"/>
              <a:defRPr sz="2000">
                <a:solidFill>
                  <a:schemeClr val="tx1"/>
                </a:solidFill>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Unified Hero Offers*</a:t>
            </a:r>
          </a:p>
        </p:txBody>
      </p:sp>
      <p:sp>
        <p:nvSpPr>
          <p:cNvPr id="82" name="Text Placeholder 35">
            <a:extLst>
              <a:ext uri="{FF2B5EF4-FFF2-40B4-BE49-F238E27FC236}">
                <a16:creationId xmlns:a16="http://schemas.microsoft.com/office/drawing/2014/main" id="{9BF60A95-5023-8950-E3F3-E97B3A38BE3E}"/>
              </a:ext>
            </a:extLst>
          </p:cNvPr>
          <p:cNvSpPr txBox="1">
            <a:spLocks/>
          </p:cNvSpPr>
          <p:nvPr/>
        </p:nvSpPr>
        <p:spPr>
          <a:xfrm>
            <a:off x="6960375" y="1375498"/>
            <a:ext cx="1254938" cy="215444"/>
          </a:xfrm>
          <a:prstGeom prst="rect">
            <a:avLst/>
          </a:prstGeom>
          <a:solidFill>
            <a:srgbClr val="FFFFFF"/>
          </a:solidFill>
        </p:spPr>
        <p:txBody>
          <a:bodyPr wrap="square" lIns="0" tIns="0" rIns="0" bIns="0" anchor="ctr">
            <a:noAutofit/>
          </a:bodyPr>
          <a:lstStyle>
            <a:defPPr>
              <a:defRPr lang="en-US"/>
            </a:defPPr>
            <a:lvl1pPr marR="0" lvl="0" indent="0" algn="ctr" defTabSz="932742" fontAlgn="auto">
              <a:lnSpc>
                <a:spcPct val="100000"/>
              </a:lnSpc>
              <a:spcBef>
                <a:spcPts val="1200"/>
              </a:spcBef>
              <a:spcAft>
                <a:spcPts val="1200"/>
              </a:spcAft>
              <a:buClrTx/>
              <a:buSzPct val="90000"/>
              <a:buFont typeface="Wingdings" panose="05000000000000000000" pitchFamily="2" charset="2"/>
              <a:buNone/>
              <a:tabLst/>
              <a:defRPr kumimoji="0" sz="1400" b="0" i="0" u="none" strike="noStrike" cap="none" spc="0" normalizeH="0" baseline="0">
                <a:ln>
                  <a:noFill/>
                </a:ln>
                <a:solidFill>
                  <a:srgbClr val="0078D4"/>
                </a:solidFill>
                <a:effectLst/>
                <a:uLnTx/>
                <a:uFillTx/>
                <a:latin typeface="+mj-lt"/>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tx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tx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5pPr>
            <a:lvl6pPr marL="2565040" indent="-233186" defTabSz="932742">
              <a:spcBef>
                <a:spcPct val="20000"/>
              </a:spcBef>
              <a:buFont typeface="Arial" pitchFamily="34" charset="0"/>
              <a:buChar char="•"/>
              <a:defRPr sz="2000">
                <a:solidFill>
                  <a:schemeClr val="tx1"/>
                </a:solidFill>
              </a:defRPr>
            </a:lvl6pPr>
            <a:lvl7pPr marL="3031412" indent="-233186" defTabSz="932742">
              <a:spcBef>
                <a:spcPct val="20000"/>
              </a:spcBef>
              <a:buFont typeface="Arial" pitchFamily="34" charset="0"/>
              <a:buChar char="•"/>
              <a:defRPr sz="2000">
                <a:solidFill>
                  <a:schemeClr val="tx1"/>
                </a:solidFill>
              </a:defRPr>
            </a:lvl7pPr>
            <a:lvl8pPr marL="3497783" indent="-233186" defTabSz="932742">
              <a:spcBef>
                <a:spcPct val="20000"/>
              </a:spcBef>
              <a:buFont typeface="Arial" pitchFamily="34" charset="0"/>
              <a:buChar char="•"/>
              <a:defRPr sz="2000">
                <a:solidFill>
                  <a:schemeClr val="tx1"/>
                </a:solidFill>
              </a:defRPr>
            </a:lvl8pPr>
            <a:lvl9pPr marL="3964155" indent="-233186" defTabSz="932742">
              <a:spcBef>
                <a:spcPct val="20000"/>
              </a:spcBef>
              <a:buFont typeface="Arial" pitchFamily="34" charset="0"/>
              <a:buChar char="•"/>
              <a:defRPr sz="2000">
                <a:solidFill>
                  <a:schemeClr val="tx1"/>
                </a:solidFill>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Factory</a:t>
            </a:r>
          </a:p>
        </p:txBody>
      </p:sp>
      <p:sp>
        <p:nvSpPr>
          <p:cNvPr id="83" name="Text Placeholder 35">
            <a:extLst>
              <a:ext uri="{FF2B5EF4-FFF2-40B4-BE49-F238E27FC236}">
                <a16:creationId xmlns:a16="http://schemas.microsoft.com/office/drawing/2014/main" id="{4D9A5EA4-82B8-9B67-EA8C-41EA4078F602}"/>
              </a:ext>
            </a:extLst>
          </p:cNvPr>
          <p:cNvSpPr txBox="1">
            <a:spLocks/>
          </p:cNvSpPr>
          <p:nvPr/>
        </p:nvSpPr>
        <p:spPr>
          <a:xfrm>
            <a:off x="9725922" y="1375498"/>
            <a:ext cx="961128" cy="215444"/>
          </a:xfrm>
          <a:prstGeom prst="rect">
            <a:avLst/>
          </a:prstGeom>
          <a:solidFill>
            <a:srgbClr val="FFFFFF"/>
          </a:solidFill>
        </p:spPr>
        <p:txBody>
          <a:bodyPr wrap="square" lIns="0" tIns="0" rIns="0" bIns="0" anchor="ctr">
            <a:noAutofit/>
          </a:bodyPr>
          <a:lstStyle>
            <a:defPPr>
              <a:defRPr lang="en-US"/>
            </a:defPPr>
            <a:lvl1pPr marR="0" lvl="0" indent="0" algn="ctr" defTabSz="932742" fontAlgn="auto">
              <a:lnSpc>
                <a:spcPct val="100000"/>
              </a:lnSpc>
              <a:spcBef>
                <a:spcPts val="1200"/>
              </a:spcBef>
              <a:spcAft>
                <a:spcPts val="1200"/>
              </a:spcAft>
              <a:buClrTx/>
              <a:buSzPct val="90000"/>
              <a:buFont typeface="Wingdings" panose="05000000000000000000" pitchFamily="2" charset="2"/>
              <a:buNone/>
              <a:tabLst/>
              <a:defRPr kumimoji="0" sz="1400" b="0" i="0" u="none" strike="noStrike" cap="none" spc="0" normalizeH="0" baseline="0">
                <a:ln>
                  <a:noFill/>
                </a:ln>
                <a:solidFill>
                  <a:srgbClr val="0078D4"/>
                </a:solidFill>
                <a:effectLst/>
                <a:uLnTx/>
                <a:uFillTx/>
                <a:latin typeface="+mj-lt"/>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tx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tx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tx1"/>
                </a:solidFill>
              </a:defRPr>
            </a:lvl5pPr>
            <a:lvl6pPr marL="2565040" indent="-233186" defTabSz="932742">
              <a:spcBef>
                <a:spcPct val="20000"/>
              </a:spcBef>
              <a:buFont typeface="Arial" pitchFamily="34" charset="0"/>
              <a:buChar char="•"/>
              <a:defRPr sz="2000">
                <a:solidFill>
                  <a:schemeClr val="tx1"/>
                </a:solidFill>
              </a:defRPr>
            </a:lvl6pPr>
            <a:lvl7pPr marL="3031412" indent="-233186" defTabSz="932742">
              <a:spcBef>
                <a:spcPct val="20000"/>
              </a:spcBef>
              <a:buFont typeface="Arial" pitchFamily="34" charset="0"/>
              <a:buChar char="•"/>
              <a:defRPr sz="2000">
                <a:solidFill>
                  <a:schemeClr val="tx1"/>
                </a:solidFill>
              </a:defRPr>
            </a:lvl7pPr>
            <a:lvl8pPr marL="3497783" indent="-233186" defTabSz="932742">
              <a:spcBef>
                <a:spcPct val="20000"/>
              </a:spcBef>
              <a:buFont typeface="Arial" pitchFamily="34" charset="0"/>
              <a:buChar char="•"/>
              <a:defRPr sz="2000">
                <a:solidFill>
                  <a:schemeClr val="tx1"/>
                </a:solidFill>
              </a:defRPr>
            </a:lvl8pPr>
            <a:lvl9pPr marL="3964155" indent="-233186" defTabSz="932742">
              <a:spcBef>
                <a:spcPct val="20000"/>
              </a:spcBef>
              <a:buFont typeface="Arial" pitchFamily="34" charset="0"/>
              <a:buChar char="•"/>
              <a:defRPr sz="2000">
                <a:solidFill>
                  <a:schemeClr val="tx1"/>
                </a:solidFill>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ISD Offers</a:t>
            </a:r>
          </a:p>
        </p:txBody>
      </p:sp>
      <p:sp>
        <p:nvSpPr>
          <p:cNvPr id="113" name="TextBox 112">
            <a:extLst>
              <a:ext uri="{FF2B5EF4-FFF2-40B4-BE49-F238E27FC236}">
                <a16:creationId xmlns:a16="http://schemas.microsoft.com/office/drawing/2014/main" id="{D1376828-7ADE-A2F6-C8E4-4F836F7664C1}"/>
              </a:ext>
            </a:extLst>
          </p:cNvPr>
          <p:cNvSpPr txBox="1"/>
          <p:nvPr/>
        </p:nvSpPr>
        <p:spPr>
          <a:xfrm>
            <a:off x="1045022" y="5056337"/>
            <a:ext cx="7064434"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Segoe Sans Text"/>
                <a:ea typeface="+mn-ea"/>
                <a:cs typeface="+mn-cs"/>
              </a:rPr>
              <a:t>*Visit </a:t>
            </a:r>
            <a:r>
              <a:rPr kumimoji="0" lang="en-US" sz="1000" b="0" i="1"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Unified Solutions Guide</a:t>
            </a:r>
            <a:r>
              <a:rPr kumimoji="0" lang="en-US" sz="1000" b="0" i="1" u="none" strike="noStrike" kern="1200" cap="none" spc="0" normalizeH="0" baseline="0" noProof="0">
                <a:ln>
                  <a:noFill/>
                </a:ln>
                <a:solidFill>
                  <a:srgbClr val="000000"/>
                </a:solidFill>
                <a:effectLst/>
                <a:uLnTx/>
                <a:uFillTx/>
                <a:latin typeface="Segoe Sans Text"/>
                <a:ea typeface="+mn-ea"/>
                <a:cs typeface="+mn-cs"/>
              </a:rPr>
              <a:t> for the full list of Unified offers and </a:t>
            </a:r>
            <a:r>
              <a:rPr kumimoji="0" lang="en-US" sz="1000" b="0" i="1"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en-US" sz="1000" b="0" i="1" u="none" strike="noStrike" kern="1200" cap="none" spc="0" normalizeH="0" baseline="0" noProof="0" err="1">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csudocs</a:t>
            </a:r>
            <a:r>
              <a:rPr kumimoji="0" lang="en-US" sz="1000" b="0" i="1"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t>
            </a:r>
            <a:r>
              <a:rPr kumimoji="0" lang="en-US" sz="1000" b="0" i="1" u="none" strike="noStrike" kern="1200" cap="none" spc="0" normalizeH="0" baseline="0" noProof="0" err="1">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ureCloudAI</a:t>
            </a:r>
            <a:r>
              <a:rPr kumimoji="0" lang="en-US" sz="1000" b="0" i="1" u="none" strike="noStrike" kern="1200" cap="none" spc="0" normalizeH="0" baseline="0" noProof="0">
                <a:ln>
                  <a:noFill/>
                </a:ln>
                <a:solidFill>
                  <a:srgbClr val="0078D4"/>
                </a:solidFill>
                <a:effectLst/>
                <a:uLnTx/>
                <a:uFillTx/>
                <a:latin typeface="Segoe Sans Text"/>
                <a:ea typeface="+mn-ea"/>
                <a:cs typeface="+mn-cs"/>
              </a:rPr>
              <a:t> </a:t>
            </a:r>
            <a:r>
              <a:rPr kumimoji="0" lang="en-US" sz="1000" b="0" i="1" u="none" strike="noStrike" kern="1200" cap="none" spc="0" normalizeH="0" baseline="0" noProof="0">
                <a:ln>
                  <a:noFill/>
                </a:ln>
                <a:solidFill>
                  <a:srgbClr val="000000"/>
                </a:solidFill>
                <a:effectLst/>
                <a:uLnTx/>
                <a:uFillTx/>
                <a:latin typeface="Segoe Sans Text"/>
                <a:ea typeface="+mn-ea"/>
                <a:cs typeface="+mn-cs"/>
              </a:rPr>
              <a:t>for VBD &amp; VAS Delivery Guides.</a:t>
            </a:r>
          </a:p>
        </p:txBody>
      </p:sp>
      <p:sp>
        <p:nvSpPr>
          <p:cNvPr id="114" name="Rectangle 113">
            <a:extLst>
              <a:ext uri="{FF2B5EF4-FFF2-40B4-BE49-F238E27FC236}">
                <a16:creationId xmlns:a16="http://schemas.microsoft.com/office/drawing/2014/main" id="{6C8E9957-9399-3795-8E37-5218BBFADF8A}"/>
              </a:ext>
            </a:extLst>
          </p:cNvPr>
          <p:cNvSpPr/>
          <p:nvPr/>
        </p:nvSpPr>
        <p:spPr bwMode="auto">
          <a:xfrm>
            <a:off x="4075937" y="2136412"/>
            <a:ext cx="1786528" cy="153888"/>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mn-ea"/>
                <a:cs typeface="Segoe UI"/>
              </a:rPr>
              <a:t>Azure Platform</a:t>
            </a:r>
          </a:p>
        </p:txBody>
      </p:sp>
      <p:sp>
        <p:nvSpPr>
          <p:cNvPr id="115" name="Rectangle 114">
            <a:extLst>
              <a:ext uri="{FF2B5EF4-FFF2-40B4-BE49-F238E27FC236}">
                <a16:creationId xmlns:a16="http://schemas.microsoft.com/office/drawing/2014/main" id="{63D68DA0-1FAF-59F7-1599-D7F8A366C378}"/>
              </a:ext>
            </a:extLst>
          </p:cNvPr>
          <p:cNvSpPr/>
          <p:nvPr/>
        </p:nvSpPr>
        <p:spPr bwMode="auto">
          <a:xfrm>
            <a:off x="4075937" y="3244106"/>
            <a:ext cx="1786528"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300"/>
              </a:spcBef>
              <a:spcAft>
                <a:spcPts val="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AI Apps and Agents</a:t>
            </a:r>
          </a:p>
        </p:txBody>
      </p:sp>
      <p:sp>
        <p:nvSpPr>
          <p:cNvPr id="116" name="Rectangle 115">
            <a:extLst>
              <a:ext uri="{FF2B5EF4-FFF2-40B4-BE49-F238E27FC236}">
                <a16:creationId xmlns:a16="http://schemas.microsoft.com/office/drawing/2014/main" id="{55635363-F115-5BF0-A4E2-2AF81CE3D716}"/>
              </a:ext>
            </a:extLst>
          </p:cNvPr>
          <p:cNvSpPr/>
          <p:nvPr/>
        </p:nvSpPr>
        <p:spPr bwMode="auto">
          <a:xfrm>
            <a:off x="4075937" y="4351800"/>
            <a:ext cx="1786528" cy="153888"/>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Data Analytics</a:t>
            </a:r>
          </a:p>
        </p:txBody>
      </p:sp>
      <p:sp>
        <p:nvSpPr>
          <p:cNvPr id="117" name="Rectangle 116">
            <a:extLst>
              <a:ext uri="{FF2B5EF4-FFF2-40B4-BE49-F238E27FC236}">
                <a16:creationId xmlns:a16="http://schemas.microsoft.com/office/drawing/2014/main" id="{BD9130FF-0E05-BBBA-CE05-CD7DCB74465E}"/>
              </a:ext>
            </a:extLst>
          </p:cNvPr>
          <p:cNvSpPr/>
          <p:nvPr/>
        </p:nvSpPr>
        <p:spPr bwMode="auto">
          <a:xfrm>
            <a:off x="6355073" y="3167162"/>
            <a:ext cx="2465542" cy="307777"/>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6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GenAI Assistants and Agents, common LM apps and AOAI use cases</a:t>
            </a:r>
          </a:p>
        </p:txBody>
      </p:sp>
      <p:sp>
        <p:nvSpPr>
          <p:cNvPr id="118" name="Rectangle 117">
            <a:extLst>
              <a:ext uri="{FF2B5EF4-FFF2-40B4-BE49-F238E27FC236}">
                <a16:creationId xmlns:a16="http://schemas.microsoft.com/office/drawing/2014/main" id="{6AD97150-DA21-9C9D-FDDC-3F3DF0A22BD3}"/>
              </a:ext>
            </a:extLst>
          </p:cNvPr>
          <p:cNvSpPr/>
          <p:nvPr/>
        </p:nvSpPr>
        <p:spPr bwMode="auto">
          <a:xfrm>
            <a:off x="6345525" y="4120967"/>
            <a:ext cx="2484638" cy="615553"/>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6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Lakehouse deployment (jumpstart)</a:t>
            </a:r>
          </a:p>
          <a:p>
            <a:pPr marL="0" marR="0" lvl="0" indent="0" algn="ctr" defTabSz="932472" rtl="0" eaLnBrk="1" fontAlgn="base" latinLnBrk="0" hangingPunct="1">
              <a:lnSpc>
                <a:spcPct val="100000"/>
              </a:lnSpc>
              <a:spcBef>
                <a:spcPts val="0"/>
              </a:spcBef>
              <a:spcAft>
                <a:spcPts val="6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P to F SKU, Synapse to Fabric</a:t>
            </a:r>
          </a:p>
          <a:p>
            <a:pPr marL="0" marR="0" lvl="0" indent="0" algn="ctr" defTabSz="932472" rtl="0" eaLnBrk="1" fontAlgn="base" latinLnBrk="0" hangingPunct="1">
              <a:lnSpc>
                <a:spcPct val="100000"/>
              </a:lnSpc>
              <a:spcBef>
                <a:spcPts val="0"/>
              </a:spcBef>
              <a:spcAft>
                <a:spcPts val="6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Real-time Intelligence, PBI scenarios</a:t>
            </a:r>
          </a:p>
        </p:txBody>
      </p:sp>
      <p:sp>
        <p:nvSpPr>
          <p:cNvPr id="119" name="Rectangle 118">
            <a:extLst>
              <a:ext uri="{FF2B5EF4-FFF2-40B4-BE49-F238E27FC236}">
                <a16:creationId xmlns:a16="http://schemas.microsoft.com/office/drawing/2014/main" id="{9B05B839-2BC8-C822-8BDB-AC5D99180218}"/>
              </a:ext>
            </a:extLst>
          </p:cNvPr>
          <p:cNvSpPr/>
          <p:nvPr/>
        </p:nvSpPr>
        <p:spPr bwMode="auto">
          <a:xfrm>
            <a:off x="6283010" y="1751691"/>
            <a:ext cx="2609669" cy="92333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WS, Linux, VMWare (Native or AVS)</a:t>
            </a:r>
          </a:p>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SQL Server (IaaS, PaaS), OSS DB</a:t>
            </a:r>
          </a:p>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Apps (App Service, AKS)</a:t>
            </a:r>
          </a:p>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Desktop virtualization</a:t>
            </a:r>
          </a:p>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Defender</a:t>
            </a:r>
          </a:p>
        </p:txBody>
      </p:sp>
      <p:sp>
        <p:nvSpPr>
          <p:cNvPr id="120" name="Rectangle 119">
            <a:extLst>
              <a:ext uri="{FF2B5EF4-FFF2-40B4-BE49-F238E27FC236}">
                <a16:creationId xmlns:a16="http://schemas.microsoft.com/office/drawing/2014/main" id="{221812C6-1582-45AF-EAC1-756E544EB3D6}"/>
              </a:ext>
            </a:extLst>
          </p:cNvPr>
          <p:cNvSpPr/>
          <p:nvPr/>
        </p:nvSpPr>
        <p:spPr bwMode="auto">
          <a:xfrm>
            <a:off x="9073209" y="2059468"/>
            <a:ext cx="2266553" cy="307777"/>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3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Secure Migration </a:t>
            </a:r>
            <a:b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b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amp; Modernization</a:t>
            </a:r>
          </a:p>
        </p:txBody>
      </p:sp>
      <p:sp>
        <p:nvSpPr>
          <p:cNvPr id="121" name="Rectangle 120">
            <a:extLst>
              <a:ext uri="{FF2B5EF4-FFF2-40B4-BE49-F238E27FC236}">
                <a16:creationId xmlns:a16="http://schemas.microsoft.com/office/drawing/2014/main" id="{12900730-1DD6-FF1C-CD16-BAB7E3BA9C41}"/>
              </a:ext>
            </a:extLst>
          </p:cNvPr>
          <p:cNvSpPr/>
          <p:nvPr/>
        </p:nvSpPr>
        <p:spPr bwMode="auto">
          <a:xfrm>
            <a:off x="9073209" y="3115865"/>
            <a:ext cx="2266553" cy="410369"/>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Innovate with AI Apps</a:t>
            </a:r>
          </a:p>
          <a:p>
            <a:pPr marL="0" marR="0" lvl="0" indent="0" algn="ctr" defTabSz="932472" rtl="0" eaLnBrk="1" fontAlgn="base" latinLnBrk="0" hangingPunct="1">
              <a:lnSpc>
                <a:spcPct val="100000"/>
              </a:lnSpc>
              <a:spcBef>
                <a:spcPts val="0"/>
              </a:spcBef>
              <a:spcAft>
                <a:spcPts val="8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Agentic AI Transformation</a:t>
            </a:r>
          </a:p>
        </p:txBody>
      </p:sp>
      <p:sp>
        <p:nvSpPr>
          <p:cNvPr id="122" name="Rectangle 121">
            <a:extLst>
              <a:ext uri="{FF2B5EF4-FFF2-40B4-BE49-F238E27FC236}">
                <a16:creationId xmlns:a16="http://schemas.microsoft.com/office/drawing/2014/main" id="{E4735FFB-7A27-C3F3-65A7-9456E82805AE}"/>
              </a:ext>
            </a:extLst>
          </p:cNvPr>
          <p:cNvSpPr/>
          <p:nvPr/>
        </p:nvSpPr>
        <p:spPr bwMode="auto">
          <a:xfrm>
            <a:off x="9314922" y="4274855"/>
            <a:ext cx="1783127" cy="307777"/>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ts val="0"/>
              </a:spcBef>
              <a:spcAft>
                <a:spcPts val="600"/>
              </a:spcAft>
              <a:buClrTx/>
              <a:buSzTx/>
              <a:buFontTx/>
              <a:buNone/>
              <a:tabLst/>
              <a:defRPr/>
            </a:pP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Unify Your Data &amp; </a:t>
            </a:r>
            <a:b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br>
            <a:r>
              <a:rPr kumimoji="0" lang="en-US" sz="1000" b="0" i="0" u="none" strike="noStrike" kern="1200" cap="none" spc="-30" normalizeH="0" baseline="0" noProof="0">
                <a:ln>
                  <a:noFill/>
                </a:ln>
                <a:solidFill>
                  <a:srgbClr val="000000"/>
                </a:solidFill>
                <a:effectLst/>
                <a:uLnTx/>
                <a:uFillTx/>
                <a:latin typeface="Segoe Sans Text"/>
                <a:ea typeface="Segoe UI" pitchFamily="34" charset="0"/>
                <a:cs typeface="Segoe UI" pitchFamily="34" charset="0"/>
              </a:rPr>
              <a:t>Analytics Platform</a:t>
            </a:r>
          </a:p>
        </p:txBody>
      </p:sp>
      <p:sp>
        <p:nvSpPr>
          <p:cNvPr id="123" name="Text Placeholder 35">
            <a:extLst>
              <a:ext uri="{FF2B5EF4-FFF2-40B4-BE49-F238E27FC236}">
                <a16:creationId xmlns:a16="http://schemas.microsoft.com/office/drawing/2014/main" id="{A8A9D296-CD73-AF0A-84E8-3C8AA8687277}"/>
              </a:ext>
            </a:extLst>
          </p:cNvPr>
          <p:cNvSpPr txBox="1">
            <a:spLocks/>
          </p:cNvSpPr>
          <p:nvPr/>
        </p:nvSpPr>
        <p:spPr>
          <a:xfrm>
            <a:off x="1045022" y="5634555"/>
            <a:ext cx="1996899" cy="215444"/>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Segoe UI"/>
              </a:rPr>
              <a:t>Key Changes</a:t>
            </a:r>
          </a:p>
        </p:txBody>
      </p:sp>
      <p:sp>
        <p:nvSpPr>
          <p:cNvPr id="124" name="TextBox 123">
            <a:extLst>
              <a:ext uri="{FF2B5EF4-FFF2-40B4-BE49-F238E27FC236}">
                <a16:creationId xmlns:a16="http://schemas.microsoft.com/office/drawing/2014/main" id="{A5F42C51-28BA-FDAB-F39E-7BBF8B3A48CC}"/>
              </a:ext>
            </a:extLst>
          </p:cNvPr>
          <p:cNvSpPr txBox="1"/>
          <p:nvPr/>
        </p:nvSpPr>
        <p:spPr>
          <a:xfrm>
            <a:off x="2988857" y="5465278"/>
            <a:ext cx="3752701" cy="553998"/>
          </a:xfrm>
          <a:prstGeom prst="rect">
            <a:avLst/>
          </a:prstGeom>
          <a:noFill/>
        </p:spPr>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Focus on production deployment of AI Apps &amp; Agent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ntegration of AI and Security across portfolio</a:t>
            </a:r>
          </a:p>
        </p:txBody>
      </p:sp>
      <p:sp>
        <p:nvSpPr>
          <p:cNvPr id="125" name="TextBox 124">
            <a:extLst>
              <a:ext uri="{FF2B5EF4-FFF2-40B4-BE49-F238E27FC236}">
                <a16:creationId xmlns:a16="http://schemas.microsoft.com/office/drawing/2014/main" id="{6B9461A8-572A-81D4-A9D0-07179AF37444}"/>
              </a:ext>
            </a:extLst>
          </p:cNvPr>
          <p:cNvSpPr txBox="1"/>
          <p:nvPr/>
        </p:nvSpPr>
        <p:spPr>
          <a:xfrm>
            <a:off x="7738608" y="5465278"/>
            <a:ext cx="3693463" cy="553998"/>
          </a:xfrm>
          <a:prstGeom prst="rect">
            <a:avLst/>
          </a:prstGeom>
          <a:noFill/>
        </p:spPr>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Hero offers integrate with Cloud Accelerate Factor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implified offer attach to opportunities and MACC</a:t>
            </a:r>
          </a:p>
        </p:txBody>
      </p:sp>
      <p:grpSp>
        <p:nvGrpSpPr>
          <p:cNvPr id="137" name="Group 136">
            <a:extLst>
              <a:ext uri="{FF2B5EF4-FFF2-40B4-BE49-F238E27FC236}">
                <a16:creationId xmlns:a16="http://schemas.microsoft.com/office/drawing/2014/main" id="{2033439E-FAFB-BD30-1B0F-1005CF7B10D7}"/>
              </a:ext>
              <a:ext uri="{C183D7F6-B498-43B3-948B-1728B52AA6E4}">
                <adec:decorative xmlns:adec="http://schemas.microsoft.com/office/drawing/2017/decorative" val="1"/>
              </a:ext>
            </a:extLst>
          </p:cNvPr>
          <p:cNvGrpSpPr/>
          <p:nvPr/>
        </p:nvGrpSpPr>
        <p:grpSpPr>
          <a:xfrm>
            <a:off x="2850761" y="5817394"/>
            <a:ext cx="158874" cy="158520"/>
            <a:chOff x="4218550" y="2721249"/>
            <a:chExt cx="2739271" cy="2733166"/>
          </a:xfrm>
        </p:grpSpPr>
        <p:sp>
          <p:nvSpPr>
            <p:cNvPr id="138" name="Oval 137">
              <a:extLst>
                <a:ext uri="{FF2B5EF4-FFF2-40B4-BE49-F238E27FC236}">
                  <a16:creationId xmlns:a16="http://schemas.microsoft.com/office/drawing/2014/main" id="{87CFF136-FE78-3760-D983-16FBCAB51B7F}"/>
                </a:ext>
              </a:extLst>
            </p:cNvPr>
            <p:cNvSpPr/>
            <p:nvPr/>
          </p:nvSpPr>
          <p:spPr bwMode="auto">
            <a:xfrm>
              <a:off x="4567849" y="3067495"/>
              <a:ext cx="2040673" cy="2040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nvGrpSpPr>
            <p:cNvPr id="139" name="Group 138">
              <a:extLst>
                <a:ext uri="{FF2B5EF4-FFF2-40B4-BE49-F238E27FC236}">
                  <a16:creationId xmlns:a16="http://schemas.microsoft.com/office/drawing/2014/main" id="{E84F1802-88CD-2B49-8EA9-8DDB609B6471}"/>
                </a:ext>
              </a:extLst>
            </p:cNvPr>
            <p:cNvGrpSpPr/>
            <p:nvPr/>
          </p:nvGrpSpPr>
          <p:grpSpPr>
            <a:xfrm>
              <a:off x="4218550" y="2721249"/>
              <a:ext cx="2739271" cy="2733166"/>
              <a:chOff x="8874382" y="1793762"/>
              <a:chExt cx="246888" cy="246338"/>
            </a:xfrm>
            <a:solidFill>
              <a:schemeClr val="accent1"/>
            </a:solidFill>
          </p:grpSpPr>
          <p:sp>
            <p:nvSpPr>
              <p:cNvPr id="140" name="Graphic 9">
                <a:extLst>
                  <a:ext uri="{FF2B5EF4-FFF2-40B4-BE49-F238E27FC236}">
                    <a16:creationId xmlns:a16="http://schemas.microsoft.com/office/drawing/2014/main" id="{F76756F2-EBF1-1687-8A1C-4D186867B372}"/>
                  </a:ext>
                </a:extLst>
              </p:cNvPr>
              <p:cNvSpPr>
                <a:spLocks noChangeAspect="1"/>
              </p:cNvSpPr>
              <p:nvPr/>
            </p:nvSpPr>
            <p:spPr>
              <a:xfrm>
                <a:off x="8874382" y="1793762"/>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Graphic 9">
                <a:extLst>
                  <a:ext uri="{FF2B5EF4-FFF2-40B4-BE49-F238E27FC236}">
                    <a16:creationId xmlns:a16="http://schemas.microsoft.com/office/drawing/2014/main" id="{FE0A16C2-667F-8E41-FB7B-A714786CA70F}"/>
                  </a:ext>
                </a:extLst>
              </p:cNvPr>
              <p:cNvSpPr>
                <a:spLocks noChangeAspect="1"/>
              </p:cNvSpPr>
              <p:nvPr/>
            </p:nvSpPr>
            <p:spPr>
              <a:xfrm>
                <a:off x="8874382" y="1798041"/>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31" name="Group 130">
            <a:extLst>
              <a:ext uri="{FF2B5EF4-FFF2-40B4-BE49-F238E27FC236}">
                <a16:creationId xmlns:a16="http://schemas.microsoft.com/office/drawing/2014/main" id="{98FA0310-9359-AEE0-5943-429B59B49123}"/>
              </a:ext>
              <a:ext uri="{C183D7F6-B498-43B3-948B-1728B52AA6E4}">
                <adec:decorative xmlns:adec="http://schemas.microsoft.com/office/drawing/2017/decorative" val="1"/>
              </a:ext>
            </a:extLst>
          </p:cNvPr>
          <p:cNvGrpSpPr/>
          <p:nvPr/>
        </p:nvGrpSpPr>
        <p:grpSpPr>
          <a:xfrm>
            <a:off x="2850761" y="5512593"/>
            <a:ext cx="158874" cy="158520"/>
            <a:chOff x="4218550" y="2721249"/>
            <a:chExt cx="2739271" cy="2733166"/>
          </a:xfrm>
        </p:grpSpPr>
        <p:sp>
          <p:nvSpPr>
            <p:cNvPr id="130" name="Oval 129">
              <a:extLst>
                <a:ext uri="{FF2B5EF4-FFF2-40B4-BE49-F238E27FC236}">
                  <a16:creationId xmlns:a16="http://schemas.microsoft.com/office/drawing/2014/main" id="{D46D2FBA-4F4D-5CA8-A67A-C9F2F08EEFAC}"/>
                </a:ext>
              </a:extLst>
            </p:cNvPr>
            <p:cNvSpPr/>
            <p:nvPr/>
          </p:nvSpPr>
          <p:spPr bwMode="auto">
            <a:xfrm>
              <a:off x="4567849" y="3067495"/>
              <a:ext cx="2040673" cy="2040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nvGrpSpPr>
            <p:cNvPr id="127" name="Group 126">
              <a:extLst>
                <a:ext uri="{FF2B5EF4-FFF2-40B4-BE49-F238E27FC236}">
                  <a16:creationId xmlns:a16="http://schemas.microsoft.com/office/drawing/2014/main" id="{81266A14-A1E0-E28B-D3FA-73D04DF186A9}"/>
                </a:ext>
              </a:extLst>
            </p:cNvPr>
            <p:cNvGrpSpPr/>
            <p:nvPr/>
          </p:nvGrpSpPr>
          <p:grpSpPr>
            <a:xfrm>
              <a:off x="4218550" y="2721249"/>
              <a:ext cx="2739271" cy="2733166"/>
              <a:chOff x="8874382" y="1793762"/>
              <a:chExt cx="246888" cy="246338"/>
            </a:xfrm>
            <a:solidFill>
              <a:schemeClr val="accent1"/>
            </a:solidFill>
          </p:grpSpPr>
          <p:sp>
            <p:nvSpPr>
              <p:cNvPr id="128" name="Graphic 9">
                <a:extLst>
                  <a:ext uri="{FF2B5EF4-FFF2-40B4-BE49-F238E27FC236}">
                    <a16:creationId xmlns:a16="http://schemas.microsoft.com/office/drawing/2014/main" id="{66604037-2598-DCC1-126F-054C176A6C9D}"/>
                  </a:ext>
                </a:extLst>
              </p:cNvPr>
              <p:cNvSpPr>
                <a:spLocks noChangeAspect="1"/>
              </p:cNvSpPr>
              <p:nvPr/>
            </p:nvSpPr>
            <p:spPr>
              <a:xfrm>
                <a:off x="8874382" y="1793762"/>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Graphic 9">
                <a:extLst>
                  <a:ext uri="{FF2B5EF4-FFF2-40B4-BE49-F238E27FC236}">
                    <a16:creationId xmlns:a16="http://schemas.microsoft.com/office/drawing/2014/main" id="{D60ADFDE-CC99-4F48-8826-A5112D2E308B}"/>
                  </a:ext>
                </a:extLst>
              </p:cNvPr>
              <p:cNvSpPr>
                <a:spLocks noChangeAspect="1"/>
              </p:cNvSpPr>
              <p:nvPr/>
            </p:nvSpPr>
            <p:spPr>
              <a:xfrm>
                <a:off x="8874382" y="1798041"/>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42" name="Group 141">
            <a:extLst>
              <a:ext uri="{FF2B5EF4-FFF2-40B4-BE49-F238E27FC236}">
                <a16:creationId xmlns:a16="http://schemas.microsoft.com/office/drawing/2014/main" id="{116D96EA-91BF-2EE3-8A58-9783E6BEE67A}"/>
              </a:ext>
              <a:ext uri="{C183D7F6-B498-43B3-948B-1728B52AA6E4}">
                <adec:decorative xmlns:adec="http://schemas.microsoft.com/office/drawing/2017/decorative" val="1"/>
              </a:ext>
            </a:extLst>
          </p:cNvPr>
          <p:cNvGrpSpPr/>
          <p:nvPr/>
        </p:nvGrpSpPr>
        <p:grpSpPr>
          <a:xfrm>
            <a:off x="7584686" y="5512593"/>
            <a:ext cx="158874" cy="158520"/>
            <a:chOff x="4218550" y="2721249"/>
            <a:chExt cx="2739271" cy="2733166"/>
          </a:xfrm>
        </p:grpSpPr>
        <p:sp>
          <p:nvSpPr>
            <p:cNvPr id="143" name="Oval 142">
              <a:extLst>
                <a:ext uri="{FF2B5EF4-FFF2-40B4-BE49-F238E27FC236}">
                  <a16:creationId xmlns:a16="http://schemas.microsoft.com/office/drawing/2014/main" id="{E4421987-C22A-0332-3D27-E4B1F6B41369}"/>
                </a:ext>
              </a:extLst>
            </p:cNvPr>
            <p:cNvSpPr/>
            <p:nvPr/>
          </p:nvSpPr>
          <p:spPr bwMode="auto">
            <a:xfrm>
              <a:off x="4567849" y="3067495"/>
              <a:ext cx="2040673" cy="2040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nvGrpSpPr>
            <p:cNvPr id="144" name="Group 143">
              <a:extLst>
                <a:ext uri="{FF2B5EF4-FFF2-40B4-BE49-F238E27FC236}">
                  <a16:creationId xmlns:a16="http://schemas.microsoft.com/office/drawing/2014/main" id="{DE598116-3225-BA0F-5BC4-D9BE7C87DD42}"/>
                </a:ext>
              </a:extLst>
            </p:cNvPr>
            <p:cNvGrpSpPr/>
            <p:nvPr/>
          </p:nvGrpSpPr>
          <p:grpSpPr>
            <a:xfrm>
              <a:off x="4218550" y="2721249"/>
              <a:ext cx="2739271" cy="2733166"/>
              <a:chOff x="8874382" y="1793762"/>
              <a:chExt cx="246888" cy="246338"/>
            </a:xfrm>
            <a:solidFill>
              <a:schemeClr val="accent1"/>
            </a:solidFill>
          </p:grpSpPr>
          <p:sp>
            <p:nvSpPr>
              <p:cNvPr id="145" name="Graphic 9">
                <a:extLst>
                  <a:ext uri="{FF2B5EF4-FFF2-40B4-BE49-F238E27FC236}">
                    <a16:creationId xmlns:a16="http://schemas.microsoft.com/office/drawing/2014/main" id="{820DD83A-B190-FA49-6C6B-92119251C85D}"/>
                  </a:ext>
                </a:extLst>
              </p:cNvPr>
              <p:cNvSpPr>
                <a:spLocks noChangeAspect="1"/>
              </p:cNvSpPr>
              <p:nvPr/>
            </p:nvSpPr>
            <p:spPr>
              <a:xfrm>
                <a:off x="8874382" y="1793762"/>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Graphic 9">
                <a:extLst>
                  <a:ext uri="{FF2B5EF4-FFF2-40B4-BE49-F238E27FC236}">
                    <a16:creationId xmlns:a16="http://schemas.microsoft.com/office/drawing/2014/main" id="{9419287C-846E-9B4E-1782-54C9CE68661E}"/>
                  </a:ext>
                </a:extLst>
              </p:cNvPr>
              <p:cNvSpPr>
                <a:spLocks noChangeAspect="1"/>
              </p:cNvSpPr>
              <p:nvPr/>
            </p:nvSpPr>
            <p:spPr>
              <a:xfrm>
                <a:off x="8874382" y="1798041"/>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47" name="Group 146">
            <a:extLst>
              <a:ext uri="{FF2B5EF4-FFF2-40B4-BE49-F238E27FC236}">
                <a16:creationId xmlns:a16="http://schemas.microsoft.com/office/drawing/2014/main" id="{9C56D01F-259A-C301-C549-288D2D15D4FE}"/>
              </a:ext>
              <a:ext uri="{C183D7F6-B498-43B3-948B-1728B52AA6E4}">
                <adec:decorative xmlns:adec="http://schemas.microsoft.com/office/drawing/2017/decorative" val="1"/>
              </a:ext>
            </a:extLst>
          </p:cNvPr>
          <p:cNvGrpSpPr/>
          <p:nvPr/>
        </p:nvGrpSpPr>
        <p:grpSpPr>
          <a:xfrm>
            <a:off x="7584686" y="5817394"/>
            <a:ext cx="158874" cy="158520"/>
            <a:chOff x="4218550" y="2721249"/>
            <a:chExt cx="2739271" cy="2733166"/>
          </a:xfrm>
        </p:grpSpPr>
        <p:sp>
          <p:nvSpPr>
            <p:cNvPr id="148" name="Oval 147">
              <a:extLst>
                <a:ext uri="{FF2B5EF4-FFF2-40B4-BE49-F238E27FC236}">
                  <a16:creationId xmlns:a16="http://schemas.microsoft.com/office/drawing/2014/main" id="{1FDA3C2E-C9E8-D5EE-303D-43416ED98053}"/>
                </a:ext>
              </a:extLst>
            </p:cNvPr>
            <p:cNvSpPr/>
            <p:nvPr/>
          </p:nvSpPr>
          <p:spPr bwMode="auto">
            <a:xfrm>
              <a:off x="4567849" y="3067495"/>
              <a:ext cx="2040673" cy="2040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nvGrpSpPr>
            <p:cNvPr id="149" name="Group 148">
              <a:extLst>
                <a:ext uri="{FF2B5EF4-FFF2-40B4-BE49-F238E27FC236}">
                  <a16:creationId xmlns:a16="http://schemas.microsoft.com/office/drawing/2014/main" id="{4AE70EC3-B0E2-291A-F427-050DA3D96770}"/>
                </a:ext>
              </a:extLst>
            </p:cNvPr>
            <p:cNvGrpSpPr/>
            <p:nvPr/>
          </p:nvGrpSpPr>
          <p:grpSpPr>
            <a:xfrm>
              <a:off x="4218550" y="2721249"/>
              <a:ext cx="2739271" cy="2733166"/>
              <a:chOff x="8874382" y="1793762"/>
              <a:chExt cx="246888" cy="246338"/>
            </a:xfrm>
            <a:solidFill>
              <a:schemeClr val="accent1"/>
            </a:solidFill>
          </p:grpSpPr>
          <p:sp>
            <p:nvSpPr>
              <p:cNvPr id="150" name="Graphic 9">
                <a:extLst>
                  <a:ext uri="{FF2B5EF4-FFF2-40B4-BE49-F238E27FC236}">
                    <a16:creationId xmlns:a16="http://schemas.microsoft.com/office/drawing/2014/main" id="{CB4D4035-FA52-67B6-B341-992BDB535F91}"/>
                  </a:ext>
                </a:extLst>
              </p:cNvPr>
              <p:cNvSpPr>
                <a:spLocks noChangeAspect="1"/>
              </p:cNvSpPr>
              <p:nvPr/>
            </p:nvSpPr>
            <p:spPr>
              <a:xfrm>
                <a:off x="8874382" y="1793762"/>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Graphic 9">
                <a:extLst>
                  <a:ext uri="{FF2B5EF4-FFF2-40B4-BE49-F238E27FC236}">
                    <a16:creationId xmlns:a16="http://schemas.microsoft.com/office/drawing/2014/main" id="{B6A466E6-8999-CE6C-B064-41F4D66D06F1}"/>
                  </a:ext>
                </a:extLst>
              </p:cNvPr>
              <p:cNvSpPr>
                <a:spLocks noChangeAspect="1"/>
              </p:cNvSpPr>
              <p:nvPr/>
            </p:nvSpPr>
            <p:spPr>
              <a:xfrm>
                <a:off x="8874382" y="1798041"/>
                <a:ext cx="246888" cy="242059"/>
              </a:xfrm>
              <a:custGeom>
                <a:avLst/>
                <a:gdLst>
                  <a:gd name="connsiteX0" fmla="*/ 185655 w 371310"/>
                  <a:gd name="connsiteY0" fmla="*/ 0 h 371310"/>
                  <a:gd name="connsiteX1" fmla="*/ 371310 w 371310"/>
                  <a:gd name="connsiteY1" fmla="*/ 185655 h 371310"/>
                  <a:gd name="connsiteX2" fmla="*/ 185655 w 371310"/>
                  <a:gd name="connsiteY2" fmla="*/ 371310 h 371310"/>
                  <a:gd name="connsiteX3" fmla="*/ 0 w 371310"/>
                  <a:gd name="connsiteY3" fmla="*/ 185655 h 371310"/>
                  <a:gd name="connsiteX4" fmla="*/ 185655 w 371310"/>
                  <a:gd name="connsiteY4" fmla="*/ 0 h 371310"/>
                  <a:gd name="connsiteX5" fmla="*/ 245430 w 371310"/>
                  <a:gd name="connsiteY5" fmla="*/ 129395 h 371310"/>
                  <a:gd name="connsiteX6" fmla="*/ 162448 w 371310"/>
                  <a:gd name="connsiteY6" fmla="*/ 212376 h 371310"/>
                  <a:gd name="connsiteX7" fmla="*/ 125880 w 371310"/>
                  <a:gd name="connsiteY7" fmla="*/ 175810 h 371310"/>
                  <a:gd name="connsiteX8" fmla="*/ 106189 w 371310"/>
                  <a:gd name="connsiteY8" fmla="*/ 175810 h 371310"/>
                  <a:gd name="connsiteX9" fmla="*/ 106189 w 371310"/>
                  <a:gd name="connsiteY9" fmla="*/ 195500 h 371310"/>
                  <a:gd name="connsiteX10" fmla="*/ 152603 w 371310"/>
                  <a:gd name="connsiteY10" fmla="*/ 241914 h 371310"/>
                  <a:gd name="connsiteX11" fmla="*/ 172293 w 371310"/>
                  <a:gd name="connsiteY11" fmla="*/ 241914 h 371310"/>
                  <a:gd name="connsiteX12" fmla="*/ 265121 w 371310"/>
                  <a:gd name="connsiteY12" fmla="*/ 149087 h 371310"/>
                  <a:gd name="connsiteX13" fmla="*/ 265121 w 371310"/>
                  <a:gd name="connsiteY13" fmla="*/ 129395 h 371310"/>
                  <a:gd name="connsiteX14" fmla="*/ 245430 w 371310"/>
                  <a:gd name="connsiteY14" fmla="*/ 129395 h 37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310" h="371310">
                    <a:moveTo>
                      <a:pt x="185655" y="0"/>
                    </a:moveTo>
                    <a:cubicBezTo>
                      <a:pt x="288189" y="0"/>
                      <a:pt x="371310" y="83121"/>
                      <a:pt x="371310" y="185655"/>
                    </a:cubicBezTo>
                    <a:cubicBezTo>
                      <a:pt x="371310" y="288189"/>
                      <a:pt x="288189" y="371310"/>
                      <a:pt x="185655" y="371310"/>
                    </a:cubicBezTo>
                    <a:cubicBezTo>
                      <a:pt x="83121" y="371310"/>
                      <a:pt x="0" y="288189"/>
                      <a:pt x="0" y="185655"/>
                    </a:cubicBezTo>
                    <a:cubicBezTo>
                      <a:pt x="0" y="83121"/>
                      <a:pt x="83121" y="0"/>
                      <a:pt x="185655" y="0"/>
                    </a:cubicBezTo>
                    <a:close/>
                    <a:moveTo>
                      <a:pt x="245430" y="129395"/>
                    </a:moveTo>
                    <a:lnTo>
                      <a:pt x="162448" y="212376"/>
                    </a:lnTo>
                    <a:lnTo>
                      <a:pt x="125880" y="175810"/>
                    </a:lnTo>
                    <a:cubicBezTo>
                      <a:pt x="120443" y="170372"/>
                      <a:pt x="111626" y="170372"/>
                      <a:pt x="106189" y="175810"/>
                    </a:cubicBezTo>
                    <a:cubicBezTo>
                      <a:pt x="100751" y="181248"/>
                      <a:pt x="100751" y="190062"/>
                      <a:pt x="106189" y="195500"/>
                    </a:cubicBezTo>
                    <a:lnTo>
                      <a:pt x="152603" y="241914"/>
                    </a:lnTo>
                    <a:cubicBezTo>
                      <a:pt x="158041" y="247352"/>
                      <a:pt x="166856" y="247352"/>
                      <a:pt x="172293" y="241914"/>
                    </a:cubicBezTo>
                    <a:lnTo>
                      <a:pt x="265121" y="149087"/>
                    </a:lnTo>
                    <a:cubicBezTo>
                      <a:pt x="270559" y="143649"/>
                      <a:pt x="270559" y="134833"/>
                      <a:pt x="265121" y="129395"/>
                    </a:cubicBezTo>
                    <a:cubicBezTo>
                      <a:pt x="259683" y="123958"/>
                      <a:pt x="250868" y="123958"/>
                      <a:pt x="245430" y="129395"/>
                    </a:cubicBezTo>
                    <a:close/>
                  </a:path>
                </a:pathLst>
              </a:custGeom>
              <a:grpFill/>
              <a:ln w="182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4A40265C-6641-ABEA-39CD-4542405B9F4A}"/>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8" name="Table 2 Cell 1, 1 to Text">
              <a:extLst>
                <a:ext uri="{FF2B5EF4-FFF2-40B4-BE49-F238E27FC236}">
                  <a16:creationId xmlns:a16="http://schemas.microsoft.com/office/drawing/2014/main" id="{F4526430-0A21-CD55-C65A-8DAD871C6615}"/>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1" name="Table 2 Cell 2, 1 to Text">
              <a:extLst>
                <a:ext uri="{FF2B5EF4-FFF2-40B4-BE49-F238E27FC236}">
                  <a16:creationId xmlns:a16="http://schemas.microsoft.com/office/drawing/2014/main" id="{6BE940FE-B827-23EA-B715-DC1DFBA9F11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22" name="Table 2 Cell 3, 1 to Text">
              <a:extLst>
                <a:ext uri="{FF2B5EF4-FFF2-40B4-BE49-F238E27FC236}">
                  <a16:creationId xmlns:a16="http://schemas.microsoft.com/office/drawing/2014/main" id="{4CD4A782-37D4-14F0-BDFE-F3C006CB0F33}"/>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23" name="Table 2 Cell 4, 1 to Text">
              <a:extLst>
                <a:ext uri="{FF2B5EF4-FFF2-40B4-BE49-F238E27FC236}">
                  <a16:creationId xmlns:a16="http://schemas.microsoft.com/office/drawing/2014/main" id="{4748BCCF-257B-BDA0-EE4B-DC6A35B0C4AE}"/>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4" name="Table 2 Cell 5, 1 to Text">
              <a:extLst>
                <a:ext uri="{FF2B5EF4-FFF2-40B4-BE49-F238E27FC236}">
                  <a16:creationId xmlns:a16="http://schemas.microsoft.com/office/drawing/2014/main" id="{7DCC6ABC-8CB3-DCEE-58B2-28C051D04DFA}"/>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5" name="Table 2 Cell 6, 1 to Text">
              <a:extLst>
                <a:ext uri="{FF2B5EF4-FFF2-40B4-BE49-F238E27FC236}">
                  <a16:creationId xmlns:a16="http://schemas.microsoft.com/office/drawing/2014/main" id="{E890F010-84D6-D67B-1BD8-3A5DDC004BB5}"/>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6" name="Table 2 Cell 7, 1 to Text">
              <a:extLst>
                <a:ext uri="{FF2B5EF4-FFF2-40B4-BE49-F238E27FC236}">
                  <a16:creationId xmlns:a16="http://schemas.microsoft.com/office/drawing/2014/main" id="{57D50299-7CF2-3CF8-F735-82843F8B34F9}"/>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7" name="Table 2 Cell 1, 2 to Text">
              <a:extLst>
                <a:ext uri="{FF2B5EF4-FFF2-40B4-BE49-F238E27FC236}">
                  <a16:creationId xmlns:a16="http://schemas.microsoft.com/office/drawing/2014/main" id="{5D109DA9-55AC-5B2C-B15A-91DD114F97C5}"/>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28" name="Table 2 Cell 1, 3 to Text">
              <a:extLst>
                <a:ext uri="{FF2B5EF4-FFF2-40B4-BE49-F238E27FC236}">
                  <a16:creationId xmlns:a16="http://schemas.microsoft.com/office/drawing/2014/main" id="{AF5B46CB-F98F-3DBD-E54B-53D684605B93}"/>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29" name="Table 2 Cell 1, 4 to Text">
              <a:extLst>
                <a:ext uri="{FF2B5EF4-FFF2-40B4-BE49-F238E27FC236}">
                  <a16:creationId xmlns:a16="http://schemas.microsoft.com/office/drawing/2014/main" id="{05F3A6BE-66AA-78CC-9981-90039C2F7E1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30" name="Table 2 Cell 1, 5 to Text">
              <a:extLst>
                <a:ext uri="{FF2B5EF4-FFF2-40B4-BE49-F238E27FC236}">
                  <a16:creationId xmlns:a16="http://schemas.microsoft.com/office/drawing/2014/main" id="{A64687FF-5925-838D-E09B-8DA309A6F9E2}"/>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31" name="Table 2 Cell 1, 6 to Text">
              <a:extLst>
                <a:ext uri="{FF2B5EF4-FFF2-40B4-BE49-F238E27FC236}">
                  <a16:creationId xmlns:a16="http://schemas.microsoft.com/office/drawing/2014/main" id="{22AF77DD-20CB-4A05-83D6-7F86E51FB306}"/>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5 Key Offerings </a:t>
              </a:r>
            </a:p>
          </p:txBody>
        </p:sp>
        <p:sp>
          <p:nvSpPr>
            <p:cNvPr id="32" name="Table 2 Cell 1, 7 to Text">
              <a:extLst>
                <a:ext uri="{FF2B5EF4-FFF2-40B4-BE49-F238E27FC236}">
                  <a16:creationId xmlns:a16="http://schemas.microsoft.com/office/drawing/2014/main" id="{23564195-A8C0-D9DC-746C-362E4A84936D}"/>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33" name="Table 2 Cell 1, 8 to Text">
              <a:extLst>
                <a:ext uri="{FF2B5EF4-FFF2-40B4-BE49-F238E27FC236}">
                  <a16:creationId xmlns:a16="http://schemas.microsoft.com/office/drawing/2014/main" id="{E26692CA-19CD-A37A-01A0-D6A7209AC915}"/>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4246343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1.25E-6 1.85185E-6 L -1.25E-6 0.03541 " pathEditMode="relative" rAng="0" ptsTypes="AA">
                                      <p:cBhvr>
                                        <p:cTn id="9" dur="700" spd="-100000" fill="hold"/>
                                        <p:tgtEl>
                                          <p:spTgt spid="17"/>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250"/>
                                  </p:stCondLst>
                                  <p:childTnLst>
                                    <p:animMotion origin="layout" path="M 0 -4.44444E-6 L 0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grpId="0" nodeType="withEffect">
                                  <p:stCondLst>
                                    <p:cond delay="25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500"/>
                                        <p:tgtEl>
                                          <p:spTgt spid="67"/>
                                        </p:tgtEl>
                                      </p:cBhvr>
                                    </p:animEffect>
                                  </p:childTnLst>
                                </p:cTn>
                              </p:par>
                              <p:par>
                                <p:cTn id="18" presetID="42" presetClass="path" presetSubtype="0" decel="100000" fill="hold" grpId="1" nodeType="withEffect">
                                  <p:stCondLst>
                                    <p:cond delay="250"/>
                                  </p:stCondLst>
                                  <p:childTnLst>
                                    <p:animMotion origin="layout" path="M 1.04167E-6 4.81481E-6 L 1.04167E-6 0.03541 " pathEditMode="relative" rAng="0" ptsTypes="AA">
                                      <p:cBhvr>
                                        <p:cTn id="19" dur="700" spd="-100000" fill="hold"/>
                                        <p:tgtEl>
                                          <p:spTgt spid="67"/>
                                        </p:tgtEl>
                                        <p:attrNameLst>
                                          <p:attrName>ppt_x</p:attrName>
                                          <p:attrName>ppt_y</p:attrName>
                                        </p:attrNameLst>
                                      </p:cBhvr>
                                      <p:rCtr x="0" y="1759"/>
                                    </p:animMotion>
                                  </p:childTnLst>
                                </p:cTn>
                              </p:par>
                              <p:par>
                                <p:cTn id="20" presetID="10" presetClass="entr" presetSubtype="0" fill="hold" grpId="0" nodeType="withEffect">
                                  <p:stCondLst>
                                    <p:cond delay="2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42" presetClass="path" presetSubtype="0" decel="100000" fill="hold" grpId="1" nodeType="withEffect">
                                  <p:stCondLst>
                                    <p:cond delay="250"/>
                                  </p:stCondLst>
                                  <p:childTnLst>
                                    <p:animMotion origin="layout" path="M 1.04167E-6 7.40741E-7 L 1.04167E-6 0.03542 " pathEditMode="relative" rAng="0" ptsTypes="AA">
                                      <p:cBhvr>
                                        <p:cTn id="24" dur="700" spd="-100000" fill="hold"/>
                                        <p:tgtEl>
                                          <p:spTgt spid="69"/>
                                        </p:tgtEl>
                                        <p:attrNameLst>
                                          <p:attrName>ppt_x</p:attrName>
                                          <p:attrName>ppt_y</p:attrName>
                                        </p:attrNameLst>
                                      </p:cBhvr>
                                      <p:rCtr x="0" y="1759"/>
                                    </p:animMotion>
                                  </p:childTnLst>
                                </p:cTn>
                              </p:par>
                              <p:par>
                                <p:cTn id="25" presetID="10" presetClass="entr" presetSubtype="0" fill="hold" grpId="0" nodeType="withEffect">
                                  <p:stCondLst>
                                    <p:cond delay="25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42" presetClass="path" presetSubtype="0" decel="100000" fill="hold" grpId="1" nodeType="withEffect">
                                  <p:stCondLst>
                                    <p:cond delay="250"/>
                                  </p:stCondLst>
                                  <p:childTnLst>
                                    <p:animMotion origin="layout" path="M 1.04167E-6 -1.85185E-6 L 1.04167E-6 0.03542 " pathEditMode="relative" rAng="0" ptsTypes="AA">
                                      <p:cBhvr>
                                        <p:cTn id="29" dur="700" spd="-100000" fill="hold"/>
                                        <p:tgtEl>
                                          <p:spTgt spid="71"/>
                                        </p:tgtEl>
                                        <p:attrNameLst>
                                          <p:attrName>ppt_x</p:attrName>
                                          <p:attrName>ppt_y</p:attrName>
                                        </p:attrNameLst>
                                      </p:cBhvr>
                                      <p:rCtr x="0" y="1759"/>
                                    </p:animMotion>
                                  </p:childTnLst>
                                </p:cTn>
                              </p:par>
                              <p:par>
                                <p:cTn id="30" presetID="10" presetClass="entr" presetSubtype="0" fill="hold" grpId="0" nodeType="withEffect">
                                  <p:stCondLst>
                                    <p:cond delay="250"/>
                                  </p:stCondLst>
                                  <p:childTnLst>
                                    <p:set>
                                      <p:cBhvr>
                                        <p:cTn id="31" dur="1" fill="hold">
                                          <p:stCondLst>
                                            <p:cond delay="0"/>
                                          </p:stCondLst>
                                        </p:cTn>
                                        <p:tgtEl>
                                          <p:spTgt spid="74"/>
                                        </p:tgtEl>
                                        <p:attrNameLst>
                                          <p:attrName>style.visibility</p:attrName>
                                        </p:attrNameLst>
                                      </p:cBhvr>
                                      <p:to>
                                        <p:strVal val="visible"/>
                                      </p:to>
                                    </p:set>
                                    <p:animEffect transition="in" filter="fade">
                                      <p:cBhvr>
                                        <p:cTn id="32" dur="500"/>
                                        <p:tgtEl>
                                          <p:spTgt spid="74"/>
                                        </p:tgtEl>
                                      </p:cBhvr>
                                    </p:animEffect>
                                  </p:childTnLst>
                                </p:cTn>
                              </p:par>
                              <p:par>
                                <p:cTn id="33" presetID="42" presetClass="path" presetSubtype="0" decel="100000" fill="hold" grpId="1" nodeType="withEffect">
                                  <p:stCondLst>
                                    <p:cond delay="250"/>
                                  </p:stCondLst>
                                  <p:childTnLst>
                                    <p:animMotion origin="layout" path="M 1.04167E-6 0 L 1.04167E-6 0.03542 " pathEditMode="relative" rAng="0" ptsTypes="AA">
                                      <p:cBhvr>
                                        <p:cTn id="34" dur="700" spd="-100000" fill="hold"/>
                                        <p:tgtEl>
                                          <p:spTgt spid="74"/>
                                        </p:tgtEl>
                                        <p:attrNameLst>
                                          <p:attrName>ppt_x</p:attrName>
                                          <p:attrName>ppt_y</p:attrName>
                                        </p:attrNameLst>
                                      </p:cBhvr>
                                      <p:rCtr x="0" y="1759"/>
                                    </p:animMotion>
                                  </p:childTnLst>
                                </p:cTn>
                              </p:par>
                              <p:par>
                                <p:cTn id="35" presetID="10" presetClass="entr" presetSubtype="0" fill="hold" grpId="0" nodeType="withEffect">
                                  <p:stCondLst>
                                    <p:cond delay="250"/>
                                  </p:stCondLst>
                                  <p:childTnLst>
                                    <p:set>
                                      <p:cBhvr>
                                        <p:cTn id="36" dur="1" fill="hold">
                                          <p:stCondLst>
                                            <p:cond delay="0"/>
                                          </p:stCondLst>
                                        </p:cTn>
                                        <p:tgtEl>
                                          <p:spTgt spid="75"/>
                                        </p:tgtEl>
                                        <p:attrNameLst>
                                          <p:attrName>style.visibility</p:attrName>
                                        </p:attrNameLst>
                                      </p:cBhvr>
                                      <p:to>
                                        <p:strVal val="visible"/>
                                      </p:to>
                                    </p:set>
                                    <p:animEffect transition="in" filter="fade">
                                      <p:cBhvr>
                                        <p:cTn id="37" dur="500"/>
                                        <p:tgtEl>
                                          <p:spTgt spid="75"/>
                                        </p:tgtEl>
                                      </p:cBhvr>
                                    </p:animEffect>
                                  </p:childTnLst>
                                </p:cTn>
                              </p:par>
                              <p:par>
                                <p:cTn id="38" presetID="42" presetClass="path" presetSubtype="0" decel="100000" fill="hold" grpId="1" nodeType="withEffect">
                                  <p:stCondLst>
                                    <p:cond delay="250"/>
                                  </p:stCondLst>
                                  <p:childTnLst>
                                    <p:animMotion origin="layout" path="M -4.375E-6 2.22222E-6 L -4.375E-6 0.03541 " pathEditMode="relative" rAng="0" ptsTypes="AA">
                                      <p:cBhvr>
                                        <p:cTn id="39" dur="700" spd="-100000" fill="hold"/>
                                        <p:tgtEl>
                                          <p:spTgt spid="75"/>
                                        </p:tgtEl>
                                        <p:attrNameLst>
                                          <p:attrName>ppt_x</p:attrName>
                                          <p:attrName>ppt_y</p:attrName>
                                        </p:attrNameLst>
                                      </p:cBhvr>
                                      <p:rCtr x="0" y="1759"/>
                                    </p:animMotion>
                                  </p:childTnLst>
                                </p:cTn>
                              </p:par>
                              <p:par>
                                <p:cTn id="40" presetID="10" presetClass="entr" presetSubtype="0" fill="hold" grpId="0" nodeType="withEffect">
                                  <p:stCondLst>
                                    <p:cond delay="250"/>
                                  </p:stCondLst>
                                  <p:childTnLst>
                                    <p:set>
                                      <p:cBhvr>
                                        <p:cTn id="41" dur="1" fill="hold">
                                          <p:stCondLst>
                                            <p:cond delay="0"/>
                                          </p:stCondLst>
                                        </p:cTn>
                                        <p:tgtEl>
                                          <p:spTgt spid="76"/>
                                        </p:tgtEl>
                                        <p:attrNameLst>
                                          <p:attrName>style.visibility</p:attrName>
                                        </p:attrNameLst>
                                      </p:cBhvr>
                                      <p:to>
                                        <p:strVal val="visible"/>
                                      </p:to>
                                    </p:set>
                                    <p:animEffect transition="in" filter="fade">
                                      <p:cBhvr>
                                        <p:cTn id="42" dur="500"/>
                                        <p:tgtEl>
                                          <p:spTgt spid="76"/>
                                        </p:tgtEl>
                                      </p:cBhvr>
                                    </p:animEffect>
                                  </p:childTnLst>
                                </p:cTn>
                              </p:par>
                              <p:par>
                                <p:cTn id="43" presetID="42" presetClass="path" presetSubtype="0" decel="100000" fill="hold" grpId="1" nodeType="withEffect">
                                  <p:stCondLst>
                                    <p:cond delay="250"/>
                                  </p:stCondLst>
                                  <p:childTnLst>
                                    <p:animMotion origin="layout" path="M -2.08333E-6 2.22222E-6 L -2.08333E-6 0.03541 " pathEditMode="relative" rAng="0" ptsTypes="AA">
                                      <p:cBhvr>
                                        <p:cTn id="44" dur="700" spd="-100000" fill="hold"/>
                                        <p:tgtEl>
                                          <p:spTgt spid="76"/>
                                        </p:tgtEl>
                                        <p:attrNameLst>
                                          <p:attrName>ppt_x</p:attrName>
                                          <p:attrName>ppt_y</p:attrName>
                                        </p:attrNameLst>
                                      </p:cBhvr>
                                      <p:rCtr x="0" y="1759"/>
                                    </p:animMotion>
                                  </p:childTnLst>
                                </p:cTn>
                              </p:par>
                              <p:par>
                                <p:cTn id="45" presetID="10" presetClass="entr" presetSubtype="0" fill="hold" grpId="0" nodeType="withEffect">
                                  <p:stCondLst>
                                    <p:cond delay="250"/>
                                  </p:stCondLst>
                                  <p:childTnLst>
                                    <p:set>
                                      <p:cBhvr>
                                        <p:cTn id="46" dur="1" fill="hold">
                                          <p:stCondLst>
                                            <p:cond delay="0"/>
                                          </p:stCondLst>
                                        </p:cTn>
                                        <p:tgtEl>
                                          <p:spTgt spid="77"/>
                                        </p:tgtEl>
                                        <p:attrNameLst>
                                          <p:attrName>style.visibility</p:attrName>
                                        </p:attrNameLst>
                                      </p:cBhvr>
                                      <p:to>
                                        <p:strVal val="visible"/>
                                      </p:to>
                                    </p:set>
                                    <p:animEffect transition="in" filter="fade">
                                      <p:cBhvr>
                                        <p:cTn id="47" dur="500"/>
                                        <p:tgtEl>
                                          <p:spTgt spid="77"/>
                                        </p:tgtEl>
                                      </p:cBhvr>
                                    </p:animEffect>
                                  </p:childTnLst>
                                </p:cTn>
                              </p:par>
                              <p:par>
                                <p:cTn id="48" presetID="42" presetClass="path" presetSubtype="0" decel="100000" fill="hold" grpId="1" nodeType="withEffect">
                                  <p:stCondLst>
                                    <p:cond delay="250"/>
                                  </p:stCondLst>
                                  <p:childTnLst>
                                    <p:animMotion origin="layout" path="M 8.33333E-7 -3.7037E-6 L 8.33333E-7 0.03542 " pathEditMode="relative" rAng="0" ptsTypes="AA">
                                      <p:cBhvr>
                                        <p:cTn id="49" dur="700" spd="-100000" fill="hold"/>
                                        <p:tgtEl>
                                          <p:spTgt spid="77"/>
                                        </p:tgtEl>
                                        <p:attrNameLst>
                                          <p:attrName>ppt_x</p:attrName>
                                          <p:attrName>ppt_y</p:attrName>
                                        </p:attrNameLst>
                                      </p:cBhvr>
                                      <p:rCtr x="0" y="1759"/>
                                    </p:animMotion>
                                  </p:childTnLst>
                                </p:cTn>
                              </p:par>
                              <p:par>
                                <p:cTn id="50" presetID="10" presetClass="entr" presetSubtype="0" fill="hold" grpId="0" nodeType="withEffect">
                                  <p:stCondLst>
                                    <p:cond delay="250"/>
                                  </p:stCondLst>
                                  <p:childTnLst>
                                    <p:set>
                                      <p:cBhvr>
                                        <p:cTn id="51" dur="1" fill="hold">
                                          <p:stCondLst>
                                            <p:cond delay="0"/>
                                          </p:stCondLst>
                                        </p:cTn>
                                        <p:tgtEl>
                                          <p:spTgt spid="78"/>
                                        </p:tgtEl>
                                        <p:attrNameLst>
                                          <p:attrName>style.visibility</p:attrName>
                                        </p:attrNameLst>
                                      </p:cBhvr>
                                      <p:to>
                                        <p:strVal val="visible"/>
                                      </p:to>
                                    </p:set>
                                    <p:animEffect transition="in" filter="fade">
                                      <p:cBhvr>
                                        <p:cTn id="52" dur="500"/>
                                        <p:tgtEl>
                                          <p:spTgt spid="78"/>
                                        </p:tgtEl>
                                      </p:cBhvr>
                                    </p:animEffect>
                                  </p:childTnLst>
                                </p:cTn>
                              </p:par>
                              <p:par>
                                <p:cTn id="53" presetID="42" presetClass="path" presetSubtype="0" decel="100000" fill="hold" grpId="1" nodeType="withEffect">
                                  <p:stCondLst>
                                    <p:cond delay="250"/>
                                  </p:stCondLst>
                                  <p:childTnLst>
                                    <p:animMotion origin="layout" path="M -2.08333E-6 0 L -2.08333E-6 0.03542 " pathEditMode="relative" rAng="0" ptsTypes="AA">
                                      <p:cBhvr>
                                        <p:cTn id="54" dur="700" spd="-100000" fill="hold"/>
                                        <p:tgtEl>
                                          <p:spTgt spid="78"/>
                                        </p:tgtEl>
                                        <p:attrNameLst>
                                          <p:attrName>ppt_x</p:attrName>
                                          <p:attrName>ppt_y</p:attrName>
                                        </p:attrNameLst>
                                      </p:cBhvr>
                                      <p:rCtr x="0" y="1759"/>
                                    </p:animMotion>
                                  </p:childTnLst>
                                </p:cTn>
                              </p:par>
                              <p:par>
                                <p:cTn id="55" presetID="10" presetClass="entr" presetSubtype="0" fill="hold" grpId="0" nodeType="withEffect">
                                  <p:stCondLst>
                                    <p:cond delay="250"/>
                                  </p:stCondLst>
                                  <p:childTnLst>
                                    <p:set>
                                      <p:cBhvr>
                                        <p:cTn id="56" dur="1" fill="hold">
                                          <p:stCondLst>
                                            <p:cond delay="0"/>
                                          </p:stCondLst>
                                        </p:cTn>
                                        <p:tgtEl>
                                          <p:spTgt spid="79"/>
                                        </p:tgtEl>
                                        <p:attrNameLst>
                                          <p:attrName>style.visibility</p:attrName>
                                        </p:attrNameLst>
                                      </p:cBhvr>
                                      <p:to>
                                        <p:strVal val="visible"/>
                                      </p:to>
                                    </p:set>
                                    <p:animEffect transition="in" filter="fade">
                                      <p:cBhvr>
                                        <p:cTn id="57" dur="500"/>
                                        <p:tgtEl>
                                          <p:spTgt spid="79"/>
                                        </p:tgtEl>
                                      </p:cBhvr>
                                    </p:animEffect>
                                  </p:childTnLst>
                                </p:cTn>
                              </p:par>
                              <p:par>
                                <p:cTn id="58" presetID="42" presetClass="path" presetSubtype="0" decel="100000" fill="hold" grpId="1" nodeType="withEffect">
                                  <p:stCondLst>
                                    <p:cond delay="250"/>
                                  </p:stCondLst>
                                  <p:childTnLst>
                                    <p:animMotion origin="layout" path="M 4.16667E-6 0 L 4.16667E-6 0.03542 " pathEditMode="relative" rAng="0" ptsTypes="AA">
                                      <p:cBhvr>
                                        <p:cTn id="59" dur="700" spd="-100000" fill="hold"/>
                                        <p:tgtEl>
                                          <p:spTgt spid="79"/>
                                        </p:tgtEl>
                                        <p:attrNameLst>
                                          <p:attrName>ppt_x</p:attrName>
                                          <p:attrName>ppt_y</p:attrName>
                                        </p:attrNameLst>
                                      </p:cBhvr>
                                      <p:rCtr x="0" y="1759"/>
                                    </p:animMotion>
                                  </p:childTnLst>
                                </p:cTn>
                              </p:par>
                              <p:par>
                                <p:cTn id="60" presetID="10" presetClass="entr" presetSubtype="0" fill="hold" grpId="0" nodeType="withEffect">
                                  <p:stCondLst>
                                    <p:cond delay="250"/>
                                  </p:stCondLst>
                                  <p:childTnLst>
                                    <p:set>
                                      <p:cBhvr>
                                        <p:cTn id="61" dur="1" fill="hold">
                                          <p:stCondLst>
                                            <p:cond delay="0"/>
                                          </p:stCondLst>
                                        </p:cTn>
                                        <p:tgtEl>
                                          <p:spTgt spid="80"/>
                                        </p:tgtEl>
                                        <p:attrNameLst>
                                          <p:attrName>style.visibility</p:attrName>
                                        </p:attrNameLst>
                                      </p:cBhvr>
                                      <p:to>
                                        <p:strVal val="visible"/>
                                      </p:to>
                                    </p:set>
                                    <p:animEffect transition="in" filter="fade">
                                      <p:cBhvr>
                                        <p:cTn id="62" dur="500"/>
                                        <p:tgtEl>
                                          <p:spTgt spid="80"/>
                                        </p:tgtEl>
                                      </p:cBhvr>
                                    </p:animEffect>
                                  </p:childTnLst>
                                </p:cTn>
                              </p:par>
                              <p:par>
                                <p:cTn id="63" presetID="42" presetClass="path" presetSubtype="0" decel="100000" fill="hold" grpId="1" nodeType="withEffect">
                                  <p:stCondLst>
                                    <p:cond delay="250"/>
                                  </p:stCondLst>
                                  <p:childTnLst>
                                    <p:animMotion origin="layout" path="M 6.25E-7 0 L 6.25E-7 0.03542 " pathEditMode="relative" rAng="0" ptsTypes="AA">
                                      <p:cBhvr>
                                        <p:cTn id="64" dur="700" spd="-100000" fill="hold"/>
                                        <p:tgtEl>
                                          <p:spTgt spid="80"/>
                                        </p:tgtEl>
                                        <p:attrNameLst>
                                          <p:attrName>ppt_x</p:attrName>
                                          <p:attrName>ppt_y</p:attrName>
                                        </p:attrNameLst>
                                      </p:cBhvr>
                                      <p:rCtr x="0" y="1759"/>
                                    </p:animMotion>
                                  </p:childTnLst>
                                </p:cTn>
                              </p:par>
                              <p:par>
                                <p:cTn id="65" presetID="10" presetClass="entr" presetSubtype="0" fill="hold" grpId="0" nodeType="withEffect">
                                  <p:stCondLst>
                                    <p:cond delay="250"/>
                                  </p:stCondLst>
                                  <p:childTnLst>
                                    <p:set>
                                      <p:cBhvr>
                                        <p:cTn id="66" dur="1" fill="hold">
                                          <p:stCondLst>
                                            <p:cond delay="0"/>
                                          </p:stCondLst>
                                        </p:cTn>
                                        <p:tgtEl>
                                          <p:spTgt spid="81"/>
                                        </p:tgtEl>
                                        <p:attrNameLst>
                                          <p:attrName>style.visibility</p:attrName>
                                        </p:attrNameLst>
                                      </p:cBhvr>
                                      <p:to>
                                        <p:strVal val="visible"/>
                                      </p:to>
                                    </p:set>
                                    <p:animEffect transition="in" filter="fade">
                                      <p:cBhvr>
                                        <p:cTn id="67" dur="500"/>
                                        <p:tgtEl>
                                          <p:spTgt spid="81"/>
                                        </p:tgtEl>
                                      </p:cBhvr>
                                    </p:animEffect>
                                  </p:childTnLst>
                                </p:cTn>
                              </p:par>
                              <p:par>
                                <p:cTn id="68" presetID="42" presetClass="path" presetSubtype="0" decel="100000" fill="hold" grpId="1" nodeType="withEffect">
                                  <p:stCondLst>
                                    <p:cond delay="250"/>
                                  </p:stCondLst>
                                  <p:childTnLst>
                                    <p:animMotion origin="layout" path="M -2.08333E-6 -3.7037E-6 L -2.08333E-6 0.03542 " pathEditMode="relative" rAng="0" ptsTypes="AA">
                                      <p:cBhvr>
                                        <p:cTn id="69" dur="700" spd="-100000" fill="hold"/>
                                        <p:tgtEl>
                                          <p:spTgt spid="81"/>
                                        </p:tgtEl>
                                        <p:attrNameLst>
                                          <p:attrName>ppt_x</p:attrName>
                                          <p:attrName>ppt_y</p:attrName>
                                        </p:attrNameLst>
                                      </p:cBhvr>
                                      <p:rCtr x="0" y="1759"/>
                                    </p:animMotion>
                                  </p:childTnLst>
                                </p:cTn>
                              </p:par>
                              <p:par>
                                <p:cTn id="70" presetID="10" presetClass="entr" presetSubtype="0" fill="hold" grpId="0" nodeType="withEffect">
                                  <p:stCondLst>
                                    <p:cond delay="250"/>
                                  </p:stCondLst>
                                  <p:childTnLst>
                                    <p:set>
                                      <p:cBhvr>
                                        <p:cTn id="71" dur="1" fill="hold">
                                          <p:stCondLst>
                                            <p:cond delay="0"/>
                                          </p:stCondLst>
                                        </p:cTn>
                                        <p:tgtEl>
                                          <p:spTgt spid="82"/>
                                        </p:tgtEl>
                                        <p:attrNameLst>
                                          <p:attrName>style.visibility</p:attrName>
                                        </p:attrNameLst>
                                      </p:cBhvr>
                                      <p:to>
                                        <p:strVal val="visible"/>
                                      </p:to>
                                    </p:set>
                                    <p:animEffect transition="in" filter="fade">
                                      <p:cBhvr>
                                        <p:cTn id="72" dur="500"/>
                                        <p:tgtEl>
                                          <p:spTgt spid="82"/>
                                        </p:tgtEl>
                                      </p:cBhvr>
                                    </p:animEffect>
                                  </p:childTnLst>
                                </p:cTn>
                              </p:par>
                              <p:par>
                                <p:cTn id="73" presetID="42" presetClass="path" presetSubtype="0" decel="100000" fill="hold" grpId="1" nodeType="withEffect">
                                  <p:stCondLst>
                                    <p:cond delay="250"/>
                                  </p:stCondLst>
                                  <p:childTnLst>
                                    <p:animMotion origin="layout" path="M 4.375E-6 -3.7037E-6 L 4.375E-6 0.03542 " pathEditMode="relative" rAng="0" ptsTypes="AA">
                                      <p:cBhvr>
                                        <p:cTn id="74" dur="700" spd="-100000" fill="hold"/>
                                        <p:tgtEl>
                                          <p:spTgt spid="82"/>
                                        </p:tgtEl>
                                        <p:attrNameLst>
                                          <p:attrName>ppt_x</p:attrName>
                                          <p:attrName>ppt_y</p:attrName>
                                        </p:attrNameLst>
                                      </p:cBhvr>
                                      <p:rCtr x="0" y="1759"/>
                                    </p:animMotion>
                                  </p:childTnLst>
                                </p:cTn>
                              </p:par>
                              <p:par>
                                <p:cTn id="75" presetID="10" presetClass="entr" presetSubtype="0" fill="hold" grpId="0" nodeType="withEffect">
                                  <p:stCondLst>
                                    <p:cond delay="25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42" presetClass="path" presetSubtype="0" decel="100000" fill="hold" grpId="1" nodeType="withEffect">
                                  <p:stCondLst>
                                    <p:cond delay="250"/>
                                  </p:stCondLst>
                                  <p:childTnLst>
                                    <p:animMotion origin="layout" path="M 6.25E-7 -3.7037E-6 L 6.25E-7 0.03542 " pathEditMode="relative" rAng="0" ptsTypes="AA">
                                      <p:cBhvr>
                                        <p:cTn id="79" dur="700" spd="-100000" fill="hold"/>
                                        <p:tgtEl>
                                          <p:spTgt spid="83"/>
                                        </p:tgtEl>
                                        <p:attrNameLst>
                                          <p:attrName>ppt_x</p:attrName>
                                          <p:attrName>ppt_y</p:attrName>
                                        </p:attrNameLst>
                                      </p:cBhvr>
                                      <p:rCtr x="0" y="1759"/>
                                    </p:animMotion>
                                  </p:childTnLst>
                                </p:cTn>
                              </p:par>
                              <p:par>
                                <p:cTn id="80" presetID="10" presetClass="entr" presetSubtype="0" fill="hold" grpId="0" nodeType="withEffect">
                                  <p:stCondLst>
                                    <p:cond delay="250"/>
                                  </p:stCondLst>
                                  <p:childTnLst>
                                    <p:set>
                                      <p:cBhvr>
                                        <p:cTn id="81" dur="1" fill="hold">
                                          <p:stCondLst>
                                            <p:cond delay="0"/>
                                          </p:stCondLst>
                                        </p:cTn>
                                        <p:tgtEl>
                                          <p:spTgt spid="113"/>
                                        </p:tgtEl>
                                        <p:attrNameLst>
                                          <p:attrName>style.visibility</p:attrName>
                                        </p:attrNameLst>
                                      </p:cBhvr>
                                      <p:to>
                                        <p:strVal val="visible"/>
                                      </p:to>
                                    </p:set>
                                    <p:animEffect transition="in" filter="fade">
                                      <p:cBhvr>
                                        <p:cTn id="82" dur="500"/>
                                        <p:tgtEl>
                                          <p:spTgt spid="113"/>
                                        </p:tgtEl>
                                      </p:cBhvr>
                                    </p:animEffect>
                                  </p:childTnLst>
                                </p:cTn>
                              </p:par>
                              <p:par>
                                <p:cTn id="83" presetID="42" presetClass="path" presetSubtype="0" decel="100000" fill="hold" grpId="1" nodeType="withEffect">
                                  <p:stCondLst>
                                    <p:cond delay="250"/>
                                  </p:stCondLst>
                                  <p:childTnLst>
                                    <p:animMotion origin="layout" path="M -6.25E-7 3.7037E-7 L -6.25E-7 0.03542 " pathEditMode="relative" rAng="0" ptsTypes="AA">
                                      <p:cBhvr>
                                        <p:cTn id="84" dur="700" spd="-100000" fill="hold"/>
                                        <p:tgtEl>
                                          <p:spTgt spid="113"/>
                                        </p:tgtEl>
                                        <p:attrNameLst>
                                          <p:attrName>ppt_x</p:attrName>
                                          <p:attrName>ppt_y</p:attrName>
                                        </p:attrNameLst>
                                      </p:cBhvr>
                                      <p:rCtr x="0" y="1759"/>
                                    </p:animMotion>
                                  </p:childTnLst>
                                </p:cTn>
                              </p:par>
                              <p:par>
                                <p:cTn id="85" presetID="10" presetClass="entr" presetSubtype="0" fill="hold" nodeType="withEffect">
                                  <p:stCondLst>
                                    <p:cond delay="250"/>
                                  </p:stCondLst>
                                  <p:childTnLst>
                                    <p:set>
                                      <p:cBhvr>
                                        <p:cTn id="86" dur="1" fill="hold">
                                          <p:stCondLst>
                                            <p:cond delay="0"/>
                                          </p:stCondLst>
                                        </p:cTn>
                                        <p:tgtEl>
                                          <p:spTgt spid="72"/>
                                        </p:tgtEl>
                                        <p:attrNameLst>
                                          <p:attrName>style.visibility</p:attrName>
                                        </p:attrNameLst>
                                      </p:cBhvr>
                                      <p:to>
                                        <p:strVal val="visible"/>
                                      </p:to>
                                    </p:set>
                                    <p:animEffect transition="in" filter="fade">
                                      <p:cBhvr>
                                        <p:cTn id="87" dur="500"/>
                                        <p:tgtEl>
                                          <p:spTgt spid="72"/>
                                        </p:tgtEl>
                                      </p:cBhvr>
                                    </p:animEffect>
                                  </p:childTnLst>
                                </p:cTn>
                              </p:par>
                              <p:par>
                                <p:cTn id="88" presetID="42" presetClass="path" presetSubtype="0" decel="100000" fill="hold" nodeType="withEffect">
                                  <p:stCondLst>
                                    <p:cond delay="250"/>
                                  </p:stCondLst>
                                  <p:childTnLst>
                                    <p:animMotion origin="layout" path="M 1.04167E-6 -1.85185E-6 L 1.04167E-6 0.03542 " pathEditMode="relative" rAng="0" ptsTypes="AA">
                                      <p:cBhvr>
                                        <p:cTn id="89" dur="700" spd="-100000" fill="hold"/>
                                        <p:tgtEl>
                                          <p:spTgt spid="72"/>
                                        </p:tgtEl>
                                        <p:attrNameLst>
                                          <p:attrName>ppt_x</p:attrName>
                                          <p:attrName>ppt_y</p:attrName>
                                        </p:attrNameLst>
                                      </p:cBhvr>
                                      <p:rCtr x="0" y="1759"/>
                                    </p:animMotion>
                                  </p:childTnLst>
                                </p:cTn>
                              </p:par>
                              <p:par>
                                <p:cTn id="90" presetID="10" presetClass="entr" presetSubtype="0" fill="hold" nodeType="withEffect">
                                  <p:stCondLst>
                                    <p:cond delay="250"/>
                                  </p:stCondLst>
                                  <p:childTnLst>
                                    <p:set>
                                      <p:cBhvr>
                                        <p:cTn id="91" dur="1" fill="hold">
                                          <p:stCondLst>
                                            <p:cond delay="0"/>
                                          </p:stCondLst>
                                        </p:cTn>
                                        <p:tgtEl>
                                          <p:spTgt spid="73"/>
                                        </p:tgtEl>
                                        <p:attrNameLst>
                                          <p:attrName>style.visibility</p:attrName>
                                        </p:attrNameLst>
                                      </p:cBhvr>
                                      <p:to>
                                        <p:strVal val="visible"/>
                                      </p:to>
                                    </p:set>
                                    <p:animEffect transition="in" filter="fade">
                                      <p:cBhvr>
                                        <p:cTn id="92" dur="500"/>
                                        <p:tgtEl>
                                          <p:spTgt spid="73"/>
                                        </p:tgtEl>
                                      </p:cBhvr>
                                    </p:animEffect>
                                  </p:childTnLst>
                                </p:cTn>
                              </p:par>
                              <p:par>
                                <p:cTn id="93" presetID="42" presetClass="path" presetSubtype="0" decel="100000" fill="hold" nodeType="withEffect">
                                  <p:stCondLst>
                                    <p:cond delay="250"/>
                                  </p:stCondLst>
                                  <p:childTnLst>
                                    <p:animMotion origin="layout" path="M 1.04167E-6 -1.85185E-6 L 1.04167E-6 0.03542 " pathEditMode="relative" rAng="0" ptsTypes="AA">
                                      <p:cBhvr>
                                        <p:cTn id="94" dur="700" spd="-100000" fill="hold"/>
                                        <p:tgtEl>
                                          <p:spTgt spid="73"/>
                                        </p:tgtEl>
                                        <p:attrNameLst>
                                          <p:attrName>ppt_x</p:attrName>
                                          <p:attrName>ppt_y</p:attrName>
                                        </p:attrNameLst>
                                      </p:cBhvr>
                                      <p:rCtr x="0" y="1759"/>
                                    </p:animMotion>
                                  </p:childTnLst>
                                </p:cTn>
                              </p:par>
                              <p:par>
                                <p:cTn id="95" presetID="10" presetClass="entr" presetSubtype="0" fill="hold" grpId="0" nodeType="withEffect">
                                  <p:stCondLst>
                                    <p:cond delay="250"/>
                                  </p:stCondLst>
                                  <p:childTnLst>
                                    <p:set>
                                      <p:cBhvr>
                                        <p:cTn id="96" dur="1" fill="hold">
                                          <p:stCondLst>
                                            <p:cond delay="0"/>
                                          </p:stCondLst>
                                        </p:cTn>
                                        <p:tgtEl>
                                          <p:spTgt spid="114"/>
                                        </p:tgtEl>
                                        <p:attrNameLst>
                                          <p:attrName>style.visibility</p:attrName>
                                        </p:attrNameLst>
                                      </p:cBhvr>
                                      <p:to>
                                        <p:strVal val="visible"/>
                                      </p:to>
                                    </p:set>
                                    <p:animEffect transition="in" filter="fade">
                                      <p:cBhvr>
                                        <p:cTn id="97" dur="500"/>
                                        <p:tgtEl>
                                          <p:spTgt spid="114"/>
                                        </p:tgtEl>
                                      </p:cBhvr>
                                    </p:animEffect>
                                  </p:childTnLst>
                                </p:cTn>
                              </p:par>
                              <p:par>
                                <p:cTn id="98" presetID="42" presetClass="path" presetSubtype="0" decel="100000" fill="hold" grpId="1" nodeType="withEffect">
                                  <p:stCondLst>
                                    <p:cond delay="250"/>
                                  </p:stCondLst>
                                  <p:childTnLst>
                                    <p:animMotion origin="layout" path="M -2.08333E-6 4.81481E-6 L -2.08333E-6 0.03541 " pathEditMode="relative" rAng="0" ptsTypes="AA">
                                      <p:cBhvr>
                                        <p:cTn id="99" dur="700" spd="-100000" fill="hold"/>
                                        <p:tgtEl>
                                          <p:spTgt spid="114"/>
                                        </p:tgtEl>
                                        <p:attrNameLst>
                                          <p:attrName>ppt_x</p:attrName>
                                          <p:attrName>ppt_y</p:attrName>
                                        </p:attrNameLst>
                                      </p:cBhvr>
                                      <p:rCtr x="0" y="1759"/>
                                    </p:animMotion>
                                  </p:childTnLst>
                                </p:cTn>
                              </p:par>
                              <p:par>
                                <p:cTn id="100" presetID="10" presetClass="entr" presetSubtype="0" fill="hold" grpId="0" nodeType="withEffect">
                                  <p:stCondLst>
                                    <p:cond delay="250"/>
                                  </p:stCondLst>
                                  <p:childTnLst>
                                    <p:set>
                                      <p:cBhvr>
                                        <p:cTn id="101" dur="1" fill="hold">
                                          <p:stCondLst>
                                            <p:cond delay="0"/>
                                          </p:stCondLst>
                                        </p:cTn>
                                        <p:tgtEl>
                                          <p:spTgt spid="115"/>
                                        </p:tgtEl>
                                        <p:attrNameLst>
                                          <p:attrName>style.visibility</p:attrName>
                                        </p:attrNameLst>
                                      </p:cBhvr>
                                      <p:to>
                                        <p:strVal val="visible"/>
                                      </p:to>
                                    </p:set>
                                    <p:animEffect transition="in" filter="fade">
                                      <p:cBhvr>
                                        <p:cTn id="102" dur="500"/>
                                        <p:tgtEl>
                                          <p:spTgt spid="115"/>
                                        </p:tgtEl>
                                      </p:cBhvr>
                                    </p:animEffect>
                                  </p:childTnLst>
                                </p:cTn>
                              </p:par>
                              <p:par>
                                <p:cTn id="103" presetID="42" presetClass="path" presetSubtype="0" decel="100000" fill="hold" grpId="1" nodeType="withEffect">
                                  <p:stCondLst>
                                    <p:cond delay="250"/>
                                  </p:stCondLst>
                                  <p:childTnLst>
                                    <p:animMotion origin="layout" path="M -2.08333E-6 7.40741E-7 L -2.08333E-6 0.03542 " pathEditMode="relative" rAng="0" ptsTypes="AA">
                                      <p:cBhvr>
                                        <p:cTn id="104" dur="700" spd="-100000" fill="hold"/>
                                        <p:tgtEl>
                                          <p:spTgt spid="115"/>
                                        </p:tgtEl>
                                        <p:attrNameLst>
                                          <p:attrName>ppt_x</p:attrName>
                                          <p:attrName>ppt_y</p:attrName>
                                        </p:attrNameLst>
                                      </p:cBhvr>
                                      <p:rCtr x="0" y="1759"/>
                                    </p:animMotion>
                                  </p:childTnLst>
                                </p:cTn>
                              </p:par>
                              <p:par>
                                <p:cTn id="105" presetID="10" presetClass="entr" presetSubtype="0" fill="hold" grpId="0" nodeType="withEffect">
                                  <p:stCondLst>
                                    <p:cond delay="250"/>
                                  </p:stCondLst>
                                  <p:childTnLst>
                                    <p:set>
                                      <p:cBhvr>
                                        <p:cTn id="106" dur="1" fill="hold">
                                          <p:stCondLst>
                                            <p:cond delay="0"/>
                                          </p:stCondLst>
                                        </p:cTn>
                                        <p:tgtEl>
                                          <p:spTgt spid="116"/>
                                        </p:tgtEl>
                                        <p:attrNameLst>
                                          <p:attrName>style.visibility</p:attrName>
                                        </p:attrNameLst>
                                      </p:cBhvr>
                                      <p:to>
                                        <p:strVal val="visible"/>
                                      </p:to>
                                    </p:set>
                                    <p:animEffect transition="in" filter="fade">
                                      <p:cBhvr>
                                        <p:cTn id="107" dur="500"/>
                                        <p:tgtEl>
                                          <p:spTgt spid="116"/>
                                        </p:tgtEl>
                                      </p:cBhvr>
                                    </p:animEffect>
                                  </p:childTnLst>
                                </p:cTn>
                              </p:par>
                              <p:par>
                                <p:cTn id="108" presetID="42" presetClass="path" presetSubtype="0" decel="100000" fill="hold" grpId="1" nodeType="withEffect">
                                  <p:stCondLst>
                                    <p:cond delay="250"/>
                                  </p:stCondLst>
                                  <p:childTnLst>
                                    <p:animMotion origin="layout" path="M -2.08333E-6 -1.85185E-6 L -2.08333E-6 0.03542 " pathEditMode="relative" rAng="0" ptsTypes="AA">
                                      <p:cBhvr>
                                        <p:cTn id="109" dur="700" spd="-100000" fill="hold"/>
                                        <p:tgtEl>
                                          <p:spTgt spid="116"/>
                                        </p:tgtEl>
                                        <p:attrNameLst>
                                          <p:attrName>ppt_x</p:attrName>
                                          <p:attrName>ppt_y</p:attrName>
                                        </p:attrNameLst>
                                      </p:cBhvr>
                                      <p:rCtr x="0" y="1759"/>
                                    </p:animMotion>
                                  </p:childTnLst>
                                </p:cTn>
                              </p:par>
                              <p:par>
                                <p:cTn id="110" presetID="10" presetClass="entr" presetSubtype="0" fill="hold" grpId="0" nodeType="withEffect">
                                  <p:stCondLst>
                                    <p:cond delay="250"/>
                                  </p:stCondLst>
                                  <p:childTnLst>
                                    <p:set>
                                      <p:cBhvr>
                                        <p:cTn id="111" dur="1" fill="hold">
                                          <p:stCondLst>
                                            <p:cond delay="0"/>
                                          </p:stCondLst>
                                        </p:cTn>
                                        <p:tgtEl>
                                          <p:spTgt spid="117"/>
                                        </p:tgtEl>
                                        <p:attrNameLst>
                                          <p:attrName>style.visibility</p:attrName>
                                        </p:attrNameLst>
                                      </p:cBhvr>
                                      <p:to>
                                        <p:strVal val="visible"/>
                                      </p:to>
                                    </p:set>
                                    <p:animEffect transition="in" filter="fade">
                                      <p:cBhvr>
                                        <p:cTn id="112" dur="500"/>
                                        <p:tgtEl>
                                          <p:spTgt spid="117"/>
                                        </p:tgtEl>
                                      </p:cBhvr>
                                    </p:animEffect>
                                  </p:childTnLst>
                                </p:cTn>
                              </p:par>
                              <p:par>
                                <p:cTn id="113" presetID="42" presetClass="path" presetSubtype="0" decel="100000" fill="hold" grpId="1" nodeType="withEffect">
                                  <p:stCondLst>
                                    <p:cond delay="250"/>
                                  </p:stCondLst>
                                  <p:childTnLst>
                                    <p:animMotion origin="layout" path="M 4.375E-6 7.40741E-7 L 4.375E-6 0.03542 " pathEditMode="relative" rAng="0" ptsTypes="AA">
                                      <p:cBhvr>
                                        <p:cTn id="114" dur="700" spd="-100000" fill="hold"/>
                                        <p:tgtEl>
                                          <p:spTgt spid="117"/>
                                        </p:tgtEl>
                                        <p:attrNameLst>
                                          <p:attrName>ppt_x</p:attrName>
                                          <p:attrName>ppt_y</p:attrName>
                                        </p:attrNameLst>
                                      </p:cBhvr>
                                      <p:rCtr x="0" y="1759"/>
                                    </p:animMotion>
                                  </p:childTnLst>
                                </p:cTn>
                              </p:par>
                              <p:par>
                                <p:cTn id="115" presetID="10" presetClass="entr" presetSubtype="0" fill="hold" grpId="0" nodeType="withEffect">
                                  <p:stCondLst>
                                    <p:cond delay="250"/>
                                  </p:stCondLst>
                                  <p:childTnLst>
                                    <p:set>
                                      <p:cBhvr>
                                        <p:cTn id="116" dur="1" fill="hold">
                                          <p:stCondLst>
                                            <p:cond delay="0"/>
                                          </p:stCondLst>
                                        </p:cTn>
                                        <p:tgtEl>
                                          <p:spTgt spid="118"/>
                                        </p:tgtEl>
                                        <p:attrNameLst>
                                          <p:attrName>style.visibility</p:attrName>
                                        </p:attrNameLst>
                                      </p:cBhvr>
                                      <p:to>
                                        <p:strVal val="visible"/>
                                      </p:to>
                                    </p:set>
                                    <p:animEffect transition="in" filter="fade">
                                      <p:cBhvr>
                                        <p:cTn id="117" dur="500"/>
                                        <p:tgtEl>
                                          <p:spTgt spid="118"/>
                                        </p:tgtEl>
                                      </p:cBhvr>
                                    </p:animEffect>
                                  </p:childTnLst>
                                </p:cTn>
                              </p:par>
                              <p:par>
                                <p:cTn id="118" presetID="42" presetClass="path" presetSubtype="0" decel="100000" fill="hold" grpId="1" nodeType="withEffect">
                                  <p:stCondLst>
                                    <p:cond delay="250"/>
                                  </p:stCondLst>
                                  <p:childTnLst>
                                    <p:animMotion origin="layout" path="M 4.375E-6 -3.33333E-6 L 4.375E-6 0.03542 " pathEditMode="relative" rAng="0" ptsTypes="AA">
                                      <p:cBhvr>
                                        <p:cTn id="119" dur="700" spd="-100000" fill="hold"/>
                                        <p:tgtEl>
                                          <p:spTgt spid="118"/>
                                        </p:tgtEl>
                                        <p:attrNameLst>
                                          <p:attrName>ppt_x</p:attrName>
                                          <p:attrName>ppt_y</p:attrName>
                                        </p:attrNameLst>
                                      </p:cBhvr>
                                      <p:rCtr x="0" y="1759"/>
                                    </p:animMotion>
                                  </p:childTnLst>
                                </p:cTn>
                              </p:par>
                              <p:par>
                                <p:cTn id="120" presetID="10" presetClass="entr" presetSubtype="0" fill="hold" grpId="0" nodeType="withEffect">
                                  <p:stCondLst>
                                    <p:cond delay="250"/>
                                  </p:stCondLst>
                                  <p:childTnLst>
                                    <p:set>
                                      <p:cBhvr>
                                        <p:cTn id="121" dur="1" fill="hold">
                                          <p:stCondLst>
                                            <p:cond delay="0"/>
                                          </p:stCondLst>
                                        </p:cTn>
                                        <p:tgtEl>
                                          <p:spTgt spid="119"/>
                                        </p:tgtEl>
                                        <p:attrNameLst>
                                          <p:attrName>style.visibility</p:attrName>
                                        </p:attrNameLst>
                                      </p:cBhvr>
                                      <p:to>
                                        <p:strVal val="visible"/>
                                      </p:to>
                                    </p:set>
                                    <p:animEffect transition="in" filter="fade">
                                      <p:cBhvr>
                                        <p:cTn id="122" dur="500"/>
                                        <p:tgtEl>
                                          <p:spTgt spid="119"/>
                                        </p:tgtEl>
                                      </p:cBhvr>
                                    </p:animEffect>
                                  </p:childTnLst>
                                </p:cTn>
                              </p:par>
                              <p:par>
                                <p:cTn id="123" presetID="42" presetClass="path" presetSubtype="0" decel="100000" fill="hold" grpId="1" nodeType="withEffect">
                                  <p:stCondLst>
                                    <p:cond delay="250"/>
                                  </p:stCondLst>
                                  <p:childTnLst>
                                    <p:animMotion origin="layout" path="M 4.16667E-6 4.81481E-6 L 4.16667E-6 0.03541 " pathEditMode="relative" rAng="0" ptsTypes="AA">
                                      <p:cBhvr>
                                        <p:cTn id="124" dur="700" spd="-100000" fill="hold"/>
                                        <p:tgtEl>
                                          <p:spTgt spid="119"/>
                                        </p:tgtEl>
                                        <p:attrNameLst>
                                          <p:attrName>ppt_x</p:attrName>
                                          <p:attrName>ppt_y</p:attrName>
                                        </p:attrNameLst>
                                      </p:cBhvr>
                                      <p:rCtr x="0" y="1759"/>
                                    </p:animMotion>
                                  </p:childTnLst>
                                </p:cTn>
                              </p:par>
                              <p:par>
                                <p:cTn id="125" presetID="10" presetClass="entr" presetSubtype="0" fill="hold" grpId="0" nodeType="withEffect">
                                  <p:stCondLst>
                                    <p:cond delay="250"/>
                                  </p:stCondLst>
                                  <p:childTnLst>
                                    <p:set>
                                      <p:cBhvr>
                                        <p:cTn id="126" dur="1" fill="hold">
                                          <p:stCondLst>
                                            <p:cond delay="0"/>
                                          </p:stCondLst>
                                        </p:cTn>
                                        <p:tgtEl>
                                          <p:spTgt spid="120"/>
                                        </p:tgtEl>
                                        <p:attrNameLst>
                                          <p:attrName>style.visibility</p:attrName>
                                        </p:attrNameLst>
                                      </p:cBhvr>
                                      <p:to>
                                        <p:strVal val="visible"/>
                                      </p:to>
                                    </p:set>
                                    <p:animEffect transition="in" filter="fade">
                                      <p:cBhvr>
                                        <p:cTn id="127" dur="500"/>
                                        <p:tgtEl>
                                          <p:spTgt spid="120"/>
                                        </p:tgtEl>
                                      </p:cBhvr>
                                    </p:animEffect>
                                  </p:childTnLst>
                                </p:cTn>
                              </p:par>
                              <p:par>
                                <p:cTn id="128" presetID="42" presetClass="path" presetSubtype="0" decel="100000" fill="hold" grpId="1" nodeType="withEffect">
                                  <p:stCondLst>
                                    <p:cond delay="250"/>
                                  </p:stCondLst>
                                  <p:childTnLst>
                                    <p:animMotion origin="layout" path="M 1.04167E-6 -1.85185E-6 L 1.04167E-6 0.03542 " pathEditMode="relative" rAng="0" ptsTypes="AA">
                                      <p:cBhvr>
                                        <p:cTn id="129" dur="700" spd="-100000" fill="hold"/>
                                        <p:tgtEl>
                                          <p:spTgt spid="120"/>
                                        </p:tgtEl>
                                        <p:attrNameLst>
                                          <p:attrName>ppt_x</p:attrName>
                                          <p:attrName>ppt_y</p:attrName>
                                        </p:attrNameLst>
                                      </p:cBhvr>
                                      <p:rCtr x="0" y="1759"/>
                                    </p:animMotion>
                                  </p:childTnLst>
                                </p:cTn>
                              </p:par>
                              <p:par>
                                <p:cTn id="130" presetID="10" presetClass="entr" presetSubtype="0" fill="hold" grpId="0" nodeType="withEffect">
                                  <p:stCondLst>
                                    <p:cond delay="250"/>
                                  </p:stCondLst>
                                  <p:childTnLst>
                                    <p:set>
                                      <p:cBhvr>
                                        <p:cTn id="131" dur="1" fill="hold">
                                          <p:stCondLst>
                                            <p:cond delay="0"/>
                                          </p:stCondLst>
                                        </p:cTn>
                                        <p:tgtEl>
                                          <p:spTgt spid="121"/>
                                        </p:tgtEl>
                                        <p:attrNameLst>
                                          <p:attrName>style.visibility</p:attrName>
                                        </p:attrNameLst>
                                      </p:cBhvr>
                                      <p:to>
                                        <p:strVal val="visible"/>
                                      </p:to>
                                    </p:set>
                                    <p:animEffect transition="in" filter="fade">
                                      <p:cBhvr>
                                        <p:cTn id="132" dur="500"/>
                                        <p:tgtEl>
                                          <p:spTgt spid="121"/>
                                        </p:tgtEl>
                                      </p:cBhvr>
                                    </p:animEffect>
                                  </p:childTnLst>
                                </p:cTn>
                              </p:par>
                              <p:par>
                                <p:cTn id="133" presetID="42" presetClass="path" presetSubtype="0" decel="100000" fill="hold" grpId="1" nodeType="withEffect">
                                  <p:stCondLst>
                                    <p:cond delay="250"/>
                                  </p:stCondLst>
                                  <p:childTnLst>
                                    <p:animMotion origin="layout" path="M 1.04167E-6 -1.85185E-6 L 1.04167E-6 0.03542 " pathEditMode="relative" rAng="0" ptsTypes="AA">
                                      <p:cBhvr>
                                        <p:cTn id="134" dur="700" spd="-100000" fill="hold"/>
                                        <p:tgtEl>
                                          <p:spTgt spid="121"/>
                                        </p:tgtEl>
                                        <p:attrNameLst>
                                          <p:attrName>ppt_x</p:attrName>
                                          <p:attrName>ppt_y</p:attrName>
                                        </p:attrNameLst>
                                      </p:cBhvr>
                                      <p:rCtr x="0" y="1759"/>
                                    </p:animMotion>
                                  </p:childTnLst>
                                </p:cTn>
                              </p:par>
                              <p:par>
                                <p:cTn id="135" presetID="10" presetClass="entr" presetSubtype="0" fill="hold" grpId="0" nodeType="withEffect">
                                  <p:stCondLst>
                                    <p:cond delay="250"/>
                                  </p:stCondLst>
                                  <p:childTnLst>
                                    <p:set>
                                      <p:cBhvr>
                                        <p:cTn id="136" dur="1" fill="hold">
                                          <p:stCondLst>
                                            <p:cond delay="0"/>
                                          </p:stCondLst>
                                        </p:cTn>
                                        <p:tgtEl>
                                          <p:spTgt spid="122"/>
                                        </p:tgtEl>
                                        <p:attrNameLst>
                                          <p:attrName>style.visibility</p:attrName>
                                        </p:attrNameLst>
                                      </p:cBhvr>
                                      <p:to>
                                        <p:strVal val="visible"/>
                                      </p:to>
                                    </p:set>
                                    <p:animEffect transition="in" filter="fade">
                                      <p:cBhvr>
                                        <p:cTn id="137" dur="500"/>
                                        <p:tgtEl>
                                          <p:spTgt spid="122"/>
                                        </p:tgtEl>
                                      </p:cBhvr>
                                    </p:animEffect>
                                  </p:childTnLst>
                                </p:cTn>
                              </p:par>
                              <p:par>
                                <p:cTn id="138" presetID="42" presetClass="path" presetSubtype="0" decel="100000" fill="hold" grpId="1" nodeType="withEffect">
                                  <p:stCondLst>
                                    <p:cond delay="250"/>
                                  </p:stCondLst>
                                  <p:childTnLst>
                                    <p:animMotion origin="layout" path="M 1.04167E-6 -1.85185E-6 L 1.04167E-6 0.03542 " pathEditMode="relative" rAng="0" ptsTypes="AA">
                                      <p:cBhvr>
                                        <p:cTn id="139" dur="700" spd="-100000" fill="hold"/>
                                        <p:tgtEl>
                                          <p:spTgt spid="122"/>
                                        </p:tgtEl>
                                        <p:attrNameLst>
                                          <p:attrName>ppt_x</p:attrName>
                                          <p:attrName>ppt_y</p:attrName>
                                        </p:attrNameLst>
                                      </p:cBhvr>
                                      <p:rCtr x="0" y="1759"/>
                                    </p:animMotion>
                                  </p:childTnLst>
                                </p:cTn>
                              </p:par>
                              <p:par>
                                <p:cTn id="140" presetID="10" presetClass="entr" presetSubtype="0" fill="hold" grpId="0" nodeType="withEffect">
                                  <p:stCondLst>
                                    <p:cond delay="250"/>
                                  </p:stCondLst>
                                  <p:childTnLst>
                                    <p:set>
                                      <p:cBhvr>
                                        <p:cTn id="141" dur="1" fill="hold">
                                          <p:stCondLst>
                                            <p:cond delay="0"/>
                                          </p:stCondLst>
                                        </p:cTn>
                                        <p:tgtEl>
                                          <p:spTgt spid="47"/>
                                        </p:tgtEl>
                                        <p:attrNameLst>
                                          <p:attrName>style.visibility</p:attrName>
                                        </p:attrNameLst>
                                      </p:cBhvr>
                                      <p:to>
                                        <p:strVal val="visible"/>
                                      </p:to>
                                    </p:set>
                                    <p:animEffect transition="in" filter="fade">
                                      <p:cBhvr>
                                        <p:cTn id="142" dur="500"/>
                                        <p:tgtEl>
                                          <p:spTgt spid="47"/>
                                        </p:tgtEl>
                                      </p:cBhvr>
                                    </p:animEffect>
                                  </p:childTnLst>
                                </p:cTn>
                              </p:par>
                              <p:par>
                                <p:cTn id="143" presetID="42" presetClass="path" presetSubtype="0" decel="100000" fill="hold" grpId="1" nodeType="withEffect">
                                  <p:stCondLst>
                                    <p:cond delay="250"/>
                                  </p:stCondLst>
                                  <p:childTnLst>
                                    <p:animMotion origin="layout" path="M 0 1.48148E-6 L 0 0.03542 " pathEditMode="relative" rAng="0" ptsTypes="AA">
                                      <p:cBhvr>
                                        <p:cTn id="144" dur="700" spd="-100000" fill="hold"/>
                                        <p:tgtEl>
                                          <p:spTgt spid="47"/>
                                        </p:tgtEl>
                                        <p:attrNameLst>
                                          <p:attrName>ppt_x</p:attrName>
                                          <p:attrName>ppt_y</p:attrName>
                                        </p:attrNameLst>
                                      </p:cBhvr>
                                      <p:rCtr x="0" y="1759"/>
                                    </p:animMotion>
                                  </p:childTnLst>
                                </p:cTn>
                              </p:par>
                              <p:par>
                                <p:cTn id="145" presetID="10" presetClass="entr" presetSubtype="0" fill="hold" grpId="0" nodeType="withEffect">
                                  <p:stCondLst>
                                    <p:cond delay="250"/>
                                  </p:stCondLst>
                                  <p:childTnLst>
                                    <p:set>
                                      <p:cBhvr>
                                        <p:cTn id="146" dur="1" fill="hold">
                                          <p:stCondLst>
                                            <p:cond delay="0"/>
                                          </p:stCondLst>
                                        </p:cTn>
                                        <p:tgtEl>
                                          <p:spTgt spid="123"/>
                                        </p:tgtEl>
                                        <p:attrNameLst>
                                          <p:attrName>style.visibility</p:attrName>
                                        </p:attrNameLst>
                                      </p:cBhvr>
                                      <p:to>
                                        <p:strVal val="visible"/>
                                      </p:to>
                                    </p:set>
                                    <p:animEffect transition="in" filter="fade">
                                      <p:cBhvr>
                                        <p:cTn id="147" dur="500"/>
                                        <p:tgtEl>
                                          <p:spTgt spid="123"/>
                                        </p:tgtEl>
                                      </p:cBhvr>
                                    </p:animEffect>
                                  </p:childTnLst>
                                </p:cTn>
                              </p:par>
                              <p:par>
                                <p:cTn id="148" presetID="42" presetClass="path" presetSubtype="0" decel="100000" fill="hold" grpId="1" nodeType="withEffect">
                                  <p:stCondLst>
                                    <p:cond delay="250"/>
                                  </p:stCondLst>
                                  <p:childTnLst>
                                    <p:animMotion origin="layout" path="M 0 1.48148E-6 L 0 0.03542 " pathEditMode="relative" rAng="0" ptsTypes="AA">
                                      <p:cBhvr>
                                        <p:cTn id="149" dur="700" spd="-100000" fill="hold"/>
                                        <p:tgtEl>
                                          <p:spTgt spid="123"/>
                                        </p:tgtEl>
                                        <p:attrNameLst>
                                          <p:attrName>ppt_x</p:attrName>
                                          <p:attrName>ppt_y</p:attrName>
                                        </p:attrNameLst>
                                      </p:cBhvr>
                                      <p:rCtr x="0" y="1759"/>
                                    </p:animMotion>
                                  </p:childTnLst>
                                </p:cTn>
                              </p:par>
                              <p:par>
                                <p:cTn id="150" presetID="10" presetClass="entr" presetSubtype="0" fill="hold" grpId="0" nodeType="withEffect">
                                  <p:stCondLst>
                                    <p:cond delay="250"/>
                                  </p:stCondLst>
                                  <p:childTnLst>
                                    <p:set>
                                      <p:cBhvr>
                                        <p:cTn id="151" dur="1" fill="hold">
                                          <p:stCondLst>
                                            <p:cond delay="0"/>
                                          </p:stCondLst>
                                        </p:cTn>
                                        <p:tgtEl>
                                          <p:spTgt spid="124"/>
                                        </p:tgtEl>
                                        <p:attrNameLst>
                                          <p:attrName>style.visibility</p:attrName>
                                        </p:attrNameLst>
                                      </p:cBhvr>
                                      <p:to>
                                        <p:strVal val="visible"/>
                                      </p:to>
                                    </p:set>
                                    <p:animEffect transition="in" filter="fade">
                                      <p:cBhvr>
                                        <p:cTn id="152" dur="500"/>
                                        <p:tgtEl>
                                          <p:spTgt spid="124"/>
                                        </p:tgtEl>
                                      </p:cBhvr>
                                    </p:animEffect>
                                  </p:childTnLst>
                                </p:cTn>
                              </p:par>
                              <p:par>
                                <p:cTn id="153" presetID="42" presetClass="path" presetSubtype="0" decel="100000" fill="hold" grpId="1" nodeType="withEffect">
                                  <p:stCondLst>
                                    <p:cond delay="250"/>
                                  </p:stCondLst>
                                  <p:childTnLst>
                                    <p:animMotion origin="layout" path="M 0 1.48148E-6 L 0 0.03542 " pathEditMode="relative" rAng="0" ptsTypes="AA">
                                      <p:cBhvr>
                                        <p:cTn id="154" dur="700" spd="-100000" fill="hold"/>
                                        <p:tgtEl>
                                          <p:spTgt spid="124"/>
                                        </p:tgtEl>
                                        <p:attrNameLst>
                                          <p:attrName>ppt_x</p:attrName>
                                          <p:attrName>ppt_y</p:attrName>
                                        </p:attrNameLst>
                                      </p:cBhvr>
                                      <p:rCtr x="0" y="1759"/>
                                    </p:animMotion>
                                  </p:childTnLst>
                                </p:cTn>
                              </p:par>
                              <p:par>
                                <p:cTn id="155" presetID="10" presetClass="entr" presetSubtype="0" fill="hold" grpId="0" nodeType="withEffect">
                                  <p:stCondLst>
                                    <p:cond delay="250"/>
                                  </p:stCondLst>
                                  <p:childTnLst>
                                    <p:set>
                                      <p:cBhvr>
                                        <p:cTn id="156" dur="1" fill="hold">
                                          <p:stCondLst>
                                            <p:cond delay="0"/>
                                          </p:stCondLst>
                                        </p:cTn>
                                        <p:tgtEl>
                                          <p:spTgt spid="125"/>
                                        </p:tgtEl>
                                        <p:attrNameLst>
                                          <p:attrName>style.visibility</p:attrName>
                                        </p:attrNameLst>
                                      </p:cBhvr>
                                      <p:to>
                                        <p:strVal val="visible"/>
                                      </p:to>
                                    </p:set>
                                    <p:animEffect transition="in" filter="fade">
                                      <p:cBhvr>
                                        <p:cTn id="157" dur="500"/>
                                        <p:tgtEl>
                                          <p:spTgt spid="125"/>
                                        </p:tgtEl>
                                      </p:cBhvr>
                                    </p:animEffect>
                                  </p:childTnLst>
                                </p:cTn>
                              </p:par>
                              <p:par>
                                <p:cTn id="158" presetID="42" presetClass="path" presetSubtype="0" decel="100000" fill="hold" grpId="1" nodeType="withEffect">
                                  <p:stCondLst>
                                    <p:cond delay="250"/>
                                  </p:stCondLst>
                                  <p:childTnLst>
                                    <p:animMotion origin="layout" path="M 0 1.48148E-6 L 0 0.03542 " pathEditMode="relative" rAng="0" ptsTypes="AA">
                                      <p:cBhvr>
                                        <p:cTn id="159" dur="700" spd="-100000" fill="hold"/>
                                        <p:tgtEl>
                                          <p:spTgt spid="125"/>
                                        </p:tgtEl>
                                        <p:attrNameLst>
                                          <p:attrName>ppt_x</p:attrName>
                                          <p:attrName>ppt_y</p:attrName>
                                        </p:attrNameLst>
                                      </p:cBhvr>
                                      <p:rCtr x="0" y="1759"/>
                                    </p:animMotion>
                                  </p:childTnLst>
                                </p:cTn>
                              </p:par>
                              <p:par>
                                <p:cTn id="160" presetID="10" presetClass="entr" presetSubtype="0" fill="hold" nodeType="withEffect">
                                  <p:stCondLst>
                                    <p:cond delay="250"/>
                                  </p:stCondLst>
                                  <p:childTnLst>
                                    <p:set>
                                      <p:cBhvr>
                                        <p:cTn id="161" dur="1" fill="hold">
                                          <p:stCondLst>
                                            <p:cond delay="0"/>
                                          </p:stCondLst>
                                        </p:cTn>
                                        <p:tgtEl>
                                          <p:spTgt spid="137"/>
                                        </p:tgtEl>
                                        <p:attrNameLst>
                                          <p:attrName>style.visibility</p:attrName>
                                        </p:attrNameLst>
                                      </p:cBhvr>
                                      <p:to>
                                        <p:strVal val="visible"/>
                                      </p:to>
                                    </p:set>
                                    <p:animEffect transition="in" filter="fade">
                                      <p:cBhvr>
                                        <p:cTn id="162" dur="500"/>
                                        <p:tgtEl>
                                          <p:spTgt spid="137"/>
                                        </p:tgtEl>
                                      </p:cBhvr>
                                    </p:animEffect>
                                  </p:childTnLst>
                                </p:cTn>
                              </p:par>
                              <p:par>
                                <p:cTn id="163" presetID="42" presetClass="path" presetSubtype="0" decel="100000" fill="hold" nodeType="withEffect">
                                  <p:stCondLst>
                                    <p:cond delay="250"/>
                                  </p:stCondLst>
                                  <p:childTnLst>
                                    <p:animMotion origin="layout" path="M 0 1.48148E-6 L 0 0.03542 " pathEditMode="relative" rAng="0" ptsTypes="AA">
                                      <p:cBhvr>
                                        <p:cTn id="164" dur="700" spd="-100000" fill="hold"/>
                                        <p:tgtEl>
                                          <p:spTgt spid="137"/>
                                        </p:tgtEl>
                                        <p:attrNameLst>
                                          <p:attrName>ppt_x</p:attrName>
                                          <p:attrName>ppt_y</p:attrName>
                                        </p:attrNameLst>
                                      </p:cBhvr>
                                      <p:rCtr x="0" y="1759"/>
                                    </p:animMotion>
                                  </p:childTnLst>
                                </p:cTn>
                              </p:par>
                              <p:par>
                                <p:cTn id="165" presetID="10" presetClass="entr" presetSubtype="0" fill="hold" nodeType="withEffect">
                                  <p:stCondLst>
                                    <p:cond delay="250"/>
                                  </p:stCondLst>
                                  <p:childTnLst>
                                    <p:set>
                                      <p:cBhvr>
                                        <p:cTn id="166" dur="1" fill="hold">
                                          <p:stCondLst>
                                            <p:cond delay="0"/>
                                          </p:stCondLst>
                                        </p:cTn>
                                        <p:tgtEl>
                                          <p:spTgt spid="131"/>
                                        </p:tgtEl>
                                        <p:attrNameLst>
                                          <p:attrName>style.visibility</p:attrName>
                                        </p:attrNameLst>
                                      </p:cBhvr>
                                      <p:to>
                                        <p:strVal val="visible"/>
                                      </p:to>
                                    </p:set>
                                    <p:animEffect transition="in" filter="fade">
                                      <p:cBhvr>
                                        <p:cTn id="167" dur="500"/>
                                        <p:tgtEl>
                                          <p:spTgt spid="131"/>
                                        </p:tgtEl>
                                      </p:cBhvr>
                                    </p:animEffect>
                                  </p:childTnLst>
                                </p:cTn>
                              </p:par>
                              <p:par>
                                <p:cTn id="168" presetID="42" presetClass="path" presetSubtype="0" decel="100000" fill="hold" nodeType="withEffect">
                                  <p:stCondLst>
                                    <p:cond delay="250"/>
                                  </p:stCondLst>
                                  <p:childTnLst>
                                    <p:animMotion origin="layout" path="M 0 1.48148E-6 L 0 0.03542 " pathEditMode="relative" rAng="0" ptsTypes="AA">
                                      <p:cBhvr>
                                        <p:cTn id="169" dur="700" spd="-100000" fill="hold"/>
                                        <p:tgtEl>
                                          <p:spTgt spid="131"/>
                                        </p:tgtEl>
                                        <p:attrNameLst>
                                          <p:attrName>ppt_x</p:attrName>
                                          <p:attrName>ppt_y</p:attrName>
                                        </p:attrNameLst>
                                      </p:cBhvr>
                                      <p:rCtr x="0" y="1759"/>
                                    </p:animMotion>
                                  </p:childTnLst>
                                </p:cTn>
                              </p:par>
                              <p:par>
                                <p:cTn id="170" presetID="10" presetClass="entr" presetSubtype="0" fill="hold" nodeType="withEffect">
                                  <p:stCondLst>
                                    <p:cond delay="250"/>
                                  </p:stCondLst>
                                  <p:childTnLst>
                                    <p:set>
                                      <p:cBhvr>
                                        <p:cTn id="171" dur="1" fill="hold">
                                          <p:stCondLst>
                                            <p:cond delay="0"/>
                                          </p:stCondLst>
                                        </p:cTn>
                                        <p:tgtEl>
                                          <p:spTgt spid="142"/>
                                        </p:tgtEl>
                                        <p:attrNameLst>
                                          <p:attrName>style.visibility</p:attrName>
                                        </p:attrNameLst>
                                      </p:cBhvr>
                                      <p:to>
                                        <p:strVal val="visible"/>
                                      </p:to>
                                    </p:set>
                                    <p:animEffect transition="in" filter="fade">
                                      <p:cBhvr>
                                        <p:cTn id="172" dur="500"/>
                                        <p:tgtEl>
                                          <p:spTgt spid="142"/>
                                        </p:tgtEl>
                                      </p:cBhvr>
                                    </p:animEffect>
                                  </p:childTnLst>
                                </p:cTn>
                              </p:par>
                              <p:par>
                                <p:cTn id="173" presetID="42" presetClass="path" presetSubtype="0" decel="100000" fill="hold" nodeType="withEffect">
                                  <p:stCondLst>
                                    <p:cond delay="250"/>
                                  </p:stCondLst>
                                  <p:childTnLst>
                                    <p:animMotion origin="layout" path="M 0 1.48148E-6 L 0 0.03542 " pathEditMode="relative" rAng="0" ptsTypes="AA">
                                      <p:cBhvr>
                                        <p:cTn id="174" dur="700" spd="-100000" fill="hold"/>
                                        <p:tgtEl>
                                          <p:spTgt spid="142"/>
                                        </p:tgtEl>
                                        <p:attrNameLst>
                                          <p:attrName>ppt_x</p:attrName>
                                          <p:attrName>ppt_y</p:attrName>
                                        </p:attrNameLst>
                                      </p:cBhvr>
                                      <p:rCtr x="0" y="1759"/>
                                    </p:animMotion>
                                  </p:childTnLst>
                                </p:cTn>
                              </p:par>
                              <p:par>
                                <p:cTn id="175" presetID="10" presetClass="entr" presetSubtype="0" fill="hold" nodeType="withEffect">
                                  <p:stCondLst>
                                    <p:cond delay="250"/>
                                  </p:stCondLst>
                                  <p:childTnLst>
                                    <p:set>
                                      <p:cBhvr>
                                        <p:cTn id="176" dur="1" fill="hold">
                                          <p:stCondLst>
                                            <p:cond delay="0"/>
                                          </p:stCondLst>
                                        </p:cTn>
                                        <p:tgtEl>
                                          <p:spTgt spid="147"/>
                                        </p:tgtEl>
                                        <p:attrNameLst>
                                          <p:attrName>style.visibility</p:attrName>
                                        </p:attrNameLst>
                                      </p:cBhvr>
                                      <p:to>
                                        <p:strVal val="visible"/>
                                      </p:to>
                                    </p:set>
                                    <p:animEffect transition="in" filter="fade">
                                      <p:cBhvr>
                                        <p:cTn id="177" dur="500"/>
                                        <p:tgtEl>
                                          <p:spTgt spid="147"/>
                                        </p:tgtEl>
                                      </p:cBhvr>
                                    </p:animEffect>
                                  </p:childTnLst>
                                </p:cTn>
                              </p:par>
                              <p:par>
                                <p:cTn id="178" presetID="42" presetClass="path" presetSubtype="0" decel="100000" fill="hold" nodeType="withEffect">
                                  <p:stCondLst>
                                    <p:cond delay="250"/>
                                  </p:stCondLst>
                                  <p:childTnLst>
                                    <p:animMotion origin="layout" path="M 0 1.48148E-6 L 0 0.03542 " pathEditMode="relative" rAng="0" ptsTypes="AA">
                                      <p:cBhvr>
                                        <p:cTn id="179" dur="700" spd="-100000" fill="hold"/>
                                        <p:tgtEl>
                                          <p:spTgt spid="14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8" grpId="0" animBg="1"/>
      <p:bldP spid="8" grpId="1" animBg="1"/>
      <p:bldP spid="47" grpId="0" animBg="1"/>
      <p:bldP spid="47" grpId="1" animBg="1"/>
      <p:bldP spid="67" grpId="0" animBg="1"/>
      <p:bldP spid="67" grpId="1" animBg="1"/>
      <p:bldP spid="69" grpId="0" animBg="1"/>
      <p:bldP spid="69" grpId="1" animBg="1"/>
      <p:bldP spid="71" grpId="0" animBg="1"/>
      <p:bldP spid="71"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113" grpId="0"/>
      <p:bldP spid="113" grpId="1"/>
      <p:bldP spid="114" grpId="0"/>
      <p:bldP spid="114" grpId="1"/>
      <p:bldP spid="115" grpId="0"/>
      <p:bldP spid="115" grpId="1"/>
      <p:bldP spid="116" grpId="0"/>
      <p:bldP spid="116" grpId="1"/>
      <p:bldP spid="117" grpId="0"/>
      <p:bldP spid="117" grpId="1"/>
      <p:bldP spid="118" grpId="0"/>
      <p:bldP spid="118" grpId="1"/>
      <p:bldP spid="119" grpId="0"/>
      <p:bldP spid="119" grpId="1"/>
      <p:bldP spid="120" grpId="0"/>
      <p:bldP spid="120" grpId="1"/>
      <p:bldP spid="121" grpId="0"/>
      <p:bldP spid="121" grpId="1"/>
      <p:bldP spid="122" grpId="0"/>
      <p:bldP spid="122" grpId="1"/>
      <p:bldP spid="123" grpId="0"/>
      <p:bldP spid="123" grpId="1"/>
      <p:bldP spid="124" grpId="0"/>
      <p:bldP spid="124" grpId="1"/>
      <p:bldP spid="125" grpId="0"/>
      <p:bldP spid="125"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D88A1-5F4F-472C-0D06-AEA721A6B444}"/>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FA6A93FD-6409-1DE7-48B2-FD957A0FC346}"/>
              </a:ext>
            </a:extLst>
          </p:cNvPr>
          <p:cNvSpPr>
            <a:spLocks noGrp="1"/>
          </p:cNvSpPr>
          <p:nvPr>
            <p:ph type="title"/>
          </p:nvPr>
        </p:nvSpPr>
        <p:spPr>
          <a:xfrm>
            <a:off x="59315" y="443704"/>
            <a:ext cx="11049000" cy="430887"/>
          </a:xfrm>
        </p:spPr>
        <p:txBody>
          <a:bodyPr/>
          <a:lstStyle/>
          <a:p>
            <a:r>
              <a:rPr lang="en-US" sz="2800"/>
              <a:t>FY26 Cloud + AI CSU | </a:t>
            </a:r>
            <a:r>
              <a:rPr lang="en-US" sz="2800">
                <a:solidFill>
                  <a:schemeClr val="accent1"/>
                </a:solidFill>
              </a:rPr>
              <a:t>KPIs &amp; Outcomes</a:t>
            </a:r>
          </a:p>
        </p:txBody>
      </p:sp>
      <p:graphicFrame>
        <p:nvGraphicFramePr>
          <p:cNvPr id="19" name="Table 18">
            <a:extLst>
              <a:ext uri="{FF2B5EF4-FFF2-40B4-BE49-F238E27FC236}">
                <a16:creationId xmlns:a16="http://schemas.microsoft.com/office/drawing/2014/main" id="{3935DA71-4A53-8A78-6DA6-27FEBE08679D}"/>
              </a:ext>
            </a:extLst>
          </p:cNvPr>
          <p:cNvGraphicFramePr>
            <a:graphicFrameLocks noGrp="1"/>
          </p:cNvGraphicFramePr>
          <p:nvPr>
            <p:extLst>
              <p:ext uri="{D42A27DB-BD31-4B8C-83A1-F6EECF244321}">
                <p14:modId xmlns:p14="http://schemas.microsoft.com/office/powerpoint/2010/main" val="2601384220"/>
              </p:ext>
            </p:extLst>
          </p:nvPr>
        </p:nvGraphicFramePr>
        <p:xfrm>
          <a:off x="59315" y="878554"/>
          <a:ext cx="12073369" cy="5707232"/>
        </p:xfrm>
        <a:graphic>
          <a:graphicData uri="http://schemas.openxmlformats.org/drawingml/2006/table">
            <a:tbl>
              <a:tblPr firstRow="1" firstCol="1" bandRow="1">
                <a:tableStyleId>{793D81CF-94F2-401A-BA57-92F5A7B2D0C5}</a:tableStyleId>
              </a:tblPr>
              <a:tblGrid>
                <a:gridCol w="708128">
                  <a:extLst>
                    <a:ext uri="{9D8B030D-6E8A-4147-A177-3AD203B41FA5}">
                      <a16:colId xmlns:a16="http://schemas.microsoft.com/office/drawing/2014/main" val="1800416229"/>
                    </a:ext>
                  </a:extLst>
                </a:gridCol>
                <a:gridCol w="4915727">
                  <a:extLst>
                    <a:ext uri="{9D8B030D-6E8A-4147-A177-3AD203B41FA5}">
                      <a16:colId xmlns:a16="http://schemas.microsoft.com/office/drawing/2014/main" val="2069204243"/>
                    </a:ext>
                  </a:extLst>
                </a:gridCol>
                <a:gridCol w="5011838">
                  <a:extLst>
                    <a:ext uri="{9D8B030D-6E8A-4147-A177-3AD203B41FA5}">
                      <a16:colId xmlns:a16="http://schemas.microsoft.com/office/drawing/2014/main" val="429359319"/>
                    </a:ext>
                  </a:extLst>
                </a:gridCol>
                <a:gridCol w="1437676">
                  <a:extLst>
                    <a:ext uri="{9D8B030D-6E8A-4147-A177-3AD203B41FA5}">
                      <a16:colId xmlns:a16="http://schemas.microsoft.com/office/drawing/2014/main" val="126603925"/>
                    </a:ext>
                  </a:extLst>
                </a:gridCol>
              </a:tblGrid>
              <a:tr h="218298">
                <a:tc>
                  <a:txBody>
                    <a:bodyPr/>
                    <a:lstStyle/>
                    <a:p>
                      <a:pPr algn="l" rtl="0" fontAlgn="base">
                        <a:lnSpc>
                          <a:spcPct val="100000"/>
                        </a:lnSpc>
                        <a:spcAft>
                          <a:spcPts val="200"/>
                        </a:spcAft>
                        <a:buNone/>
                      </a:pPr>
                      <a:r>
                        <a:rPr lang="en-US" sz="1000" b="0" i="0">
                          <a:solidFill>
                            <a:schemeClr val="bg1"/>
                          </a:solidFill>
                          <a:effectLst/>
                          <a:latin typeface="+mj-lt"/>
                          <a:ea typeface="+mj-ea"/>
                          <a:cs typeface="+mj-cs"/>
                        </a:rPr>
                        <a:t>Function​</a:t>
                      </a:r>
                    </a:p>
                  </a:txBody>
                  <a:tcPr marL="45720" marR="45720" marT="18288" marB="18288"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rtl="0" fontAlgn="base">
                        <a:lnSpc>
                          <a:spcPct val="100000"/>
                        </a:lnSpc>
                        <a:spcAft>
                          <a:spcPts val="200"/>
                        </a:spcAft>
                        <a:buNone/>
                      </a:pPr>
                      <a:r>
                        <a:rPr lang="en-US" sz="1000" b="0" i="0">
                          <a:solidFill>
                            <a:schemeClr val="bg1"/>
                          </a:solidFill>
                          <a:effectLst/>
                          <a:latin typeface="+mj-lt"/>
                          <a:ea typeface="+mj-ea"/>
                          <a:cs typeface="+mj-cs"/>
                        </a:rPr>
                        <a:t>Description of Scope​</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rtl="0" fontAlgn="base">
                        <a:lnSpc>
                          <a:spcPct val="100000"/>
                        </a:lnSpc>
                        <a:spcAft>
                          <a:spcPts val="200"/>
                        </a:spcAft>
                        <a:buNone/>
                      </a:pPr>
                      <a:r>
                        <a:rPr lang="en-US" sz="1000" b="0" i="0">
                          <a:solidFill>
                            <a:schemeClr val="bg1"/>
                          </a:solidFill>
                          <a:effectLst/>
                          <a:latin typeface="+mj-lt"/>
                          <a:ea typeface="+mj-ea"/>
                          <a:cs typeface="+mj-cs"/>
                        </a:rPr>
                        <a:t>KPIs &amp; Outcomes​</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rtl="0" fontAlgn="base">
                        <a:lnSpc>
                          <a:spcPct val="100000"/>
                        </a:lnSpc>
                        <a:spcAft>
                          <a:spcPts val="200"/>
                        </a:spcAft>
                        <a:buNone/>
                      </a:pPr>
                      <a:r>
                        <a:rPr lang="en-US" sz="1000" b="1" i="0">
                          <a:solidFill>
                            <a:schemeClr val="bg1"/>
                          </a:solidFill>
                          <a:effectLst/>
                          <a:latin typeface="+mj-lt"/>
                        </a:rPr>
                        <a:t>Reporting Dashboard</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07618131"/>
                  </a:ext>
                </a:extLst>
              </a:tr>
              <a:tr h="971463">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Job 1​</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Drive </a:t>
                      </a:r>
                      <a:r>
                        <a:rPr lang="en-US" sz="900" b="0" i="0">
                          <a:solidFill>
                            <a:schemeClr val="tx1"/>
                          </a:solidFill>
                          <a:effectLst/>
                          <a:latin typeface="+mj-lt"/>
                          <a:ea typeface="+mj-ea"/>
                          <a:cs typeface="+mj-cs"/>
                        </a:rPr>
                        <a:t>committed milestones to close</a:t>
                      </a:r>
                      <a:r>
                        <a:rPr lang="en-US" sz="900" b="0" i="0">
                          <a:solidFill>
                            <a:schemeClr val="tx1"/>
                          </a:solidFill>
                          <a:effectLst/>
                          <a:latin typeface="+mn-lt"/>
                          <a:ea typeface="+mj-ea"/>
                          <a:cs typeface="+mj-cs"/>
                        </a:rPr>
                        <a:t> </a:t>
                      </a:r>
                      <a:r>
                        <a:rPr lang="en-US" sz="900" b="0" i="0">
                          <a:solidFill>
                            <a:schemeClr val="tx1"/>
                          </a:solidFill>
                          <a:effectLst/>
                          <a:latin typeface="+mn-lt"/>
                          <a:ea typeface="+mn-ea"/>
                          <a:cs typeface="+mn-cs"/>
                        </a:rPr>
                        <a:t>across all Unified accounts – inclusive of </a:t>
                      </a:r>
                      <a:r>
                        <a:rPr lang="en-US" sz="900" b="0" i="0">
                          <a:solidFill>
                            <a:schemeClr val="accent1"/>
                          </a:solidFill>
                          <a:effectLst/>
                          <a:latin typeface="+mj-lt"/>
                          <a:ea typeface="+mj-ea"/>
                          <a:cs typeface="+mj-cs"/>
                        </a:rPr>
                        <a:t>Acceleration and Classic territories</a:t>
                      </a:r>
                      <a:r>
                        <a:rPr lang="en-US" sz="900" b="0" i="0">
                          <a:solidFill>
                            <a:schemeClr val="tx1"/>
                          </a:solidFill>
                          <a:effectLst/>
                          <a:latin typeface="+mj-lt"/>
                          <a:ea typeface="+mj-ea"/>
                          <a:cs typeface="+mj-cs"/>
                        </a:rPr>
                        <a:t>​</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Ensure </a:t>
                      </a:r>
                      <a:r>
                        <a:rPr lang="en-US" sz="900" b="0" i="0">
                          <a:solidFill>
                            <a:schemeClr val="tx1"/>
                          </a:solidFill>
                          <a:effectLst/>
                          <a:latin typeface="+mj-lt"/>
                          <a:ea typeface="+mj-ea"/>
                          <a:cs typeface="+mj-cs"/>
                        </a:rPr>
                        <a:t>ownership of committed milestones in CSU </a:t>
                      </a:r>
                      <a:r>
                        <a:rPr lang="en-US" sz="900" b="0" i="0">
                          <a:solidFill>
                            <a:schemeClr val="tx1"/>
                          </a:solidFill>
                          <a:effectLst/>
                          <a:latin typeface="+mn-lt"/>
                          <a:ea typeface="+mn-ea"/>
                          <a:cs typeface="+mn-cs"/>
                        </a:rPr>
                        <a:t>for Unified accounts​</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j-lt"/>
                          <a:ea typeface="+mj-ea"/>
                          <a:cs typeface="+mj-cs"/>
                        </a:rPr>
                        <a:t>Proactively manage risks </a:t>
                      </a:r>
                      <a:r>
                        <a:rPr lang="en-US" sz="900" b="0" i="0">
                          <a:solidFill>
                            <a:schemeClr val="tx1"/>
                          </a:solidFill>
                          <a:effectLst/>
                          <a:latin typeface="+mn-lt"/>
                          <a:ea typeface="+mn-ea"/>
                          <a:cs typeface="+mn-cs"/>
                        </a:rPr>
                        <a:t>to drive on-time, on-revenue closure across CSU/STU/Partner owned committed milestones, </a:t>
                      </a:r>
                      <a:r>
                        <a:rPr lang="en-US" sz="900" b="0" i="0">
                          <a:solidFill>
                            <a:schemeClr val="tx1"/>
                          </a:solidFill>
                          <a:effectLst/>
                          <a:latin typeface="+mj-lt"/>
                          <a:ea typeface="+mj-ea"/>
                          <a:cs typeface="+mj-cs"/>
                        </a:rPr>
                        <a:t>Unblock and Accelerate </a:t>
                      </a:r>
                      <a:r>
                        <a:rPr lang="en-US" sz="900" b="0" i="0">
                          <a:solidFill>
                            <a:schemeClr val="tx1"/>
                          </a:solidFill>
                          <a:effectLst/>
                          <a:latin typeface="+mn-lt"/>
                          <a:ea typeface="+mn-ea"/>
                          <a:cs typeface="+mn-cs"/>
                        </a:rPr>
                        <a:t>technical and non-technical issues for these milestones ​</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95%+ commit-to-close rate for all solution plays each quarter across Unified accounts in </a:t>
                      </a:r>
                      <a:r>
                        <a:rPr lang="en-US" sz="900" b="0" i="0">
                          <a:solidFill>
                            <a:schemeClr val="accent1"/>
                          </a:solidFill>
                          <a:effectLst/>
                          <a:latin typeface="+mj-lt"/>
                          <a:ea typeface="+mj-ea"/>
                          <a:cs typeface="+mj-cs"/>
                        </a:rPr>
                        <a:t>Accelerate and Classic territories </a:t>
                      </a:r>
                      <a:r>
                        <a:rPr lang="en-US" sz="900" b="0" i="0">
                          <a:solidFill>
                            <a:schemeClr val="tx1"/>
                          </a:solidFill>
                          <a:effectLst/>
                          <a:latin typeface="+mj-lt"/>
                          <a:ea typeface="+mj-ea"/>
                          <a:cs typeface="+mj-cs"/>
                        </a:rPr>
                        <a:t>​</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95%+ CSU ownership of committed milestones in Unified accounts</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Insights on patterns impacting close rates​</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Seamless collaboration with STU for high quality hand-off on Uncommitted to Committed milestones​</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a:solidFill>
                            <a:schemeClr val="accent1"/>
                          </a:solidFill>
                          <a:latin typeface="+mn-lt"/>
                          <a:ea typeface="+mn-ea"/>
                          <a:cs typeface="+mn-cs"/>
                          <a:hlinkClick r:id="rId3">
                            <a:extLst>
                              <a:ext uri="{A12FA001-AC4F-418D-AE19-62706E023703}">
                                <ahyp:hlinkClr xmlns:ahyp="http://schemas.microsoft.com/office/drawing/2018/hyperlinkcolor" val="tx"/>
                              </a:ext>
                            </a:extLst>
                          </a:hlinkClick>
                        </a:rPr>
                        <a:t>aka.ms/AzureCloseRate</a:t>
                      </a:r>
                      <a:endParaRPr lang="en-US" sz="900" kern="1200">
                        <a:solidFill>
                          <a:schemeClr val="accent1"/>
                        </a:solidFill>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6967853"/>
                  </a:ext>
                </a:extLst>
              </a:tr>
              <a:tr h="834638">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Job 2​</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Drive </a:t>
                      </a:r>
                      <a:r>
                        <a:rPr lang="en-US" sz="900" b="0" i="0">
                          <a:solidFill>
                            <a:schemeClr val="tx1"/>
                          </a:solidFill>
                          <a:effectLst/>
                          <a:latin typeface="+mj-lt"/>
                          <a:ea typeface="+mj-ea"/>
                          <a:cs typeface="+mj-cs"/>
                        </a:rPr>
                        <a:t>next best action </a:t>
                      </a:r>
                      <a:r>
                        <a:rPr lang="en-US" sz="900" b="0" i="0">
                          <a:solidFill>
                            <a:schemeClr val="tx1"/>
                          </a:solidFill>
                          <a:effectLst/>
                          <a:latin typeface="+mn-lt"/>
                          <a:ea typeface="+mn-ea"/>
                          <a:cs typeface="+mn-cs"/>
                        </a:rPr>
                        <a:t>execution and generate incremental pipeline from every CSA delivery engagement​</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Apply patterns and best practices for </a:t>
                      </a:r>
                      <a:r>
                        <a:rPr lang="en-US" sz="900" b="0" i="0">
                          <a:solidFill>
                            <a:schemeClr val="tx1"/>
                          </a:solidFill>
                          <a:effectLst/>
                          <a:latin typeface="+mj-lt"/>
                          <a:ea typeface="+mj-ea"/>
                          <a:cs typeface="+mj-cs"/>
                        </a:rPr>
                        <a:t>upsell/cross-sell by solution play</a:t>
                      </a:r>
                      <a:r>
                        <a:rPr lang="en-US" sz="900" b="0" i="0">
                          <a:solidFill>
                            <a:schemeClr val="tx1"/>
                          </a:solidFill>
                          <a:effectLst/>
                          <a:latin typeface="+mj-lt"/>
                          <a:ea typeface="+mn-ea"/>
                          <a:cs typeface="+mn-cs"/>
                        </a:rPr>
                        <a:t>​</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accent1"/>
                          </a:solidFill>
                          <a:effectLst/>
                          <a:latin typeface="+mj-lt"/>
                          <a:ea typeface="+mj-ea"/>
                          <a:cs typeface="+mj-cs"/>
                        </a:rPr>
                        <a:t>Increased focus and execution in Classic accounts</a:t>
                      </a:r>
                      <a:r>
                        <a:rPr lang="en-US" sz="900" b="0" i="0">
                          <a:solidFill>
                            <a:schemeClr val="tx1"/>
                          </a:solidFill>
                          <a:effectLst/>
                          <a:latin typeface="+mj-lt"/>
                          <a:ea typeface="+mn-ea"/>
                          <a:cs typeface="+mn-cs"/>
                        </a:rPr>
                        <a:t>​</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base">
                        <a:lnSpc>
                          <a:spcPct val="100000"/>
                        </a:lnSpc>
                        <a:spcBef>
                          <a:spcPts val="0"/>
                        </a:spcBef>
                        <a:spcAft>
                          <a:spcPts val="300"/>
                        </a:spcAft>
                        <a:buClr>
                          <a:schemeClr val="tx1"/>
                        </a:buClr>
                        <a:buFont typeface="Arial"/>
                        <a:buChar char="•"/>
                      </a:pPr>
                      <a:r>
                        <a:rPr lang="en-US" sz="900" b="0" i="0">
                          <a:solidFill>
                            <a:schemeClr val="accent1"/>
                          </a:solidFill>
                          <a:effectLst/>
                          <a:latin typeface="+mj-lt"/>
                          <a:ea typeface="+mj-ea"/>
                          <a:cs typeface="+mj-cs"/>
                        </a:rPr>
                        <a:t>20%+ Total Completed Pipeline created against quarterly Net New Required budget by territory</a:t>
                      </a:r>
                      <a:endParaRPr lang="en-US" sz="900" b="0" i="0" strike="sngStrike">
                        <a:solidFill>
                          <a:schemeClr val="accent1"/>
                        </a:solidFill>
                        <a:effectLst/>
                        <a:highlight>
                          <a:srgbClr val="FF0000"/>
                        </a:highlight>
                        <a:latin typeface="+mj-lt"/>
                        <a:ea typeface="+mj-ea"/>
                        <a:cs typeface="+mj-cs"/>
                      </a:endParaRP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Insights on patterns impacting Job 2 execution​</a:t>
                      </a:r>
                    </a:p>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mn-cs"/>
                        </a:rPr>
                        <a:t>20% CSU Contribution to R4Q Unified ES Pipeline (excluding ISD)</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kern="1200">
                          <a:solidFill>
                            <a:schemeClr val="accent1"/>
                          </a:solidFill>
                          <a:latin typeface="+mn-lt"/>
                          <a:ea typeface="+mn-ea"/>
                          <a:cs typeface="+mn-cs"/>
                          <a:hlinkClick r:id="rId4">
                            <a:extLst>
                              <a:ext uri="{A12FA001-AC4F-418D-AE19-62706E023703}">
                                <ahyp:hlinkClr xmlns:ahyp="http://schemas.microsoft.com/office/drawing/2018/hyperlinkcolor" val="tx"/>
                              </a:ext>
                            </a:extLst>
                          </a:hlinkClick>
                        </a:rPr>
                        <a:t>aka.ms/azurepipegen</a:t>
                      </a:r>
                      <a:endParaRPr lang="en-US" sz="900" i="0" u="sng" kern="1200">
                        <a:solidFill>
                          <a:schemeClr val="accent1"/>
                        </a:solidFill>
                        <a:latin typeface="+mn-lt"/>
                        <a:ea typeface="+mn-ea"/>
                        <a:cs typeface="+mn-cs"/>
                      </a:endParaRPr>
                    </a:p>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kumimoji="0" lang="en-US" sz="900" b="0" i="0" u="none" strike="noStrike" kern="1200" cap="none" spc="0" normalizeH="0" baseline="0" noProof="0">
                          <a:ln>
                            <a:noFill/>
                          </a:ln>
                          <a:solidFill>
                            <a:schemeClr val="accent1"/>
                          </a:solidFill>
                          <a:effectLst/>
                          <a:uLnTx/>
                          <a:uFillTx/>
                          <a:latin typeface="+mn-lt"/>
                          <a:ea typeface="+mn-ea"/>
                          <a:cs typeface="+mn-cs"/>
                          <a:hlinkClick r:id="rId5">
                            <a:extLst>
                              <a:ext uri="{A12FA001-AC4F-418D-AE19-62706E023703}">
                                <ahyp:hlinkClr xmlns:ahyp="http://schemas.microsoft.com/office/drawing/2018/hyperlinkcolor" val="tx"/>
                              </a:ext>
                            </a:extLst>
                          </a:hlinkClick>
                        </a:rPr>
                        <a:t>MSXi Billed Pipeline Generation</a:t>
                      </a:r>
                      <a:r>
                        <a:rPr kumimoji="0" lang="en-US" sz="900" b="0" i="0" u="none" strike="noStrike" kern="1200" cap="none" spc="0" normalizeH="0" baseline="0" noProof="0">
                          <a:ln>
                            <a:noFill/>
                          </a:ln>
                          <a:solidFill>
                            <a:schemeClr val="accent1"/>
                          </a:solidFill>
                          <a:effectLst/>
                          <a:uLnTx/>
                          <a:uFillTx/>
                          <a:latin typeface="+mn-lt"/>
                          <a:ea typeface="+mn-ea"/>
                          <a:cs typeface="+mn-cs"/>
                        </a:rPr>
                        <a:t> </a:t>
                      </a:r>
                      <a:endParaRPr lang="en-US" sz="900" b="0" i="0" u="none">
                        <a:solidFill>
                          <a:schemeClr val="accent1"/>
                        </a:solidFill>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8845974"/>
                  </a:ext>
                </a:extLst>
              </a:tr>
              <a:tr h="1495962">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Unified delivery​</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Drive </a:t>
                      </a:r>
                      <a:r>
                        <a:rPr lang="en-US" sz="900" b="0" i="0">
                          <a:solidFill>
                            <a:schemeClr val="tx1"/>
                          </a:solidFill>
                          <a:effectLst/>
                          <a:latin typeface="+mj-lt"/>
                          <a:ea typeface="+mj-ea"/>
                          <a:cs typeface="+mj-cs"/>
                        </a:rPr>
                        <a:t>repeatable delivery (VBDs) </a:t>
                      </a:r>
                      <a:r>
                        <a:rPr lang="en-US" sz="900" b="0" i="0">
                          <a:solidFill>
                            <a:schemeClr val="tx1"/>
                          </a:solidFill>
                          <a:effectLst/>
                          <a:latin typeface="+mn-lt"/>
                          <a:ea typeface="+mn-ea"/>
                          <a:cs typeface="+mn-cs"/>
                        </a:rPr>
                        <a:t>to achieve targeted outcomes at each stage of MCEM cycle to accelerate consumption​</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Ensure </a:t>
                      </a:r>
                      <a:r>
                        <a:rPr lang="en-US" sz="900" b="0" i="0">
                          <a:solidFill>
                            <a:schemeClr val="tx1"/>
                          </a:solidFill>
                          <a:effectLst/>
                          <a:latin typeface="+mj-lt"/>
                          <a:ea typeface="+mj-ea"/>
                          <a:cs typeface="+mj-cs"/>
                        </a:rPr>
                        <a:t>accreditation of all available VAS offerings and VBDs </a:t>
                      </a:r>
                      <a:r>
                        <a:rPr lang="en-US" sz="900" b="0" i="0">
                          <a:solidFill>
                            <a:schemeClr val="tx1"/>
                          </a:solidFill>
                          <a:effectLst/>
                          <a:latin typeface="+mn-lt"/>
                          <a:ea typeface="+mn-ea"/>
                          <a:cs typeface="+mn-cs"/>
                        </a:rPr>
                        <a:t>for the solution play​</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Gather insights, voice of customer to share with Core teams for </a:t>
                      </a:r>
                      <a:r>
                        <a:rPr lang="en-US" sz="900" b="0" i="0">
                          <a:solidFill>
                            <a:schemeClr val="tx1"/>
                          </a:solidFill>
                          <a:effectLst/>
                          <a:latin typeface="+mj-lt"/>
                          <a:ea typeface="+mj-ea"/>
                          <a:cs typeface="+mj-cs"/>
                        </a:rPr>
                        <a:t>continuous</a:t>
                      </a:r>
                      <a:r>
                        <a:rPr lang="en-US" sz="900" b="0" i="0">
                          <a:solidFill>
                            <a:schemeClr val="tx1"/>
                          </a:solidFill>
                          <a:effectLst/>
                          <a:latin typeface="+mj-lt"/>
                          <a:ea typeface="+mn-ea"/>
                          <a:cs typeface="+mn-cs"/>
                        </a:rPr>
                        <a:t> </a:t>
                      </a:r>
                      <a:r>
                        <a:rPr lang="en-US" sz="900" b="0" i="0">
                          <a:solidFill>
                            <a:schemeClr val="tx1"/>
                          </a:solidFill>
                          <a:effectLst/>
                          <a:latin typeface="+mj-lt"/>
                          <a:ea typeface="+mj-ea"/>
                          <a:cs typeface="+mj-cs"/>
                        </a:rPr>
                        <a:t>improvement of IP </a:t>
                      </a:r>
                      <a:r>
                        <a:rPr lang="en-US" sz="900" b="0" i="0">
                          <a:solidFill>
                            <a:schemeClr val="tx1"/>
                          </a:solidFill>
                          <a:effectLst/>
                          <a:latin typeface="+mn-lt"/>
                          <a:ea typeface="+mn-ea"/>
                          <a:cs typeface="+mn-cs"/>
                        </a:rPr>
                        <a:t>and maximizing impact to customer ​</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Customer-funded delivery mix VTT &gt; 0 for your EOU​</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Repeatable delivery VTT &gt; 0 for your EOU-Territory​</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On-strategy delivery mix VTT &gt; 0 for your EOU-Territory​</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90% Delivered Hours that align with the fiscal year delivery strategy Tech Maturity Model and customer segmentation</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High impact IP offerings that accelerate consumption and Usage health ​</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Customer Satisfaction DSAT &lt;10%</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u="none" strike="noStrike" kern="1200">
                          <a:solidFill>
                            <a:schemeClr val="tx1"/>
                          </a:solidFill>
                          <a:effectLst/>
                          <a:latin typeface="+mn-lt"/>
                          <a:ea typeface="+mn-ea"/>
                          <a:cs typeface="+mn-cs"/>
                        </a:rPr>
                        <a:t>95% prorated Proactive Add-on and Enhanced Solution services that have been either delivered or booked with pre-billing at a specific point in the contract lifecycle</a:t>
                      </a:r>
                      <a:endParaRPr lang="en-US" sz="900" b="0" i="0">
                        <a:solidFill>
                          <a:schemeClr val="tx1"/>
                        </a:solidFill>
                        <a:effectLst/>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kern="1200">
                          <a:solidFill>
                            <a:schemeClr val="accent1"/>
                          </a:solidFill>
                          <a:latin typeface="+mn-lt"/>
                          <a:ea typeface="+mn-ea"/>
                          <a:cs typeface="+mn-cs"/>
                          <a:hlinkClick r:id="rId6">
                            <a:extLst>
                              <a:ext uri="{A12FA001-AC4F-418D-AE19-62706E023703}">
                                <ahyp:hlinkClr xmlns:ahyp="http://schemas.microsoft.com/office/drawing/2018/hyperlinkcolor" val="tx"/>
                              </a:ext>
                            </a:extLst>
                          </a:hlinkClick>
                        </a:rPr>
                        <a:t>aka.ms/CES-DeliveryInsights</a:t>
                      </a:r>
                      <a:endParaRPr lang="en-US" sz="900" kern="1200">
                        <a:solidFill>
                          <a:schemeClr val="accent1"/>
                        </a:solidFill>
                        <a:latin typeface="+mn-lt"/>
                        <a:ea typeface="+mn-ea"/>
                        <a:cs typeface="+mn-cs"/>
                      </a:endParaRPr>
                    </a:p>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kern="1200">
                          <a:solidFill>
                            <a:schemeClr val="accent1"/>
                          </a:solidFill>
                          <a:latin typeface="+mn-lt"/>
                          <a:ea typeface="+mn-ea"/>
                          <a:cs typeface="+mn-cs"/>
                          <a:hlinkClick r:id="rId7" tooltip="https://aka.ms/cxpulsemsftsatisfaction">
                            <a:extLst>
                              <a:ext uri="{A12FA001-AC4F-418D-AE19-62706E023703}">
                                <ahyp:hlinkClr xmlns:ahyp="http://schemas.microsoft.com/office/drawing/2018/hyperlinkcolor" val="tx"/>
                              </a:ext>
                            </a:extLst>
                          </a:hlinkClick>
                        </a:rPr>
                        <a:t>aka.ms/CXPulseOSATwithMicrosoft</a:t>
                      </a:r>
                      <a:endParaRPr lang="en-US" sz="900" i="0" u="sng" kern="1200">
                        <a:solidFill>
                          <a:schemeClr val="accent1"/>
                        </a:solidFill>
                        <a:latin typeface="+mn-lt"/>
                        <a:ea typeface="+mn-ea"/>
                        <a:cs typeface="+mn-cs"/>
                      </a:endParaRPr>
                    </a:p>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b="0" i="0" u="none" strike="noStrike" kern="1200" noProof="0">
                          <a:solidFill>
                            <a:schemeClr val="accent1"/>
                          </a:solidFill>
                          <a:latin typeface="+mn-lt"/>
                          <a:ea typeface="+mn-ea"/>
                          <a:cs typeface="+mn-cs"/>
                          <a:hlinkClick r:id="rId6">
                            <a:extLst>
                              <a:ext uri="{A12FA001-AC4F-418D-AE19-62706E023703}">
                                <ahyp:hlinkClr xmlns:ahyp="http://schemas.microsoft.com/office/drawing/2018/hyperlinkcolor" val="tx"/>
                              </a:ext>
                            </a:extLst>
                          </a:hlinkClick>
                        </a:rPr>
                        <a:t>https://aka.ms/CES-DeliveryInsights</a:t>
                      </a:r>
                      <a:endParaRPr lang="en-US" sz="900">
                        <a:solidFill>
                          <a:schemeClr val="accent1"/>
                        </a:solidFill>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984113"/>
                  </a:ext>
                </a:extLst>
              </a:tr>
              <a:tr h="933456">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Factory oversight​</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Maximize the </a:t>
                      </a:r>
                      <a:r>
                        <a:rPr lang="en-US" sz="900" b="0" i="0">
                          <a:solidFill>
                            <a:schemeClr val="tx1"/>
                          </a:solidFill>
                          <a:effectLst/>
                          <a:latin typeface="+mj-lt"/>
                          <a:ea typeface="+mj-ea"/>
                          <a:cs typeface="+mj-cs"/>
                        </a:rPr>
                        <a:t>leverage of Unified delivery </a:t>
                      </a:r>
                      <a:r>
                        <a:rPr lang="en-US" sz="900" b="0" i="0">
                          <a:solidFill>
                            <a:schemeClr val="tx1"/>
                          </a:solidFill>
                          <a:effectLst/>
                          <a:latin typeface="+mn-lt"/>
                          <a:ea typeface="+mn-ea"/>
                          <a:cs typeface="+mn-cs"/>
                        </a:rPr>
                        <a:t>in managing Factory engagements – Production deployment oversight VBD, LZ delivery, </a:t>
                      </a:r>
                      <a:r>
                        <a:rPr lang="en-US" sz="900" b="0" i="0" err="1">
                          <a:solidFill>
                            <a:schemeClr val="tx1"/>
                          </a:solidFill>
                          <a:effectLst/>
                          <a:latin typeface="+mn-lt"/>
                          <a:ea typeface="+mn-ea"/>
                          <a:cs typeface="+mn-cs"/>
                        </a:rPr>
                        <a:t>Soln</a:t>
                      </a:r>
                      <a:r>
                        <a:rPr lang="en-US" sz="900" b="0" i="0">
                          <a:solidFill>
                            <a:schemeClr val="tx1"/>
                          </a:solidFill>
                          <a:effectLst/>
                          <a:latin typeface="+mn-lt"/>
                          <a:ea typeface="+mn-ea"/>
                          <a:cs typeface="+mn-cs"/>
                        </a:rPr>
                        <a:t> optimization, etc.​</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Bridge information on customer environment to the delivery team, step in to </a:t>
                      </a:r>
                      <a:r>
                        <a:rPr lang="en-US" sz="900" b="0" i="0">
                          <a:solidFill>
                            <a:schemeClr val="tx1"/>
                          </a:solidFill>
                          <a:effectLst/>
                          <a:latin typeface="+mj-lt"/>
                          <a:ea typeface="+mj-ea"/>
                          <a:cs typeface="+mj-cs"/>
                        </a:rPr>
                        <a:t>manage customer escalations </a:t>
                      </a:r>
                      <a:r>
                        <a:rPr lang="en-US" sz="900" b="0" i="0">
                          <a:solidFill>
                            <a:schemeClr val="tx1"/>
                          </a:solidFill>
                          <a:effectLst/>
                          <a:latin typeface="+mn-lt"/>
                          <a:ea typeface="+mn-ea"/>
                          <a:cs typeface="+mn-cs"/>
                        </a:rPr>
                        <a:t>during delivery as needed ​</a:t>
                      </a:r>
                    </a:p>
                    <a:p>
                      <a:pPr marL="0" indent="0" algn="l" rtl="0" fontAlgn="base">
                        <a:lnSpc>
                          <a:spcPct val="100000"/>
                        </a:lnSpc>
                        <a:spcBef>
                          <a:spcPts val="0"/>
                        </a:spcBef>
                        <a:spcAft>
                          <a:spcPts val="300"/>
                        </a:spcAft>
                        <a:buFont typeface="Arial" panose="020B0604020202020204" pitchFamily="34" charset="0"/>
                        <a:buNone/>
                      </a:pPr>
                      <a:r>
                        <a:rPr lang="en-US" sz="900" b="0" i="0">
                          <a:solidFill>
                            <a:schemeClr val="tx1"/>
                          </a:solidFill>
                          <a:effectLst/>
                          <a:latin typeface="+mn-lt"/>
                          <a:ea typeface="+mn-ea"/>
                          <a:cs typeface="+mn-cs"/>
                        </a:rPr>
                        <a:t>Support ATU/STU/Partner teams </a:t>
                      </a:r>
                      <a:r>
                        <a:rPr lang="en-US" sz="900" b="0" i="0">
                          <a:solidFill>
                            <a:schemeClr val="tx1"/>
                          </a:solidFill>
                          <a:effectLst/>
                          <a:latin typeface="+mj-lt"/>
                          <a:ea typeface="+mn-ea"/>
                          <a:cs typeface="+mn-cs"/>
                        </a:rPr>
                        <a:t>in </a:t>
                      </a:r>
                      <a:r>
                        <a:rPr lang="en-US" sz="900" b="0" i="0">
                          <a:solidFill>
                            <a:schemeClr val="tx1"/>
                          </a:solidFill>
                          <a:effectLst/>
                          <a:latin typeface="+mj-lt"/>
                          <a:ea typeface="+mj-ea"/>
                          <a:cs typeface="+mj-cs"/>
                        </a:rPr>
                        <a:t>designing optimal delivery proposals </a:t>
                      </a:r>
                      <a:r>
                        <a:rPr lang="en-US" sz="900" b="0" i="0">
                          <a:solidFill>
                            <a:schemeClr val="tx1"/>
                          </a:solidFill>
                          <a:effectLst/>
                          <a:latin typeface="+mn-lt"/>
                          <a:ea typeface="+mn-ea"/>
                          <a:cs typeface="+mn-cs"/>
                        </a:rPr>
                        <a:t>that Lead with Factory to maximize ECIF Yield, Speed of ACR, and customer value​</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accent1"/>
                          </a:solidFill>
                          <a:effectLst/>
                          <a:latin typeface="+mj-lt"/>
                          <a:ea typeface="+mj-ea"/>
                          <a:cs typeface="+mj-cs"/>
                        </a:rPr>
                        <a:t>Shared accountability for achieving Factory ACR targets each quarter across all offerings for your solution play</a:t>
                      </a:r>
                      <a:r>
                        <a:rPr lang="en-US" sz="900" b="0" i="0">
                          <a:solidFill>
                            <a:schemeClr val="tx1"/>
                          </a:solidFill>
                          <a:effectLst/>
                          <a:latin typeface="+mj-lt"/>
                          <a:ea typeface="+mn-ea"/>
                          <a:cs typeface="+mn-cs"/>
                        </a:rPr>
                        <a:t>​</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Delivery Excellence results above target: Speed + Quality of deployments in every Factory engagement, optimize for customer &amp; partner experience</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tx1"/>
                          </a:solidFill>
                          <a:effectLst/>
                          <a:latin typeface="+mn-lt"/>
                          <a:ea typeface="+mn-ea"/>
                          <a:cs typeface="+mn-cs"/>
                        </a:rPr>
                        <a:t>Insights on patterns, usage, requirements based on Factory execution – to shape product roadmaps, improve IP quality</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114300" algn="l" rtl="0" fontAlgn="base">
                        <a:lnSpc>
                          <a:spcPct val="100000"/>
                        </a:lnSpc>
                        <a:spcBef>
                          <a:spcPts val="0"/>
                        </a:spcBef>
                        <a:spcAft>
                          <a:spcPts val="300"/>
                        </a:spcAft>
                        <a:buClr>
                          <a:schemeClr val="tx1"/>
                        </a:buClr>
                        <a:buFont typeface="Arial" panose="020B0604020202020204" pitchFamily="34" charset="0"/>
                        <a:buChar char="•"/>
                      </a:pPr>
                      <a:r>
                        <a:rPr lang="en-US" sz="900" b="0" i="0">
                          <a:solidFill>
                            <a:schemeClr val="accent1"/>
                          </a:solidFill>
                          <a:effectLst/>
                          <a:latin typeface="+mn-lt"/>
                          <a:ea typeface="+mn-ea"/>
                          <a:cs typeface="+mn-cs"/>
                          <a:hlinkClick r:id="rId8">
                            <a:extLst>
                              <a:ext uri="{A12FA001-AC4F-418D-AE19-62706E023703}">
                                <ahyp:hlinkClr xmlns:ahyp="http://schemas.microsoft.com/office/drawing/2018/hyperlinkcolor" val="tx"/>
                              </a:ext>
                            </a:extLst>
                          </a:hlinkClick>
                        </a:rPr>
                        <a:t>aka.ms/Factory-Dashboard</a:t>
                      </a:r>
                      <a:r>
                        <a:rPr lang="en-US" sz="900" b="0" i="0">
                          <a:solidFill>
                            <a:schemeClr val="accent1"/>
                          </a:solidFill>
                          <a:effectLst/>
                          <a:latin typeface="+mn-lt"/>
                          <a:ea typeface="+mn-ea"/>
                          <a:cs typeface="+mn-cs"/>
                        </a:rPr>
                        <a:t>/</a:t>
                      </a:r>
                    </a:p>
                    <a:p>
                      <a:pPr marL="114300" indent="-114300" algn="l" rtl="0" fontAlgn="base">
                        <a:lnSpc>
                          <a:spcPct val="100000"/>
                        </a:lnSpc>
                        <a:spcBef>
                          <a:spcPts val="0"/>
                        </a:spcBef>
                        <a:spcAft>
                          <a:spcPts val="300"/>
                        </a:spcAft>
                        <a:buClr>
                          <a:schemeClr val="tx1"/>
                        </a:buClr>
                        <a:buFont typeface="Arial" panose="020B0604020202020204" pitchFamily="34" charset="0"/>
                        <a:buChar char="•"/>
                      </a:pPr>
                      <a:endParaRPr lang="en-US" sz="900" b="0" i="0">
                        <a:solidFill>
                          <a:schemeClr val="accent1"/>
                        </a:solidFill>
                        <a:effectLst/>
                        <a:latin typeface="+mn-lt"/>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7803321"/>
                  </a:ext>
                </a:extLst>
              </a:tr>
              <a:tr h="621797">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Efficient Delivery (managers)</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lang="en-US" sz="900" b="0" strike="noStrike" kern="1200">
                          <a:solidFill>
                            <a:schemeClr val="tx1"/>
                          </a:solidFill>
                          <a:latin typeface="+mn-lt"/>
                          <a:ea typeface="+mn-ea"/>
                          <a:cs typeface="+mn-cs"/>
                        </a:rPr>
                        <a:t>Influence investment discussions that leads to quality outcome driving expected</a:t>
                      </a:r>
                      <a:br>
                        <a:rPr lang="en-US" sz="900" b="0" strike="noStrike" kern="1200">
                          <a:solidFill>
                            <a:srgbClr val="000000"/>
                          </a:solidFill>
                          <a:latin typeface="+mn-lt"/>
                          <a:ea typeface="+mn-ea"/>
                          <a:cs typeface="+mn-cs"/>
                        </a:rPr>
                      </a:br>
                      <a:r>
                        <a:rPr lang="en-US" sz="900" b="0" strike="noStrike" kern="1200">
                          <a:solidFill>
                            <a:schemeClr val="tx1"/>
                          </a:solidFill>
                          <a:latin typeface="+mn-lt"/>
                          <a:ea typeface="+mn-ea"/>
                          <a:cs typeface="+mn-cs"/>
                        </a:rPr>
                        <a:t>ECIF Yield</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b="0" u="none" strike="noStrike" kern="1200">
                          <a:solidFill>
                            <a:schemeClr val="tx1"/>
                          </a:solidFill>
                          <a:effectLst/>
                          <a:latin typeface="+mn-lt"/>
                          <a:ea typeface="+mn-ea"/>
                          <a:cs typeface="+mn-cs"/>
                        </a:rPr>
                        <a:t>&gt;0% Net New Revenue (NNR) Enterprise Consumption plan attainment to meet or exceed ECIF utilization rate</a:t>
                      </a:r>
                    </a:p>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b="0" i="0">
                          <a:solidFill>
                            <a:schemeClr val="tx1"/>
                          </a:solidFill>
                          <a:effectLst/>
                          <a:latin typeface="+mn-lt"/>
                          <a:ea typeface="+mn-ea"/>
                          <a:cs typeface="+mn-cs"/>
                        </a:rPr>
                        <a:t>Apply Delivery order of operations consistently to Accelerate ACR with efficiency by maximizing Unified &amp; Factory before ECIF (maximize Yield)</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kern="1200">
                          <a:solidFill>
                            <a:schemeClr val="accent1"/>
                          </a:solidFill>
                          <a:latin typeface="+mn-lt"/>
                          <a:ea typeface="+mn-ea"/>
                          <a:cs typeface="+mn-cs"/>
                          <a:hlinkClick r:id="rId9">
                            <a:extLst>
                              <a:ext uri="{A12FA001-AC4F-418D-AE19-62706E023703}">
                                <ahyp:hlinkClr xmlns:ahyp="http://schemas.microsoft.com/office/drawing/2018/hyperlinkcolor" val="tx"/>
                              </a:ext>
                            </a:extLst>
                          </a:hlinkClick>
                        </a:rPr>
                        <a:t>aka.ms/ECIFYield</a:t>
                      </a:r>
                      <a:endParaRPr lang="en-US" sz="900" i="0" u="sng" kern="1200">
                        <a:solidFill>
                          <a:schemeClr val="accent1"/>
                        </a:solidFill>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8031567"/>
                  </a:ext>
                </a:extLst>
              </a:tr>
              <a:tr h="263556">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Enhanced Solutions</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lang="en-US" sz="900" b="0" strike="noStrike" kern="1200">
                          <a:solidFill>
                            <a:schemeClr val="tx1"/>
                          </a:solidFill>
                          <a:latin typeface="+mn-lt"/>
                          <a:ea typeface="+mn-ea"/>
                          <a:cs typeface="+mn-cs"/>
                        </a:rPr>
                        <a:t>Leverage our customer knowledge and Enhanced Solutions offerings to significantly influence and accelerate revenue recapture and expansion</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b="0" i="0">
                          <a:solidFill>
                            <a:schemeClr val="tx1"/>
                          </a:solidFill>
                          <a:effectLst/>
                          <a:latin typeface="+mn-lt"/>
                          <a:ea typeface="+mn-ea"/>
                          <a:cs typeface="+mn-cs"/>
                        </a:rPr>
                        <a:t>100% Cloud and AI Enhanced Solutions SBR (Support Billed Revenue) target</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kern="1200">
                          <a:solidFill>
                            <a:schemeClr val="accent1"/>
                          </a:solidFill>
                          <a:latin typeface="+mn-lt"/>
                          <a:ea typeface="+mn-ea"/>
                          <a:cs typeface="+mn-cs"/>
                          <a:hlinkClick r:id="rId10"/>
                        </a:rPr>
                        <a:t>aka.ms/unifiedreports</a:t>
                      </a:r>
                      <a:endParaRPr lang="en-US" sz="900" i="0" u="sng" kern="1200">
                        <a:solidFill>
                          <a:schemeClr val="accent1"/>
                        </a:solidFill>
                        <a:latin typeface="+mn-lt"/>
                        <a:ea typeface="+mn-ea"/>
                        <a:cs typeface="+mn-cs"/>
                      </a:endParaRP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6668"/>
                  </a:ext>
                </a:extLst>
              </a:tr>
              <a:tr h="310139">
                <a:tc>
                  <a:txBody>
                    <a:bodyPr/>
                    <a:lstStyle/>
                    <a:p>
                      <a:pPr algn="l" rtl="0" fontAlgn="base">
                        <a:lnSpc>
                          <a:spcPct val="100000"/>
                        </a:lnSpc>
                        <a:spcAft>
                          <a:spcPts val="200"/>
                        </a:spcAft>
                        <a:buNone/>
                      </a:pPr>
                      <a:r>
                        <a:rPr lang="en-US" sz="900" b="0" i="0">
                          <a:solidFill>
                            <a:schemeClr val="tx1"/>
                          </a:solidFill>
                          <a:effectLst/>
                          <a:latin typeface="+mj-lt"/>
                          <a:ea typeface="+mn-ea"/>
                          <a:cs typeface="+mn-cs"/>
                        </a:rPr>
                        <a:t>Customer Health</a:t>
                      </a:r>
                    </a:p>
                  </a:txBody>
                  <a:tcPr marL="45720" marR="45720" marT="18288" marB="18288">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lang="en-US" sz="900" b="0" u="none" strike="noStrike" kern="1200">
                          <a:solidFill>
                            <a:schemeClr val="tx1"/>
                          </a:solidFill>
                          <a:effectLst/>
                          <a:latin typeface="+mn-lt"/>
                          <a:ea typeface="+mn-ea"/>
                          <a:cs typeface="+mn-cs"/>
                        </a:rPr>
                        <a:t>Ensure our customers are healthy i.e. resilient, secure and optimized significantly influences their continued investment and satisfaction with Microsoft </a:t>
                      </a:r>
                    </a:p>
                  </a:txBody>
                  <a:tcPr marL="45720" marR="45720" marT="18288" marB="18288">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b="0" u="none" strike="noStrike" kern="1200">
                          <a:solidFill>
                            <a:schemeClr val="tx1"/>
                          </a:solidFill>
                          <a:effectLst/>
                          <a:latin typeface="+mn-lt"/>
                          <a:ea typeface="+mn-ea"/>
                          <a:cs typeface="+mn-cs"/>
                        </a:rPr>
                        <a:t>Metric combining key customer health checklist activities that improves our customers health</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114300" algn="l" defTabSz="914400" rtl="0" eaLnBrk="1" fontAlgn="base" latinLnBrk="0" hangingPunct="1">
                        <a:lnSpc>
                          <a:spcPct val="100000"/>
                        </a:lnSpc>
                        <a:spcBef>
                          <a:spcPts val="0"/>
                        </a:spcBef>
                        <a:spcAft>
                          <a:spcPts val="300"/>
                        </a:spcAft>
                        <a:buClr>
                          <a:schemeClr val="tx1"/>
                        </a:buClr>
                        <a:buSzTx/>
                        <a:buFont typeface="Arial" panose="020B0604020202020204" pitchFamily="34" charset="0"/>
                        <a:buChar char="•"/>
                        <a:tabLst/>
                        <a:defRPr/>
                      </a:pPr>
                      <a:r>
                        <a:rPr lang="en-US" sz="900" i="0" u="sng" kern="1200">
                          <a:solidFill>
                            <a:schemeClr val="accent1"/>
                          </a:solidFill>
                          <a:latin typeface="+mn-lt"/>
                          <a:ea typeface="+mn-ea"/>
                          <a:cs typeface="+mn-cs"/>
                        </a:rPr>
                        <a:t>Coming soon</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8979627"/>
                  </a:ext>
                </a:extLst>
              </a:tr>
            </a:tbl>
          </a:graphicData>
        </a:graphic>
      </p:graphicFrame>
      <p:grpSp>
        <p:nvGrpSpPr>
          <p:cNvPr id="2" name="Group 1">
            <a:extLst>
              <a:ext uri="{FF2B5EF4-FFF2-40B4-BE49-F238E27FC236}">
                <a16:creationId xmlns:a16="http://schemas.microsoft.com/office/drawing/2014/main" id="{CA79ACC8-8B06-509C-2A86-7406832D6F2B}"/>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 name="Table 2 Cell 1, 1 to Text">
              <a:extLst>
                <a:ext uri="{FF2B5EF4-FFF2-40B4-BE49-F238E27FC236}">
                  <a16:creationId xmlns:a16="http://schemas.microsoft.com/office/drawing/2014/main" id="{7A3763FC-07B2-9759-ADD8-1ACE1420BE7B}"/>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6" name="Table 2 Cell 2, 1 to Text">
              <a:extLst>
                <a:ext uri="{FF2B5EF4-FFF2-40B4-BE49-F238E27FC236}">
                  <a16:creationId xmlns:a16="http://schemas.microsoft.com/office/drawing/2014/main" id="{7FE2CF31-696A-86DB-60EE-2DF296084A31}"/>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9" name="Table 2 Cell 3, 1 to Text">
              <a:extLst>
                <a:ext uri="{FF2B5EF4-FFF2-40B4-BE49-F238E27FC236}">
                  <a16:creationId xmlns:a16="http://schemas.microsoft.com/office/drawing/2014/main" id="{B2D0463B-9DE2-E921-8315-0E3CB274018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20" name="Table 2 Cell 4, 1 to Text">
              <a:extLst>
                <a:ext uri="{FF2B5EF4-FFF2-40B4-BE49-F238E27FC236}">
                  <a16:creationId xmlns:a16="http://schemas.microsoft.com/office/drawing/2014/main" id="{E73D7BE1-243F-E0B9-5482-517C68AA0F27}"/>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1" name="Table 2 Cell 5, 1 to Text">
              <a:extLst>
                <a:ext uri="{FF2B5EF4-FFF2-40B4-BE49-F238E27FC236}">
                  <a16:creationId xmlns:a16="http://schemas.microsoft.com/office/drawing/2014/main" id="{4271A274-BCBE-D6A9-7A7A-F7C4D1E24A2D}"/>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2" name="Table 2 Cell 6, 1 to Text">
              <a:extLst>
                <a:ext uri="{FF2B5EF4-FFF2-40B4-BE49-F238E27FC236}">
                  <a16:creationId xmlns:a16="http://schemas.microsoft.com/office/drawing/2014/main" id="{CDBE1027-468C-9576-10A9-4134A74C67D5}"/>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3" name="Table 2 Cell 7, 1 to Text">
              <a:extLst>
                <a:ext uri="{FF2B5EF4-FFF2-40B4-BE49-F238E27FC236}">
                  <a16:creationId xmlns:a16="http://schemas.microsoft.com/office/drawing/2014/main" id="{7B21D0DD-8793-FE8B-C0D2-C59D0B78168F}"/>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6" name="Table 2 Cell 1, 2 to Text">
              <a:extLst>
                <a:ext uri="{FF2B5EF4-FFF2-40B4-BE49-F238E27FC236}">
                  <a16:creationId xmlns:a16="http://schemas.microsoft.com/office/drawing/2014/main" id="{2D935402-D3A1-DF6F-B4AC-2E31A84B0BF3}"/>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28" name="Table 2 Cell 1, 3 to Text">
              <a:extLst>
                <a:ext uri="{FF2B5EF4-FFF2-40B4-BE49-F238E27FC236}">
                  <a16:creationId xmlns:a16="http://schemas.microsoft.com/office/drawing/2014/main" id="{FAC666A9-0341-0004-9435-B35BAD2393CE}"/>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29" name="Table 2 Cell 1, 4 to Text">
              <a:extLst>
                <a:ext uri="{FF2B5EF4-FFF2-40B4-BE49-F238E27FC236}">
                  <a16:creationId xmlns:a16="http://schemas.microsoft.com/office/drawing/2014/main" id="{94DD2B47-5983-5245-1F23-C2F541332CA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30" name="Table 2 Cell 1, 5 to Text">
              <a:extLst>
                <a:ext uri="{FF2B5EF4-FFF2-40B4-BE49-F238E27FC236}">
                  <a16:creationId xmlns:a16="http://schemas.microsoft.com/office/drawing/2014/main" id="{7FEB8EA5-8C20-6BC6-1C30-859E3B8298B4}"/>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31" name="Table 2 Cell 1, 6 to Text">
              <a:extLst>
                <a:ext uri="{FF2B5EF4-FFF2-40B4-BE49-F238E27FC236}">
                  <a16:creationId xmlns:a16="http://schemas.microsoft.com/office/drawing/2014/main" id="{12F52FA7-924F-E0E7-DEC0-CD23696A76D1}"/>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32" name="Table 2 Cell 1, 7 to Text">
              <a:extLst>
                <a:ext uri="{FF2B5EF4-FFF2-40B4-BE49-F238E27FC236}">
                  <a16:creationId xmlns:a16="http://schemas.microsoft.com/office/drawing/2014/main" id="{8929D322-0927-E6D6-AC2F-E2E312E300A9}"/>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6 KPIs &amp; Outcomes</a:t>
              </a:r>
            </a:p>
          </p:txBody>
        </p:sp>
        <p:sp>
          <p:nvSpPr>
            <p:cNvPr id="33" name="Table 2 Cell 1, 8 to Text">
              <a:extLst>
                <a:ext uri="{FF2B5EF4-FFF2-40B4-BE49-F238E27FC236}">
                  <a16:creationId xmlns:a16="http://schemas.microsoft.com/office/drawing/2014/main" id="{AE20267B-A10B-726E-E37E-037F1B5A4EAB}"/>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14867947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D4B0A-540F-C3D8-305A-627A7D858A35}"/>
            </a:ext>
          </a:extLst>
        </p:cNvPr>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E82FEE7B-AD04-A11B-135F-EA406D60A89B}"/>
              </a:ext>
              <a:ext uri="{C183D7F6-B498-43B3-948B-1728B52AA6E4}">
                <adec:decorative xmlns:adec="http://schemas.microsoft.com/office/drawing/2017/decorative" val="1"/>
              </a:ext>
            </a:extLst>
          </p:cNvPr>
          <p:cNvSpPr/>
          <p:nvPr/>
        </p:nvSpPr>
        <p:spPr bwMode="auto">
          <a:xfrm rot="16200000">
            <a:off x="-1148806" y="3726271"/>
            <a:ext cx="4265294" cy="824682"/>
          </a:xfrm>
          <a:prstGeom prst="round2Same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52" name="Rectangle: Rounded Corners 51">
            <a:extLst>
              <a:ext uri="{FF2B5EF4-FFF2-40B4-BE49-F238E27FC236}">
                <a16:creationId xmlns:a16="http://schemas.microsoft.com/office/drawing/2014/main" id="{98B33A11-E0F8-88C0-CEF0-1B77EF146405}"/>
              </a:ext>
              <a:ext uri="{C183D7F6-B498-43B3-948B-1728B52AA6E4}">
                <adec:decorative xmlns:adec="http://schemas.microsoft.com/office/drawing/2017/decorative" val="1"/>
              </a:ext>
            </a:extLst>
          </p:cNvPr>
          <p:cNvSpPr>
            <a:spLocks/>
          </p:cNvSpPr>
          <p:nvPr/>
        </p:nvSpPr>
        <p:spPr bwMode="auto">
          <a:xfrm>
            <a:off x="1396182" y="1262744"/>
            <a:ext cx="10224318" cy="5099956"/>
          </a:xfrm>
          <a:prstGeom prst="roundRect">
            <a:avLst>
              <a:gd name="adj" fmla="val 2654"/>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09" name="Rectangle: Rounded Corners 1608">
            <a:extLst>
              <a:ext uri="{FF2B5EF4-FFF2-40B4-BE49-F238E27FC236}">
                <a16:creationId xmlns:a16="http://schemas.microsoft.com/office/drawing/2014/main" id="{07CA771C-0FE6-CCA4-8910-3B29B053C7C8}"/>
              </a:ext>
              <a:ext uri="{C183D7F6-B498-43B3-948B-1728B52AA6E4}">
                <adec:decorative xmlns:adec="http://schemas.microsoft.com/office/drawing/2017/decorative" val="1"/>
              </a:ext>
            </a:extLst>
          </p:cNvPr>
          <p:cNvSpPr/>
          <p:nvPr/>
        </p:nvSpPr>
        <p:spPr bwMode="auto">
          <a:xfrm>
            <a:off x="1487622" y="4184334"/>
            <a:ext cx="10041438" cy="2086926"/>
          </a:xfrm>
          <a:prstGeom prst="roundRect">
            <a:avLst>
              <a:gd name="adj" fmla="val 4497"/>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 name="Title 1">
            <a:extLst>
              <a:ext uri="{FF2B5EF4-FFF2-40B4-BE49-F238E27FC236}">
                <a16:creationId xmlns:a16="http://schemas.microsoft.com/office/drawing/2014/main" id="{FEFF43FB-5E51-EDEF-F9C3-4BF00F541539}"/>
              </a:ext>
            </a:extLst>
          </p:cNvPr>
          <p:cNvSpPr>
            <a:spLocks noGrp="1"/>
          </p:cNvSpPr>
          <p:nvPr>
            <p:ph type="title"/>
          </p:nvPr>
        </p:nvSpPr>
        <p:spPr/>
        <p:txBody>
          <a:bodyPr>
            <a:normAutofit/>
          </a:bodyPr>
          <a:lstStyle/>
          <a:p>
            <a:r>
              <a:rPr lang="en-US">
                <a:ea typeface="+mj-ea"/>
                <a:cs typeface="+mj-cs"/>
              </a:rPr>
              <a:t>Cloud &amp; AI Platforms Orchestration</a:t>
            </a:r>
          </a:p>
        </p:txBody>
      </p:sp>
      <p:sp>
        <p:nvSpPr>
          <p:cNvPr id="53" name="TextBox 52">
            <a:extLst>
              <a:ext uri="{FF2B5EF4-FFF2-40B4-BE49-F238E27FC236}">
                <a16:creationId xmlns:a16="http://schemas.microsoft.com/office/drawing/2014/main" id="{0E0984B1-ABCA-594F-9C55-4EC6EAEA8EB6}"/>
              </a:ext>
            </a:extLst>
          </p:cNvPr>
          <p:cNvSpPr txBox="1"/>
          <p:nvPr/>
        </p:nvSpPr>
        <p:spPr>
          <a:xfrm>
            <a:off x="696826" y="5073909"/>
            <a:ext cx="568297"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A446F"/>
                </a:solidFill>
                <a:effectLst/>
                <a:uLnTx/>
                <a:uFillTx/>
                <a:latin typeface="Segoe Sans Text Semibold"/>
                <a:ea typeface="+mn-ea"/>
                <a:cs typeface="+mn-cs"/>
              </a:rPr>
              <a:t>FY25</a:t>
            </a:r>
          </a:p>
        </p:txBody>
      </p:sp>
      <p:sp>
        <p:nvSpPr>
          <p:cNvPr id="54" name="TextBox 53">
            <a:extLst>
              <a:ext uri="{FF2B5EF4-FFF2-40B4-BE49-F238E27FC236}">
                <a16:creationId xmlns:a16="http://schemas.microsoft.com/office/drawing/2014/main" id="{42CB41B1-C4E9-F700-8E99-2660E41DBAF7}"/>
              </a:ext>
            </a:extLst>
          </p:cNvPr>
          <p:cNvSpPr txBox="1"/>
          <p:nvPr/>
        </p:nvSpPr>
        <p:spPr>
          <a:xfrm>
            <a:off x="696826" y="2895539"/>
            <a:ext cx="568297"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A446F"/>
                </a:solidFill>
                <a:effectLst/>
                <a:uLnTx/>
                <a:uFillTx/>
                <a:latin typeface="Segoe Sans Text Semibold"/>
                <a:ea typeface="+mn-ea"/>
                <a:cs typeface="+mn-cs"/>
              </a:rPr>
              <a:t>FY26</a:t>
            </a:r>
          </a:p>
        </p:txBody>
      </p:sp>
      <p:sp>
        <p:nvSpPr>
          <p:cNvPr id="2715" name="Rectangle: Rounded Corners 2714">
            <a:extLst>
              <a:ext uri="{FF2B5EF4-FFF2-40B4-BE49-F238E27FC236}">
                <a16:creationId xmlns:a16="http://schemas.microsoft.com/office/drawing/2014/main" id="{9AEB9A32-0A27-0AC9-BAE5-97C9A7AE3DF6}"/>
              </a:ext>
            </a:extLst>
          </p:cNvPr>
          <p:cNvSpPr>
            <a:spLocks/>
          </p:cNvSpPr>
          <p:nvPr/>
        </p:nvSpPr>
        <p:spPr bwMode="auto">
          <a:xfrm>
            <a:off x="1487622" y="1354184"/>
            <a:ext cx="1935136" cy="5603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Listen and</a:t>
            </a:r>
            <a:br>
              <a:rPr kumimoji="0" lang="en-US" sz="1400" b="0" i="0" u="none" strike="noStrike" kern="1200" cap="none" spc="0" normalizeH="0" baseline="0" noProof="0">
                <a:ln>
                  <a:noFill/>
                </a:ln>
                <a:solidFill>
                  <a:srgbClr val="FFFFFF"/>
                </a:solidFill>
                <a:effectLst/>
                <a:uLnTx/>
                <a:uFillTx/>
                <a:latin typeface="Segoe Sans Text Semibold"/>
                <a:ea typeface="+mn-ea"/>
                <a:cs typeface="+mn-cs"/>
              </a:rPr>
            </a:b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Consult</a:t>
            </a:r>
          </a:p>
        </p:txBody>
      </p:sp>
      <p:sp>
        <p:nvSpPr>
          <p:cNvPr id="2716" name="Rectangle: Rounded Corners 2715">
            <a:extLst>
              <a:ext uri="{FF2B5EF4-FFF2-40B4-BE49-F238E27FC236}">
                <a16:creationId xmlns:a16="http://schemas.microsoft.com/office/drawing/2014/main" id="{306557BF-6AEF-A48E-D252-AFB7E2C33835}"/>
              </a:ext>
            </a:extLst>
          </p:cNvPr>
          <p:cNvSpPr>
            <a:spLocks/>
          </p:cNvSpPr>
          <p:nvPr/>
        </p:nvSpPr>
        <p:spPr bwMode="auto">
          <a:xfrm>
            <a:off x="3514198" y="1354184"/>
            <a:ext cx="1935136" cy="560341"/>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Inspire and</a:t>
            </a:r>
            <a:br>
              <a:rPr kumimoji="0" lang="en-US" sz="1400" b="0" i="0" u="none" strike="noStrike" kern="1200" cap="none" spc="0" normalizeH="0" baseline="0" noProof="0">
                <a:ln>
                  <a:noFill/>
                </a:ln>
                <a:solidFill>
                  <a:srgbClr val="FFFFFF"/>
                </a:solidFill>
                <a:effectLst/>
                <a:uLnTx/>
                <a:uFillTx/>
                <a:latin typeface="Segoe Sans Text Semibold"/>
                <a:ea typeface="+mn-ea"/>
                <a:cs typeface="+mn-cs"/>
              </a:rPr>
            </a:b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Design</a:t>
            </a:r>
          </a:p>
        </p:txBody>
      </p:sp>
      <p:sp>
        <p:nvSpPr>
          <p:cNvPr id="2717" name="Rectangle: Rounded Corners 2716">
            <a:extLst>
              <a:ext uri="{FF2B5EF4-FFF2-40B4-BE49-F238E27FC236}">
                <a16:creationId xmlns:a16="http://schemas.microsoft.com/office/drawing/2014/main" id="{10DFCB10-A3A7-62AC-6FAC-58C5AF4F78FA}"/>
              </a:ext>
            </a:extLst>
          </p:cNvPr>
          <p:cNvSpPr>
            <a:spLocks/>
          </p:cNvSpPr>
          <p:nvPr/>
        </p:nvSpPr>
        <p:spPr bwMode="auto">
          <a:xfrm>
            <a:off x="5540773" y="1354184"/>
            <a:ext cx="1935136" cy="56034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Empower and Achieve</a:t>
            </a:r>
          </a:p>
        </p:txBody>
      </p:sp>
      <p:sp>
        <p:nvSpPr>
          <p:cNvPr id="2718" name="Rectangle: Rounded Corners 2717">
            <a:extLst>
              <a:ext uri="{FF2B5EF4-FFF2-40B4-BE49-F238E27FC236}">
                <a16:creationId xmlns:a16="http://schemas.microsoft.com/office/drawing/2014/main" id="{C8EAFE5E-CA55-B97D-0640-ECE1759BD35E}"/>
              </a:ext>
            </a:extLst>
          </p:cNvPr>
          <p:cNvSpPr>
            <a:spLocks/>
          </p:cNvSpPr>
          <p:nvPr/>
        </p:nvSpPr>
        <p:spPr bwMode="auto">
          <a:xfrm>
            <a:off x="7567350" y="1354184"/>
            <a:ext cx="1935136" cy="560341"/>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Realize</a:t>
            </a:r>
            <a:br>
              <a:rPr kumimoji="0" lang="en-US" sz="1400" b="0" i="0" u="none" strike="noStrike" kern="1200" cap="none" spc="0" normalizeH="0" baseline="0" noProof="0">
                <a:ln>
                  <a:noFill/>
                </a:ln>
                <a:solidFill>
                  <a:srgbClr val="FFFFFF"/>
                </a:solidFill>
                <a:effectLst/>
                <a:uLnTx/>
                <a:uFillTx/>
                <a:latin typeface="Segoe Sans Text Semibold"/>
                <a:ea typeface="+mn-ea"/>
                <a:cs typeface="+mn-cs"/>
              </a:rPr>
            </a:b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Value</a:t>
            </a:r>
          </a:p>
        </p:txBody>
      </p:sp>
      <p:sp>
        <p:nvSpPr>
          <p:cNvPr id="2719" name="Rectangle: Rounded Corners 2718">
            <a:extLst>
              <a:ext uri="{FF2B5EF4-FFF2-40B4-BE49-F238E27FC236}">
                <a16:creationId xmlns:a16="http://schemas.microsoft.com/office/drawing/2014/main" id="{75E483CA-02AE-BA18-A0E9-171241198C78}"/>
              </a:ext>
            </a:extLst>
          </p:cNvPr>
          <p:cNvSpPr>
            <a:spLocks/>
          </p:cNvSpPr>
          <p:nvPr/>
        </p:nvSpPr>
        <p:spPr bwMode="auto">
          <a:xfrm>
            <a:off x="9593926" y="1354184"/>
            <a:ext cx="1935136" cy="560341"/>
          </a:xfrm>
          <a:prstGeom prst="round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Managed &amp; Optimize</a:t>
            </a:r>
          </a:p>
        </p:txBody>
      </p:sp>
      <p:sp>
        <p:nvSpPr>
          <p:cNvPr id="2726" name="Rectangle: Rounded Corners 2725">
            <a:extLst>
              <a:ext uri="{FF2B5EF4-FFF2-40B4-BE49-F238E27FC236}">
                <a16:creationId xmlns:a16="http://schemas.microsoft.com/office/drawing/2014/main" id="{F4B106CC-A8AF-7890-3DFB-741F7B0D9DA7}"/>
              </a:ext>
              <a:ext uri="{C183D7F6-B498-43B3-948B-1728B52AA6E4}">
                <adec:decorative xmlns:adec="http://schemas.microsoft.com/office/drawing/2017/decorative" val="1"/>
              </a:ext>
            </a:extLst>
          </p:cNvPr>
          <p:cNvSpPr/>
          <p:nvPr/>
        </p:nvSpPr>
        <p:spPr bwMode="auto">
          <a:xfrm>
            <a:off x="1487622" y="2005965"/>
            <a:ext cx="10041438" cy="2086926"/>
          </a:xfrm>
          <a:prstGeom prst="roundRect">
            <a:avLst>
              <a:gd name="adj" fmla="val 4497"/>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728" name="Rectangle: Rounded Corners 2727">
            <a:extLst>
              <a:ext uri="{FF2B5EF4-FFF2-40B4-BE49-F238E27FC236}">
                <a16:creationId xmlns:a16="http://schemas.microsoft.com/office/drawing/2014/main" id="{E28CB1E1-1F53-DFEE-7E1D-D1F2C86F2AFF}"/>
              </a:ext>
              <a:ext uri="{C183D7F6-B498-43B3-948B-1728B52AA6E4}">
                <adec:decorative xmlns:adec="http://schemas.microsoft.com/office/drawing/2017/decorative" val="1"/>
              </a:ext>
            </a:extLst>
          </p:cNvPr>
          <p:cNvSpPr/>
          <p:nvPr/>
        </p:nvSpPr>
        <p:spPr bwMode="auto">
          <a:xfrm>
            <a:off x="1487622" y="4184334"/>
            <a:ext cx="10041438" cy="2086926"/>
          </a:xfrm>
          <a:prstGeom prst="roundRect">
            <a:avLst>
              <a:gd name="adj" fmla="val 449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7" name="Graphic 106" descr="Icon of a person">
            <a:extLst>
              <a:ext uri="{FF2B5EF4-FFF2-40B4-BE49-F238E27FC236}">
                <a16:creationId xmlns:a16="http://schemas.microsoft.com/office/drawing/2014/main" id="{B4F80394-3243-0081-C63D-485DACD51B5E}"/>
              </a:ext>
            </a:extLst>
          </p:cNvPr>
          <p:cNvSpPr/>
          <p:nvPr/>
        </p:nvSpPr>
        <p:spPr>
          <a:xfrm>
            <a:off x="2312751" y="2106283"/>
            <a:ext cx="284878" cy="356003"/>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8" name="Graphic 106" descr="Icon of a person">
            <a:extLst>
              <a:ext uri="{FF2B5EF4-FFF2-40B4-BE49-F238E27FC236}">
                <a16:creationId xmlns:a16="http://schemas.microsoft.com/office/drawing/2014/main" id="{7E68DF9C-C789-BDC9-AE24-ACA03981761B}"/>
              </a:ext>
            </a:extLst>
          </p:cNvPr>
          <p:cNvSpPr/>
          <p:nvPr/>
        </p:nvSpPr>
        <p:spPr>
          <a:xfrm>
            <a:off x="4992826" y="2351403"/>
            <a:ext cx="284878" cy="356003"/>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cxnSp>
        <p:nvCxnSpPr>
          <p:cNvPr id="2746" name="Straight Arrow Connector 2745">
            <a:extLst>
              <a:ext uri="{FF2B5EF4-FFF2-40B4-BE49-F238E27FC236}">
                <a16:creationId xmlns:a16="http://schemas.microsoft.com/office/drawing/2014/main" id="{D60238D2-6825-CF75-7B2B-B5998785CD99}"/>
              </a:ext>
              <a:ext uri="{C183D7F6-B498-43B3-948B-1728B52AA6E4}">
                <adec:decorative xmlns:adec="http://schemas.microsoft.com/office/drawing/2017/decorative" val="1"/>
              </a:ext>
            </a:extLst>
          </p:cNvPr>
          <p:cNvCxnSpPr>
            <a:cxnSpLocks/>
          </p:cNvCxnSpPr>
          <p:nvPr/>
        </p:nvCxnSpPr>
        <p:spPr>
          <a:xfrm>
            <a:off x="1555939" y="2743200"/>
            <a:ext cx="1563181"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4D61618-E0A1-F7BD-11C8-39AE87E725CD}"/>
              </a:ext>
              <a:ext uri="{C183D7F6-B498-43B3-948B-1728B52AA6E4}">
                <adec:decorative xmlns:adec="http://schemas.microsoft.com/office/drawing/2017/decorative" val="1"/>
              </a:ext>
            </a:extLst>
          </p:cNvPr>
          <p:cNvCxnSpPr>
            <a:cxnSpLocks/>
          </p:cNvCxnSpPr>
          <p:nvPr/>
        </p:nvCxnSpPr>
        <p:spPr>
          <a:xfrm>
            <a:off x="4459282" y="3875913"/>
            <a:ext cx="3016627"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C258DD06-11F1-4069-DA3D-0773ED80405F}"/>
              </a:ext>
              <a:ext uri="{C183D7F6-B498-43B3-948B-1728B52AA6E4}">
                <adec:decorative xmlns:adec="http://schemas.microsoft.com/office/drawing/2017/decorative" val="1"/>
              </a:ext>
            </a:extLst>
          </p:cNvPr>
          <p:cNvCxnSpPr>
            <a:cxnSpLocks/>
          </p:cNvCxnSpPr>
          <p:nvPr/>
        </p:nvCxnSpPr>
        <p:spPr>
          <a:xfrm>
            <a:off x="2783840" y="3030018"/>
            <a:ext cx="4692069"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5AC3EAF-DAC9-AF86-A455-197286FFFD05}"/>
              </a:ext>
            </a:extLst>
          </p:cNvPr>
          <p:cNvSpPr txBox="1"/>
          <p:nvPr/>
        </p:nvSpPr>
        <p:spPr>
          <a:xfrm>
            <a:off x="2318037" y="2505943"/>
            <a:ext cx="274307"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TU</a:t>
            </a:r>
          </a:p>
        </p:txBody>
      </p:sp>
      <p:sp>
        <p:nvSpPr>
          <p:cNvPr id="87" name="TextBox 86">
            <a:extLst>
              <a:ext uri="{FF2B5EF4-FFF2-40B4-BE49-F238E27FC236}">
                <a16:creationId xmlns:a16="http://schemas.microsoft.com/office/drawing/2014/main" id="{E92B0718-675F-6203-6862-CE7B64B8D15F}"/>
              </a:ext>
            </a:extLst>
          </p:cNvPr>
          <p:cNvSpPr txBox="1"/>
          <p:nvPr/>
        </p:nvSpPr>
        <p:spPr>
          <a:xfrm>
            <a:off x="4082894" y="2751063"/>
            <a:ext cx="2104743"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loud &amp; AI Platforms Specialist</a:t>
            </a:r>
          </a:p>
        </p:txBody>
      </p:sp>
      <p:sp>
        <p:nvSpPr>
          <p:cNvPr id="19" name="Graphic 106" descr="Icon of a person">
            <a:extLst>
              <a:ext uri="{FF2B5EF4-FFF2-40B4-BE49-F238E27FC236}">
                <a16:creationId xmlns:a16="http://schemas.microsoft.com/office/drawing/2014/main" id="{8632670D-EB24-D05E-0C56-B25F4823C2AF}"/>
              </a:ext>
            </a:extLst>
          </p:cNvPr>
          <p:cNvSpPr/>
          <p:nvPr/>
        </p:nvSpPr>
        <p:spPr>
          <a:xfrm>
            <a:off x="8392479" y="2106283"/>
            <a:ext cx="284878" cy="356003"/>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cxnSp>
        <p:nvCxnSpPr>
          <p:cNvPr id="2748" name="Straight Arrow Connector 2747">
            <a:extLst>
              <a:ext uri="{FF2B5EF4-FFF2-40B4-BE49-F238E27FC236}">
                <a16:creationId xmlns:a16="http://schemas.microsoft.com/office/drawing/2014/main" id="{3BA57509-E854-9BF7-0635-0974311E8360}"/>
              </a:ext>
              <a:ext uri="{C183D7F6-B498-43B3-948B-1728B52AA6E4}">
                <adec:decorative xmlns:adec="http://schemas.microsoft.com/office/drawing/2017/decorative" val="1"/>
              </a:ext>
            </a:extLst>
          </p:cNvPr>
          <p:cNvCxnSpPr>
            <a:cxnSpLocks/>
          </p:cNvCxnSpPr>
          <p:nvPr/>
        </p:nvCxnSpPr>
        <p:spPr>
          <a:xfrm>
            <a:off x="7587014" y="2743200"/>
            <a:ext cx="3857734"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4DE3AAB6-9E2B-295E-C54B-6F1888B693F9}"/>
              </a:ext>
            </a:extLst>
          </p:cNvPr>
          <p:cNvSpPr txBox="1"/>
          <p:nvPr/>
        </p:nvSpPr>
        <p:spPr>
          <a:xfrm>
            <a:off x="8086880" y="2505943"/>
            <a:ext cx="896079"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A &amp; CSAM</a:t>
            </a:r>
          </a:p>
        </p:txBody>
      </p:sp>
      <p:sp>
        <p:nvSpPr>
          <p:cNvPr id="89" name="TextBox 88">
            <a:extLst>
              <a:ext uri="{FF2B5EF4-FFF2-40B4-BE49-F238E27FC236}">
                <a16:creationId xmlns:a16="http://schemas.microsoft.com/office/drawing/2014/main" id="{192EEB41-DEC2-F18F-4B43-7CFF4BD672CE}"/>
              </a:ext>
            </a:extLst>
          </p:cNvPr>
          <p:cNvSpPr txBox="1"/>
          <p:nvPr/>
        </p:nvSpPr>
        <p:spPr>
          <a:xfrm>
            <a:off x="5449334" y="3620567"/>
            <a:ext cx="1195840"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Solution Engineer</a:t>
            </a:r>
          </a:p>
        </p:txBody>
      </p:sp>
      <p:sp>
        <p:nvSpPr>
          <p:cNvPr id="90" name="TextBox 89">
            <a:extLst>
              <a:ext uri="{FF2B5EF4-FFF2-40B4-BE49-F238E27FC236}">
                <a16:creationId xmlns:a16="http://schemas.microsoft.com/office/drawing/2014/main" id="{6C87713D-7E24-9646-A8F0-8D4CE0B978A5}"/>
              </a:ext>
            </a:extLst>
          </p:cNvPr>
          <p:cNvSpPr txBox="1"/>
          <p:nvPr/>
        </p:nvSpPr>
        <p:spPr>
          <a:xfrm>
            <a:off x="1589146" y="3454429"/>
            <a:ext cx="249991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mn-cs"/>
              </a:rPr>
              <a:t>Streamlined with P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mn-cs"/>
              </a:rPr>
              <a:t> &amp; Increased sale intensity </a:t>
            </a:r>
          </a:p>
        </p:txBody>
      </p:sp>
      <p:cxnSp>
        <p:nvCxnSpPr>
          <p:cNvPr id="92" name="Straight Arrow Connector 91">
            <a:extLst>
              <a:ext uri="{FF2B5EF4-FFF2-40B4-BE49-F238E27FC236}">
                <a16:creationId xmlns:a16="http://schemas.microsoft.com/office/drawing/2014/main" id="{C56B5C33-3FE2-C46B-CCA1-308106A7FE4A}"/>
              </a:ext>
              <a:ext uri="{C183D7F6-B498-43B3-948B-1728B52AA6E4}">
                <adec:decorative xmlns:adec="http://schemas.microsoft.com/office/drawing/2017/decorative" val="1"/>
              </a:ext>
            </a:extLst>
          </p:cNvPr>
          <p:cNvCxnSpPr>
            <a:cxnSpLocks/>
          </p:cNvCxnSpPr>
          <p:nvPr/>
        </p:nvCxnSpPr>
        <p:spPr>
          <a:xfrm>
            <a:off x="1555939" y="4933814"/>
            <a:ext cx="1798503"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ABA5278E-FC3D-666B-397A-C0119E20E74E}"/>
              </a:ext>
            </a:extLst>
          </p:cNvPr>
          <p:cNvSpPr txBox="1"/>
          <p:nvPr/>
        </p:nvSpPr>
        <p:spPr>
          <a:xfrm>
            <a:off x="2318037" y="4696557"/>
            <a:ext cx="274307"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TU</a:t>
            </a:r>
          </a:p>
        </p:txBody>
      </p:sp>
      <p:cxnSp>
        <p:nvCxnSpPr>
          <p:cNvPr id="102" name="Straight Arrow Connector 101">
            <a:extLst>
              <a:ext uri="{FF2B5EF4-FFF2-40B4-BE49-F238E27FC236}">
                <a16:creationId xmlns:a16="http://schemas.microsoft.com/office/drawing/2014/main" id="{1B82D6B3-4B43-7EB6-3242-E591F11CFA3D}"/>
              </a:ext>
              <a:ext uri="{C183D7F6-B498-43B3-948B-1728B52AA6E4}">
                <adec:decorative xmlns:adec="http://schemas.microsoft.com/office/drawing/2017/decorative" val="1"/>
              </a:ext>
            </a:extLst>
          </p:cNvPr>
          <p:cNvCxnSpPr>
            <a:cxnSpLocks/>
          </p:cNvCxnSpPr>
          <p:nvPr/>
        </p:nvCxnSpPr>
        <p:spPr>
          <a:xfrm>
            <a:off x="7587014" y="4933814"/>
            <a:ext cx="3857734"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9585F4C2-CBF7-BBD0-DB33-DB2ECE502FEE}"/>
              </a:ext>
            </a:extLst>
          </p:cNvPr>
          <p:cNvSpPr txBox="1"/>
          <p:nvPr/>
        </p:nvSpPr>
        <p:spPr>
          <a:xfrm>
            <a:off x="8086880" y="4696557"/>
            <a:ext cx="896079"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A &amp; CSAM</a:t>
            </a:r>
          </a:p>
        </p:txBody>
      </p:sp>
      <p:sp>
        <p:nvSpPr>
          <p:cNvPr id="112" name="TextBox 111">
            <a:extLst>
              <a:ext uri="{FF2B5EF4-FFF2-40B4-BE49-F238E27FC236}">
                <a16:creationId xmlns:a16="http://schemas.microsoft.com/office/drawing/2014/main" id="{B9A36A39-5557-EDB0-ECBC-4BB93C7E4004}"/>
              </a:ext>
            </a:extLst>
          </p:cNvPr>
          <p:cNvSpPr txBox="1"/>
          <p:nvPr/>
        </p:nvSpPr>
        <p:spPr>
          <a:xfrm>
            <a:off x="4713591" y="4696557"/>
            <a:ext cx="1562927"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ultiple SSP Specialist</a:t>
            </a:r>
          </a:p>
        </p:txBody>
      </p:sp>
      <p:cxnSp>
        <p:nvCxnSpPr>
          <p:cNvPr id="113" name="Straight Arrow Connector 112">
            <a:extLst>
              <a:ext uri="{FF2B5EF4-FFF2-40B4-BE49-F238E27FC236}">
                <a16:creationId xmlns:a16="http://schemas.microsoft.com/office/drawing/2014/main" id="{050117FF-6CF7-E690-716F-E1C41D4CD70C}"/>
              </a:ext>
              <a:ext uri="{C183D7F6-B498-43B3-948B-1728B52AA6E4}">
                <adec:decorative xmlns:adec="http://schemas.microsoft.com/office/drawing/2017/decorative" val="1"/>
              </a:ext>
            </a:extLst>
          </p:cNvPr>
          <p:cNvCxnSpPr>
            <a:cxnSpLocks/>
          </p:cNvCxnSpPr>
          <p:nvPr/>
        </p:nvCxnSpPr>
        <p:spPr>
          <a:xfrm>
            <a:off x="3489872" y="4933814"/>
            <a:ext cx="3961711"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AB9A24F6-6246-6074-0F9D-74C2CB0063D5}"/>
              </a:ext>
              <a:ext uri="{C183D7F6-B498-43B3-948B-1728B52AA6E4}">
                <adec:decorative xmlns:adec="http://schemas.microsoft.com/office/drawing/2017/decorative" val="1"/>
              </a:ext>
            </a:extLst>
          </p:cNvPr>
          <p:cNvCxnSpPr>
            <a:cxnSpLocks/>
          </p:cNvCxnSpPr>
          <p:nvPr/>
        </p:nvCxnSpPr>
        <p:spPr>
          <a:xfrm>
            <a:off x="3648075" y="5038588"/>
            <a:ext cx="3914512"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01" name="Straight Arrow Connector 1600">
            <a:extLst>
              <a:ext uri="{FF2B5EF4-FFF2-40B4-BE49-F238E27FC236}">
                <a16:creationId xmlns:a16="http://schemas.microsoft.com/office/drawing/2014/main" id="{5B556899-38A0-BB9F-AA0B-CF693C045A4C}"/>
              </a:ext>
              <a:ext uri="{C183D7F6-B498-43B3-948B-1728B52AA6E4}">
                <adec:decorative xmlns:adec="http://schemas.microsoft.com/office/drawing/2017/decorative" val="1"/>
              </a:ext>
            </a:extLst>
          </p:cNvPr>
          <p:cNvCxnSpPr>
            <a:cxnSpLocks/>
          </p:cNvCxnSpPr>
          <p:nvPr/>
        </p:nvCxnSpPr>
        <p:spPr>
          <a:xfrm>
            <a:off x="3780450" y="5143362"/>
            <a:ext cx="3914512"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3" name="Group 2" descr="Technical Specialists illustrations with arrows pointing both ways">
            <a:extLst>
              <a:ext uri="{FF2B5EF4-FFF2-40B4-BE49-F238E27FC236}">
                <a16:creationId xmlns:a16="http://schemas.microsoft.com/office/drawing/2014/main" id="{9841CF89-FEF4-43EE-D075-7D05B987C54D}"/>
              </a:ext>
            </a:extLst>
          </p:cNvPr>
          <p:cNvGrpSpPr/>
          <p:nvPr/>
        </p:nvGrpSpPr>
        <p:grpSpPr>
          <a:xfrm>
            <a:off x="4875195" y="5662063"/>
            <a:ext cx="2600719" cy="464894"/>
            <a:chOff x="4459282" y="5662063"/>
            <a:chExt cx="3016629" cy="464894"/>
          </a:xfrm>
        </p:grpSpPr>
        <p:sp>
          <p:nvSpPr>
            <p:cNvPr id="125" name="TextBox 124">
              <a:extLst>
                <a:ext uri="{FF2B5EF4-FFF2-40B4-BE49-F238E27FC236}">
                  <a16:creationId xmlns:a16="http://schemas.microsoft.com/office/drawing/2014/main" id="{8A98CCD8-BDC3-5233-5315-2FCC784E2D06}"/>
                </a:ext>
              </a:extLst>
            </p:cNvPr>
            <p:cNvSpPr txBox="1"/>
            <p:nvPr/>
          </p:nvSpPr>
          <p:spPr>
            <a:xfrm>
              <a:off x="5103474" y="5662063"/>
              <a:ext cx="1564910" cy="184666"/>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Technical Specialists</a:t>
              </a:r>
            </a:p>
          </p:txBody>
        </p:sp>
        <p:grpSp>
          <p:nvGrpSpPr>
            <p:cNvPr id="1607" name="Group 1606">
              <a:extLst>
                <a:ext uri="{FF2B5EF4-FFF2-40B4-BE49-F238E27FC236}">
                  <a16:creationId xmlns:a16="http://schemas.microsoft.com/office/drawing/2014/main" id="{DDB7BBBE-C53E-BBC6-E2F2-10608019B190}"/>
                </a:ext>
              </a:extLst>
            </p:cNvPr>
            <p:cNvGrpSpPr/>
            <p:nvPr/>
          </p:nvGrpSpPr>
          <p:grpSpPr>
            <a:xfrm>
              <a:off x="4459282" y="5917409"/>
              <a:ext cx="3016629" cy="209548"/>
              <a:chOff x="3489872" y="5543587"/>
              <a:chExt cx="4205090" cy="209548"/>
            </a:xfrm>
          </p:grpSpPr>
          <p:cxnSp>
            <p:nvCxnSpPr>
              <p:cNvPr id="1604" name="Straight Arrow Connector 1603">
                <a:extLst>
                  <a:ext uri="{FF2B5EF4-FFF2-40B4-BE49-F238E27FC236}">
                    <a16:creationId xmlns:a16="http://schemas.microsoft.com/office/drawing/2014/main" id="{023921CF-BEAA-52C5-5D87-8F29866F2855}"/>
                  </a:ext>
                </a:extLst>
              </p:cNvPr>
              <p:cNvCxnSpPr>
                <a:cxnSpLocks/>
              </p:cNvCxnSpPr>
              <p:nvPr/>
            </p:nvCxnSpPr>
            <p:spPr>
              <a:xfrm>
                <a:off x="3489872" y="5543587"/>
                <a:ext cx="3961711"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05" name="Straight Arrow Connector 1604">
                <a:extLst>
                  <a:ext uri="{FF2B5EF4-FFF2-40B4-BE49-F238E27FC236}">
                    <a16:creationId xmlns:a16="http://schemas.microsoft.com/office/drawing/2014/main" id="{68C1ED26-D267-9A74-8CD8-4CF48063748A}"/>
                  </a:ext>
                </a:extLst>
              </p:cNvPr>
              <p:cNvCxnSpPr>
                <a:cxnSpLocks/>
              </p:cNvCxnSpPr>
              <p:nvPr/>
            </p:nvCxnSpPr>
            <p:spPr>
              <a:xfrm>
                <a:off x="3648075" y="5648361"/>
                <a:ext cx="3914512"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06" name="Straight Arrow Connector 1605">
                <a:extLst>
                  <a:ext uri="{FF2B5EF4-FFF2-40B4-BE49-F238E27FC236}">
                    <a16:creationId xmlns:a16="http://schemas.microsoft.com/office/drawing/2014/main" id="{84DA30A3-42DD-FB42-7342-09CD908ABC51}"/>
                  </a:ext>
                </a:extLst>
              </p:cNvPr>
              <p:cNvCxnSpPr>
                <a:cxnSpLocks/>
              </p:cNvCxnSpPr>
              <p:nvPr/>
            </p:nvCxnSpPr>
            <p:spPr>
              <a:xfrm>
                <a:off x="3780450" y="5753135"/>
                <a:ext cx="3914512" cy="0"/>
              </a:xfrm>
              <a:prstGeom prst="straightConnector1">
                <a:avLst/>
              </a:prstGeom>
              <a:ln w="19050">
                <a:solidFill>
                  <a:schemeClr val="accent6">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608" name="TextBox 1607">
            <a:extLst>
              <a:ext uri="{FF2B5EF4-FFF2-40B4-BE49-F238E27FC236}">
                <a16:creationId xmlns:a16="http://schemas.microsoft.com/office/drawing/2014/main" id="{C71A58E2-0E30-9973-92BC-261DE97C1772}"/>
              </a:ext>
            </a:extLst>
          </p:cNvPr>
          <p:cNvSpPr txBox="1"/>
          <p:nvPr/>
        </p:nvSpPr>
        <p:spPr>
          <a:xfrm>
            <a:off x="2913598" y="5310073"/>
            <a:ext cx="1705210"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Text Semibold"/>
                <a:ea typeface="+mn-ea"/>
                <a:cs typeface="+mn-cs"/>
              </a:rPr>
              <a:t>x 3 repeated for</a:t>
            </a:r>
            <a:br>
              <a:rPr kumimoji="0" lang="en-US" sz="16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600" b="0" i="0" u="none" strike="noStrike" kern="1200" cap="none" spc="0" normalizeH="0" baseline="0" noProof="0">
                <a:ln>
                  <a:noFill/>
                </a:ln>
                <a:solidFill>
                  <a:srgbClr val="000000"/>
                </a:solidFill>
                <a:effectLst/>
                <a:uLnTx/>
                <a:uFillTx/>
                <a:latin typeface="Segoe Sans Text Semibold"/>
                <a:ea typeface="+mn-ea"/>
                <a:cs typeface="+mn-cs"/>
              </a:rPr>
              <a:t>each solution area</a:t>
            </a:r>
          </a:p>
        </p:txBody>
      </p:sp>
      <p:cxnSp>
        <p:nvCxnSpPr>
          <p:cNvPr id="1611" name="Straight Connector 1610">
            <a:extLst>
              <a:ext uri="{FF2B5EF4-FFF2-40B4-BE49-F238E27FC236}">
                <a16:creationId xmlns:a16="http://schemas.microsoft.com/office/drawing/2014/main" id="{64DE5C96-5A03-DF2B-F25C-F35C2CBE54FF}"/>
              </a:ext>
              <a:ext uri="{C183D7F6-B498-43B3-948B-1728B52AA6E4}">
                <adec:decorative xmlns:adec="http://schemas.microsoft.com/office/drawing/2017/decorative" val="1"/>
              </a:ext>
            </a:extLst>
          </p:cNvPr>
          <p:cNvCxnSpPr>
            <a:cxnSpLocks/>
          </p:cNvCxnSpPr>
          <p:nvPr/>
        </p:nvCxnSpPr>
        <p:spPr>
          <a:xfrm>
            <a:off x="651259" y="4138613"/>
            <a:ext cx="665163"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16" name="Oval 1615">
            <a:extLst>
              <a:ext uri="{FF2B5EF4-FFF2-40B4-BE49-F238E27FC236}">
                <a16:creationId xmlns:a16="http://schemas.microsoft.com/office/drawing/2014/main" id="{4B31018C-4BDE-3E6C-F981-0B56B27C6762}"/>
              </a:ext>
              <a:ext uri="{C183D7F6-B498-43B3-948B-1728B52AA6E4}">
                <adec:decorative xmlns:adec="http://schemas.microsoft.com/office/drawing/2017/decorative" val="1"/>
              </a:ext>
            </a:extLst>
          </p:cNvPr>
          <p:cNvSpPr/>
          <p:nvPr/>
        </p:nvSpPr>
        <p:spPr bwMode="auto">
          <a:xfrm>
            <a:off x="2575017" y="2519680"/>
            <a:ext cx="712266" cy="71202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617" name="Oval 1616">
            <a:extLst>
              <a:ext uri="{FF2B5EF4-FFF2-40B4-BE49-F238E27FC236}">
                <a16:creationId xmlns:a16="http://schemas.microsoft.com/office/drawing/2014/main" id="{5323D8DF-52A1-53CD-534D-616C4264F3BF}"/>
              </a:ext>
              <a:ext uri="{C183D7F6-B498-43B3-948B-1728B52AA6E4}">
                <adec:decorative xmlns:adec="http://schemas.microsoft.com/office/drawing/2017/decorative" val="1"/>
              </a:ext>
            </a:extLst>
          </p:cNvPr>
          <p:cNvSpPr/>
          <p:nvPr/>
        </p:nvSpPr>
        <p:spPr bwMode="auto">
          <a:xfrm>
            <a:off x="4154152" y="3493808"/>
            <a:ext cx="773448" cy="77318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3" name="Graphic 4" descr="Icon of two people">
            <a:extLst>
              <a:ext uri="{FF2B5EF4-FFF2-40B4-BE49-F238E27FC236}">
                <a16:creationId xmlns:a16="http://schemas.microsoft.com/office/drawing/2014/main" id="{0FE1ACCD-0E41-D595-8C10-37C80482E0C6}"/>
              </a:ext>
            </a:extLst>
          </p:cNvPr>
          <p:cNvSpPr/>
          <p:nvPr/>
        </p:nvSpPr>
        <p:spPr>
          <a:xfrm>
            <a:off x="5858570" y="3220518"/>
            <a:ext cx="377369" cy="358501"/>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4" name="Graphic 4" descr="Icon of two people">
            <a:extLst>
              <a:ext uri="{FF2B5EF4-FFF2-40B4-BE49-F238E27FC236}">
                <a16:creationId xmlns:a16="http://schemas.microsoft.com/office/drawing/2014/main" id="{2446C585-3D51-DEE0-5C2F-C47F1223AD8C}"/>
              </a:ext>
            </a:extLst>
          </p:cNvPr>
          <p:cNvSpPr/>
          <p:nvPr/>
        </p:nvSpPr>
        <p:spPr>
          <a:xfrm>
            <a:off x="5328956" y="4300203"/>
            <a:ext cx="377369" cy="358501"/>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accent6">
              <a:lumMod val="75000"/>
            </a:schemeClr>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5" name="Graphic 4" descr="Icon of two people">
            <a:extLst>
              <a:ext uri="{FF2B5EF4-FFF2-40B4-BE49-F238E27FC236}">
                <a16:creationId xmlns:a16="http://schemas.microsoft.com/office/drawing/2014/main" id="{D518B54C-06D0-F6C6-C36F-D8FCA067DE5C}"/>
              </a:ext>
            </a:extLst>
          </p:cNvPr>
          <p:cNvSpPr/>
          <p:nvPr/>
        </p:nvSpPr>
        <p:spPr>
          <a:xfrm>
            <a:off x="2263108" y="4300203"/>
            <a:ext cx="377369" cy="358501"/>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accent6">
              <a:lumMod val="75000"/>
            </a:schemeClr>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6" name="Graphic 4" descr="Icon of two people">
            <a:extLst>
              <a:ext uri="{FF2B5EF4-FFF2-40B4-BE49-F238E27FC236}">
                <a16:creationId xmlns:a16="http://schemas.microsoft.com/office/drawing/2014/main" id="{6D8A789C-0C56-2DE6-E2D6-B24B7AC12683}"/>
              </a:ext>
            </a:extLst>
          </p:cNvPr>
          <p:cNvSpPr/>
          <p:nvPr/>
        </p:nvSpPr>
        <p:spPr>
          <a:xfrm>
            <a:off x="8330021" y="4300203"/>
            <a:ext cx="377369" cy="358501"/>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accent6">
              <a:lumMod val="75000"/>
            </a:schemeClr>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7" name="Graphic 4" descr="Icon of two people">
            <a:extLst>
              <a:ext uri="{FF2B5EF4-FFF2-40B4-BE49-F238E27FC236}">
                <a16:creationId xmlns:a16="http://schemas.microsoft.com/office/drawing/2014/main" id="{1E35B3FF-3468-9595-DCCE-05A6376AEB37}"/>
              </a:ext>
            </a:extLst>
          </p:cNvPr>
          <p:cNvSpPr/>
          <p:nvPr/>
        </p:nvSpPr>
        <p:spPr>
          <a:xfrm>
            <a:off x="5899149" y="5257840"/>
            <a:ext cx="377369" cy="358501"/>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accent6">
              <a:lumMod val="75000"/>
            </a:schemeClr>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5" name="Rectangle 4">
            <a:extLst>
              <a:ext uri="{FF2B5EF4-FFF2-40B4-BE49-F238E27FC236}">
                <a16:creationId xmlns:a16="http://schemas.microsoft.com/office/drawing/2014/main" id="{2B09502F-A465-C0EA-1CD8-C40D918BB1AA}"/>
              </a:ext>
            </a:extLst>
          </p:cNvPr>
          <p:cNvSpPr/>
          <p:nvPr/>
        </p:nvSpPr>
        <p:spPr bwMode="auto">
          <a:xfrm>
            <a:off x="7541000" y="1058200"/>
            <a:ext cx="4322110" cy="5514050"/>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EB48BE88-78E3-F05D-9A86-2C2ABBFBAB01}"/>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6" name="Table 2 Cell 1, 1 to Text">
              <a:extLst>
                <a:ext uri="{FF2B5EF4-FFF2-40B4-BE49-F238E27FC236}">
                  <a16:creationId xmlns:a16="http://schemas.microsoft.com/office/drawing/2014/main" id="{93D37DEF-B154-4709-A253-019B86A823A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7" name="Table 2 Cell 2, 1 to Text">
              <a:extLst>
                <a:ext uri="{FF2B5EF4-FFF2-40B4-BE49-F238E27FC236}">
                  <a16:creationId xmlns:a16="http://schemas.microsoft.com/office/drawing/2014/main" id="{68B49E19-9A21-4D17-B7BA-909AC57EF05D}"/>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8" name="Table 2 Cell 3, 1 to Text">
              <a:extLst>
                <a:ext uri="{FF2B5EF4-FFF2-40B4-BE49-F238E27FC236}">
                  <a16:creationId xmlns:a16="http://schemas.microsoft.com/office/drawing/2014/main" id="{BC4384FE-2A97-2666-5D3A-54C4204DDA1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9" name="Table 2 Cell 4, 1 to Text">
              <a:extLst>
                <a:ext uri="{FF2B5EF4-FFF2-40B4-BE49-F238E27FC236}">
                  <a16:creationId xmlns:a16="http://schemas.microsoft.com/office/drawing/2014/main" id="{1DEA3283-A8D4-38C9-8A70-404AEF40D35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0" name="Table 2 Cell 5, 1 to Text">
              <a:extLst>
                <a:ext uri="{FF2B5EF4-FFF2-40B4-BE49-F238E27FC236}">
                  <a16:creationId xmlns:a16="http://schemas.microsoft.com/office/drawing/2014/main" id="{8AEF36AC-D185-7ECD-3A88-CA9AC293A7FD}"/>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2" name="Table 2 Cell 6, 1 to Text">
              <a:extLst>
                <a:ext uri="{FF2B5EF4-FFF2-40B4-BE49-F238E27FC236}">
                  <a16:creationId xmlns:a16="http://schemas.microsoft.com/office/drawing/2014/main" id="{8E667C66-CAB1-5933-E771-45835B321E59}"/>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3" name="Table 2 Cell 7, 1 to Text">
              <a:extLst>
                <a:ext uri="{FF2B5EF4-FFF2-40B4-BE49-F238E27FC236}">
                  <a16:creationId xmlns:a16="http://schemas.microsoft.com/office/drawing/2014/main" id="{4F68629A-914C-ACAB-C7B0-6FC83DB6BD8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4" name="Table 2 Cell 1, 2 to Text">
              <a:extLst>
                <a:ext uri="{FF2B5EF4-FFF2-40B4-BE49-F238E27FC236}">
                  <a16:creationId xmlns:a16="http://schemas.microsoft.com/office/drawing/2014/main" id="{E59B4A07-F129-11BD-1A98-EB466B4D10F1}"/>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15" name="Table 2 Cell 1, 3 to Text">
              <a:extLst>
                <a:ext uri="{FF2B5EF4-FFF2-40B4-BE49-F238E27FC236}">
                  <a16:creationId xmlns:a16="http://schemas.microsoft.com/office/drawing/2014/main" id="{4B560493-A5D5-369E-06E8-4B41CBDD7745}"/>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16" name="Table 2 Cell 1, 4 to Text">
              <a:extLst>
                <a:ext uri="{FF2B5EF4-FFF2-40B4-BE49-F238E27FC236}">
                  <a16:creationId xmlns:a16="http://schemas.microsoft.com/office/drawing/2014/main" id="{F3D86FEF-AEDA-5ED5-2D88-832A75473040}"/>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40" name="Table 2 Cell 1, 5 to Text">
              <a:extLst>
                <a:ext uri="{FF2B5EF4-FFF2-40B4-BE49-F238E27FC236}">
                  <a16:creationId xmlns:a16="http://schemas.microsoft.com/office/drawing/2014/main" id="{05CF9052-10FC-6E3D-43F3-38F7D1FDA019}"/>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41" name="Table 2 Cell 1, 6 to Text">
              <a:extLst>
                <a:ext uri="{FF2B5EF4-FFF2-40B4-BE49-F238E27FC236}">
                  <a16:creationId xmlns:a16="http://schemas.microsoft.com/office/drawing/2014/main" id="{4EDA89D3-D7E5-39AA-22FC-6A33CECD6AA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42" name="Table 2 Cell 1, 7 to Text">
              <a:extLst>
                <a:ext uri="{FF2B5EF4-FFF2-40B4-BE49-F238E27FC236}">
                  <a16:creationId xmlns:a16="http://schemas.microsoft.com/office/drawing/2014/main" id="{3F9117C0-C6FB-41F8-367E-D71C8910BF94}"/>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6 KPIs &amp; Outcomes</a:t>
              </a:r>
            </a:p>
          </p:txBody>
        </p:sp>
        <p:sp>
          <p:nvSpPr>
            <p:cNvPr id="43" name="Table 2 Cell 1, 8 to Text">
              <a:extLst>
                <a:ext uri="{FF2B5EF4-FFF2-40B4-BE49-F238E27FC236}">
                  <a16:creationId xmlns:a16="http://schemas.microsoft.com/office/drawing/2014/main" id="{ADC3422E-E283-E1C0-1A61-857B1FD81AFA}"/>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chemeClr val="bg1"/>
                  </a:solidFill>
                </a:rPr>
                <a:t>2.7 Orchestration</a:t>
              </a:r>
            </a:p>
          </p:txBody>
        </p:sp>
      </p:grpSp>
    </p:spTree>
    <p:extLst>
      <p:ext uri="{BB962C8B-B14F-4D97-AF65-F5344CB8AC3E}">
        <p14:creationId xmlns:p14="http://schemas.microsoft.com/office/powerpoint/2010/main" val="61488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CC9A4-B8A7-5B4D-2AF5-41FC7DDDD400}"/>
            </a:ext>
          </a:extLst>
        </p:cNvPr>
        <p:cNvGrpSpPr/>
        <p:nvPr/>
      </p:nvGrpSpPr>
      <p:grpSpPr>
        <a:xfrm>
          <a:off x="0" y="0"/>
          <a:ext cx="0" cy="0"/>
          <a:chOff x="0" y="0"/>
          <a:chExt cx="0" cy="0"/>
        </a:xfrm>
      </p:grpSpPr>
      <p:sp>
        <p:nvSpPr>
          <p:cNvPr id="64" name="Rectangle 63">
            <a:extLst>
              <a:ext uri="{FF2B5EF4-FFF2-40B4-BE49-F238E27FC236}">
                <a16:creationId xmlns:a16="http://schemas.microsoft.com/office/drawing/2014/main" id="{227B7F8A-A44E-8DFC-6186-DBE9E294ECCC}"/>
              </a:ext>
            </a:extLst>
          </p:cNvPr>
          <p:cNvSpPr/>
          <p:nvPr/>
        </p:nvSpPr>
        <p:spPr bwMode="auto">
          <a:xfrm>
            <a:off x="0" y="1049338"/>
            <a:ext cx="12192000" cy="134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TU</a:t>
            </a:r>
            <a:r>
              <a:rPr kumimoji="0" lang="en-US" sz="1000" b="0" i="0" u="none" strike="noStrike" kern="1200" cap="none" spc="0" normalizeH="0" baseline="0" noProof="0">
                <a:ln>
                  <a:noFill/>
                </a:ln>
                <a:solidFill>
                  <a:srgbClr val="000000"/>
                </a:solidFill>
                <a:effectLst/>
                <a:uLnTx/>
                <a:uFillTx/>
                <a:latin typeface="Segoe Sans Text"/>
                <a:ea typeface="+mn-ea"/>
                <a:cs typeface="+mn-cs"/>
              </a:rPr>
              <a:t> leads the MACC strategy and orchestrates the Account Team (CE, STU incl. Support, CSU, ISD, SPT as appropriate) for Accelerate and Classic territories &amp; Majors Growth</a:t>
            </a:r>
          </a:p>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loud &amp; AI Specialist </a:t>
            </a:r>
            <a:r>
              <a:rPr kumimoji="0" lang="en-US" sz="1000" b="0" i="0" u="none" strike="noStrike" kern="1200" cap="none" spc="0" normalizeH="0" baseline="0" noProof="0">
                <a:ln>
                  <a:noFill/>
                </a:ln>
                <a:solidFill>
                  <a:srgbClr val="000000"/>
                </a:solidFill>
                <a:effectLst/>
                <a:uLnTx/>
                <a:uFillTx/>
                <a:latin typeface="Segoe Sans Text"/>
                <a:ea typeface="+mn-ea"/>
                <a:cs typeface="+mn-cs"/>
              </a:rPr>
              <a:t>collaborates with ATU in stage 1 providing customer knowledge, insights and propensity across the 3 solution plays</a:t>
            </a:r>
          </a:p>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loud &amp; AI Specialist </a:t>
            </a:r>
            <a:r>
              <a:rPr kumimoji="0" lang="en-US" sz="1000" b="0" i="0" u="none" strike="noStrike" kern="1200" cap="none" spc="0" normalizeH="0" baseline="0" noProof="0">
                <a:ln>
                  <a:noFill/>
                </a:ln>
                <a:solidFill>
                  <a:srgbClr val="000000"/>
                </a:solidFill>
                <a:effectLst/>
                <a:uLnTx/>
                <a:uFillTx/>
                <a:latin typeface="Segoe Sans Text"/>
                <a:ea typeface="+mn-ea"/>
                <a:cs typeface="+mn-cs"/>
              </a:rPr>
              <a:t>engages Solution Engineers (SE) Pod in stages 2–3 to drive envisioning workshops, business value &amp; technical proof</a:t>
            </a:r>
          </a:p>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Services Seller </a:t>
            </a:r>
            <a:r>
              <a:rPr kumimoji="0" lang="en-US" sz="1000" b="0" i="0" u="none" strike="noStrike" kern="1200" cap="none" spc="0" normalizeH="0" baseline="0" noProof="0">
                <a:ln>
                  <a:noFill/>
                </a:ln>
                <a:solidFill>
                  <a:srgbClr val="000000"/>
                </a:solidFill>
                <a:effectLst/>
                <a:uLnTx/>
                <a:uFillTx/>
                <a:latin typeface="Segoe Sans Text"/>
                <a:ea typeface="+mn-ea"/>
                <a:cs typeface="+mn-cs"/>
              </a:rPr>
              <a:t>collaborates with account team/deal team to ensure Unified is right-sized according to the min. recommended adoption </a:t>
            </a:r>
          </a:p>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SE</a:t>
            </a:r>
            <a:r>
              <a:rPr kumimoji="0" lang="en-US" sz="1000" b="0" i="0" u="none" strike="noStrike" kern="1200" cap="none" spc="0" normalizeH="0" baseline="0" noProof="0">
                <a:ln>
                  <a:noFill/>
                </a:ln>
                <a:solidFill>
                  <a:srgbClr val="000000"/>
                </a:solidFill>
                <a:effectLst/>
                <a:uLnTx/>
                <a:uFillTx/>
                <a:latin typeface="Segoe Sans Text"/>
                <a:ea typeface="+mn-ea"/>
                <a:cs typeface="+mn-cs"/>
              </a:rPr>
              <a:t> engages additional experts (Software SE, Security, GitHub, GBB) as needed</a:t>
            </a:r>
          </a:p>
          <a:p>
            <a:pPr marL="139700" marR="0" lvl="0" indent="-139700" algn="l" defTabSz="932742"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SU</a:t>
            </a:r>
            <a:r>
              <a:rPr kumimoji="0" lang="en-US" sz="1000" b="0" i="0" u="none" strike="noStrike" kern="1200" cap="none" spc="0" normalizeH="0" baseline="0" noProof="0">
                <a:ln>
                  <a:noFill/>
                </a:ln>
                <a:solidFill>
                  <a:srgbClr val="000000"/>
                </a:solidFill>
                <a:effectLst/>
                <a:uLnTx/>
                <a:uFillTx/>
                <a:latin typeface="Segoe Sans Text"/>
                <a:ea typeface="+mn-ea"/>
                <a:cs typeface="+mn-cs"/>
              </a:rPr>
              <a:t> leads customer success plan and Azure consumption plan execution/delivery in stages 4–5 for customers with Unified. For a subset of Classic accounts, a “Cloud &amp; AI” CSA will be assigned and responsible for MACC health and Unified Health.</a:t>
            </a:r>
          </a:p>
        </p:txBody>
      </p:sp>
      <p:sp>
        <p:nvSpPr>
          <p:cNvPr id="5" name="Title 1">
            <a:extLst>
              <a:ext uri="{FF2B5EF4-FFF2-40B4-BE49-F238E27FC236}">
                <a16:creationId xmlns:a16="http://schemas.microsoft.com/office/drawing/2014/main" id="{01605CF0-C77F-44A8-B0F8-CBD677E3DF98}"/>
              </a:ext>
            </a:extLst>
          </p:cNvPr>
          <p:cNvSpPr>
            <a:spLocks noGrp="1"/>
          </p:cNvSpPr>
          <p:nvPr>
            <p:ph type="title"/>
          </p:nvPr>
        </p:nvSpPr>
        <p:spPr/>
        <p:txBody>
          <a:bodyPr>
            <a:noAutofit/>
          </a:bodyPr>
          <a:lstStyle/>
          <a:p>
            <a:r>
              <a:rPr lang="en-US" sz="2800">
                <a:ea typeface="+mj-ea"/>
                <a:cs typeface="+mj-cs"/>
              </a:rPr>
              <a:t>MACC Orchestration – Classic Accounts </a:t>
            </a:r>
            <a:r>
              <a:rPr lang="en-US" sz="2800">
                <a:latin typeface="+mn-lt"/>
                <a:ea typeface="+mj-ea"/>
                <a:cs typeface="+mj-cs"/>
              </a:rPr>
              <a:t>(MACC + Unified)</a:t>
            </a:r>
          </a:p>
        </p:txBody>
      </p:sp>
      <p:sp>
        <p:nvSpPr>
          <p:cNvPr id="67" name="Rectangle: Rounded Corners 66">
            <a:extLst>
              <a:ext uri="{FF2B5EF4-FFF2-40B4-BE49-F238E27FC236}">
                <a16:creationId xmlns:a16="http://schemas.microsoft.com/office/drawing/2014/main" id="{49EFE8C8-726C-700B-EBC5-4269463DB243}"/>
              </a:ext>
              <a:ext uri="{C183D7F6-B498-43B3-948B-1728B52AA6E4}">
                <adec:decorative xmlns:adec="http://schemas.microsoft.com/office/drawing/2017/decorative" val="1"/>
              </a:ext>
            </a:extLst>
          </p:cNvPr>
          <p:cNvSpPr>
            <a:spLocks/>
          </p:cNvSpPr>
          <p:nvPr/>
        </p:nvSpPr>
        <p:spPr bwMode="auto">
          <a:xfrm>
            <a:off x="571500" y="2527300"/>
            <a:ext cx="11049000" cy="4038600"/>
          </a:xfrm>
          <a:prstGeom prst="roundRect">
            <a:avLst>
              <a:gd name="adj" fmla="val 2748"/>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 name="Rectangle: Rounded Corners 69">
            <a:extLst>
              <a:ext uri="{FF2B5EF4-FFF2-40B4-BE49-F238E27FC236}">
                <a16:creationId xmlns:a16="http://schemas.microsoft.com/office/drawing/2014/main" id="{00628B38-FDB8-5B52-4B2D-3539FB37E881}"/>
              </a:ext>
            </a:extLst>
          </p:cNvPr>
          <p:cNvSpPr>
            <a:spLocks/>
          </p:cNvSpPr>
          <p:nvPr/>
        </p:nvSpPr>
        <p:spPr bwMode="auto">
          <a:xfrm>
            <a:off x="662940" y="2618740"/>
            <a:ext cx="2100072" cy="313303"/>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Listen Consult</a:t>
            </a:r>
          </a:p>
        </p:txBody>
      </p:sp>
      <p:sp>
        <p:nvSpPr>
          <p:cNvPr id="71" name="Rectangle: Rounded Corners 70">
            <a:extLst>
              <a:ext uri="{FF2B5EF4-FFF2-40B4-BE49-F238E27FC236}">
                <a16:creationId xmlns:a16="http://schemas.microsoft.com/office/drawing/2014/main" id="{5BB350CB-140F-D7A4-2D6E-9FC46FA841D8}"/>
              </a:ext>
            </a:extLst>
          </p:cNvPr>
          <p:cNvSpPr>
            <a:spLocks/>
          </p:cNvSpPr>
          <p:nvPr/>
        </p:nvSpPr>
        <p:spPr bwMode="auto">
          <a:xfrm>
            <a:off x="2854452" y="2618740"/>
            <a:ext cx="2100072" cy="313303"/>
          </a:xfrm>
          <a:prstGeom prst="roundRect">
            <a:avLst>
              <a:gd name="adj" fmla="val 1726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Inspire and Design</a:t>
            </a:r>
          </a:p>
        </p:txBody>
      </p:sp>
      <p:sp>
        <p:nvSpPr>
          <p:cNvPr id="82" name="Rectangle: Rounded Corners 81">
            <a:extLst>
              <a:ext uri="{FF2B5EF4-FFF2-40B4-BE49-F238E27FC236}">
                <a16:creationId xmlns:a16="http://schemas.microsoft.com/office/drawing/2014/main" id="{38AB0983-B225-7E9A-3EA8-692AA631F186}"/>
              </a:ext>
            </a:extLst>
          </p:cNvPr>
          <p:cNvSpPr>
            <a:spLocks/>
          </p:cNvSpPr>
          <p:nvPr/>
        </p:nvSpPr>
        <p:spPr bwMode="auto">
          <a:xfrm>
            <a:off x="5045964" y="2618740"/>
            <a:ext cx="2100072" cy="313303"/>
          </a:xfrm>
          <a:prstGeom prst="roundRect">
            <a:avLst>
              <a:gd name="adj" fmla="val 172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Empower and Achieve</a:t>
            </a:r>
          </a:p>
        </p:txBody>
      </p:sp>
      <p:sp>
        <p:nvSpPr>
          <p:cNvPr id="85" name="Rectangle: Rounded Corners 84">
            <a:extLst>
              <a:ext uri="{FF2B5EF4-FFF2-40B4-BE49-F238E27FC236}">
                <a16:creationId xmlns:a16="http://schemas.microsoft.com/office/drawing/2014/main" id="{600CE692-93F0-3E95-067B-6551BD750DC7}"/>
              </a:ext>
            </a:extLst>
          </p:cNvPr>
          <p:cNvSpPr>
            <a:spLocks/>
          </p:cNvSpPr>
          <p:nvPr/>
        </p:nvSpPr>
        <p:spPr bwMode="auto">
          <a:xfrm>
            <a:off x="7237476" y="2618740"/>
            <a:ext cx="2100072" cy="313303"/>
          </a:xfrm>
          <a:prstGeom prst="roundRect">
            <a:avLst>
              <a:gd name="adj" fmla="val 17263"/>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Realize Value</a:t>
            </a:r>
          </a:p>
        </p:txBody>
      </p:sp>
      <p:sp>
        <p:nvSpPr>
          <p:cNvPr id="86" name="Rectangle: Rounded Corners 85">
            <a:extLst>
              <a:ext uri="{FF2B5EF4-FFF2-40B4-BE49-F238E27FC236}">
                <a16:creationId xmlns:a16="http://schemas.microsoft.com/office/drawing/2014/main" id="{420EA303-710F-8476-4C56-3108448FD0C8}"/>
              </a:ext>
            </a:extLst>
          </p:cNvPr>
          <p:cNvSpPr>
            <a:spLocks/>
          </p:cNvSpPr>
          <p:nvPr/>
        </p:nvSpPr>
        <p:spPr bwMode="auto">
          <a:xfrm>
            <a:off x="9428988" y="2618740"/>
            <a:ext cx="2100072" cy="313303"/>
          </a:xfrm>
          <a:prstGeom prst="roundRect">
            <a:avLst>
              <a:gd name="adj" fmla="val 17263"/>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Manage and Optimize</a:t>
            </a:r>
          </a:p>
        </p:txBody>
      </p:sp>
      <p:sp>
        <p:nvSpPr>
          <p:cNvPr id="89" name="TextBox 88">
            <a:extLst>
              <a:ext uri="{FF2B5EF4-FFF2-40B4-BE49-F238E27FC236}">
                <a16:creationId xmlns:a16="http://schemas.microsoft.com/office/drawing/2014/main" id="{DD9974E5-C38A-2510-7294-A96A80D19FDE}"/>
              </a:ext>
            </a:extLst>
          </p:cNvPr>
          <p:cNvSpPr txBox="1"/>
          <p:nvPr/>
        </p:nvSpPr>
        <p:spPr>
          <a:xfrm>
            <a:off x="927948" y="3568508"/>
            <a:ext cx="117020"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AE</a:t>
            </a:r>
          </a:p>
        </p:txBody>
      </p:sp>
      <p:sp>
        <p:nvSpPr>
          <p:cNvPr id="20" name="Graphic 106" descr="Icon of a person">
            <a:extLst>
              <a:ext uri="{FF2B5EF4-FFF2-40B4-BE49-F238E27FC236}">
                <a16:creationId xmlns:a16="http://schemas.microsoft.com/office/drawing/2014/main" id="{A8E82672-E35B-79B8-FD2C-B47E32306F86}"/>
              </a:ext>
            </a:extLst>
          </p:cNvPr>
          <p:cNvSpPr/>
          <p:nvPr/>
        </p:nvSpPr>
        <p:spPr>
          <a:xfrm>
            <a:off x="3146968" y="333329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98" name="TextBox 97">
            <a:extLst>
              <a:ext uri="{FF2B5EF4-FFF2-40B4-BE49-F238E27FC236}">
                <a16:creationId xmlns:a16="http://schemas.microsoft.com/office/drawing/2014/main" id="{7A317CAA-C921-1F96-70C0-E2793DC366CD}"/>
              </a:ext>
            </a:extLst>
          </p:cNvPr>
          <p:cNvSpPr txBox="1"/>
          <p:nvPr/>
        </p:nvSpPr>
        <p:spPr>
          <a:xfrm>
            <a:off x="3011294" y="3568512"/>
            <a:ext cx="424795" cy="369332"/>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algn="ctr">
              <a:defRPr/>
            </a:pPr>
            <a:r>
              <a:rPr lang="en-US" sz="800">
                <a:solidFill>
                  <a:srgbClr val="000000"/>
                </a:solidFill>
              </a:rPr>
              <a:t>CAI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or DES</a:t>
            </a:r>
          </a:p>
        </p:txBody>
      </p:sp>
      <p:sp>
        <p:nvSpPr>
          <p:cNvPr id="128" name="Rectangle: Rounded Corners 127">
            <a:extLst>
              <a:ext uri="{FF2B5EF4-FFF2-40B4-BE49-F238E27FC236}">
                <a16:creationId xmlns:a16="http://schemas.microsoft.com/office/drawing/2014/main" id="{F61D1691-7CE6-2EC6-C2E3-B78E9F045B6F}"/>
              </a:ext>
            </a:extLst>
          </p:cNvPr>
          <p:cNvSpPr>
            <a:spLocks/>
          </p:cNvSpPr>
          <p:nvPr/>
        </p:nvSpPr>
        <p:spPr bwMode="auto">
          <a:xfrm>
            <a:off x="1401416" y="3023483"/>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Leads MACC Strategy (upsell, renewal) with T-minus cadence</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Identify new pipeline, workload expansion</a:t>
            </a:r>
          </a:p>
        </p:txBody>
      </p:sp>
      <p:sp>
        <p:nvSpPr>
          <p:cNvPr id="129" name="Rectangle: Rounded Corners 128">
            <a:extLst>
              <a:ext uri="{FF2B5EF4-FFF2-40B4-BE49-F238E27FC236}">
                <a16:creationId xmlns:a16="http://schemas.microsoft.com/office/drawing/2014/main" id="{46FC7675-9034-9CAF-A888-AD2C931D276D}"/>
              </a:ext>
            </a:extLst>
          </p:cNvPr>
          <p:cNvSpPr>
            <a:spLocks/>
          </p:cNvSpPr>
          <p:nvPr/>
        </p:nvSpPr>
        <p:spPr bwMode="auto">
          <a:xfrm>
            <a:off x="1401416" y="4204289"/>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Provides Azure propensity and account knowledge </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Supports qualification</a:t>
            </a:r>
          </a:p>
        </p:txBody>
      </p:sp>
      <p:sp>
        <p:nvSpPr>
          <p:cNvPr id="130" name="Rectangle: Rounded Corners 129">
            <a:extLst>
              <a:ext uri="{FF2B5EF4-FFF2-40B4-BE49-F238E27FC236}">
                <a16:creationId xmlns:a16="http://schemas.microsoft.com/office/drawing/2014/main" id="{1E6E0BD1-6F02-5F0E-15FE-D52EA3BFA5AC}"/>
              </a:ext>
            </a:extLst>
          </p:cNvPr>
          <p:cNvSpPr>
            <a:spLocks/>
          </p:cNvSpPr>
          <p:nvPr/>
        </p:nvSpPr>
        <p:spPr bwMode="auto">
          <a:xfrm>
            <a:off x="1401416" y="5385095"/>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Leads MACC Consumption Plan orchestration</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Identify Azure Opportunities from Secure AI plan</a:t>
            </a:r>
          </a:p>
        </p:txBody>
      </p:sp>
      <p:sp>
        <p:nvSpPr>
          <p:cNvPr id="131" name="Rectangle: Rounded Corners 130">
            <a:extLst>
              <a:ext uri="{FF2B5EF4-FFF2-40B4-BE49-F238E27FC236}">
                <a16:creationId xmlns:a16="http://schemas.microsoft.com/office/drawing/2014/main" id="{F8C2B1E5-C162-20B3-98F9-BD074E11DC58}"/>
              </a:ext>
            </a:extLst>
          </p:cNvPr>
          <p:cNvSpPr>
            <a:spLocks/>
          </p:cNvSpPr>
          <p:nvPr/>
        </p:nvSpPr>
        <p:spPr bwMode="auto">
          <a:xfrm>
            <a:off x="3592929" y="3023483"/>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Identifies new pipeline across all solution plays to meet MACC ACR Target</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Supports MACC Consumption Plan</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Partners with Services Seller for MACC + Unified Right-Sized</a:t>
            </a:r>
          </a:p>
        </p:txBody>
      </p:sp>
      <p:sp>
        <p:nvSpPr>
          <p:cNvPr id="132" name="Rectangle: Rounded Corners 131">
            <a:extLst>
              <a:ext uri="{FF2B5EF4-FFF2-40B4-BE49-F238E27FC236}">
                <a16:creationId xmlns:a16="http://schemas.microsoft.com/office/drawing/2014/main" id="{C8E2EE00-CD06-A4C3-9AF3-5421C32BAC3E}"/>
              </a:ext>
            </a:extLst>
          </p:cNvPr>
          <p:cNvSpPr>
            <a:spLocks/>
          </p:cNvSpPr>
          <p:nvPr/>
        </p:nvSpPr>
        <p:spPr bwMode="auto">
          <a:xfrm>
            <a:off x="3592929" y="4204289"/>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Scope Unified services to meet customer needs and drive cloud adoption inclusive of VAS and Mission Critical Services </a:t>
            </a:r>
          </a:p>
        </p:txBody>
      </p:sp>
      <p:sp>
        <p:nvSpPr>
          <p:cNvPr id="134" name="Rectangle: Rounded Corners 133">
            <a:extLst>
              <a:ext uri="{FF2B5EF4-FFF2-40B4-BE49-F238E27FC236}">
                <a16:creationId xmlns:a16="http://schemas.microsoft.com/office/drawing/2014/main" id="{EC621EB6-91CA-C23C-2D28-3F76A50142EF}"/>
              </a:ext>
            </a:extLst>
          </p:cNvPr>
          <p:cNvSpPr>
            <a:spLocks/>
          </p:cNvSpPr>
          <p:nvPr/>
        </p:nvSpPr>
        <p:spPr bwMode="auto">
          <a:xfrm>
            <a:off x="5784441" y="3023483"/>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Ensures Consumption Plan meets Quality Framework</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Aligns proper Concessions to accelerate ACR (ECIF)</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Partners with Services Seller </a:t>
            </a:r>
            <a:br>
              <a:rPr kumimoji="0" lang="en-US" sz="700" b="0" i="0" u="none" strike="noStrike" kern="1200" cap="none" spc="0" normalizeH="0" baseline="0" noProof="0">
                <a:ln>
                  <a:noFill/>
                </a:ln>
                <a:solidFill>
                  <a:srgbClr val="000000"/>
                </a:solidFill>
                <a:effectLst/>
                <a:uLnTx/>
                <a:uFillTx/>
                <a:latin typeface="Segoe Sans Text"/>
                <a:ea typeface="+mn-ea"/>
                <a:cs typeface="+mn-cs"/>
              </a:rPr>
            </a:br>
            <a:r>
              <a:rPr kumimoji="0" lang="en-US" sz="700" b="0" i="0" u="none" strike="noStrike" kern="1200" cap="none" spc="0" normalizeH="0" baseline="0" noProof="0">
                <a:ln>
                  <a:noFill/>
                </a:ln>
                <a:solidFill>
                  <a:srgbClr val="000000"/>
                </a:solidFill>
                <a:effectLst/>
                <a:uLnTx/>
                <a:uFillTx/>
                <a:latin typeface="Segoe Sans Text"/>
                <a:ea typeface="+mn-ea"/>
                <a:cs typeface="+mn-cs"/>
              </a:rPr>
              <a:t>to align Unified with Consumption Plan</a:t>
            </a:r>
          </a:p>
        </p:txBody>
      </p:sp>
      <p:sp>
        <p:nvSpPr>
          <p:cNvPr id="135" name="Rectangle: Rounded Corners 134">
            <a:extLst>
              <a:ext uri="{FF2B5EF4-FFF2-40B4-BE49-F238E27FC236}">
                <a16:creationId xmlns:a16="http://schemas.microsoft.com/office/drawing/2014/main" id="{EA4ACD1D-229D-6AB1-FD4A-4E41E165827E}"/>
              </a:ext>
            </a:extLst>
          </p:cNvPr>
          <p:cNvSpPr>
            <a:spLocks/>
          </p:cNvSpPr>
          <p:nvPr/>
        </p:nvSpPr>
        <p:spPr bwMode="auto">
          <a:xfrm>
            <a:off x="5784441" y="4204289"/>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Amend existing Unified with right sized services, prorating as needed</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Add future years to Unified to co-term with MACC end date</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Drive contract through signature </a:t>
            </a:r>
          </a:p>
        </p:txBody>
      </p:sp>
      <p:sp>
        <p:nvSpPr>
          <p:cNvPr id="136" name="Rectangle: Rounded Corners 135">
            <a:extLst>
              <a:ext uri="{FF2B5EF4-FFF2-40B4-BE49-F238E27FC236}">
                <a16:creationId xmlns:a16="http://schemas.microsoft.com/office/drawing/2014/main" id="{814D53E4-C6A8-D86D-5234-905B392C1464}"/>
              </a:ext>
            </a:extLst>
          </p:cNvPr>
          <p:cNvSpPr>
            <a:spLocks/>
          </p:cNvSpPr>
          <p:nvPr/>
        </p:nvSpPr>
        <p:spPr bwMode="auto">
          <a:xfrm>
            <a:off x="5784441" y="5385095"/>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Reviews customer Skilling Engagement Plan with ESI and aligns it to MACC priorities</a:t>
            </a:r>
          </a:p>
        </p:txBody>
      </p:sp>
      <p:sp>
        <p:nvSpPr>
          <p:cNvPr id="23" name="Graphic 106" descr="Icon of a person">
            <a:extLst>
              <a:ext uri="{FF2B5EF4-FFF2-40B4-BE49-F238E27FC236}">
                <a16:creationId xmlns:a16="http://schemas.microsoft.com/office/drawing/2014/main" id="{982EAB5F-E832-220F-EA21-741690C408E1}"/>
              </a:ext>
            </a:extLst>
          </p:cNvPr>
          <p:cNvSpPr/>
          <p:nvPr/>
        </p:nvSpPr>
        <p:spPr>
          <a:xfrm>
            <a:off x="5338480" y="333329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39" name="TextBox 138">
            <a:extLst>
              <a:ext uri="{FF2B5EF4-FFF2-40B4-BE49-F238E27FC236}">
                <a16:creationId xmlns:a16="http://schemas.microsoft.com/office/drawing/2014/main" id="{B8956136-9DB3-3E1E-815F-E7F415DE50A1}"/>
              </a:ext>
            </a:extLst>
          </p:cNvPr>
          <p:cNvSpPr txBox="1"/>
          <p:nvPr/>
        </p:nvSpPr>
        <p:spPr>
          <a:xfrm>
            <a:off x="5202806" y="3568512"/>
            <a:ext cx="424795" cy="369332"/>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algn="ctr">
              <a:defRPr/>
            </a:pPr>
            <a:r>
              <a:rPr lang="en-US" sz="800">
                <a:solidFill>
                  <a:srgbClr val="000000"/>
                </a:solidFill>
              </a:rPr>
              <a:t>CAI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or DES</a:t>
            </a:r>
          </a:p>
        </p:txBody>
      </p:sp>
      <p:sp>
        <p:nvSpPr>
          <p:cNvPr id="19" name="Graphic 106" descr="Icon of a person">
            <a:extLst>
              <a:ext uri="{FF2B5EF4-FFF2-40B4-BE49-F238E27FC236}">
                <a16:creationId xmlns:a16="http://schemas.microsoft.com/office/drawing/2014/main" id="{2BAE621E-6FCD-F0C5-4A39-EDD48003E0C1}"/>
              </a:ext>
            </a:extLst>
          </p:cNvPr>
          <p:cNvSpPr/>
          <p:nvPr/>
        </p:nvSpPr>
        <p:spPr>
          <a:xfrm>
            <a:off x="909736" y="451410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43" name="TextBox 142">
            <a:extLst>
              <a:ext uri="{FF2B5EF4-FFF2-40B4-BE49-F238E27FC236}">
                <a16:creationId xmlns:a16="http://schemas.microsoft.com/office/drawing/2014/main" id="{85E7B990-481D-71DA-7CA5-86BB4B2CB3BB}"/>
              </a:ext>
            </a:extLst>
          </p:cNvPr>
          <p:cNvSpPr txBox="1"/>
          <p:nvPr/>
        </p:nvSpPr>
        <p:spPr>
          <a:xfrm>
            <a:off x="774062" y="4749318"/>
            <a:ext cx="424795" cy="369332"/>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algn="ctr">
              <a:defRPr/>
            </a:pPr>
            <a:r>
              <a:rPr lang="en-US" sz="800">
                <a:solidFill>
                  <a:srgbClr val="000000"/>
                </a:solidFill>
              </a:rPr>
              <a:t>CAI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or DES</a:t>
            </a:r>
          </a:p>
        </p:txBody>
      </p:sp>
      <p:sp>
        <p:nvSpPr>
          <p:cNvPr id="21" name="Graphic 106" descr="Icon of a person">
            <a:extLst>
              <a:ext uri="{FF2B5EF4-FFF2-40B4-BE49-F238E27FC236}">
                <a16:creationId xmlns:a16="http://schemas.microsoft.com/office/drawing/2014/main" id="{1B716F92-6A49-E7C1-BD65-43B8E20DC576}"/>
              </a:ext>
            </a:extLst>
          </p:cNvPr>
          <p:cNvSpPr/>
          <p:nvPr/>
        </p:nvSpPr>
        <p:spPr>
          <a:xfrm>
            <a:off x="3146966" y="451410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46" name="TextBox 145">
            <a:extLst>
              <a:ext uri="{FF2B5EF4-FFF2-40B4-BE49-F238E27FC236}">
                <a16:creationId xmlns:a16="http://schemas.microsoft.com/office/drawing/2014/main" id="{5B17B51E-9B39-5A88-A03A-B26073BC7812}"/>
              </a:ext>
            </a:extLst>
          </p:cNvPr>
          <p:cNvSpPr txBox="1"/>
          <p:nvPr/>
        </p:nvSpPr>
        <p:spPr>
          <a:xfrm>
            <a:off x="3042550" y="4749316"/>
            <a:ext cx="362279"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rvices</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Seller</a:t>
            </a:r>
          </a:p>
        </p:txBody>
      </p:sp>
      <p:sp>
        <p:nvSpPr>
          <p:cNvPr id="22" name="Graphic 106" descr="Icon of a person">
            <a:extLst>
              <a:ext uri="{FF2B5EF4-FFF2-40B4-BE49-F238E27FC236}">
                <a16:creationId xmlns:a16="http://schemas.microsoft.com/office/drawing/2014/main" id="{42570EC6-5550-15FB-CC76-17040C3E7E83}"/>
              </a:ext>
            </a:extLst>
          </p:cNvPr>
          <p:cNvSpPr/>
          <p:nvPr/>
        </p:nvSpPr>
        <p:spPr>
          <a:xfrm>
            <a:off x="909737" y="569490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53" name="TextBox 152">
            <a:extLst>
              <a:ext uri="{FF2B5EF4-FFF2-40B4-BE49-F238E27FC236}">
                <a16:creationId xmlns:a16="http://schemas.microsoft.com/office/drawing/2014/main" id="{1691863D-3077-80B2-4184-0F0E80B72120}"/>
              </a:ext>
            </a:extLst>
          </p:cNvPr>
          <p:cNvSpPr txBox="1"/>
          <p:nvPr/>
        </p:nvSpPr>
        <p:spPr>
          <a:xfrm>
            <a:off x="899095" y="5930121"/>
            <a:ext cx="174727"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ATS</a:t>
            </a:r>
          </a:p>
        </p:txBody>
      </p:sp>
      <p:sp>
        <p:nvSpPr>
          <p:cNvPr id="25" name="Graphic 106" descr="Icon of a person">
            <a:extLst>
              <a:ext uri="{FF2B5EF4-FFF2-40B4-BE49-F238E27FC236}">
                <a16:creationId xmlns:a16="http://schemas.microsoft.com/office/drawing/2014/main" id="{4449ACC2-91E2-8913-7AC4-B03967649760}"/>
              </a:ext>
            </a:extLst>
          </p:cNvPr>
          <p:cNvSpPr/>
          <p:nvPr/>
        </p:nvSpPr>
        <p:spPr>
          <a:xfrm>
            <a:off x="5338481" y="569490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56" name="TextBox 155">
            <a:extLst>
              <a:ext uri="{FF2B5EF4-FFF2-40B4-BE49-F238E27FC236}">
                <a16:creationId xmlns:a16="http://schemas.microsoft.com/office/drawing/2014/main" id="{9443317F-79D2-93A9-2F88-5925319AC23E}"/>
              </a:ext>
            </a:extLst>
          </p:cNvPr>
          <p:cNvSpPr txBox="1"/>
          <p:nvPr/>
        </p:nvSpPr>
        <p:spPr>
          <a:xfrm>
            <a:off x="5340666" y="5930121"/>
            <a:ext cx="149080"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a:t>
            </a:r>
          </a:p>
        </p:txBody>
      </p:sp>
      <p:sp>
        <p:nvSpPr>
          <p:cNvPr id="24" name="Graphic 106" descr="Icon of a person">
            <a:extLst>
              <a:ext uri="{FF2B5EF4-FFF2-40B4-BE49-F238E27FC236}">
                <a16:creationId xmlns:a16="http://schemas.microsoft.com/office/drawing/2014/main" id="{8CA57D9B-8F22-44E9-0242-130C165B50F9}"/>
              </a:ext>
            </a:extLst>
          </p:cNvPr>
          <p:cNvSpPr/>
          <p:nvPr/>
        </p:nvSpPr>
        <p:spPr>
          <a:xfrm>
            <a:off x="5338478" y="451410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62" name="TextBox 161">
            <a:extLst>
              <a:ext uri="{FF2B5EF4-FFF2-40B4-BE49-F238E27FC236}">
                <a16:creationId xmlns:a16="http://schemas.microsoft.com/office/drawing/2014/main" id="{4E2C5FFC-09D4-586B-EACF-6511313EFABF}"/>
              </a:ext>
            </a:extLst>
          </p:cNvPr>
          <p:cNvSpPr txBox="1"/>
          <p:nvPr/>
        </p:nvSpPr>
        <p:spPr>
          <a:xfrm>
            <a:off x="5234062" y="4749316"/>
            <a:ext cx="362279"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rvices</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Seller</a:t>
            </a:r>
          </a:p>
        </p:txBody>
      </p:sp>
      <p:sp>
        <p:nvSpPr>
          <p:cNvPr id="163" name="Rectangle: Rounded Corners 162">
            <a:extLst>
              <a:ext uri="{FF2B5EF4-FFF2-40B4-BE49-F238E27FC236}">
                <a16:creationId xmlns:a16="http://schemas.microsoft.com/office/drawing/2014/main" id="{B5387219-460B-37C2-7A96-E6ADD28DADB3}"/>
              </a:ext>
              <a:ext uri="{C183D7F6-B498-43B3-948B-1728B52AA6E4}">
                <adec:decorative xmlns:adec="http://schemas.microsoft.com/office/drawing/2017/decorative" val="1"/>
              </a:ext>
            </a:extLst>
          </p:cNvPr>
          <p:cNvSpPr>
            <a:spLocks/>
          </p:cNvSpPr>
          <p:nvPr/>
        </p:nvSpPr>
        <p:spPr bwMode="auto">
          <a:xfrm>
            <a:off x="7237477" y="3023482"/>
            <a:ext cx="4291584" cy="3450978"/>
          </a:xfrm>
          <a:prstGeom prst="roundRect">
            <a:avLst>
              <a:gd name="adj" fmla="val 2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64" name="Rectangle: Top Corners Rounded 163">
            <a:extLst>
              <a:ext uri="{FF2B5EF4-FFF2-40B4-BE49-F238E27FC236}">
                <a16:creationId xmlns:a16="http://schemas.microsoft.com/office/drawing/2014/main" id="{E2E89BEC-EE71-985B-6011-A2ED544E22EE}"/>
              </a:ext>
            </a:extLst>
          </p:cNvPr>
          <p:cNvSpPr/>
          <p:nvPr/>
        </p:nvSpPr>
        <p:spPr bwMode="auto">
          <a:xfrm>
            <a:off x="7237477" y="3023482"/>
            <a:ext cx="4297298" cy="313303"/>
          </a:xfrm>
          <a:prstGeom prst="round2SameRect">
            <a:avLst>
              <a:gd name="adj1" fmla="val 23001"/>
              <a:gd name="adj2" fmla="val 0"/>
            </a:avLst>
          </a:prstGeom>
          <a:solidFill>
            <a:schemeClr val="accent1">
              <a:lumMod val="20000"/>
              <a:lumOff val="80000"/>
              <a:alpha val="4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Unified</a:t>
            </a:r>
          </a:p>
        </p:txBody>
      </p:sp>
      <p:sp>
        <p:nvSpPr>
          <p:cNvPr id="165" name="Rectangle: Rounded Corners 164">
            <a:extLst>
              <a:ext uri="{FF2B5EF4-FFF2-40B4-BE49-F238E27FC236}">
                <a16:creationId xmlns:a16="http://schemas.microsoft.com/office/drawing/2014/main" id="{52727679-9AA4-BB3E-AFE5-43FB579C9911}"/>
              </a:ext>
            </a:extLst>
          </p:cNvPr>
          <p:cNvSpPr>
            <a:spLocks/>
          </p:cNvSpPr>
          <p:nvPr/>
        </p:nvSpPr>
        <p:spPr bwMode="auto">
          <a:xfrm>
            <a:off x="7975953" y="3656433"/>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Drives Unified delivery aligned to Consumption Plan to accelerate Commit to Complete</a:t>
            </a:r>
          </a:p>
        </p:txBody>
      </p:sp>
      <p:sp>
        <p:nvSpPr>
          <p:cNvPr id="40" name="Graphic 106" descr="Icon of a person">
            <a:extLst>
              <a:ext uri="{FF2B5EF4-FFF2-40B4-BE49-F238E27FC236}">
                <a16:creationId xmlns:a16="http://schemas.microsoft.com/office/drawing/2014/main" id="{F6B29079-15B7-CF5C-8357-B501E3D319AD}"/>
              </a:ext>
            </a:extLst>
          </p:cNvPr>
          <p:cNvSpPr/>
          <p:nvPr/>
        </p:nvSpPr>
        <p:spPr>
          <a:xfrm>
            <a:off x="7529991" y="396624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68" name="TextBox 167">
            <a:extLst>
              <a:ext uri="{FF2B5EF4-FFF2-40B4-BE49-F238E27FC236}">
                <a16:creationId xmlns:a16="http://schemas.microsoft.com/office/drawing/2014/main" id="{C6160EA4-A2A6-34AE-42C3-96B009EE6C70}"/>
              </a:ext>
            </a:extLst>
          </p:cNvPr>
          <p:cNvSpPr txBox="1"/>
          <p:nvPr/>
        </p:nvSpPr>
        <p:spPr>
          <a:xfrm>
            <a:off x="7349434" y="4201461"/>
            <a:ext cx="514564"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SA,</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CAIP CSA**</a:t>
            </a:r>
          </a:p>
        </p:txBody>
      </p:sp>
      <p:sp>
        <p:nvSpPr>
          <p:cNvPr id="171" name="Rectangle: Rounded Corners 170">
            <a:extLst>
              <a:ext uri="{FF2B5EF4-FFF2-40B4-BE49-F238E27FC236}">
                <a16:creationId xmlns:a16="http://schemas.microsoft.com/office/drawing/2014/main" id="{9FB07F56-0985-A501-0020-CD93B4F9A618}"/>
              </a:ext>
            </a:extLst>
          </p:cNvPr>
          <p:cNvSpPr>
            <a:spLocks/>
          </p:cNvSpPr>
          <p:nvPr/>
        </p:nvSpPr>
        <p:spPr bwMode="auto">
          <a:xfrm>
            <a:off x="10085966" y="3656433"/>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Drive delivery and consumption</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Identify and generate signals leading to new pipeline identification (Job 2)</a:t>
            </a:r>
          </a:p>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Update Azure</a:t>
            </a:r>
            <a:br>
              <a:rPr kumimoji="0" lang="en-US" sz="700" b="0" i="0" u="none" strike="noStrike" kern="1200" cap="none" spc="0" normalizeH="0" baseline="0" noProof="0">
                <a:ln>
                  <a:noFill/>
                </a:ln>
                <a:solidFill>
                  <a:srgbClr val="000000"/>
                </a:solidFill>
                <a:effectLst/>
                <a:uLnTx/>
                <a:uFillTx/>
                <a:latin typeface="Segoe Sans Text"/>
                <a:ea typeface="+mn-ea"/>
                <a:cs typeface="+mn-cs"/>
              </a:rPr>
            </a:br>
            <a:r>
              <a:rPr kumimoji="0" lang="en-US" sz="700" b="0" i="0" u="none" strike="noStrike" kern="1200" cap="none" spc="0" normalizeH="0" baseline="0" noProof="0">
                <a:ln>
                  <a:noFill/>
                </a:ln>
                <a:solidFill>
                  <a:srgbClr val="000000"/>
                </a:solidFill>
                <a:effectLst/>
                <a:uLnTx/>
                <a:uFillTx/>
                <a:latin typeface="Segoe Sans Text"/>
                <a:ea typeface="+mn-ea"/>
                <a:cs typeface="+mn-cs"/>
              </a:rPr>
              <a:t>Consumption Plan</a:t>
            </a:r>
          </a:p>
        </p:txBody>
      </p:sp>
      <p:sp>
        <p:nvSpPr>
          <p:cNvPr id="175" name="Rectangle: Rounded Corners 174">
            <a:extLst>
              <a:ext uri="{FF2B5EF4-FFF2-40B4-BE49-F238E27FC236}">
                <a16:creationId xmlns:a16="http://schemas.microsoft.com/office/drawing/2014/main" id="{E9E87796-CA0A-86E6-0563-E41582090A1B}"/>
              </a:ext>
            </a:extLst>
          </p:cNvPr>
          <p:cNvSpPr>
            <a:spLocks/>
          </p:cNvSpPr>
          <p:nvPr/>
        </p:nvSpPr>
        <p:spPr bwMode="auto">
          <a:xfrm>
            <a:off x="7975953" y="5065447"/>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Orchestrates integration of MACC Consumption Plan with Customer Success Plan</a:t>
            </a:r>
          </a:p>
        </p:txBody>
      </p:sp>
      <p:sp>
        <p:nvSpPr>
          <p:cNvPr id="32" name="Graphic 106" descr="Icon of a person">
            <a:extLst>
              <a:ext uri="{FF2B5EF4-FFF2-40B4-BE49-F238E27FC236}">
                <a16:creationId xmlns:a16="http://schemas.microsoft.com/office/drawing/2014/main" id="{A68ED2AB-ADBF-5CCD-F278-E7676C120112}"/>
              </a:ext>
            </a:extLst>
          </p:cNvPr>
          <p:cNvSpPr/>
          <p:nvPr/>
        </p:nvSpPr>
        <p:spPr>
          <a:xfrm>
            <a:off x="7529988" y="5375258"/>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78" name="TextBox 177">
            <a:extLst>
              <a:ext uri="{FF2B5EF4-FFF2-40B4-BE49-F238E27FC236}">
                <a16:creationId xmlns:a16="http://schemas.microsoft.com/office/drawing/2014/main" id="{A3A5925D-154C-C6DF-3565-D58243F3E863}"/>
              </a:ext>
            </a:extLst>
          </p:cNvPr>
          <p:cNvSpPr txBox="1"/>
          <p:nvPr/>
        </p:nvSpPr>
        <p:spPr>
          <a:xfrm>
            <a:off x="7468855" y="5610473"/>
            <a:ext cx="275717"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SAM</a:t>
            </a:r>
          </a:p>
        </p:txBody>
      </p:sp>
      <p:sp>
        <p:nvSpPr>
          <p:cNvPr id="179" name="Rectangle: Rounded Corners 178">
            <a:extLst>
              <a:ext uri="{FF2B5EF4-FFF2-40B4-BE49-F238E27FC236}">
                <a16:creationId xmlns:a16="http://schemas.microsoft.com/office/drawing/2014/main" id="{54BBD6A1-62DF-13C1-52EE-961AF391E17E}"/>
              </a:ext>
            </a:extLst>
          </p:cNvPr>
          <p:cNvSpPr>
            <a:spLocks/>
          </p:cNvSpPr>
          <p:nvPr/>
        </p:nvSpPr>
        <p:spPr bwMode="auto">
          <a:xfrm>
            <a:off x="10085966" y="5065447"/>
            <a:ext cx="1361595" cy="1089366"/>
          </a:xfrm>
          <a:prstGeom prst="roundRect">
            <a:avLst>
              <a:gd name="adj" fmla="val 315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Drive solution health and proactive optimization</a:t>
            </a:r>
          </a:p>
        </p:txBody>
      </p:sp>
      <p:sp>
        <p:nvSpPr>
          <p:cNvPr id="42" name="Graphic 106" descr="Icon of a person">
            <a:extLst>
              <a:ext uri="{FF2B5EF4-FFF2-40B4-BE49-F238E27FC236}">
                <a16:creationId xmlns:a16="http://schemas.microsoft.com/office/drawing/2014/main" id="{37BC458F-01B4-6D44-A2D3-BE03A2368BDD}"/>
              </a:ext>
            </a:extLst>
          </p:cNvPr>
          <p:cNvSpPr/>
          <p:nvPr/>
        </p:nvSpPr>
        <p:spPr>
          <a:xfrm>
            <a:off x="9640002" y="5375258"/>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82" name="TextBox 181">
            <a:extLst>
              <a:ext uri="{FF2B5EF4-FFF2-40B4-BE49-F238E27FC236}">
                <a16:creationId xmlns:a16="http://schemas.microsoft.com/office/drawing/2014/main" id="{076090C0-2190-1BC3-3002-5BCA3708145F}"/>
              </a:ext>
            </a:extLst>
          </p:cNvPr>
          <p:cNvSpPr txBox="1"/>
          <p:nvPr/>
        </p:nvSpPr>
        <p:spPr>
          <a:xfrm>
            <a:off x="9578866" y="5610473"/>
            <a:ext cx="275717"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SAM</a:t>
            </a:r>
          </a:p>
        </p:txBody>
      </p:sp>
      <p:sp>
        <p:nvSpPr>
          <p:cNvPr id="41" name="Graphic 106" descr="Icon of a person">
            <a:extLst>
              <a:ext uri="{FF2B5EF4-FFF2-40B4-BE49-F238E27FC236}">
                <a16:creationId xmlns:a16="http://schemas.microsoft.com/office/drawing/2014/main" id="{44D0BCB8-7200-E6E5-B947-A1192660CD42}"/>
              </a:ext>
            </a:extLst>
          </p:cNvPr>
          <p:cNvSpPr/>
          <p:nvPr/>
        </p:nvSpPr>
        <p:spPr>
          <a:xfrm>
            <a:off x="9640003" y="3966246"/>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96" name="TextBox 195">
            <a:extLst>
              <a:ext uri="{FF2B5EF4-FFF2-40B4-BE49-F238E27FC236}">
                <a16:creationId xmlns:a16="http://schemas.microsoft.com/office/drawing/2014/main" id="{1B9AF17E-BF0A-5253-F96F-6136F35D010D}"/>
              </a:ext>
            </a:extLst>
          </p:cNvPr>
          <p:cNvSpPr txBox="1"/>
          <p:nvPr/>
        </p:nvSpPr>
        <p:spPr>
          <a:xfrm>
            <a:off x="9459446" y="4201461"/>
            <a:ext cx="514563"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lvl="0" algn="ctr">
              <a:spcAft>
                <a:spcPts val="300"/>
              </a:spcAf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SA,</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lang="en-US" sz="800">
                <a:solidFill>
                  <a:srgbClr val="000000"/>
                </a:solidFill>
              </a:rPr>
              <a:t>CAIP</a:t>
            </a:r>
            <a:r>
              <a:rPr kumimoji="0" lang="en-US" sz="800" b="0" i="0" u="none" strike="noStrike" kern="1200" cap="none" spc="0" normalizeH="0" baseline="0" noProof="0">
                <a:ln>
                  <a:noFill/>
                </a:ln>
                <a:solidFill>
                  <a:srgbClr val="000000"/>
                </a:solidFill>
                <a:effectLst/>
                <a:uLnTx/>
                <a:uFillTx/>
                <a:latin typeface="Segoe Sans Text"/>
                <a:ea typeface="+mn-ea"/>
                <a:cs typeface="+mn-cs"/>
              </a:rPr>
              <a:t> CSA**</a:t>
            </a:r>
          </a:p>
        </p:txBody>
      </p:sp>
      <p:sp>
        <p:nvSpPr>
          <p:cNvPr id="197" name="TextBox 196">
            <a:extLst>
              <a:ext uri="{FF2B5EF4-FFF2-40B4-BE49-F238E27FC236}">
                <a16:creationId xmlns:a16="http://schemas.microsoft.com/office/drawing/2014/main" id="{A2010060-B694-3411-B394-41580FF25341}"/>
              </a:ext>
            </a:extLst>
          </p:cNvPr>
          <p:cNvSpPr txBox="1"/>
          <p:nvPr/>
        </p:nvSpPr>
        <p:spPr>
          <a:xfrm>
            <a:off x="632776" y="6600285"/>
            <a:ext cx="10303329"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 Pod Lead: SE with strongest affinity to Customer priorities. **”Cloud &amp; AI” CSA on subset of </a:t>
            </a:r>
            <a:r>
              <a:rPr kumimoji="0" lang="en-US" sz="800" b="0" i="0" u="none" strike="noStrike" kern="1200" cap="none" spc="0" normalizeH="0" baseline="0" noProof="0" err="1">
                <a:ln>
                  <a:noFill/>
                </a:ln>
                <a:solidFill>
                  <a:srgbClr val="000000"/>
                </a:solidFill>
                <a:effectLst/>
                <a:uLnTx/>
                <a:uFillTx/>
                <a:latin typeface="Segoe Sans Text"/>
                <a:ea typeface="+mn-ea"/>
                <a:cs typeface="+mn-cs"/>
              </a:rPr>
              <a:t>MACC+Unified</a:t>
            </a:r>
            <a:r>
              <a:rPr kumimoji="0" lang="en-US" sz="800" b="0" i="0" u="none" strike="noStrike" kern="1200" cap="none" spc="0" normalizeH="0" baseline="0" noProof="0">
                <a:ln>
                  <a:noFill/>
                </a:ln>
                <a:solidFill>
                  <a:srgbClr val="000000"/>
                </a:solidFill>
                <a:effectLst/>
                <a:uLnTx/>
                <a:uFillTx/>
                <a:latin typeface="Segoe Sans Text"/>
                <a:ea typeface="+mn-ea"/>
                <a:cs typeface="+mn-cs"/>
              </a:rPr>
              <a:t> accounts. </a:t>
            </a:r>
          </a:p>
        </p:txBody>
      </p:sp>
      <p:sp>
        <p:nvSpPr>
          <p:cNvPr id="17" name="Graphic 106" descr="Icon of a person">
            <a:extLst>
              <a:ext uri="{FF2B5EF4-FFF2-40B4-BE49-F238E27FC236}">
                <a16:creationId xmlns:a16="http://schemas.microsoft.com/office/drawing/2014/main" id="{0221EAC1-461A-38F4-9892-5EBB61F488DB}"/>
              </a:ext>
            </a:extLst>
          </p:cNvPr>
          <p:cNvSpPr/>
          <p:nvPr/>
        </p:nvSpPr>
        <p:spPr>
          <a:xfrm>
            <a:off x="909734" y="3333295"/>
            <a:ext cx="153444" cy="191754"/>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4" name="Rectangle 3">
            <a:extLst>
              <a:ext uri="{FF2B5EF4-FFF2-40B4-BE49-F238E27FC236}">
                <a16:creationId xmlns:a16="http://schemas.microsoft.com/office/drawing/2014/main" id="{64EB4DC8-D461-6329-5F1E-C591D6574F5B}"/>
              </a:ext>
            </a:extLst>
          </p:cNvPr>
          <p:cNvSpPr/>
          <p:nvPr/>
        </p:nvSpPr>
        <p:spPr bwMode="auto">
          <a:xfrm>
            <a:off x="7146036" y="2462178"/>
            <a:ext cx="4565904" cy="4103722"/>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C58C0460-3AA2-8A6D-A567-083A07176958}"/>
              </a:ext>
              <a:ext uri="{C183D7F6-B498-43B3-948B-1728B52AA6E4}">
                <adec:decorative xmlns:adec="http://schemas.microsoft.com/office/drawing/2017/decorative" val="1"/>
              </a:ext>
            </a:extLst>
          </p:cNvPr>
          <p:cNvGrpSpPr/>
          <p:nvPr/>
        </p:nvGrpSpPr>
        <p:grpSpPr>
          <a:xfrm>
            <a:off x="-12700" y="3137432"/>
            <a:ext cx="345758" cy="2873086"/>
            <a:chOff x="-12701" y="2953256"/>
            <a:chExt cx="395877" cy="3289555"/>
          </a:xfrm>
          <a:solidFill>
            <a:schemeClr val="bg1">
              <a:lumMod val="65000"/>
            </a:schemeClr>
          </a:solidFill>
        </p:grpSpPr>
        <p:sp>
          <p:nvSpPr>
            <p:cNvPr id="3" name="Graphic 57">
              <a:extLst>
                <a:ext uri="{FF2B5EF4-FFF2-40B4-BE49-F238E27FC236}">
                  <a16:creationId xmlns:a16="http://schemas.microsoft.com/office/drawing/2014/main" id="{C7C842F5-DC67-1823-1009-60CDFB6C2F21}"/>
                </a:ext>
                <a:ext uri="{C183D7F6-B498-43B3-948B-1728B52AA6E4}">
                  <adec:decorative xmlns:adec="http://schemas.microsoft.com/office/drawing/2017/decorative" val="1"/>
                </a:ext>
              </a:extLst>
            </p:cNvPr>
            <p:cNvSpPr/>
            <p:nvPr/>
          </p:nvSpPr>
          <p:spPr>
            <a:xfrm>
              <a:off x="-12701" y="2953256"/>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accent1"/>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MACC</a:t>
              </a:r>
            </a:p>
          </p:txBody>
        </p:sp>
        <p:sp>
          <p:nvSpPr>
            <p:cNvPr id="6" name="Graphic 57">
              <a:extLst>
                <a:ext uri="{FF2B5EF4-FFF2-40B4-BE49-F238E27FC236}">
                  <a16:creationId xmlns:a16="http://schemas.microsoft.com/office/drawing/2014/main" id="{83B33B8F-3053-40DD-BA53-3500B4433BA1}"/>
                </a:ext>
              </a:extLst>
            </p:cNvPr>
            <p:cNvSpPr/>
            <p:nvPr/>
          </p:nvSpPr>
          <p:spPr>
            <a:xfrm>
              <a:off x="-12701" y="3788451"/>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rgbClr val="A6A6A6"/>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CSU/Unified</a:t>
              </a:r>
            </a:p>
          </p:txBody>
        </p:sp>
        <p:sp>
          <p:nvSpPr>
            <p:cNvPr id="7" name="Graphic 57">
              <a:extLst>
                <a:ext uri="{FF2B5EF4-FFF2-40B4-BE49-F238E27FC236}">
                  <a16:creationId xmlns:a16="http://schemas.microsoft.com/office/drawing/2014/main" id="{C7C4608C-393B-FFDA-66B2-22FF374A757A}"/>
                </a:ext>
              </a:extLst>
            </p:cNvPr>
            <p:cNvSpPr/>
            <p:nvPr/>
          </p:nvSpPr>
          <p:spPr>
            <a:xfrm>
              <a:off x="-12701" y="4623645"/>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grp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Security</a:t>
              </a:r>
            </a:p>
          </p:txBody>
        </p:sp>
        <p:sp>
          <p:nvSpPr>
            <p:cNvPr id="8" name="Graphic 57">
              <a:extLst>
                <a:ext uri="{FF2B5EF4-FFF2-40B4-BE49-F238E27FC236}">
                  <a16:creationId xmlns:a16="http://schemas.microsoft.com/office/drawing/2014/main" id="{9E145E55-3FE6-9063-CFA9-C8CD3818FC37}"/>
                </a:ext>
              </a:extLst>
            </p:cNvPr>
            <p:cNvSpPr/>
            <p:nvPr/>
          </p:nvSpPr>
          <p:spPr>
            <a:xfrm>
              <a:off x="-12701" y="5458840"/>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rgbClr val="A6A6A6"/>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GitHub</a:t>
              </a:r>
            </a:p>
          </p:txBody>
        </p:sp>
      </p:grpSp>
      <p:grpSp>
        <p:nvGrpSpPr>
          <p:cNvPr id="9" name="Group 8">
            <a:extLst>
              <a:ext uri="{FF2B5EF4-FFF2-40B4-BE49-F238E27FC236}">
                <a16:creationId xmlns:a16="http://schemas.microsoft.com/office/drawing/2014/main" id="{65B2BEEB-936E-93F7-1469-DA9276B2C683}"/>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0" name="Table 2 Cell 1, 1 to Text">
              <a:extLst>
                <a:ext uri="{FF2B5EF4-FFF2-40B4-BE49-F238E27FC236}">
                  <a16:creationId xmlns:a16="http://schemas.microsoft.com/office/drawing/2014/main" id="{FC6CF1E2-1B8F-42D9-755F-F572DDFF1ECE}"/>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1" name="Table 2 Cell 2, 1 to Text">
              <a:extLst>
                <a:ext uri="{FF2B5EF4-FFF2-40B4-BE49-F238E27FC236}">
                  <a16:creationId xmlns:a16="http://schemas.microsoft.com/office/drawing/2014/main" id="{A2129668-77DB-DE49-6263-E5F7CC7394D9}"/>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12" name="Table 2 Cell 3, 1 to Text">
              <a:extLst>
                <a:ext uri="{FF2B5EF4-FFF2-40B4-BE49-F238E27FC236}">
                  <a16:creationId xmlns:a16="http://schemas.microsoft.com/office/drawing/2014/main" id="{76EC2675-C8D1-AE5D-0343-A77429EAB200}"/>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3" name="Table 2 Cell 4, 1 to Text">
              <a:extLst>
                <a:ext uri="{FF2B5EF4-FFF2-40B4-BE49-F238E27FC236}">
                  <a16:creationId xmlns:a16="http://schemas.microsoft.com/office/drawing/2014/main" id="{8E2860AD-6287-1F00-44BA-CD31CBA2553F}"/>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4" name="Table 2 Cell 5, 1 to Text">
              <a:extLst>
                <a:ext uri="{FF2B5EF4-FFF2-40B4-BE49-F238E27FC236}">
                  <a16:creationId xmlns:a16="http://schemas.microsoft.com/office/drawing/2014/main" id="{93A47E3C-CDC6-1DA8-A307-355C70F61C10}"/>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5" name="Table 2 Cell 6, 1 to Text">
              <a:extLst>
                <a:ext uri="{FF2B5EF4-FFF2-40B4-BE49-F238E27FC236}">
                  <a16:creationId xmlns:a16="http://schemas.microsoft.com/office/drawing/2014/main" id="{D18F8194-18AB-E48A-53A7-40DA526986B0}"/>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6" name="Table 2 Cell 7, 1 to Text">
              <a:extLst>
                <a:ext uri="{FF2B5EF4-FFF2-40B4-BE49-F238E27FC236}">
                  <a16:creationId xmlns:a16="http://schemas.microsoft.com/office/drawing/2014/main" id="{F09E0B13-127B-097A-29D4-074161C8B2FF}"/>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5" name="Table 2 Cell 1, 2 to Text">
              <a:extLst>
                <a:ext uri="{FF2B5EF4-FFF2-40B4-BE49-F238E27FC236}">
                  <a16:creationId xmlns:a16="http://schemas.microsoft.com/office/drawing/2014/main" id="{4B589462-DD1D-DDA1-ECF8-7EF063C38931}"/>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46" name="Table 2 Cell 1, 3 to Text">
              <a:extLst>
                <a:ext uri="{FF2B5EF4-FFF2-40B4-BE49-F238E27FC236}">
                  <a16:creationId xmlns:a16="http://schemas.microsoft.com/office/drawing/2014/main" id="{136031F7-3328-6C3F-7EEE-640AB56D155D}"/>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51" name="Table 2 Cell 1, 4 to Text">
              <a:extLst>
                <a:ext uri="{FF2B5EF4-FFF2-40B4-BE49-F238E27FC236}">
                  <a16:creationId xmlns:a16="http://schemas.microsoft.com/office/drawing/2014/main" id="{159632CF-5869-543D-A65A-B8E399BEA4EF}"/>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52" name="Table 2 Cell 1, 5 to Text">
              <a:extLst>
                <a:ext uri="{FF2B5EF4-FFF2-40B4-BE49-F238E27FC236}">
                  <a16:creationId xmlns:a16="http://schemas.microsoft.com/office/drawing/2014/main" id="{1C6BBF9D-3693-2BBA-9AF3-28F03F4112F0}"/>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53" name="Table 2 Cell 1, 6 to Text">
              <a:extLst>
                <a:ext uri="{FF2B5EF4-FFF2-40B4-BE49-F238E27FC236}">
                  <a16:creationId xmlns:a16="http://schemas.microsoft.com/office/drawing/2014/main" id="{ED1838E5-830E-8F54-3277-35E63028481C}"/>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54" name="Table 2 Cell 1, 7 to Text">
              <a:extLst>
                <a:ext uri="{FF2B5EF4-FFF2-40B4-BE49-F238E27FC236}">
                  <a16:creationId xmlns:a16="http://schemas.microsoft.com/office/drawing/2014/main" id="{FD75BE0C-B981-A819-1588-9491CB38E6D2}"/>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6 KPIs &amp; Outcomes</a:t>
              </a:r>
            </a:p>
          </p:txBody>
        </p:sp>
        <p:sp>
          <p:nvSpPr>
            <p:cNvPr id="55" name="Table 2 Cell 1, 8 to Text">
              <a:extLst>
                <a:ext uri="{FF2B5EF4-FFF2-40B4-BE49-F238E27FC236}">
                  <a16:creationId xmlns:a16="http://schemas.microsoft.com/office/drawing/2014/main" id="{B49D1729-4FFC-F7B5-8EEB-05897F0ED7FF}"/>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chemeClr val="bg1"/>
                  </a:solidFill>
                </a:rPr>
                <a:t>2.7 Orchestration</a:t>
              </a:r>
            </a:p>
          </p:txBody>
        </p:sp>
      </p:grpSp>
    </p:spTree>
    <p:extLst>
      <p:ext uri="{BB962C8B-B14F-4D97-AF65-F5344CB8AC3E}">
        <p14:creationId xmlns:p14="http://schemas.microsoft.com/office/powerpoint/2010/main" val="140318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56D0E5-BC42-81E8-60FB-8454712F4932}"/>
            </a:ext>
          </a:extLst>
        </p:cNvPr>
        <p:cNvGrpSpPr/>
        <p:nvPr/>
      </p:nvGrpSpPr>
      <p:grpSpPr>
        <a:xfrm>
          <a:off x="0" y="0"/>
          <a:ext cx="0" cy="0"/>
          <a:chOff x="0" y="0"/>
          <a:chExt cx="0" cy="0"/>
        </a:xfrm>
      </p:grpSpPr>
      <p:sp>
        <p:nvSpPr>
          <p:cNvPr id="2217" name="Rectangle: Rounded Corners 2216">
            <a:extLst>
              <a:ext uri="{FF2B5EF4-FFF2-40B4-BE49-F238E27FC236}">
                <a16:creationId xmlns:a16="http://schemas.microsoft.com/office/drawing/2014/main" id="{FC7C8530-508E-12FB-9BE8-5CAAD93840B8}"/>
              </a:ext>
              <a:ext uri="{C183D7F6-B498-43B3-948B-1728B52AA6E4}">
                <adec:decorative xmlns:adec="http://schemas.microsoft.com/office/drawing/2017/decorative" val="1"/>
              </a:ext>
            </a:extLst>
          </p:cNvPr>
          <p:cNvSpPr>
            <a:spLocks/>
          </p:cNvSpPr>
          <p:nvPr/>
        </p:nvSpPr>
        <p:spPr bwMode="auto">
          <a:xfrm>
            <a:off x="571500" y="3023482"/>
            <a:ext cx="2679700" cy="3245556"/>
          </a:xfrm>
          <a:prstGeom prst="roundRect">
            <a:avLst>
              <a:gd name="adj" fmla="val 3159"/>
            </a:avLst>
          </a:prstGeom>
          <a:solidFill>
            <a:schemeClr val="accent1">
              <a:lumMod val="20000"/>
              <a:lumOff val="80000"/>
              <a:alpha val="4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 name="Rectangle 5">
            <a:extLst>
              <a:ext uri="{FF2B5EF4-FFF2-40B4-BE49-F238E27FC236}">
                <a16:creationId xmlns:a16="http://schemas.microsoft.com/office/drawing/2014/main" id="{69550F7D-0E54-6EBA-C9FC-AC1F66AC5CCB}"/>
              </a:ext>
            </a:extLst>
          </p:cNvPr>
          <p:cNvSpPr/>
          <p:nvPr/>
        </p:nvSpPr>
        <p:spPr bwMode="auto">
          <a:xfrm>
            <a:off x="0" y="1049338"/>
            <a:ext cx="12192000" cy="134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139700" marR="0" lvl="0" indent="-139700"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U Leader in the field is accountable for Commit to Close for both Unified and non-Unified</a:t>
            </a:r>
          </a:p>
          <a:p>
            <a:pPr marL="139700" marR="0" lvl="0" indent="-139700"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A managers prioritize and balance between customer funded, Factory, and CSU Invested CSA time</a:t>
            </a:r>
          </a:p>
          <a:p>
            <a:pPr marL="139700" marR="0" lvl="0" indent="-139700"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Sans Text"/>
                <a:ea typeface="+mn-ea"/>
                <a:cs typeface="+mn-cs"/>
              </a:rPr>
              <a:t>CSAs will drive hands-on engagement in Unified accounts and where applicable, oversight for risk mitigation in non-Unified accounts</a:t>
            </a:r>
          </a:p>
          <a:p>
            <a:pPr marL="139700" marR="0" lvl="0" indent="-139700"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Factory available through Azure Accelerate to all customer regardless of Unified status</a:t>
            </a:r>
          </a:p>
          <a:p>
            <a:pPr marL="139700" marR="0" lvl="0" indent="-139700"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Orchestration will remain the same at the SME&amp;C segment</a:t>
            </a:r>
          </a:p>
        </p:txBody>
      </p:sp>
      <p:sp>
        <p:nvSpPr>
          <p:cNvPr id="7" name="Title 1">
            <a:extLst>
              <a:ext uri="{FF2B5EF4-FFF2-40B4-BE49-F238E27FC236}">
                <a16:creationId xmlns:a16="http://schemas.microsoft.com/office/drawing/2014/main" id="{87CA3173-C10B-F21A-24AD-B55D8D2217D1}"/>
              </a:ext>
            </a:extLst>
          </p:cNvPr>
          <p:cNvSpPr>
            <a:spLocks noGrp="1"/>
          </p:cNvSpPr>
          <p:nvPr>
            <p:ph type="title"/>
          </p:nvPr>
        </p:nvSpPr>
        <p:spPr/>
        <p:txBody>
          <a:bodyPr>
            <a:noAutofit/>
          </a:bodyPr>
          <a:lstStyle/>
          <a:p>
            <a:r>
              <a:rPr lang="en-US" sz="2800">
                <a:ea typeface="+mj-ea"/>
                <a:cs typeface="+mj-cs"/>
              </a:rPr>
              <a:t>Unified vs Non-Unified – CSU Orchestration &amp; Coverage</a:t>
            </a:r>
          </a:p>
        </p:txBody>
      </p:sp>
      <p:grpSp>
        <p:nvGrpSpPr>
          <p:cNvPr id="2950" name="Group 2949">
            <a:extLst>
              <a:ext uri="{FF2B5EF4-FFF2-40B4-BE49-F238E27FC236}">
                <a16:creationId xmlns:a16="http://schemas.microsoft.com/office/drawing/2014/main" id="{2A2A811A-B583-584A-018C-F7CD36208B14}"/>
              </a:ext>
              <a:ext uri="{C183D7F6-B498-43B3-948B-1728B52AA6E4}">
                <adec:decorative xmlns:adec="http://schemas.microsoft.com/office/drawing/2017/decorative" val="1"/>
              </a:ext>
            </a:extLst>
          </p:cNvPr>
          <p:cNvGrpSpPr/>
          <p:nvPr/>
        </p:nvGrpSpPr>
        <p:grpSpPr>
          <a:xfrm>
            <a:off x="-12700" y="3137432"/>
            <a:ext cx="345758" cy="2873086"/>
            <a:chOff x="-12701" y="2953256"/>
            <a:chExt cx="395877" cy="3289555"/>
          </a:xfrm>
          <a:solidFill>
            <a:schemeClr val="bg1">
              <a:lumMod val="65000"/>
            </a:schemeClr>
          </a:solidFill>
        </p:grpSpPr>
        <p:sp>
          <p:nvSpPr>
            <p:cNvPr id="2951" name="Graphic 57">
              <a:extLst>
                <a:ext uri="{FF2B5EF4-FFF2-40B4-BE49-F238E27FC236}">
                  <a16:creationId xmlns:a16="http://schemas.microsoft.com/office/drawing/2014/main" id="{DF0C0FCE-9701-4FB3-C8E1-A6FCCBB97996}"/>
                </a:ext>
                <a:ext uri="{C183D7F6-B498-43B3-948B-1728B52AA6E4}">
                  <adec:decorative xmlns:adec="http://schemas.microsoft.com/office/drawing/2017/decorative" val="1"/>
                </a:ext>
              </a:extLst>
            </p:cNvPr>
            <p:cNvSpPr/>
            <p:nvPr/>
          </p:nvSpPr>
          <p:spPr>
            <a:xfrm>
              <a:off x="-12701" y="2953256"/>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bg1">
                <a:lumMod val="65000"/>
              </a:schemeClr>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MACC</a:t>
              </a:r>
            </a:p>
          </p:txBody>
        </p:sp>
        <p:sp>
          <p:nvSpPr>
            <p:cNvPr id="2952" name="Graphic 57">
              <a:extLst>
                <a:ext uri="{FF2B5EF4-FFF2-40B4-BE49-F238E27FC236}">
                  <a16:creationId xmlns:a16="http://schemas.microsoft.com/office/drawing/2014/main" id="{F7FE3382-F737-E573-159F-F6334844C31F}"/>
                </a:ext>
              </a:extLst>
            </p:cNvPr>
            <p:cNvSpPr/>
            <p:nvPr/>
          </p:nvSpPr>
          <p:spPr>
            <a:xfrm>
              <a:off x="-12701" y="3788451"/>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accent1"/>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CSU/Unified</a:t>
              </a:r>
            </a:p>
          </p:txBody>
        </p:sp>
        <p:sp>
          <p:nvSpPr>
            <p:cNvPr id="2954" name="Graphic 57">
              <a:extLst>
                <a:ext uri="{FF2B5EF4-FFF2-40B4-BE49-F238E27FC236}">
                  <a16:creationId xmlns:a16="http://schemas.microsoft.com/office/drawing/2014/main" id="{D739C20C-EB32-644C-B423-68BEA26C8FF0}"/>
                </a:ext>
              </a:extLst>
            </p:cNvPr>
            <p:cNvSpPr/>
            <p:nvPr/>
          </p:nvSpPr>
          <p:spPr>
            <a:xfrm>
              <a:off x="-12701" y="4623645"/>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grp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Security</a:t>
              </a:r>
            </a:p>
          </p:txBody>
        </p:sp>
        <p:sp>
          <p:nvSpPr>
            <p:cNvPr id="2955" name="Graphic 57">
              <a:extLst>
                <a:ext uri="{FF2B5EF4-FFF2-40B4-BE49-F238E27FC236}">
                  <a16:creationId xmlns:a16="http://schemas.microsoft.com/office/drawing/2014/main" id="{4752B542-DAB0-111F-4FC9-3D255A887B23}"/>
                </a:ext>
              </a:extLst>
            </p:cNvPr>
            <p:cNvSpPr/>
            <p:nvPr/>
          </p:nvSpPr>
          <p:spPr>
            <a:xfrm>
              <a:off x="-12701" y="5458840"/>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grp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GitHub</a:t>
              </a:r>
            </a:p>
          </p:txBody>
        </p:sp>
      </p:grpSp>
      <p:sp>
        <p:nvSpPr>
          <p:cNvPr id="2956" name="Rectangle: Rounded Corners 2955">
            <a:extLst>
              <a:ext uri="{FF2B5EF4-FFF2-40B4-BE49-F238E27FC236}">
                <a16:creationId xmlns:a16="http://schemas.microsoft.com/office/drawing/2014/main" id="{3FAA23EA-79C2-65E9-A477-E98285ED420E}"/>
              </a:ext>
              <a:ext uri="{C183D7F6-B498-43B3-948B-1728B52AA6E4}">
                <adec:decorative xmlns:adec="http://schemas.microsoft.com/office/drawing/2017/decorative" val="1"/>
              </a:ext>
            </a:extLst>
          </p:cNvPr>
          <p:cNvSpPr>
            <a:spLocks/>
          </p:cNvSpPr>
          <p:nvPr/>
        </p:nvSpPr>
        <p:spPr bwMode="auto">
          <a:xfrm>
            <a:off x="3037332" y="2527300"/>
            <a:ext cx="8583168" cy="3835400"/>
          </a:xfrm>
          <a:prstGeom prst="roundRect">
            <a:avLst>
              <a:gd name="adj" fmla="val 2748"/>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90" name="Rectangle: Rounded Corners 2189">
            <a:extLst>
              <a:ext uri="{FF2B5EF4-FFF2-40B4-BE49-F238E27FC236}">
                <a16:creationId xmlns:a16="http://schemas.microsoft.com/office/drawing/2014/main" id="{89C8E06C-18E6-5A3E-7C5D-4DEA7980330D}"/>
              </a:ext>
            </a:extLst>
          </p:cNvPr>
          <p:cNvSpPr>
            <a:spLocks/>
          </p:cNvSpPr>
          <p:nvPr/>
        </p:nvSpPr>
        <p:spPr bwMode="auto">
          <a:xfrm>
            <a:off x="3128772" y="2618740"/>
            <a:ext cx="2031492" cy="313303"/>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Inspire &amp; Design</a:t>
            </a:r>
          </a:p>
        </p:txBody>
      </p:sp>
      <p:sp>
        <p:nvSpPr>
          <p:cNvPr id="2191" name="Rectangle: Rounded Corners 2190">
            <a:extLst>
              <a:ext uri="{FF2B5EF4-FFF2-40B4-BE49-F238E27FC236}">
                <a16:creationId xmlns:a16="http://schemas.microsoft.com/office/drawing/2014/main" id="{DC4C4C81-22E1-9275-A3E2-32B91095DFAF}"/>
              </a:ext>
            </a:extLst>
          </p:cNvPr>
          <p:cNvSpPr>
            <a:spLocks/>
          </p:cNvSpPr>
          <p:nvPr/>
        </p:nvSpPr>
        <p:spPr bwMode="auto">
          <a:xfrm>
            <a:off x="5251704" y="2618740"/>
            <a:ext cx="2031492" cy="313303"/>
          </a:xfrm>
          <a:prstGeom prst="roundRect">
            <a:avLst>
              <a:gd name="adj" fmla="val 172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Empower &amp; Achieve</a:t>
            </a:r>
          </a:p>
        </p:txBody>
      </p:sp>
      <p:sp>
        <p:nvSpPr>
          <p:cNvPr id="2192" name="Rectangle: Rounded Corners 2191">
            <a:extLst>
              <a:ext uri="{FF2B5EF4-FFF2-40B4-BE49-F238E27FC236}">
                <a16:creationId xmlns:a16="http://schemas.microsoft.com/office/drawing/2014/main" id="{330501BF-F232-8769-DF7B-6BBC3F2FFC07}"/>
              </a:ext>
            </a:extLst>
          </p:cNvPr>
          <p:cNvSpPr>
            <a:spLocks/>
          </p:cNvSpPr>
          <p:nvPr/>
        </p:nvSpPr>
        <p:spPr bwMode="auto">
          <a:xfrm>
            <a:off x="7374636" y="2618740"/>
            <a:ext cx="2031492" cy="313303"/>
          </a:xfrm>
          <a:prstGeom prst="roundRect">
            <a:avLst>
              <a:gd name="adj" fmla="val 17263"/>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Realize Value</a:t>
            </a:r>
          </a:p>
        </p:txBody>
      </p:sp>
      <p:sp>
        <p:nvSpPr>
          <p:cNvPr id="2193" name="Rectangle: Rounded Corners 2192">
            <a:extLst>
              <a:ext uri="{FF2B5EF4-FFF2-40B4-BE49-F238E27FC236}">
                <a16:creationId xmlns:a16="http://schemas.microsoft.com/office/drawing/2014/main" id="{00390F88-2EAA-E2F8-8782-BCDF952FF3F1}"/>
              </a:ext>
            </a:extLst>
          </p:cNvPr>
          <p:cNvSpPr>
            <a:spLocks/>
          </p:cNvSpPr>
          <p:nvPr/>
        </p:nvSpPr>
        <p:spPr bwMode="auto">
          <a:xfrm>
            <a:off x="9497568" y="2618740"/>
            <a:ext cx="2031492" cy="313303"/>
          </a:xfrm>
          <a:prstGeom prst="roundRect">
            <a:avLst>
              <a:gd name="adj" fmla="val 17263"/>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Managed &amp; Optimize</a:t>
            </a:r>
          </a:p>
        </p:txBody>
      </p:sp>
      <p:sp>
        <p:nvSpPr>
          <p:cNvPr id="2199" name="Rectangle: Rounded Corners 2198">
            <a:extLst>
              <a:ext uri="{FF2B5EF4-FFF2-40B4-BE49-F238E27FC236}">
                <a16:creationId xmlns:a16="http://schemas.microsoft.com/office/drawing/2014/main" id="{0B816B2D-3058-A9E2-C9BD-E50F5B9BCBB2}"/>
              </a:ext>
              <a:ext uri="{C183D7F6-B498-43B3-948B-1728B52AA6E4}">
                <adec:decorative xmlns:adec="http://schemas.microsoft.com/office/drawing/2017/decorative" val="1"/>
              </a:ext>
            </a:extLst>
          </p:cNvPr>
          <p:cNvSpPr/>
          <p:nvPr/>
        </p:nvSpPr>
        <p:spPr bwMode="auto">
          <a:xfrm>
            <a:off x="3128772" y="3023483"/>
            <a:ext cx="8400288" cy="1578169"/>
          </a:xfrm>
          <a:prstGeom prst="roundRect">
            <a:avLst>
              <a:gd name="adj" fmla="val 52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2200" name="Rectangle: Rounded Corners 2199">
            <a:extLst>
              <a:ext uri="{FF2B5EF4-FFF2-40B4-BE49-F238E27FC236}">
                <a16:creationId xmlns:a16="http://schemas.microsoft.com/office/drawing/2014/main" id="{4A72E1D8-038D-49A8-E480-7D0512EEFDA1}"/>
              </a:ext>
              <a:ext uri="{C183D7F6-B498-43B3-948B-1728B52AA6E4}">
                <adec:decorative xmlns:adec="http://schemas.microsoft.com/office/drawing/2017/decorative" val="1"/>
              </a:ext>
            </a:extLst>
          </p:cNvPr>
          <p:cNvSpPr/>
          <p:nvPr/>
        </p:nvSpPr>
        <p:spPr bwMode="auto">
          <a:xfrm>
            <a:off x="3128772" y="4693091"/>
            <a:ext cx="8400288" cy="1578169"/>
          </a:xfrm>
          <a:prstGeom prst="roundRect">
            <a:avLst>
              <a:gd name="adj" fmla="val 52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cxnSp>
        <p:nvCxnSpPr>
          <p:cNvPr id="2219" name="Straight Connector 2218">
            <a:extLst>
              <a:ext uri="{FF2B5EF4-FFF2-40B4-BE49-F238E27FC236}">
                <a16:creationId xmlns:a16="http://schemas.microsoft.com/office/drawing/2014/main" id="{D113034B-3FA9-459F-5E8E-B07BB31E47F9}"/>
              </a:ext>
              <a:ext uri="{C183D7F6-B498-43B3-948B-1728B52AA6E4}">
                <adec:decorative xmlns:adec="http://schemas.microsoft.com/office/drawing/2017/decorative" val="1"/>
              </a:ext>
            </a:extLst>
          </p:cNvPr>
          <p:cNvCxnSpPr>
            <a:cxnSpLocks/>
          </p:cNvCxnSpPr>
          <p:nvPr/>
        </p:nvCxnSpPr>
        <p:spPr>
          <a:xfrm flipV="1">
            <a:off x="685800" y="4646260"/>
            <a:ext cx="2255040" cy="0"/>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76" name="Rectangle: Rounded Corners 2975">
            <a:extLst>
              <a:ext uri="{FF2B5EF4-FFF2-40B4-BE49-F238E27FC236}">
                <a16:creationId xmlns:a16="http://schemas.microsoft.com/office/drawing/2014/main" id="{01952DC6-F3D1-7468-40A1-DD508791ED36}"/>
              </a:ext>
            </a:extLst>
          </p:cNvPr>
          <p:cNvSpPr/>
          <p:nvPr/>
        </p:nvSpPr>
        <p:spPr bwMode="auto">
          <a:xfrm>
            <a:off x="662940" y="3114921"/>
            <a:ext cx="1556385" cy="1393067"/>
          </a:xfrm>
          <a:prstGeom prst="roundRect">
            <a:avLst>
              <a:gd name="adj" fmla="val 407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A446F"/>
                </a:solidFill>
                <a:effectLst/>
                <a:uLnTx/>
                <a:uFillTx/>
                <a:latin typeface="Segoe Sans Text Semibold"/>
                <a:ea typeface="+mn-ea"/>
                <a:cs typeface="+mn-cs"/>
              </a:rPr>
              <a:t>Unified</a:t>
            </a:r>
          </a:p>
        </p:txBody>
      </p:sp>
      <p:sp>
        <p:nvSpPr>
          <p:cNvPr id="2978" name="Rectangle: Rounded Corners 2977">
            <a:extLst>
              <a:ext uri="{FF2B5EF4-FFF2-40B4-BE49-F238E27FC236}">
                <a16:creationId xmlns:a16="http://schemas.microsoft.com/office/drawing/2014/main" id="{31E04ED6-E76B-71E3-C9EA-52A0345184C0}"/>
              </a:ext>
            </a:extLst>
          </p:cNvPr>
          <p:cNvSpPr/>
          <p:nvPr/>
        </p:nvSpPr>
        <p:spPr bwMode="auto">
          <a:xfrm>
            <a:off x="662940" y="4785642"/>
            <a:ext cx="1556385" cy="1393067"/>
          </a:xfrm>
          <a:prstGeom prst="roundRect">
            <a:avLst>
              <a:gd name="adj" fmla="val 407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A446F"/>
                </a:solidFill>
                <a:effectLst/>
                <a:uLnTx/>
                <a:uFillTx/>
                <a:latin typeface="Segoe Sans Text Semibold"/>
                <a:ea typeface="+mn-ea"/>
                <a:cs typeface="+mn-cs"/>
              </a:rPr>
              <a:t>Non-Unified</a:t>
            </a:r>
          </a:p>
        </p:txBody>
      </p:sp>
      <p:sp>
        <p:nvSpPr>
          <p:cNvPr id="2" name="Rectangle 1">
            <a:extLst>
              <a:ext uri="{FF2B5EF4-FFF2-40B4-BE49-F238E27FC236}">
                <a16:creationId xmlns:a16="http://schemas.microsoft.com/office/drawing/2014/main" id="{18F62B4F-B968-C050-C458-285823B5D7B0}"/>
              </a:ext>
            </a:extLst>
          </p:cNvPr>
          <p:cNvSpPr/>
          <p:nvPr/>
        </p:nvSpPr>
        <p:spPr bwMode="auto">
          <a:xfrm>
            <a:off x="2511964" y="3325692"/>
            <a:ext cx="330219"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446F"/>
                </a:solidFill>
                <a:effectLst/>
                <a:uLnTx/>
                <a:uFillTx/>
                <a:latin typeface="Segoe Sans Text Semibold"/>
                <a:ea typeface="+mn-ea"/>
                <a:cs typeface="+mn-cs"/>
              </a:rPr>
              <a:t>Lead</a:t>
            </a:r>
          </a:p>
        </p:txBody>
      </p:sp>
      <p:sp>
        <p:nvSpPr>
          <p:cNvPr id="3" name="Rectangle 2">
            <a:extLst>
              <a:ext uri="{FF2B5EF4-FFF2-40B4-BE49-F238E27FC236}">
                <a16:creationId xmlns:a16="http://schemas.microsoft.com/office/drawing/2014/main" id="{4B75772D-259F-5ACA-76C5-2FD9C02034B2}"/>
              </a:ext>
            </a:extLst>
          </p:cNvPr>
          <p:cNvSpPr/>
          <p:nvPr/>
        </p:nvSpPr>
        <p:spPr bwMode="auto">
          <a:xfrm>
            <a:off x="2330639" y="4114777"/>
            <a:ext cx="56541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446F"/>
                </a:solidFill>
                <a:effectLst/>
                <a:uLnTx/>
                <a:uFillTx/>
                <a:latin typeface="Segoe Sans Text Semibold"/>
                <a:ea typeface="+mn-ea"/>
                <a:cs typeface="+mn-cs"/>
              </a:rPr>
              <a:t>Support</a:t>
            </a:r>
          </a:p>
        </p:txBody>
      </p:sp>
      <p:sp>
        <p:nvSpPr>
          <p:cNvPr id="31" name="Graphic 106" descr="Icon of a person">
            <a:extLst>
              <a:ext uri="{FF2B5EF4-FFF2-40B4-BE49-F238E27FC236}">
                <a16:creationId xmlns:a16="http://schemas.microsoft.com/office/drawing/2014/main" id="{33B77504-9398-B463-C2B6-BAB89F6CDF81}"/>
              </a:ext>
            </a:extLst>
          </p:cNvPr>
          <p:cNvSpPr/>
          <p:nvPr/>
        </p:nvSpPr>
        <p:spPr>
          <a:xfrm>
            <a:off x="4025180" y="3184856"/>
            <a:ext cx="238676" cy="298265"/>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5" name="TextBox 4">
            <a:extLst>
              <a:ext uri="{FF2B5EF4-FFF2-40B4-BE49-F238E27FC236}">
                <a16:creationId xmlns:a16="http://schemas.microsoft.com/office/drawing/2014/main" id="{AE7C3DD6-01FE-C481-90C5-65DB2963FBE6}"/>
              </a:ext>
            </a:extLst>
          </p:cNvPr>
          <p:cNvSpPr txBox="1"/>
          <p:nvPr/>
        </p:nvSpPr>
        <p:spPr>
          <a:xfrm>
            <a:off x="3320792" y="3524011"/>
            <a:ext cx="1647448"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loud &amp; AI Specialist</a:t>
            </a:r>
          </a:p>
        </p:txBody>
      </p:sp>
      <p:sp>
        <p:nvSpPr>
          <p:cNvPr id="32" name="Graphic 106" descr="Icon of a person">
            <a:extLst>
              <a:ext uri="{FF2B5EF4-FFF2-40B4-BE49-F238E27FC236}">
                <a16:creationId xmlns:a16="http://schemas.microsoft.com/office/drawing/2014/main" id="{2B6A81A6-9824-9405-02F2-35A6F61012FC}"/>
              </a:ext>
            </a:extLst>
          </p:cNvPr>
          <p:cNvSpPr/>
          <p:nvPr/>
        </p:nvSpPr>
        <p:spPr>
          <a:xfrm>
            <a:off x="8271046" y="3164727"/>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9" name="TextBox 18">
            <a:extLst>
              <a:ext uri="{FF2B5EF4-FFF2-40B4-BE49-F238E27FC236}">
                <a16:creationId xmlns:a16="http://schemas.microsoft.com/office/drawing/2014/main" id="{6C8DF312-A82E-9443-D0FF-A3F7749FE673}"/>
              </a:ext>
            </a:extLst>
          </p:cNvPr>
          <p:cNvSpPr txBox="1"/>
          <p:nvPr/>
        </p:nvSpPr>
        <p:spPr>
          <a:xfrm>
            <a:off x="8247717" y="3524012"/>
            <a:ext cx="285335"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SA*</a:t>
            </a:r>
          </a:p>
        </p:txBody>
      </p:sp>
      <p:sp>
        <p:nvSpPr>
          <p:cNvPr id="48" name="Graphic 106" descr="Icon of a person">
            <a:extLst>
              <a:ext uri="{FF2B5EF4-FFF2-40B4-BE49-F238E27FC236}">
                <a16:creationId xmlns:a16="http://schemas.microsoft.com/office/drawing/2014/main" id="{32E22A48-DB10-82B0-57F5-26F7D81F9BFB}"/>
              </a:ext>
            </a:extLst>
          </p:cNvPr>
          <p:cNvSpPr/>
          <p:nvPr/>
        </p:nvSpPr>
        <p:spPr>
          <a:xfrm>
            <a:off x="10393978" y="3164727"/>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2" name="TextBox 21">
            <a:extLst>
              <a:ext uri="{FF2B5EF4-FFF2-40B4-BE49-F238E27FC236}">
                <a16:creationId xmlns:a16="http://schemas.microsoft.com/office/drawing/2014/main" id="{458CF9D6-1DF8-0A5F-5E4A-62D496EB4BF2}"/>
              </a:ext>
            </a:extLst>
          </p:cNvPr>
          <p:cNvSpPr txBox="1"/>
          <p:nvPr/>
        </p:nvSpPr>
        <p:spPr>
          <a:xfrm>
            <a:off x="10370651" y="3524012"/>
            <a:ext cx="285335"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SA*</a:t>
            </a:r>
          </a:p>
        </p:txBody>
      </p:sp>
      <p:sp>
        <p:nvSpPr>
          <p:cNvPr id="2992" name="Graphic 106" descr="Icon of a person">
            <a:extLst>
              <a:ext uri="{FF2B5EF4-FFF2-40B4-BE49-F238E27FC236}">
                <a16:creationId xmlns:a16="http://schemas.microsoft.com/office/drawing/2014/main" id="{EDCFDF13-DF41-79FF-1D1B-759415C3C77B}"/>
              </a:ext>
            </a:extLst>
          </p:cNvPr>
          <p:cNvSpPr/>
          <p:nvPr/>
        </p:nvSpPr>
        <p:spPr>
          <a:xfrm>
            <a:off x="4025180" y="3947234"/>
            <a:ext cx="238676" cy="298265"/>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30" name="TextBox 29">
            <a:extLst>
              <a:ext uri="{FF2B5EF4-FFF2-40B4-BE49-F238E27FC236}">
                <a16:creationId xmlns:a16="http://schemas.microsoft.com/office/drawing/2014/main" id="{75216647-1248-91A5-8A55-8E5CD1E14890}"/>
              </a:ext>
            </a:extLst>
          </p:cNvPr>
          <p:cNvSpPr txBox="1"/>
          <p:nvPr/>
        </p:nvSpPr>
        <p:spPr>
          <a:xfrm>
            <a:off x="3636370" y="4313097"/>
            <a:ext cx="1016305"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upport Specialist</a:t>
            </a:r>
          </a:p>
        </p:txBody>
      </p:sp>
      <p:sp>
        <p:nvSpPr>
          <p:cNvPr id="33" name="Graphic 106" descr="Icon of a person">
            <a:extLst>
              <a:ext uri="{FF2B5EF4-FFF2-40B4-BE49-F238E27FC236}">
                <a16:creationId xmlns:a16="http://schemas.microsoft.com/office/drawing/2014/main" id="{B798F26E-2C58-1918-1F71-C4139A11C896}"/>
              </a:ext>
            </a:extLst>
          </p:cNvPr>
          <p:cNvSpPr/>
          <p:nvPr/>
        </p:nvSpPr>
        <p:spPr>
          <a:xfrm>
            <a:off x="8271040" y="3947234"/>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39" name="TextBox 38">
            <a:extLst>
              <a:ext uri="{FF2B5EF4-FFF2-40B4-BE49-F238E27FC236}">
                <a16:creationId xmlns:a16="http://schemas.microsoft.com/office/drawing/2014/main" id="{3559E885-7A42-A0EE-C4DA-E55DEED91A9E}"/>
              </a:ext>
            </a:extLst>
          </p:cNvPr>
          <p:cNvSpPr txBox="1"/>
          <p:nvPr/>
        </p:nvSpPr>
        <p:spPr>
          <a:xfrm>
            <a:off x="7960774" y="4313097"/>
            <a:ext cx="859209"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SAM, Factory </a:t>
            </a:r>
          </a:p>
        </p:txBody>
      </p:sp>
      <p:sp>
        <p:nvSpPr>
          <p:cNvPr id="47" name="Graphic 106" descr="Icon of a person">
            <a:extLst>
              <a:ext uri="{FF2B5EF4-FFF2-40B4-BE49-F238E27FC236}">
                <a16:creationId xmlns:a16="http://schemas.microsoft.com/office/drawing/2014/main" id="{A310FBA2-E27B-2B6A-F6F5-59CEA0647D58}"/>
              </a:ext>
            </a:extLst>
          </p:cNvPr>
          <p:cNvSpPr/>
          <p:nvPr/>
        </p:nvSpPr>
        <p:spPr>
          <a:xfrm>
            <a:off x="10393975" y="3947234"/>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42" name="TextBox 41">
            <a:extLst>
              <a:ext uri="{FF2B5EF4-FFF2-40B4-BE49-F238E27FC236}">
                <a16:creationId xmlns:a16="http://schemas.microsoft.com/office/drawing/2014/main" id="{7ABADC7F-0E24-A081-F9A3-F529E255D766}"/>
              </a:ext>
            </a:extLst>
          </p:cNvPr>
          <p:cNvSpPr txBox="1"/>
          <p:nvPr/>
        </p:nvSpPr>
        <p:spPr>
          <a:xfrm>
            <a:off x="10339388" y="4313097"/>
            <a:ext cx="347852"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SAM</a:t>
            </a:r>
          </a:p>
        </p:txBody>
      </p:sp>
      <p:sp>
        <p:nvSpPr>
          <p:cNvPr id="35" name="Graphic 106" descr="Icon of a person">
            <a:extLst>
              <a:ext uri="{FF2B5EF4-FFF2-40B4-BE49-F238E27FC236}">
                <a16:creationId xmlns:a16="http://schemas.microsoft.com/office/drawing/2014/main" id="{419C7CCE-1668-EC2F-D569-985662B3169E}"/>
              </a:ext>
            </a:extLst>
          </p:cNvPr>
          <p:cNvSpPr/>
          <p:nvPr/>
        </p:nvSpPr>
        <p:spPr>
          <a:xfrm>
            <a:off x="6148109" y="3947234"/>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45" name="TextBox 44">
            <a:extLst>
              <a:ext uri="{FF2B5EF4-FFF2-40B4-BE49-F238E27FC236}">
                <a16:creationId xmlns:a16="http://schemas.microsoft.com/office/drawing/2014/main" id="{614DC0F1-FF69-E71C-DFA6-86AEB3ED5562}"/>
              </a:ext>
            </a:extLst>
          </p:cNvPr>
          <p:cNvSpPr txBox="1"/>
          <p:nvPr/>
        </p:nvSpPr>
        <p:spPr>
          <a:xfrm>
            <a:off x="5855475" y="4313097"/>
            <a:ext cx="823944"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SAM, Factory</a:t>
            </a:r>
          </a:p>
        </p:txBody>
      </p:sp>
      <p:sp>
        <p:nvSpPr>
          <p:cNvPr id="2970" name="Graphic 106" descr="Icon of a person">
            <a:extLst>
              <a:ext uri="{FF2B5EF4-FFF2-40B4-BE49-F238E27FC236}">
                <a16:creationId xmlns:a16="http://schemas.microsoft.com/office/drawing/2014/main" id="{EBC80E05-6B4E-23F6-CDB3-85883BE03172}"/>
              </a:ext>
            </a:extLst>
          </p:cNvPr>
          <p:cNvSpPr/>
          <p:nvPr/>
        </p:nvSpPr>
        <p:spPr>
          <a:xfrm>
            <a:off x="4025180" y="4840915"/>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50" name="TextBox 49">
            <a:extLst>
              <a:ext uri="{FF2B5EF4-FFF2-40B4-BE49-F238E27FC236}">
                <a16:creationId xmlns:a16="http://schemas.microsoft.com/office/drawing/2014/main" id="{76476105-AE24-E882-A515-90E9E4C4009A}"/>
              </a:ext>
            </a:extLst>
          </p:cNvPr>
          <p:cNvSpPr txBox="1"/>
          <p:nvPr/>
        </p:nvSpPr>
        <p:spPr>
          <a:xfrm>
            <a:off x="3552208" y="5193620"/>
            <a:ext cx="1184620"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loud &amp; AI Specialist</a:t>
            </a:r>
          </a:p>
        </p:txBody>
      </p:sp>
      <p:sp>
        <p:nvSpPr>
          <p:cNvPr id="2971" name="Graphic 31" descr="Icon of a group of three people">
            <a:extLst>
              <a:ext uri="{FF2B5EF4-FFF2-40B4-BE49-F238E27FC236}">
                <a16:creationId xmlns:a16="http://schemas.microsoft.com/office/drawing/2014/main" id="{054E743D-A2B4-B9CB-B1E4-901D7F4FD118}"/>
              </a:ext>
            </a:extLst>
          </p:cNvPr>
          <p:cNvSpPr/>
          <p:nvPr/>
        </p:nvSpPr>
        <p:spPr>
          <a:xfrm>
            <a:off x="8226475" y="4844072"/>
            <a:ext cx="327813" cy="295109"/>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57" name="TextBox 56">
            <a:extLst>
              <a:ext uri="{FF2B5EF4-FFF2-40B4-BE49-F238E27FC236}">
                <a16:creationId xmlns:a16="http://schemas.microsoft.com/office/drawing/2014/main" id="{58DDCA0B-3814-7E60-86BB-7BF1E286EA6F}"/>
              </a:ext>
            </a:extLst>
          </p:cNvPr>
          <p:cNvSpPr txBox="1"/>
          <p:nvPr/>
        </p:nvSpPr>
        <p:spPr>
          <a:xfrm>
            <a:off x="7940740" y="5193620"/>
            <a:ext cx="899285"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SD or Partner**</a:t>
            </a:r>
          </a:p>
        </p:txBody>
      </p:sp>
      <p:sp>
        <p:nvSpPr>
          <p:cNvPr id="2972" name="Graphic 31" descr="Icon of a group of three people">
            <a:extLst>
              <a:ext uri="{FF2B5EF4-FFF2-40B4-BE49-F238E27FC236}">
                <a16:creationId xmlns:a16="http://schemas.microsoft.com/office/drawing/2014/main" id="{EC0017B8-A14D-5F16-C602-85888787726D}"/>
              </a:ext>
            </a:extLst>
          </p:cNvPr>
          <p:cNvSpPr/>
          <p:nvPr/>
        </p:nvSpPr>
        <p:spPr>
          <a:xfrm>
            <a:off x="10349407" y="4844072"/>
            <a:ext cx="327813" cy="295109"/>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61" name="TextBox 60">
            <a:extLst>
              <a:ext uri="{FF2B5EF4-FFF2-40B4-BE49-F238E27FC236}">
                <a16:creationId xmlns:a16="http://schemas.microsoft.com/office/drawing/2014/main" id="{0A4F1B80-5117-6D40-344C-DFBE87D88918}"/>
              </a:ext>
            </a:extLst>
          </p:cNvPr>
          <p:cNvSpPr txBox="1"/>
          <p:nvPr/>
        </p:nvSpPr>
        <p:spPr>
          <a:xfrm>
            <a:off x="10063672" y="5193620"/>
            <a:ext cx="899285"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SD or Partner**</a:t>
            </a:r>
          </a:p>
        </p:txBody>
      </p:sp>
      <p:sp>
        <p:nvSpPr>
          <p:cNvPr id="2968" name="Graphic 106" descr="Icon of a person">
            <a:extLst>
              <a:ext uri="{FF2B5EF4-FFF2-40B4-BE49-F238E27FC236}">
                <a16:creationId xmlns:a16="http://schemas.microsoft.com/office/drawing/2014/main" id="{B58ED987-C8CC-537C-C453-6CB1A48C72E4}"/>
              </a:ext>
            </a:extLst>
          </p:cNvPr>
          <p:cNvSpPr/>
          <p:nvPr/>
        </p:nvSpPr>
        <p:spPr>
          <a:xfrm>
            <a:off x="8271040" y="5616842"/>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959" name="TextBox 2958">
            <a:extLst>
              <a:ext uri="{FF2B5EF4-FFF2-40B4-BE49-F238E27FC236}">
                <a16:creationId xmlns:a16="http://schemas.microsoft.com/office/drawing/2014/main" id="{B59FFB74-2190-2586-788A-76E54DEF01DD}"/>
              </a:ext>
            </a:extLst>
          </p:cNvPr>
          <p:cNvSpPr txBox="1"/>
          <p:nvPr/>
        </p:nvSpPr>
        <p:spPr>
          <a:xfrm>
            <a:off x="8183591" y="5982705"/>
            <a:ext cx="413574"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Factory</a:t>
            </a:r>
          </a:p>
        </p:txBody>
      </p:sp>
      <p:sp>
        <p:nvSpPr>
          <p:cNvPr id="2969" name="Graphic 106" descr="Icon of a person">
            <a:extLst>
              <a:ext uri="{FF2B5EF4-FFF2-40B4-BE49-F238E27FC236}">
                <a16:creationId xmlns:a16="http://schemas.microsoft.com/office/drawing/2014/main" id="{96257D5C-EC77-B1EB-174B-B397ACE75345}"/>
              </a:ext>
            </a:extLst>
          </p:cNvPr>
          <p:cNvSpPr/>
          <p:nvPr/>
        </p:nvSpPr>
        <p:spPr>
          <a:xfrm>
            <a:off x="6148114" y="5616842"/>
            <a:ext cx="238677" cy="29826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962" name="TextBox 2961">
            <a:extLst>
              <a:ext uri="{FF2B5EF4-FFF2-40B4-BE49-F238E27FC236}">
                <a16:creationId xmlns:a16="http://schemas.microsoft.com/office/drawing/2014/main" id="{54621F0E-8382-0131-11A1-5F7EA9AC6034}"/>
              </a:ext>
            </a:extLst>
          </p:cNvPr>
          <p:cNvSpPr txBox="1"/>
          <p:nvPr/>
        </p:nvSpPr>
        <p:spPr>
          <a:xfrm>
            <a:off x="6060665" y="5982705"/>
            <a:ext cx="413576"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Factory</a:t>
            </a:r>
          </a:p>
        </p:txBody>
      </p:sp>
      <p:sp>
        <p:nvSpPr>
          <p:cNvPr id="2963" name="TextBox 2962">
            <a:extLst>
              <a:ext uri="{FF2B5EF4-FFF2-40B4-BE49-F238E27FC236}">
                <a16:creationId xmlns:a16="http://schemas.microsoft.com/office/drawing/2014/main" id="{45DF20AB-D90D-6EA4-10F7-820645779B5E}"/>
              </a:ext>
            </a:extLst>
          </p:cNvPr>
          <p:cNvSpPr txBox="1"/>
          <p:nvPr/>
        </p:nvSpPr>
        <p:spPr>
          <a:xfrm>
            <a:off x="6071907" y="3524011"/>
            <a:ext cx="391134"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 Pod</a:t>
            </a:r>
          </a:p>
        </p:txBody>
      </p:sp>
      <p:sp>
        <p:nvSpPr>
          <p:cNvPr id="2964" name="TextBox 2963">
            <a:extLst>
              <a:ext uri="{FF2B5EF4-FFF2-40B4-BE49-F238E27FC236}">
                <a16:creationId xmlns:a16="http://schemas.microsoft.com/office/drawing/2014/main" id="{02C32272-C3AF-CBAB-7E25-97E5528CBD33}"/>
              </a:ext>
            </a:extLst>
          </p:cNvPr>
          <p:cNvSpPr txBox="1"/>
          <p:nvPr/>
        </p:nvSpPr>
        <p:spPr>
          <a:xfrm>
            <a:off x="6071907" y="5193620"/>
            <a:ext cx="391134" cy="15388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 Pod</a:t>
            </a:r>
          </a:p>
        </p:txBody>
      </p:sp>
      <p:sp>
        <p:nvSpPr>
          <p:cNvPr id="2974" name="Rectangle 2973">
            <a:extLst>
              <a:ext uri="{FF2B5EF4-FFF2-40B4-BE49-F238E27FC236}">
                <a16:creationId xmlns:a16="http://schemas.microsoft.com/office/drawing/2014/main" id="{554B2005-9B4F-8F02-B048-15BFFC39C93F}"/>
              </a:ext>
            </a:extLst>
          </p:cNvPr>
          <p:cNvSpPr/>
          <p:nvPr/>
        </p:nvSpPr>
        <p:spPr bwMode="auto">
          <a:xfrm>
            <a:off x="2511964" y="4995300"/>
            <a:ext cx="330219"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446F"/>
                </a:solidFill>
                <a:effectLst/>
                <a:uLnTx/>
                <a:uFillTx/>
                <a:latin typeface="Segoe Sans Text Semibold"/>
                <a:ea typeface="+mn-ea"/>
                <a:cs typeface="+mn-cs"/>
              </a:rPr>
              <a:t>Lead</a:t>
            </a:r>
          </a:p>
        </p:txBody>
      </p:sp>
      <p:sp>
        <p:nvSpPr>
          <p:cNvPr id="2975" name="Rectangle 2974">
            <a:extLst>
              <a:ext uri="{FF2B5EF4-FFF2-40B4-BE49-F238E27FC236}">
                <a16:creationId xmlns:a16="http://schemas.microsoft.com/office/drawing/2014/main" id="{38AC388C-A5EE-6A30-1D17-F02F27A8018E}"/>
              </a:ext>
            </a:extLst>
          </p:cNvPr>
          <p:cNvSpPr/>
          <p:nvPr/>
        </p:nvSpPr>
        <p:spPr bwMode="auto">
          <a:xfrm>
            <a:off x="2330639" y="5784385"/>
            <a:ext cx="56541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a:ln>
                  <a:noFill/>
                </a:ln>
                <a:solidFill>
                  <a:srgbClr val="2A446F"/>
                </a:solidFill>
                <a:effectLst/>
                <a:uLnTx/>
                <a:uFillTx/>
                <a:latin typeface="Segoe Sans Text Semibold"/>
                <a:ea typeface="+mn-ea"/>
                <a:cs typeface="+mn-cs"/>
              </a:rPr>
              <a:t>Support</a:t>
            </a:r>
          </a:p>
        </p:txBody>
      </p:sp>
      <p:grpSp>
        <p:nvGrpSpPr>
          <p:cNvPr id="13" name="Group 12" descr="Support, Lead">
            <a:extLst>
              <a:ext uri="{FF2B5EF4-FFF2-40B4-BE49-F238E27FC236}">
                <a16:creationId xmlns:a16="http://schemas.microsoft.com/office/drawing/2014/main" id="{6B0DA1E4-A371-C4A6-FFBD-98A0DCD066E2}"/>
              </a:ext>
            </a:extLst>
          </p:cNvPr>
          <p:cNvGrpSpPr/>
          <p:nvPr/>
        </p:nvGrpSpPr>
        <p:grpSpPr>
          <a:xfrm>
            <a:off x="2323228" y="3811455"/>
            <a:ext cx="709052" cy="1670720"/>
            <a:chOff x="2323228" y="3811455"/>
            <a:chExt cx="610201" cy="1670720"/>
          </a:xfrm>
        </p:grpSpPr>
        <p:cxnSp>
          <p:nvCxnSpPr>
            <p:cNvPr id="10" name="Straight Connector 9">
              <a:extLst>
                <a:ext uri="{FF2B5EF4-FFF2-40B4-BE49-F238E27FC236}">
                  <a16:creationId xmlns:a16="http://schemas.microsoft.com/office/drawing/2014/main" id="{E6A217D5-938B-A72D-FDCF-C5FAEC0CB45E}"/>
                </a:ext>
              </a:extLst>
            </p:cNvPr>
            <p:cNvCxnSpPr>
              <a:cxnSpLocks/>
            </p:cNvCxnSpPr>
            <p:nvPr/>
          </p:nvCxnSpPr>
          <p:spPr>
            <a:xfrm>
              <a:off x="2323228" y="3811455"/>
              <a:ext cx="610201" cy="0"/>
            </a:xfrm>
            <a:prstGeom prst="line">
              <a:avLst/>
            </a:prstGeom>
            <a:ln w="317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72B283-1169-5A78-9D2D-204736EDB0CA}"/>
                </a:ext>
              </a:extLst>
            </p:cNvPr>
            <p:cNvCxnSpPr>
              <a:cxnSpLocks/>
            </p:cNvCxnSpPr>
            <p:nvPr/>
          </p:nvCxnSpPr>
          <p:spPr>
            <a:xfrm>
              <a:off x="2323228" y="5482175"/>
              <a:ext cx="610201" cy="0"/>
            </a:xfrm>
            <a:prstGeom prst="line">
              <a:avLst/>
            </a:prstGeom>
            <a:ln w="317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93" name="Graphic 4" descr="Icon of two people">
            <a:extLst>
              <a:ext uri="{FF2B5EF4-FFF2-40B4-BE49-F238E27FC236}">
                <a16:creationId xmlns:a16="http://schemas.microsoft.com/office/drawing/2014/main" id="{E3FE2451-9A8A-2281-04EE-6AAE60E34131}"/>
              </a:ext>
            </a:extLst>
          </p:cNvPr>
          <p:cNvSpPr/>
          <p:nvPr/>
        </p:nvSpPr>
        <p:spPr>
          <a:xfrm>
            <a:off x="6103567" y="4827757"/>
            <a:ext cx="327814" cy="311424"/>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2994" name="Graphic 4" descr="Icon of two people">
            <a:extLst>
              <a:ext uri="{FF2B5EF4-FFF2-40B4-BE49-F238E27FC236}">
                <a16:creationId xmlns:a16="http://schemas.microsoft.com/office/drawing/2014/main" id="{F2CCAC5E-F1BB-D1CA-C45F-BFC89495D623}"/>
              </a:ext>
            </a:extLst>
          </p:cNvPr>
          <p:cNvSpPr/>
          <p:nvPr/>
        </p:nvSpPr>
        <p:spPr>
          <a:xfrm>
            <a:off x="6103567" y="3158148"/>
            <a:ext cx="327814" cy="311424"/>
          </a:xfrm>
          <a:custGeom>
            <a:avLst/>
            <a:gdLst>
              <a:gd name="connsiteX0" fmla="*/ 19050 w 190500"/>
              <a:gd name="connsiteY0" fmla="*/ 104765 h 180975"/>
              <a:gd name="connsiteX1" fmla="*/ 104775 w 190500"/>
              <a:gd name="connsiteY1" fmla="*/ 104775 h 180975"/>
              <a:gd name="connsiteX2" fmla="*/ 123777 w 190500"/>
              <a:gd name="connsiteY2" fmla="*/ 122396 h 180975"/>
              <a:gd name="connsiteX3" fmla="*/ 123825 w 190500"/>
              <a:gd name="connsiteY3" fmla="*/ 123825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23815 h 180975"/>
              <a:gd name="connsiteX9" fmla="*/ 17621 w 190500"/>
              <a:gd name="connsiteY9" fmla="*/ 104813 h 180975"/>
              <a:gd name="connsiteX10" fmla="*/ 19050 w 190500"/>
              <a:gd name="connsiteY10" fmla="*/ 104775 h 180975"/>
              <a:gd name="connsiteX11" fmla="*/ 125921 w 190500"/>
              <a:gd name="connsiteY11" fmla="*/ 104775 h 180975"/>
              <a:gd name="connsiteX12" fmla="*/ 171450 w 190500"/>
              <a:gd name="connsiteY12" fmla="*/ 104775 h 180975"/>
              <a:gd name="connsiteX13" fmla="*/ 190443 w 190500"/>
              <a:gd name="connsiteY13" fmla="*/ 122396 h 180975"/>
              <a:gd name="connsiteX14" fmla="*/ 190500 w 190500"/>
              <a:gd name="connsiteY14" fmla="*/ 123825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0131 w 190500"/>
              <a:gd name="connsiteY18" fmla="*/ 155743 h 180975"/>
              <a:gd name="connsiteX19" fmla="*/ 142875 w 190500"/>
              <a:gd name="connsiteY19" fmla="*/ 157163 h 180975"/>
              <a:gd name="connsiteX20" fmla="*/ 145418 w 190500"/>
              <a:gd name="connsiteY20" fmla="*/ 157105 h 180975"/>
              <a:gd name="connsiteX21" fmla="*/ 176146 w 190500"/>
              <a:gd name="connsiteY21" fmla="*/ 135303 h 180975"/>
              <a:gd name="connsiteX22" fmla="*/ 176213 w 190500"/>
              <a:gd name="connsiteY22" fmla="*/ 133350 h 180975"/>
              <a:gd name="connsiteX23" fmla="*/ 176213 w 190500"/>
              <a:gd name="connsiteY23" fmla="*/ 123825 h 180975"/>
              <a:gd name="connsiteX24" fmla="*/ 172307 w 190500"/>
              <a:gd name="connsiteY24" fmla="*/ 119139 h 180975"/>
              <a:gd name="connsiteX25" fmla="*/ 171450 w 190500"/>
              <a:gd name="connsiteY25" fmla="*/ 119063 h 180975"/>
              <a:gd name="connsiteX26" fmla="*/ 132864 w 190500"/>
              <a:gd name="connsiteY26" fmla="*/ 119063 h 180975"/>
              <a:gd name="connsiteX27" fmla="*/ 127197 w 190500"/>
              <a:gd name="connsiteY27" fmla="*/ 106299 h 180975"/>
              <a:gd name="connsiteX28" fmla="*/ 125921 w 190500"/>
              <a:gd name="connsiteY28" fmla="*/ 104775 h 180975"/>
              <a:gd name="connsiteX29" fmla="*/ 171450 w 190500"/>
              <a:gd name="connsiteY29" fmla="*/ 104775 h 180975"/>
              <a:gd name="connsiteX30" fmla="*/ 125921 w 190500"/>
              <a:gd name="connsiteY30" fmla="*/ 104775 h 180975"/>
              <a:gd name="connsiteX31" fmla="*/ 19050 w 190500"/>
              <a:gd name="connsiteY31" fmla="*/ 119053 h 180975"/>
              <a:gd name="connsiteX32" fmla="*/ 18098 w 190500"/>
              <a:gd name="connsiteY32" fmla="*/ 119148 h 180975"/>
              <a:gd name="connsiteX33" fmla="*/ 15678 w 190500"/>
              <a:gd name="connsiteY33" fmla="*/ 120444 h 180975"/>
              <a:gd name="connsiteX34" fmla="*/ 14383 w 190500"/>
              <a:gd name="connsiteY34" fmla="*/ 122853 h 180975"/>
              <a:gd name="connsiteX35" fmla="*/ 14288 w 190500"/>
              <a:gd name="connsiteY35" fmla="*/ 123815 h 180975"/>
              <a:gd name="connsiteX36" fmla="*/ 14288 w 190500"/>
              <a:gd name="connsiteY36" fmla="*/ 138113 h 180975"/>
              <a:gd name="connsiteX37" fmla="*/ 27784 w 190500"/>
              <a:gd name="connsiteY37" fmla="*/ 159468 h 180975"/>
              <a:gd name="connsiteX38" fmla="*/ 58893 w 190500"/>
              <a:gd name="connsiteY38" fmla="*/ 166640 h 180975"/>
              <a:gd name="connsiteX39" fmla="*/ 61913 w 190500"/>
              <a:gd name="connsiteY39" fmla="*/ 166688 h 180975"/>
              <a:gd name="connsiteX40" fmla="*/ 64932 w 190500"/>
              <a:gd name="connsiteY40" fmla="*/ 166640 h 180975"/>
              <a:gd name="connsiteX41" fmla="*/ 96041 w 190500"/>
              <a:gd name="connsiteY41" fmla="*/ 159468 h 180975"/>
              <a:gd name="connsiteX42" fmla="*/ 109490 w 190500"/>
              <a:gd name="connsiteY42" fmla="*/ 139875 h 180975"/>
              <a:gd name="connsiteX43" fmla="*/ 109538 w 190500"/>
              <a:gd name="connsiteY43" fmla="*/ 138103 h 180975"/>
              <a:gd name="connsiteX44" fmla="*/ 109538 w 190500"/>
              <a:gd name="connsiteY44" fmla="*/ 123825 h 180975"/>
              <a:gd name="connsiteX45" fmla="*/ 105632 w 190500"/>
              <a:gd name="connsiteY45" fmla="*/ 119139 h 180975"/>
              <a:gd name="connsiteX46" fmla="*/ 104775 w 190500"/>
              <a:gd name="connsiteY46" fmla="*/ 119063 h 180975"/>
              <a:gd name="connsiteX47" fmla="*/ 19050 w 190500"/>
              <a:gd name="connsiteY47" fmla="*/ 119053 h 180975"/>
              <a:gd name="connsiteX48" fmla="*/ 61913 w 190500"/>
              <a:gd name="connsiteY48" fmla="*/ 0 h 180975"/>
              <a:gd name="connsiteX49" fmla="*/ 104775 w 190500"/>
              <a:gd name="connsiteY49" fmla="*/ 42863 h 180975"/>
              <a:gd name="connsiteX50" fmla="*/ 61913 w 190500"/>
              <a:gd name="connsiteY50" fmla="*/ 85725 h 180975"/>
              <a:gd name="connsiteX51" fmla="*/ 19050 w 190500"/>
              <a:gd name="connsiteY51" fmla="*/ 42863 h 180975"/>
              <a:gd name="connsiteX52" fmla="*/ 61913 w 190500"/>
              <a:gd name="connsiteY52" fmla="*/ 0 h 180975"/>
              <a:gd name="connsiteX53" fmla="*/ 147638 w 190500"/>
              <a:gd name="connsiteY53" fmla="*/ 19050 h 180975"/>
              <a:gd name="connsiteX54" fmla="*/ 180975 w 190500"/>
              <a:gd name="connsiteY54" fmla="*/ 52388 h 180975"/>
              <a:gd name="connsiteX55" fmla="*/ 147638 w 190500"/>
              <a:gd name="connsiteY55" fmla="*/ 85725 h 180975"/>
              <a:gd name="connsiteX56" fmla="*/ 114300 w 190500"/>
              <a:gd name="connsiteY56" fmla="*/ 52388 h 180975"/>
              <a:gd name="connsiteX57" fmla="*/ 147638 w 190500"/>
              <a:gd name="connsiteY57" fmla="*/ 19050 h 180975"/>
              <a:gd name="connsiteX58" fmla="*/ 61913 w 190500"/>
              <a:gd name="connsiteY58" fmla="*/ 14288 h 180975"/>
              <a:gd name="connsiteX59" fmla="*/ 33338 w 190500"/>
              <a:gd name="connsiteY59" fmla="*/ 42863 h 180975"/>
              <a:gd name="connsiteX60" fmla="*/ 61913 w 190500"/>
              <a:gd name="connsiteY60" fmla="*/ 71438 h 180975"/>
              <a:gd name="connsiteX61" fmla="*/ 90488 w 190500"/>
              <a:gd name="connsiteY61" fmla="*/ 42863 h 180975"/>
              <a:gd name="connsiteX62" fmla="*/ 61913 w 190500"/>
              <a:gd name="connsiteY62" fmla="*/ 14288 h 180975"/>
              <a:gd name="connsiteX63" fmla="*/ 147638 w 190500"/>
              <a:gd name="connsiteY63" fmla="*/ 33338 h 180975"/>
              <a:gd name="connsiteX64" fmla="*/ 128588 w 190500"/>
              <a:gd name="connsiteY64" fmla="*/ 52388 h 180975"/>
              <a:gd name="connsiteX65" fmla="*/ 147638 w 190500"/>
              <a:gd name="connsiteY65" fmla="*/ 71438 h 180975"/>
              <a:gd name="connsiteX66" fmla="*/ 166688 w 190500"/>
              <a:gd name="connsiteY66" fmla="*/ 52388 h 180975"/>
              <a:gd name="connsiteX67" fmla="*/ 147638 w 190500"/>
              <a:gd name="connsiteY67" fmla="*/ 3333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0500" h="180975">
                <a:moveTo>
                  <a:pt x="19050" y="104765"/>
                </a:moveTo>
                <a:lnTo>
                  <a:pt x="104775" y="104775"/>
                </a:lnTo>
                <a:cubicBezTo>
                  <a:pt x="114744" y="104772"/>
                  <a:pt x="123030" y="112455"/>
                  <a:pt x="123777" y="122396"/>
                </a:cubicBezTo>
                <a:lnTo>
                  <a:pt x="123825" y="123825"/>
                </a:lnTo>
                <a:lnTo>
                  <a:pt x="123825" y="138113"/>
                </a:lnTo>
                <a:cubicBezTo>
                  <a:pt x="123815" y="171450"/>
                  <a:pt x="88430" y="180975"/>
                  <a:pt x="61913" y="180975"/>
                </a:cubicBezTo>
                <a:cubicBezTo>
                  <a:pt x="35985" y="180975"/>
                  <a:pt x="1572" y="171869"/>
                  <a:pt x="48" y="140303"/>
                </a:cubicBezTo>
                <a:lnTo>
                  <a:pt x="0" y="138113"/>
                </a:lnTo>
                <a:lnTo>
                  <a:pt x="0" y="123815"/>
                </a:lnTo>
                <a:cubicBezTo>
                  <a:pt x="0" y="113776"/>
                  <a:pt x="7772" y="105547"/>
                  <a:pt x="17621" y="104813"/>
                </a:cubicBezTo>
                <a:lnTo>
                  <a:pt x="19050" y="104775"/>
                </a:lnTo>
                <a:close/>
                <a:moveTo>
                  <a:pt x="125921" y="104775"/>
                </a:moveTo>
                <a:lnTo>
                  <a:pt x="171450" y="104775"/>
                </a:lnTo>
                <a:cubicBezTo>
                  <a:pt x="181489" y="104775"/>
                  <a:pt x="189719" y="112547"/>
                  <a:pt x="190443" y="122396"/>
                </a:cubicBezTo>
                <a:lnTo>
                  <a:pt x="190500" y="123825"/>
                </a:lnTo>
                <a:lnTo>
                  <a:pt x="190500" y="133350"/>
                </a:lnTo>
                <a:cubicBezTo>
                  <a:pt x="190490" y="162516"/>
                  <a:pt x="163278" y="171450"/>
                  <a:pt x="142875" y="171450"/>
                </a:cubicBezTo>
                <a:cubicBezTo>
                  <a:pt x="135965" y="171466"/>
                  <a:pt x="129091" y="170432"/>
                  <a:pt x="122492" y="168383"/>
                </a:cubicBezTo>
                <a:cubicBezTo>
                  <a:pt x="125692" y="164706"/>
                  <a:pt x="128273" y="160506"/>
                  <a:pt x="130131" y="155743"/>
                </a:cubicBezTo>
                <a:cubicBezTo>
                  <a:pt x="134315" y="156679"/>
                  <a:pt x="138588" y="157154"/>
                  <a:pt x="142875" y="157163"/>
                </a:cubicBezTo>
                <a:lnTo>
                  <a:pt x="145418" y="157105"/>
                </a:lnTo>
                <a:cubicBezTo>
                  <a:pt x="154800" y="156696"/>
                  <a:pt x="174812" y="153648"/>
                  <a:pt x="176146" y="135303"/>
                </a:cubicBezTo>
                <a:lnTo>
                  <a:pt x="176213" y="133350"/>
                </a:lnTo>
                <a:lnTo>
                  <a:pt x="176213" y="123825"/>
                </a:lnTo>
                <a:cubicBezTo>
                  <a:pt x="176210" y="121527"/>
                  <a:pt x="174568" y="119556"/>
                  <a:pt x="172307" y="119139"/>
                </a:cubicBezTo>
                <a:lnTo>
                  <a:pt x="171450" y="119063"/>
                </a:lnTo>
                <a:lnTo>
                  <a:pt x="132864" y="119063"/>
                </a:lnTo>
                <a:cubicBezTo>
                  <a:pt x="132077" y="114400"/>
                  <a:pt x="130128" y="110010"/>
                  <a:pt x="127197" y="106299"/>
                </a:cubicBezTo>
                <a:lnTo>
                  <a:pt x="125921" y="104775"/>
                </a:lnTo>
                <a:lnTo>
                  <a:pt x="171450" y="104775"/>
                </a:lnTo>
                <a:lnTo>
                  <a:pt x="125921" y="104775"/>
                </a:lnTo>
                <a:close/>
                <a:moveTo>
                  <a:pt x="19050" y="119053"/>
                </a:moveTo>
                <a:lnTo>
                  <a:pt x="18098" y="119148"/>
                </a:lnTo>
                <a:cubicBezTo>
                  <a:pt x="17183" y="119339"/>
                  <a:pt x="16343" y="119788"/>
                  <a:pt x="15678" y="120444"/>
                </a:cubicBezTo>
                <a:cubicBezTo>
                  <a:pt x="15023" y="121105"/>
                  <a:pt x="14573" y="121942"/>
                  <a:pt x="14383" y="122853"/>
                </a:cubicBezTo>
                <a:lnTo>
                  <a:pt x="14288" y="123815"/>
                </a:lnTo>
                <a:lnTo>
                  <a:pt x="14288" y="138113"/>
                </a:lnTo>
                <a:cubicBezTo>
                  <a:pt x="14288" y="147723"/>
                  <a:pt x="18574" y="154515"/>
                  <a:pt x="27784" y="159468"/>
                </a:cubicBezTo>
                <a:cubicBezTo>
                  <a:pt x="35652" y="163706"/>
                  <a:pt x="46863" y="166268"/>
                  <a:pt x="58893" y="166640"/>
                </a:cubicBezTo>
                <a:lnTo>
                  <a:pt x="61913" y="166688"/>
                </a:lnTo>
                <a:lnTo>
                  <a:pt x="64932" y="166640"/>
                </a:lnTo>
                <a:cubicBezTo>
                  <a:pt x="76962" y="166268"/>
                  <a:pt x="88163" y="163706"/>
                  <a:pt x="96041" y="159468"/>
                </a:cubicBezTo>
                <a:cubicBezTo>
                  <a:pt x="104670" y="154819"/>
                  <a:pt x="108985" y="148561"/>
                  <a:pt x="109490" y="139875"/>
                </a:cubicBezTo>
                <a:lnTo>
                  <a:pt x="109538" y="138103"/>
                </a:lnTo>
                <a:lnTo>
                  <a:pt x="109538" y="123825"/>
                </a:lnTo>
                <a:cubicBezTo>
                  <a:pt x="109535" y="121527"/>
                  <a:pt x="107893" y="119556"/>
                  <a:pt x="105632" y="119139"/>
                </a:cubicBezTo>
                <a:lnTo>
                  <a:pt x="104775" y="119063"/>
                </a:lnTo>
                <a:lnTo>
                  <a:pt x="19050" y="119053"/>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moveTo>
                  <a:pt x="61913" y="14288"/>
                </a:moveTo>
                <a:cubicBezTo>
                  <a:pt x="46158" y="14288"/>
                  <a:pt x="33338" y="27108"/>
                  <a:pt x="33338" y="42863"/>
                </a:cubicBezTo>
                <a:cubicBezTo>
                  <a:pt x="33338" y="58617"/>
                  <a:pt x="46158" y="71438"/>
                  <a:pt x="61913" y="71438"/>
                </a:cubicBezTo>
                <a:cubicBezTo>
                  <a:pt x="77667" y="71438"/>
                  <a:pt x="90488" y="58617"/>
                  <a:pt x="90488" y="42863"/>
                </a:cubicBezTo>
                <a:cubicBezTo>
                  <a:pt x="90488" y="27108"/>
                  <a:pt x="77667" y="14288"/>
                  <a:pt x="61913" y="14288"/>
                </a:cubicBezTo>
                <a:close/>
                <a:moveTo>
                  <a:pt x="147638" y="33338"/>
                </a:moveTo>
                <a:cubicBezTo>
                  <a:pt x="137131" y="33338"/>
                  <a:pt x="128588" y="41881"/>
                  <a:pt x="128588" y="52388"/>
                </a:cubicBezTo>
                <a:cubicBezTo>
                  <a:pt x="128588" y="62894"/>
                  <a:pt x="137131" y="71438"/>
                  <a:pt x="147638" y="71438"/>
                </a:cubicBezTo>
                <a:cubicBezTo>
                  <a:pt x="158144" y="71438"/>
                  <a:pt x="166688" y="62894"/>
                  <a:pt x="166688" y="52388"/>
                </a:cubicBezTo>
                <a:cubicBezTo>
                  <a:pt x="166688" y="41881"/>
                  <a:pt x="158144" y="33338"/>
                  <a:pt x="147638" y="33338"/>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cxnSp>
        <p:nvCxnSpPr>
          <p:cNvPr id="2996" name="Straight Connector 2995">
            <a:extLst>
              <a:ext uri="{FF2B5EF4-FFF2-40B4-BE49-F238E27FC236}">
                <a16:creationId xmlns:a16="http://schemas.microsoft.com/office/drawing/2014/main" id="{699A9DED-2D1D-DC77-4673-D41E0A2A14EA}"/>
              </a:ext>
              <a:ext uri="{C183D7F6-B498-43B3-948B-1728B52AA6E4}">
                <adec:decorative xmlns:adec="http://schemas.microsoft.com/office/drawing/2017/decorative" val="1"/>
              </a:ext>
            </a:extLst>
          </p:cNvPr>
          <p:cNvCxnSpPr>
            <a:cxnSpLocks/>
          </p:cNvCxnSpPr>
          <p:nvPr/>
        </p:nvCxnSpPr>
        <p:spPr>
          <a:xfrm rot="5400000">
            <a:off x="4428744" y="3812567"/>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97" name="Straight Connector 2996">
            <a:extLst>
              <a:ext uri="{FF2B5EF4-FFF2-40B4-BE49-F238E27FC236}">
                <a16:creationId xmlns:a16="http://schemas.microsoft.com/office/drawing/2014/main" id="{0062F1EE-F616-6B5D-F6CB-29087F161E4F}"/>
              </a:ext>
              <a:ext uri="{C183D7F6-B498-43B3-948B-1728B52AA6E4}">
                <adec:decorative xmlns:adec="http://schemas.microsoft.com/office/drawing/2017/decorative" val="1"/>
              </a:ext>
            </a:extLst>
          </p:cNvPr>
          <p:cNvCxnSpPr>
            <a:cxnSpLocks/>
          </p:cNvCxnSpPr>
          <p:nvPr/>
        </p:nvCxnSpPr>
        <p:spPr>
          <a:xfrm rot="5400000">
            <a:off x="6551676" y="3812567"/>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98" name="Straight Connector 2997">
            <a:extLst>
              <a:ext uri="{FF2B5EF4-FFF2-40B4-BE49-F238E27FC236}">
                <a16:creationId xmlns:a16="http://schemas.microsoft.com/office/drawing/2014/main" id="{7BDEA68B-35C6-EFC1-94D5-8B3BA159A8DE}"/>
              </a:ext>
              <a:ext uri="{C183D7F6-B498-43B3-948B-1728B52AA6E4}">
                <adec:decorative xmlns:adec="http://schemas.microsoft.com/office/drawing/2017/decorative" val="1"/>
              </a:ext>
            </a:extLst>
          </p:cNvPr>
          <p:cNvCxnSpPr>
            <a:cxnSpLocks/>
          </p:cNvCxnSpPr>
          <p:nvPr/>
        </p:nvCxnSpPr>
        <p:spPr>
          <a:xfrm rot="5400000">
            <a:off x="8674608" y="3812567"/>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99" name="Straight Connector 2998">
            <a:extLst>
              <a:ext uri="{FF2B5EF4-FFF2-40B4-BE49-F238E27FC236}">
                <a16:creationId xmlns:a16="http://schemas.microsoft.com/office/drawing/2014/main" id="{6F41F90F-E854-0E08-6D6C-5D7BC048F73E}"/>
              </a:ext>
              <a:ext uri="{C183D7F6-B498-43B3-948B-1728B52AA6E4}">
                <adec:decorative xmlns:adec="http://schemas.microsoft.com/office/drawing/2017/decorative" val="1"/>
              </a:ext>
            </a:extLst>
          </p:cNvPr>
          <p:cNvCxnSpPr>
            <a:cxnSpLocks/>
          </p:cNvCxnSpPr>
          <p:nvPr/>
        </p:nvCxnSpPr>
        <p:spPr>
          <a:xfrm rot="5400000">
            <a:off x="4428744" y="5482175"/>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00" name="Straight Connector 2999">
            <a:extLst>
              <a:ext uri="{FF2B5EF4-FFF2-40B4-BE49-F238E27FC236}">
                <a16:creationId xmlns:a16="http://schemas.microsoft.com/office/drawing/2014/main" id="{EB3DBCF0-8193-7DF3-F224-5E09936AB95C}"/>
              </a:ext>
              <a:ext uri="{C183D7F6-B498-43B3-948B-1728B52AA6E4}">
                <adec:decorative xmlns:adec="http://schemas.microsoft.com/office/drawing/2017/decorative" val="1"/>
              </a:ext>
            </a:extLst>
          </p:cNvPr>
          <p:cNvCxnSpPr>
            <a:cxnSpLocks/>
          </p:cNvCxnSpPr>
          <p:nvPr/>
        </p:nvCxnSpPr>
        <p:spPr>
          <a:xfrm rot="5400000">
            <a:off x="6551676" y="5482175"/>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01" name="Straight Connector 3000">
            <a:extLst>
              <a:ext uri="{FF2B5EF4-FFF2-40B4-BE49-F238E27FC236}">
                <a16:creationId xmlns:a16="http://schemas.microsoft.com/office/drawing/2014/main" id="{3F6C0E3B-C4DC-26D3-0EE9-D5C059AFF1DB}"/>
              </a:ext>
              <a:ext uri="{C183D7F6-B498-43B3-948B-1728B52AA6E4}">
                <adec:decorative xmlns:adec="http://schemas.microsoft.com/office/drawing/2017/decorative" val="1"/>
              </a:ext>
            </a:extLst>
          </p:cNvPr>
          <p:cNvCxnSpPr>
            <a:cxnSpLocks/>
          </p:cNvCxnSpPr>
          <p:nvPr/>
        </p:nvCxnSpPr>
        <p:spPr>
          <a:xfrm rot="5400000">
            <a:off x="8674608" y="5482175"/>
            <a:ext cx="1554480" cy="0"/>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441FAA9-6AFA-B8C3-B1F1-D87CEC144983}"/>
              </a:ext>
              <a:ext uri="{C183D7F6-B498-43B3-948B-1728B52AA6E4}">
                <adec:decorative xmlns:adec="http://schemas.microsoft.com/office/drawing/2017/decorative" val="1"/>
              </a:ext>
            </a:extLst>
          </p:cNvPr>
          <p:cNvGrpSpPr/>
          <p:nvPr/>
        </p:nvGrpSpPr>
        <p:grpSpPr>
          <a:xfrm>
            <a:off x="3104278" y="3811455"/>
            <a:ext cx="8420972" cy="1685925"/>
            <a:chOff x="3104278" y="3811455"/>
            <a:chExt cx="8420972" cy="1685925"/>
          </a:xfrm>
        </p:grpSpPr>
        <p:cxnSp>
          <p:nvCxnSpPr>
            <p:cNvPr id="4" name="Straight Connector 3">
              <a:extLst>
                <a:ext uri="{FF2B5EF4-FFF2-40B4-BE49-F238E27FC236}">
                  <a16:creationId xmlns:a16="http://schemas.microsoft.com/office/drawing/2014/main" id="{1E8B87FB-35C0-0702-E4B0-A463C28A7C43}"/>
                </a:ext>
              </a:extLst>
            </p:cNvPr>
            <p:cNvCxnSpPr>
              <a:cxnSpLocks/>
            </p:cNvCxnSpPr>
            <p:nvPr/>
          </p:nvCxnSpPr>
          <p:spPr>
            <a:xfrm>
              <a:off x="3104278" y="3811455"/>
              <a:ext cx="8420972"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31B59F2-E167-06AE-874A-02DB9E448040}"/>
                </a:ext>
              </a:extLst>
            </p:cNvPr>
            <p:cNvCxnSpPr>
              <a:cxnSpLocks/>
            </p:cNvCxnSpPr>
            <p:nvPr/>
          </p:nvCxnSpPr>
          <p:spPr>
            <a:xfrm>
              <a:off x="3104278" y="5497380"/>
              <a:ext cx="8420972"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E4C2AAF1-DAD0-45A3-FB14-3D41171C6D3F}"/>
              </a:ext>
            </a:extLst>
          </p:cNvPr>
          <p:cNvSpPr/>
          <p:nvPr/>
        </p:nvSpPr>
        <p:spPr bwMode="auto">
          <a:xfrm>
            <a:off x="228601" y="1047116"/>
            <a:ext cx="11391900" cy="1078415"/>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11B406DA-C962-99C4-7244-543EF93F3718}"/>
              </a:ext>
            </a:extLst>
          </p:cNvPr>
          <p:cNvSpPr txBox="1"/>
          <p:nvPr/>
        </p:nvSpPr>
        <p:spPr>
          <a:xfrm>
            <a:off x="3320792" y="6413820"/>
            <a:ext cx="8128259" cy="246221"/>
          </a:xfrm>
          <a:prstGeom prst="rect">
            <a:avLst/>
          </a:prstGeom>
          <a:noFill/>
        </p:spPr>
        <p:txBody>
          <a:bodyPr wrap="square" lIns="0" tIns="0" rIns="0" bIns="0" rtlCol="0">
            <a:spAutoFit/>
          </a:bodyPr>
          <a:lstStyle/>
          <a:p>
            <a:pPr lvl="0">
              <a:defRPr/>
            </a:pPr>
            <a:r>
              <a:rPr kumimoji="0" lang="en-US" sz="800" b="0" i="0" u="none" strike="noStrike" kern="1200" cap="none" spc="0" normalizeH="0" baseline="0" noProof="0">
                <a:ln>
                  <a:noFill/>
                </a:ln>
                <a:effectLst/>
                <a:uLnTx/>
                <a:uFillTx/>
              </a:rPr>
              <a:t>*Committed Milestone ownership in MSX sits with CSA if assigned or CSAM in Unified. **Committed Milestone ownership sits with CSA-Manager </a:t>
            </a:r>
            <a:r>
              <a:rPr lang="en-US" sz="800"/>
              <a:t>or CSA if assigned on Non-Unified. </a:t>
            </a:r>
            <a:br>
              <a:rPr lang="en-US" sz="800"/>
            </a:br>
            <a:r>
              <a:rPr lang="en-US" sz="800"/>
              <a:t>More details go to  </a:t>
            </a:r>
            <a:r>
              <a:rPr lang="en-US" sz="800">
                <a:hlinkClick r:id="rId3"/>
              </a:rPr>
              <a:t>MCEM Azure Pipeline Execution Guidance</a:t>
            </a:r>
            <a:r>
              <a:rPr lang="en-US" sz="800"/>
              <a:t> </a:t>
            </a:r>
            <a:endParaRPr kumimoji="0" lang="en-US" sz="800" b="0" i="0" u="none" strike="noStrike" kern="1200" cap="none" spc="0" normalizeH="0" baseline="0" noProof="0">
              <a:ln>
                <a:noFill/>
              </a:ln>
              <a:effectLst/>
              <a:uLnTx/>
              <a:uFillTx/>
            </a:endParaRPr>
          </a:p>
        </p:txBody>
      </p:sp>
      <p:grpSp>
        <p:nvGrpSpPr>
          <p:cNvPr id="16" name="Group 15">
            <a:extLst>
              <a:ext uri="{FF2B5EF4-FFF2-40B4-BE49-F238E27FC236}">
                <a16:creationId xmlns:a16="http://schemas.microsoft.com/office/drawing/2014/main" id="{02A56559-E395-4139-7188-7DD1B46A11E3}"/>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7" name="Table 2 Cell 1, 1 to Text">
              <a:extLst>
                <a:ext uri="{FF2B5EF4-FFF2-40B4-BE49-F238E27FC236}">
                  <a16:creationId xmlns:a16="http://schemas.microsoft.com/office/drawing/2014/main" id="{5BE6D7A8-8E39-1C02-3547-6846C4F6FBE5}"/>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8" name="Table 2 Cell 2, 1 to Text">
              <a:extLst>
                <a:ext uri="{FF2B5EF4-FFF2-40B4-BE49-F238E27FC236}">
                  <a16:creationId xmlns:a16="http://schemas.microsoft.com/office/drawing/2014/main" id="{D4A246BB-18B6-1FD7-45AE-FB79206C32E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20" name="Table 2 Cell 3, 1 to Text">
              <a:extLst>
                <a:ext uri="{FF2B5EF4-FFF2-40B4-BE49-F238E27FC236}">
                  <a16:creationId xmlns:a16="http://schemas.microsoft.com/office/drawing/2014/main" id="{0BEF1D45-206B-7D3B-E829-DD4DED2195B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21" name="Table 2 Cell 4, 1 to Text">
              <a:extLst>
                <a:ext uri="{FF2B5EF4-FFF2-40B4-BE49-F238E27FC236}">
                  <a16:creationId xmlns:a16="http://schemas.microsoft.com/office/drawing/2014/main" id="{1E0A1430-52D4-EF6A-F678-B1B8730FA1E5}"/>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3" name="Table 2 Cell 5, 1 to Text">
              <a:extLst>
                <a:ext uri="{FF2B5EF4-FFF2-40B4-BE49-F238E27FC236}">
                  <a16:creationId xmlns:a16="http://schemas.microsoft.com/office/drawing/2014/main" id="{91E8CE36-ABDD-42CA-FFFA-1E7AA91836D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4" name="Table 2 Cell 6, 1 to Text">
              <a:extLst>
                <a:ext uri="{FF2B5EF4-FFF2-40B4-BE49-F238E27FC236}">
                  <a16:creationId xmlns:a16="http://schemas.microsoft.com/office/drawing/2014/main" id="{6175BA80-7EF2-26A7-2F49-CB1E1C40E90C}"/>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6" name="Table 2 Cell 7, 1 to Text">
              <a:extLst>
                <a:ext uri="{FF2B5EF4-FFF2-40B4-BE49-F238E27FC236}">
                  <a16:creationId xmlns:a16="http://schemas.microsoft.com/office/drawing/2014/main" id="{281D0894-2FB2-AD40-8BCB-11D97743805C}"/>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7" name="Table 2 Cell 1, 2 to Text">
              <a:extLst>
                <a:ext uri="{FF2B5EF4-FFF2-40B4-BE49-F238E27FC236}">
                  <a16:creationId xmlns:a16="http://schemas.microsoft.com/office/drawing/2014/main" id="{CF4F3861-404D-F238-C6E4-D1DA8941D8C2}"/>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28" name="Table 2 Cell 1, 3 to Text">
              <a:extLst>
                <a:ext uri="{FF2B5EF4-FFF2-40B4-BE49-F238E27FC236}">
                  <a16:creationId xmlns:a16="http://schemas.microsoft.com/office/drawing/2014/main" id="{1417429F-BD77-BF7A-3C7F-50A9117971C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29" name="Table 2 Cell 1, 4 to Text">
              <a:extLst>
                <a:ext uri="{FF2B5EF4-FFF2-40B4-BE49-F238E27FC236}">
                  <a16:creationId xmlns:a16="http://schemas.microsoft.com/office/drawing/2014/main" id="{2D37C51F-EB6E-833D-1537-61FE36AE8649}"/>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37" name="Table 2 Cell 1, 5 to Text">
              <a:extLst>
                <a:ext uri="{FF2B5EF4-FFF2-40B4-BE49-F238E27FC236}">
                  <a16:creationId xmlns:a16="http://schemas.microsoft.com/office/drawing/2014/main" id="{F00135EA-C1F6-A2D4-2A82-CF2B8EB5D1C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38" name="Table 2 Cell 1, 6 to Text">
              <a:extLst>
                <a:ext uri="{FF2B5EF4-FFF2-40B4-BE49-F238E27FC236}">
                  <a16:creationId xmlns:a16="http://schemas.microsoft.com/office/drawing/2014/main" id="{802F0E53-6CD7-3350-9197-3BC2F383417F}"/>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40" name="Table 2 Cell 1, 7 to Text">
              <a:extLst>
                <a:ext uri="{FF2B5EF4-FFF2-40B4-BE49-F238E27FC236}">
                  <a16:creationId xmlns:a16="http://schemas.microsoft.com/office/drawing/2014/main" id="{5F4E8179-4ED5-79FA-3EE2-35CB11FFEFB7}"/>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6 KPIs &amp; Outcomes</a:t>
              </a:r>
            </a:p>
          </p:txBody>
        </p:sp>
        <p:sp>
          <p:nvSpPr>
            <p:cNvPr id="41" name="Table 2 Cell 1, 8 to Text">
              <a:extLst>
                <a:ext uri="{FF2B5EF4-FFF2-40B4-BE49-F238E27FC236}">
                  <a16:creationId xmlns:a16="http://schemas.microsoft.com/office/drawing/2014/main" id="{C5FE5A91-F66F-CFC6-3803-19888A051F49}"/>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chemeClr val="bg1"/>
                  </a:solidFill>
                </a:rPr>
                <a:t>2.7 Orchestration</a:t>
              </a:r>
            </a:p>
          </p:txBody>
        </p:sp>
      </p:grpSp>
    </p:spTree>
    <p:extLst>
      <p:ext uri="{BB962C8B-B14F-4D97-AF65-F5344CB8AC3E}">
        <p14:creationId xmlns:p14="http://schemas.microsoft.com/office/powerpoint/2010/main" val="16892829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C514A-FD34-2C3B-BAC0-04E6B2C6A668}"/>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132BAC29-FAC1-AD30-143C-CAE2471C9458}"/>
              </a:ext>
            </a:extLst>
          </p:cNvPr>
          <p:cNvSpPr>
            <a:spLocks noGrp="1"/>
          </p:cNvSpPr>
          <p:nvPr>
            <p:ph type="title"/>
          </p:nvPr>
        </p:nvSpPr>
        <p:spPr>
          <a:xfrm>
            <a:off x="571500" y="457200"/>
            <a:ext cx="11049000" cy="492443"/>
          </a:xfrm>
        </p:spPr>
        <p:txBody>
          <a:bodyPr>
            <a:noAutofit/>
          </a:bodyPr>
          <a:lstStyle/>
          <a:p>
            <a:r>
              <a:rPr lang="en-US" sz="2800"/>
              <a:t>Security Everywhere – Cloud &amp; AI &amp; Security Joint Orchestration</a:t>
            </a:r>
          </a:p>
        </p:txBody>
      </p:sp>
      <p:sp>
        <p:nvSpPr>
          <p:cNvPr id="10" name="Rectangle 9">
            <a:extLst>
              <a:ext uri="{FF2B5EF4-FFF2-40B4-BE49-F238E27FC236}">
                <a16:creationId xmlns:a16="http://schemas.microsoft.com/office/drawing/2014/main" id="{F2C0399A-0B84-42F8-ACC5-78A9D55C0834}"/>
              </a:ext>
            </a:extLst>
          </p:cNvPr>
          <p:cNvSpPr/>
          <p:nvPr/>
        </p:nvSpPr>
        <p:spPr bwMode="auto">
          <a:xfrm>
            <a:off x="0" y="1049338"/>
            <a:ext cx="12192000" cy="134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139700" marR="0" lvl="0" indent="-139700" algn="l" defTabSz="932742" rtl="0" eaLnBrk="1" fontAlgn="auto" latinLnBrk="0" hangingPunct="1">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Cloud &amp; AI CSU: </a:t>
            </a:r>
            <a:r>
              <a:rPr lang="en-US" sz="1400">
                <a:solidFill>
                  <a:srgbClr val="000000"/>
                </a:solidFill>
              </a:rPr>
              <a:t>Owns the overall Solution Play delivery (Migrate and Modernize, Innovate with AI Apps and Agents, Unify Data Platform), and will implement s</a:t>
            </a:r>
            <a:r>
              <a:rPr kumimoji="0" lang="en-US" sz="1400" b="0" i="0" u="none" strike="noStrike" kern="1200" cap="none" spc="0" normalizeH="0" baseline="0" noProof="0" err="1">
                <a:ln>
                  <a:noFill/>
                </a:ln>
                <a:solidFill>
                  <a:srgbClr val="000000"/>
                </a:solidFill>
                <a:effectLst/>
                <a:uLnTx/>
                <a:uFillTx/>
                <a:ea typeface="+mn-ea"/>
                <a:cs typeface="+mn-cs"/>
              </a:rPr>
              <a:t>ecurity</a:t>
            </a:r>
            <a:r>
              <a:rPr lang="en-US" sz="1400">
                <a:solidFill>
                  <a:srgbClr val="000000"/>
                </a:solidFill>
              </a:rPr>
              <a:t>-</a:t>
            </a:r>
            <a:r>
              <a:rPr kumimoji="0" lang="en-US" sz="1400" b="0" i="0" u="none" strike="noStrike" kern="1200" cap="none" spc="0" normalizeH="0" baseline="0" noProof="0">
                <a:ln>
                  <a:noFill/>
                </a:ln>
                <a:solidFill>
                  <a:srgbClr val="000000"/>
                </a:solidFill>
                <a:effectLst/>
                <a:uLnTx/>
                <a:uFillTx/>
                <a:ea typeface="+mn-ea"/>
                <a:cs typeface="+mn-cs"/>
              </a:rPr>
              <a:t>first principles, defender attach, secure architecture, and resilient by default architecture in every engagement.</a:t>
            </a:r>
          </a:p>
          <a:p>
            <a:pPr marL="139700" indent="-139700" defTabSz="932742">
              <a:spcAft>
                <a:spcPts val="600"/>
              </a:spcAft>
              <a:buSzPct val="100000"/>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Security CSU:</a:t>
            </a:r>
            <a:r>
              <a:rPr lang="en-US" sz="1400">
                <a:solidFill>
                  <a:srgbClr val="000000"/>
                </a:solidFill>
                <a:latin typeface="Segoe Sans Text Semibold"/>
              </a:rPr>
              <a:t> </a:t>
            </a:r>
            <a:r>
              <a:rPr lang="en-US" sz="1400">
                <a:solidFill>
                  <a:schemeClr val="tx1"/>
                </a:solidFill>
              </a:rPr>
              <a:t>Drives Cloud &amp;AI Security milestone progress in alignment with the broader Solution Play and will c</a:t>
            </a:r>
            <a:r>
              <a:rPr lang="en-US" sz="1400">
                <a:solidFill>
                  <a:srgbClr val="000000"/>
                </a:solidFill>
              </a:rPr>
              <a:t>o-deliver based on accreditation and skills.</a:t>
            </a:r>
          </a:p>
        </p:txBody>
      </p:sp>
      <p:sp>
        <p:nvSpPr>
          <p:cNvPr id="52" name="Rectangle: Rounded Corners 51">
            <a:extLst>
              <a:ext uri="{FF2B5EF4-FFF2-40B4-BE49-F238E27FC236}">
                <a16:creationId xmlns:a16="http://schemas.microsoft.com/office/drawing/2014/main" id="{A780FD77-72E9-B954-8E20-6451B391F8BC}"/>
              </a:ext>
              <a:ext uri="{C183D7F6-B498-43B3-948B-1728B52AA6E4}">
                <adec:decorative xmlns:adec="http://schemas.microsoft.com/office/drawing/2017/decorative" val="1"/>
              </a:ext>
            </a:extLst>
          </p:cNvPr>
          <p:cNvSpPr>
            <a:spLocks/>
          </p:cNvSpPr>
          <p:nvPr/>
        </p:nvSpPr>
        <p:spPr bwMode="auto">
          <a:xfrm>
            <a:off x="571500" y="2476500"/>
            <a:ext cx="11049000" cy="3969775"/>
          </a:xfrm>
          <a:prstGeom prst="roundRect">
            <a:avLst>
              <a:gd name="adj" fmla="val 2748"/>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Rectangle: Rounded Corners 52">
            <a:extLst>
              <a:ext uri="{FF2B5EF4-FFF2-40B4-BE49-F238E27FC236}">
                <a16:creationId xmlns:a16="http://schemas.microsoft.com/office/drawing/2014/main" id="{843820E1-FA8C-9C0C-CB77-93999E7B895D}"/>
              </a:ext>
            </a:extLst>
          </p:cNvPr>
          <p:cNvSpPr>
            <a:spLocks/>
          </p:cNvSpPr>
          <p:nvPr/>
        </p:nvSpPr>
        <p:spPr bwMode="auto">
          <a:xfrm>
            <a:off x="662940" y="2567940"/>
            <a:ext cx="2100072" cy="246221"/>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Text Semibold"/>
                <a:ea typeface="+mn-ea"/>
                <a:cs typeface="+mn-cs"/>
              </a:rPr>
              <a:t>Listen Consult</a:t>
            </a:r>
          </a:p>
        </p:txBody>
      </p:sp>
      <p:sp>
        <p:nvSpPr>
          <p:cNvPr id="57" name="Rectangle: Rounded Corners 56">
            <a:extLst>
              <a:ext uri="{FF2B5EF4-FFF2-40B4-BE49-F238E27FC236}">
                <a16:creationId xmlns:a16="http://schemas.microsoft.com/office/drawing/2014/main" id="{22E40336-2215-B583-BC2D-B26EF0F50102}"/>
              </a:ext>
            </a:extLst>
          </p:cNvPr>
          <p:cNvSpPr>
            <a:spLocks/>
          </p:cNvSpPr>
          <p:nvPr/>
        </p:nvSpPr>
        <p:spPr bwMode="auto">
          <a:xfrm>
            <a:off x="2854452" y="2567940"/>
            <a:ext cx="2100072" cy="246221"/>
          </a:xfrm>
          <a:prstGeom prst="roundRect">
            <a:avLst>
              <a:gd name="adj" fmla="val 1726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Text Semibold"/>
                <a:ea typeface="+mn-ea"/>
                <a:cs typeface="+mn-cs"/>
              </a:rPr>
              <a:t>Inspire and Design</a:t>
            </a:r>
          </a:p>
        </p:txBody>
      </p:sp>
      <p:sp>
        <p:nvSpPr>
          <p:cNvPr id="58" name="Rectangle: Rounded Corners 57">
            <a:extLst>
              <a:ext uri="{FF2B5EF4-FFF2-40B4-BE49-F238E27FC236}">
                <a16:creationId xmlns:a16="http://schemas.microsoft.com/office/drawing/2014/main" id="{BDCF5F0B-AB5E-9E83-CCF7-AB1E385BACE1}"/>
              </a:ext>
            </a:extLst>
          </p:cNvPr>
          <p:cNvSpPr>
            <a:spLocks/>
          </p:cNvSpPr>
          <p:nvPr/>
        </p:nvSpPr>
        <p:spPr bwMode="auto">
          <a:xfrm>
            <a:off x="5045964" y="2567940"/>
            <a:ext cx="2100072" cy="246221"/>
          </a:xfrm>
          <a:prstGeom prst="roundRect">
            <a:avLst>
              <a:gd name="adj" fmla="val 172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Text Semibold"/>
                <a:ea typeface="+mn-ea"/>
                <a:cs typeface="+mn-cs"/>
              </a:rPr>
              <a:t>Empower and Achieve</a:t>
            </a:r>
          </a:p>
        </p:txBody>
      </p:sp>
      <p:sp>
        <p:nvSpPr>
          <p:cNvPr id="62" name="Rectangle: Rounded Corners 61">
            <a:extLst>
              <a:ext uri="{FF2B5EF4-FFF2-40B4-BE49-F238E27FC236}">
                <a16:creationId xmlns:a16="http://schemas.microsoft.com/office/drawing/2014/main" id="{65632CFA-FFB5-8871-34E6-FCF7D793553D}"/>
              </a:ext>
            </a:extLst>
          </p:cNvPr>
          <p:cNvSpPr>
            <a:spLocks/>
          </p:cNvSpPr>
          <p:nvPr/>
        </p:nvSpPr>
        <p:spPr bwMode="auto">
          <a:xfrm>
            <a:off x="7237476" y="2567940"/>
            <a:ext cx="2100072" cy="246221"/>
          </a:xfrm>
          <a:prstGeom prst="roundRect">
            <a:avLst>
              <a:gd name="adj" fmla="val 17263"/>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Text Semibold"/>
                <a:ea typeface="+mn-ea"/>
                <a:cs typeface="+mn-cs"/>
              </a:rPr>
              <a:t>Realize Value</a:t>
            </a:r>
          </a:p>
        </p:txBody>
      </p:sp>
      <p:sp>
        <p:nvSpPr>
          <p:cNvPr id="63" name="Rectangle: Rounded Corners 62">
            <a:extLst>
              <a:ext uri="{FF2B5EF4-FFF2-40B4-BE49-F238E27FC236}">
                <a16:creationId xmlns:a16="http://schemas.microsoft.com/office/drawing/2014/main" id="{C27DD09D-99D9-4781-1223-90648D84BDBE}"/>
              </a:ext>
            </a:extLst>
          </p:cNvPr>
          <p:cNvSpPr>
            <a:spLocks/>
          </p:cNvSpPr>
          <p:nvPr/>
        </p:nvSpPr>
        <p:spPr bwMode="auto">
          <a:xfrm>
            <a:off x="9428988" y="2567940"/>
            <a:ext cx="2100072" cy="246221"/>
          </a:xfrm>
          <a:prstGeom prst="roundRect">
            <a:avLst>
              <a:gd name="adj" fmla="val 17263"/>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Text Semibold"/>
                <a:ea typeface="+mn-ea"/>
                <a:cs typeface="+mn-cs"/>
              </a:rPr>
              <a:t>Manage and Optimize</a:t>
            </a:r>
          </a:p>
        </p:txBody>
      </p:sp>
      <p:sp>
        <p:nvSpPr>
          <p:cNvPr id="122" name="Graphic 106" descr="Icon of a person">
            <a:extLst>
              <a:ext uri="{FF2B5EF4-FFF2-40B4-BE49-F238E27FC236}">
                <a16:creationId xmlns:a16="http://schemas.microsoft.com/office/drawing/2014/main" id="{59F19CE1-C37C-CCC8-5AE9-5CDE1A88BC5E}"/>
              </a:ext>
            </a:extLst>
          </p:cNvPr>
          <p:cNvSpPr/>
          <p:nvPr/>
        </p:nvSpPr>
        <p:spPr>
          <a:xfrm>
            <a:off x="909734" y="3213670"/>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68" name="TextBox 67">
            <a:extLst>
              <a:ext uri="{FF2B5EF4-FFF2-40B4-BE49-F238E27FC236}">
                <a16:creationId xmlns:a16="http://schemas.microsoft.com/office/drawing/2014/main" id="{51BFD717-827E-77D2-73A9-06EB130F4B03}"/>
              </a:ext>
            </a:extLst>
          </p:cNvPr>
          <p:cNvSpPr txBox="1"/>
          <p:nvPr/>
        </p:nvSpPr>
        <p:spPr>
          <a:xfrm>
            <a:off x="820546" y="3448884"/>
            <a:ext cx="331822"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AE/ATS</a:t>
            </a:r>
          </a:p>
        </p:txBody>
      </p:sp>
      <p:sp>
        <p:nvSpPr>
          <p:cNvPr id="123" name="Graphic 106" descr="Icon of a person">
            <a:extLst>
              <a:ext uri="{FF2B5EF4-FFF2-40B4-BE49-F238E27FC236}">
                <a16:creationId xmlns:a16="http://schemas.microsoft.com/office/drawing/2014/main" id="{F0AA5725-CB98-0929-5FC6-2E3CEEE5DDB4}"/>
              </a:ext>
            </a:extLst>
          </p:cNvPr>
          <p:cNvSpPr/>
          <p:nvPr/>
        </p:nvSpPr>
        <p:spPr>
          <a:xfrm>
            <a:off x="3146968" y="321367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70" name="TextBox 69">
            <a:extLst>
              <a:ext uri="{FF2B5EF4-FFF2-40B4-BE49-F238E27FC236}">
                <a16:creationId xmlns:a16="http://schemas.microsoft.com/office/drawing/2014/main" id="{F3EAC049-1F09-F4D6-ED0B-08D73E7459DE}"/>
              </a:ext>
            </a:extLst>
          </p:cNvPr>
          <p:cNvSpPr txBox="1"/>
          <p:nvPr/>
        </p:nvSpPr>
        <p:spPr>
          <a:xfrm>
            <a:off x="3033735" y="3448888"/>
            <a:ext cx="379912"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loud &am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AI SSP</a:t>
            </a:r>
          </a:p>
        </p:txBody>
      </p:sp>
      <p:sp>
        <p:nvSpPr>
          <p:cNvPr id="75" name="Rectangle: Rounded Corners 74">
            <a:extLst>
              <a:ext uri="{FF2B5EF4-FFF2-40B4-BE49-F238E27FC236}">
                <a16:creationId xmlns:a16="http://schemas.microsoft.com/office/drawing/2014/main" id="{602A3B0B-C41E-ABC0-2EE5-3467FBB7F60D}"/>
              </a:ext>
            </a:extLst>
          </p:cNvPr>
          <p:cNvSpPr>
            <a:spLocks/>
          </p:cNvSpPr>
          <p:nvPr/>
        </p:nvSpPr>
        <p:spPr bwMode="auto">
          <a:xfrm>
            <a:off x="1401416" y="2903859"/>
            <a:ext cx="1361595" cy="953766"/>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Qualifies Oppty.</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reates SP opportunities w/ Security milestones</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ubmits exception if needed (M&amp;M only)</a:t>
            </a:r>
          </a:p>
        </p:txBody>
      </p:sp>
      <p:sp>
        <p:nvSpPr>
          <p:cNvPr id="82" name="Rectangle: Rounded Corners 81">
            <a:extLst>
              <a:ext uri="{FF2B5EF4-FFF2-40B4-BE49-F238E27FC236}">
                <a16:creationId xmlns:a16="http://schemas.microsoft.com/office/drawing/2014/main" id="{0E3D8E1D-5EA1-87AD-84B9-E83BA1A51999}"/>
              </a:ext>
            </a:extLst>
          </p:cNvPr>
          <p:cNvSpPr>
            <a:spLocks/>
          </p:cNvSpPr>
          <p:nvPr/>
        </p:nvSpPr>
        <p:spPr bwMode="auto">
          <a:xfrm>
            <a:off x="3592929" y="2903859"/>
            <a:ext cx="1361595" cy="953766"/>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Leads SP conversations </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Pitch SP L100/200 </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w/ Security</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Loops in Security SSP for Security Discussion</a:t>
            </a:r>
          </a:p>
        </p:txBody>
      </p:sp>
      <p:sp>
        <p:nvSpPr>
          <p:cNvPr id="83" name="Rectangle: Rounded Corners 82">
            <a:extLst>
              <a:ext uri="{FF2B5EF4-FFF2-40B4-BE49-F238E27FC236}">
                <a16:creationId xmlns:a16="http://schemas.microsoft.com/office/drawing/2014/main" id="{22F96983-1C50-25B0-E4CB-06088F23D50F}"/>
              </a:ext>
            </a:extLst>
          </p:cNvPr>
          <p:cNvSpPr>
            <a:spLocks/>
          </p:cNvSpPr>
          <p:nvPr/>
        </p:nvSpPr>
        <p:spPr bwMode="auto">
          <a:xfrm>
            <a:off x="3592929" y="3947692"/>
            <a:ext cx="1361595" cy="914359"/>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P Envisioning workshop, architecture, lead holistic assessment, technical validation, POC</a:t>
            </a:r>
          </a:p>
        </p:txBody>
      </p:sp>
      <p:sp>
        <p:nvSpPr>
          <p:cNvPr id="124" name="Graphic 106" descr="Icon of a person">
            <a:extLst>
              <a:ext uri="{FF2B5EF4-FFF2-40B4-BE49-F238E27FC236}">
                <a16:creationId xmlns:a16="http://schemas.microsoft.com/office/drawing/2014/main" id="{5FDA36F6-638A-07E3-07DD-A3F9CDB3C406}"/>
              </a:ext>
            </a:extLst>
          </p:cNvPr>
          <p:cNvSpPr/>
          <p:nvPr/>
        </p:nvSpPr>
        <p:spPr>
          <a:xfrm>
            <a:off x="3146966" y="415609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97" name="TextBox 96">
            <a:extLst>
              <a:ext uri="{FF2B5EF4-FFF2-40B4-BE49-F238E27FC236}">
                <a16:creationId xmlns:a16="http://schemas.microsoft.com/office/drawing/2014/main" id="{EEEC37E3-C8BF-1545-799A-7AFE844D2342}"/>
              </a:ext>
            </a:extLst>
          </p:cNvPr>
          <p:cNvSpPr txBox="1"/>
          <p:nvPr/>
        </p:nvSpPr>
        <p:spPr>
          <a:xfrm>
            <a:off x="2930340" y="4397656"/>
            <a:ext cx="586699" cy="33855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 Pod Lea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Text"/>
                <a:ea typeface="+mn-ea"/>
                <a:cs typeface="+mn-cs"/>
              </a:rPr>
              <a:t> (depending</a:t>
            </a:r>
            <a:br>
              <a:rPr kumimoji="0" lang="en-US" sz="700" b="0" i="0" u="none" strike="noStrike" kern="1200" cap="none" spc="0" normalizeH="0" baseline="0" noProof="0">
                <a:ln>
                  <a:noFill/>
                </a:ln>
                <a:solidFill>
                  <a:srgbClr val="000000"/>
                </a:solidFill>
                <a:effectLst/>
                <a:uLnTx/>
                <a:uFillTx/>
                <a:latin typeface="Segoe Sans Text"/>
                <a:ea typeface="+mn-ea"/>
                <a:cs typeface="+mn-cs"/>
              </a:rPr>
            </a:br>
            <a:r>
              <a:rPr kumimoji="0" lang="en-US" sz="700" b="0" i="0" u="none" strike="noStrike" kern="1200" cap="none" spc="0" normalizeH="0" baseline="0" noProof="0">
                <a:ln>
                  <a:noFill/>
                </a:ln>
                <a:solidFill>
                  <a:srgbClr val="000000"/>
                </a:solidFill>
                <a:effectLst/>
                <a:uLnTx/>
                <a:uFillTx/>
                <a:latin typeface="Segoe Sans Text"/>
                <a:ea typeface="+mn-ea"/>
                <a:cs typeface="+mn-cs"/>
              </a:rPr>
              <a:t>on SP)</a:t>
            </a:r>
          </a:p>
        </p:txBody>
      </p:sp>
      <p:sp>
        <p:nvSpPr>
          <p:cNvPr id="84" name="Rectangle: Rounded Corners 83">
            <a:extLst>
              <a:ext uri="{FF2B5EF4-FFF2-40B4-BE49-F238E27FC236}">
                <a16:creationId xmlns:a16="http://schemas.microsoft.com/office/drawing/2014/main" id="{24888E11-744A-4D34-7B6F-EA9673DA8D0D}"/>
              </a:ext>
            </a:extLst>
          </p:cNvPr>
          <p:cNvSpPr>
            <a:spLocks/>
          </p:cNvSpPr>
          <p:nvPr/>
        </p:nvSpPr>
        <p:spPr bwMode="auto">
          <a:xfrm>
            <a:off x="5784441" y="2903859"/>
            <a:ext cx="1361595" cy="953766"/>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Orchestrate with Security SE to win technical decision/commitment inclusive of Security</a:t>
            </a:r>
          </a:p>
        </p:txBody>
      </p:sp>
      <p:sp>
        <p:nvSpPr>
          <p:cNvPr id="88" name="Rectangle: Rounded Corners 87">
            <a:extLst>
              <a:ext uri="{FF2B5EF4-FFF2-40B4-BE49-F238E27FC236}">
                <a16:creationId xmlns:a16="http://schemas.microsoft.com/office/drawing/2014/main" id="{5F500405-96AA-CF58-9B02-5EC5C4077B21}"/>
              </a:ext>
            </a:extLst>
          </p:cNvPr>
          <p:cNvSpPr>
            <a:spLocks/>
          </p:cNvSpPr>
          <p:nvPr/>
        </p:nvSpPr>
        <p:spPr bwMode="auto">
          <a:xfrm>
            <a:off x="5784441" y="3947692"/>
            <a:ext cx="1361595" cy="914359"/>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curity technical proofing, pricing and solutioning; progress Security milestone from UC </a:t>
            </a:r>
            <a:r>
              <a:rPr kumimoji="0" lang="en-US" sz="800" b="0" i="0" u="none" strike="noStrike" kern="1200" cap="none" spc="0" normalizeH="0" baseline="0" noProof="0">
                <a:ln>
                  <a:noFill/>
                </a:ln>
                <a:solidFill>
                  <a:srgbClr val="000000"/>
                </a:solidFill>
                <a:effectLst/>
                <a:uLnTx/>
                <a:uFillTx/>
                <a:latin typeface="Segoe Sans Text"/>
                <a:ea typeface="+mn-ea"/>
                <a:cs typeface="+mn-cs"/>
                <a:sym typeface="Wingdings" panose="05000000000000000000" pitchFamily="2" charset="2"/>
              </a:rPr>
              <a:t></a:t>
            </a:r>
            <a:r>
              <a:rPr kumimoji="0" lang="en-US" sz="800" b="0" i="0" u="none" strike="noStrike" kern="1200" cap="none" spc="0" normalizeH="0" baseline="0" noProof="0">
                <a:ln>
                  <a:noFill/>
                </a:ln>
                <a:solidFill>
                  <a:srgbClr val="000000"/>
                </a:solidFill>
                <a:effectLst/>
                <a:uLnTx/>
                <a:uFillTx/>
                <a:latin typeface="Segoe Sans Text"/>
                <a:ea typeface="+mn-ea"/>
                <a:cs typeface="+mn-cs"/>
              </a:rPr>
              <a:t> C</a:t>
            </a:r>
          </a:p>
        </p:txBody>
      </p:sp>
      <p:sp>
        <p:nvSpPr>
          <p:cNvPr id="127" name="Graphic 106" descr="Icon of a person">
            <a:extLst>
              <a:ext uri="{FF2B5EF4-FFF2-40B4-BE49-F238E27FC236}">
                <a16:creationId xmlns:a16="http://schemas.microsoft.com/office/drawing/2014/main" id="{DE0A0752-297D-9D9E-0142-DB2CA7BF0FEE}"/>
              </a:ext>
            </a:extLst>
          </p:cNvPr>
          <p:cNvSpPr/>
          <p:nvPr/>
        </p:nvSpPr>
        <p:spPr>
          <a:xfrm>
            <a:off x="5338480" y="321367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93" name="TextBox 92">
            <a:extLst>
              <a:ext uri="{FF2B5EF4-FFF2-40B4-BE49-F238E27FC236}">
                <a16:creationId xmlns:a16="http://schemas.microsoft.com/office/drawing/2014/main" id="{49FEB471-0BDC-E97C-6A20-7A12D271F588}"/>
              </a:ext>
            </a:extLst>
          </p:cNvPr>
          <p:cNvSpPr txBox="1"/>
          <p:nvPr/>
        </p:nvSpPr>
        <p:spPr>
          <a:xfrm>
            <a:off x="5121854" y="3448888"/>
            <a:ext cx="586699" cy="353943"/>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 Pod Lea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t>
            </a:r>
            <a:r>
              <a:rPr kumimoji="0" lang="en-US" sz="700" b="0" i="0" u="none" strike="noStrike" kern="1200" cap="none" spc="0" normalizeH="0" baseline="0" noProof="0">
                <a:ln>
                  <a:noFill/>
                </a:ln>
                <a:solidFill>
                  <a:srgbClr val="000000"/>
                </a:solidFill>
                <a:effectLst/>
                <a:uLnTx/>
                <a:uFillTx/>
                <a:latin typeface="Segoe Sans Text"/>
                <a:ea typeface="+mn-ea"/>
                <a:cs typeface="+mn-cs"/>
              </a:rPr>
              <a:t>(depending</a:t>
            </a:r>
            <a:br>
              <a:rPr kumimoji="0" lang="en-US" sz="700" b="0" i="0" u="none" strike="noStrike" kern="1200" cap="none" spc="0" normalizeH="0" baseline="0" noProof="0">
                <a:ln>
                  <a:noFill/>
                </a:ln>
                <a:solidFill>
                  <a:srgbClr val="000000"/>
                </a:solidFill>
                <a:effectLst/>
                <a:uLnTx/>
                <a:uFillTx/>
                <a:latin typeface="Segoe Sans Text"/>
                <a:ea typeface="+mn-ea"/>
                <a:cs typeface="+mn-cs"/>
              </a:rPr>
            </a:br>
            <a:r>
              <a:rPr kumimoji="0" lang="en-US" sz="700" b="0" i="0" u="none" strike="noStrike" kern="1200" cap="none" spc="0" normalizeH="0" baseline="0" noProof="0">
                <a:ln>
                  <a:noFill/>
                </a:ln>
                <a:solidFill>
                  <a:srgbClr val="000000"/>
                </a:solidFill>
                <a:effectLst/>
                <a:uLnTx/>
                <a:uFillTx/>
                <a:latin typeface="Segoe Sans Text"/>
                <a:ea typeface="+mn-ea"/>
                <a:cs typeface="+mn-cs"/>
              </a:rPr>
              <a:t>on SP)</a:t>
            </a: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5" name="Graphic 106" descr="Icon of a person">
            <a:extLst>
              <a:ext uri="{FF2B5EF4-FFF2-40B4-BE49-F238E27FC236}">
                <a16:creationId xmlns:a16="http://schemas.microsoft.com/office/drawing/2014/main" id="{8F190407-7DFD-1085-5ACD-552B79209751}"/>
              </a:ext>
            </a:extLst>
          </p:cNvPr>
          <p:cNvSpPr/>
          <p:nvPr/>
        </p:nvSpPr>
        <p:spPr>
          <a:xfrm>
            <a:off x="5338478" y="415609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10" name="TextBox 109">
            <a:extLst>
              <a:ext uri="{FF2B5EF4-FFF2-40B4-BE49-F238E27FC236}">
                <a16:creationId xmlns:a16="http://schemas.microsoft.com/office/drawing/2014/main" id="{7B6F664B-497E-39D0-443B-A4E336AC97D1}"/>
              </a:ext>
            </a:extLst>
          </p:cNvPr>
          <p:cNvSpPr txBox="1"/>
          <p:nvPr/>
        </p:nvSpPr>
        <p:spPr>
          <a:xfrm>
            <a:off x="5168339" y="4397656"/>
            <a:ext cx="493725"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curity SE</a:t>
            </a:r>
          </a:p>
        </p:txBody>
      </p:sp>
      <p:sp>
        <p:nvSpPr>
          <p:cNvPr id="126" name="TextBox 125">
            <a:extLst>
              <a:ext uri="{FF2B5EF4-FFF2-40B4-BE49-F238E27FC236}">
                <a16:creationId xmlns:a16="http://schemas.microsoft.com/office/drawing/2014/main" id="{2F51A95C-0049-5975-960D-A43E3F91F707}"/>
              </a:ext>
            </a:extLst>
          </p:cNvPr>
          <p:cNvSpPr txBox="1"/>
          <p:nvPr/>
        </p:nvSpPr>
        <p:spPr>
          <a:xfrm>
            <a:off x="571500" y="6499770"/>
            <a:ext cx="79334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000000"/>
                </a:solidFill>
                <a:effectLst/>
                <a:uLnTx/>
                <a:uFillTx/>
                <a:latin typeface="Segoe Sans Text"/>
                <a:ea typeface="+mn-ea"/>
                <a:cs typeface="+mn-cs"/>
              </a:rPr>
              <a:t>1 </a:t>
            </a:r>
            <a:r>
              <a:rPr kumimoji="0" lang="en-US" sz="800" b="0" i="0" u="none" strike="noStrike" kern="1200" cap="none" spc="0" normalizeH="0" baseline="0" noProof="0">
                <a:ln>
                  <a:noFill/>
                </a:ln>
                <a:solidFill>
                  <a:srgbClr val="000000"/>
                </a:solidFill>
                <a:effectLst/>
                <a:uLnTx/>
                <a:uFillTx/>
                <a:latin typeface="Segoe Sans Text"/>
                <a:ea typeface="+mn-ea"/>
                <a:cs typeface="+mn-cs"/>
              </a:rPr>
              <a:t>Microsoft Defender for Cloud (MDC) is primary security product; other applicable security product is Solution Play (SP) dependent; please refer to detail SP orchestration slide </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30000" noProof="0">
                <a:ln>
                  <a:noFill/>
                </a:ln>
                <a:solidFill>
                  <a:srgbClr val="000000"/>
                </a:solidFill>
                <a:effectLst/>
                <a:uLnTx/>
                <a:uFillTx/>
                <a:latin typeface="Segoe Sans Text"/>
                <a:ea typeface="+mn-ea"/>
                <a:cs typeface="+mn-cs"/>
              </a:rPr>
              <a:t>2 </a:t>
            </a:r>
            <a:r>
              <a:rPr kumimoji="0" lang="en-US" sz="800" b="0" i="0" u="none" strike="noStrike" kern="1200" cap="none" spc="0" normalizeH="0" baseline="0" noProof="0">
                <a:ln>
                  <a:noFill/>
                </a:ln>
                <a:solidFill>
                  <a:srgbClr val="000000"/>
                </a:solidFill>
                <a:effectLst/>
                <a:uLnTx/>
                <a:uFillTx/>
                <a:latin typeface="Segoe Sans Text"/>
                <a:ea typeface="+mn-ea"/>
                <a:cs typeface="+mn-cs"/>
              </a:rPr>
              <a:t>Partners support pre-sales workshops, assessments, deployment, integration, training, and ongoing technical support as needed across MCEM stages 2 to 4</a:t>
            </a:r>
            <a:endParaRPr kumimoji="0" lang="en-US" sz="7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2" name="Rectangle: Rounded Corners 151">
            <a:extLst>
              <a:ext uri="{FF2B5EF4-FFF2-40B4-BE49-F238E27FC236}">
                <a16:creationId xmlns:a16="http://schemas.microsoft.com/office/drawing/2014/main" id="{85A6E502-E282-8328-883F-D2E9A8651587}"/>
              </a:ext>
            </a:extLst>
          </p:cNvPr>
          <p:cNvSpPr>
            <a:spLocks/>
          </p:cNvSpPr>
          <p:nvPr/>
        </p:nvSpPr>
        <p:spPr bwMode="auto">
          <a:xfrm>
            <a:off x="7975953" y="2903859"/>
            <a:ext cx="1361595" cy="953766"/>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upport Azure Migration and Security deployments</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Deliver VBD/DE activities as scheduled</a:t>
            </a:r>
          </a:p>
        </p:txBody>
      </p:sp>
      <p:sp>
        <p:nvSpPr>
          <p:cNvPr id="153" name="Rectangle: Rounded Corners 152">
            <a:extLst>
              <a:ext uri="{FF2B5EF4-FFF2-40B4-BE49-F238E27FC236}">
                <a16:creationId xmlns:a16="http://schemas.microsoft.com/office/drawing/2014/main" id="{9F8DF120-8EB2-64BC-DF98-A24B17B9B737}"/>
              </a:ext>
            </a:extLst>
          </p:cNvPr>
          <p:cNvSpPr>
            <a:spLocks/>
          </p:cNvSpPr>
          <p:nvPr/>
        </p:nvSpPr>
        <p:spPr bwMode="auto">
          <a:xfrm>
            <a:off x="7975953" y="3947692"/>
            <a:ext cx="1361595" cy="914359"/>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Implement Azure Migration + Security</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xecute the CS Plan</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Validate Technical Outcomes </a:t>
            </a:r>
          </a:p>
        </p:txBody>
      </p:sp>
      <p:sp>
        <p:nvSpPr>
          <p:cNvPr id="129" name="Graphic 106" descr="Icon of a person">
            <a:extLst>
              <a:ext uri="{FF2B5EF4-FFF2-40B4-BE49-F238E27FC236}">
                <a16:creationId xmlns:a16="http://schemas.microsoft.com/office/drawing/2014/main" id="{EAED1DB5-9DE5-2FFA-0DD1-5CD71B48A9C4}"/>
              </a:ext>
            </a:extLst>
          </p:cNvPr>
          <p:cNvSpPr/>
          <p:nvPr/>
        </p:nvSpPr>
        <p:spPr>
          <a:xfrm>
            <a:off x="7529992" y="321367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55" name="TextBox 154">
            <a:extLst>
              <a:ext uri="{FF2B5EF4-FFF2-40B4-BE49-F238E27FC236}">
                <a16:creationId xmlns:a16="http://schemas.microsoft.com/office/drawing/2014/main" id="{2C96A822-B7D3-3E7A-4F3B-990D6B73608E}"/>
              </a:ext>
            </a:extLst>
          </p:cNvPr>
          <p:cNvSpPr txBox="1"/>
          <p:nvPr/>
        </p:nvSpPr>
        <p:spPr>
          <a:xfrm>
            <a:off x="7422370" y="3448888"/>
            <a:ext cx="368691"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c CSA</a:t>
            </a:r>
          </a:p>
        </p:txBody>
      </p:sp>
      <p:sp>
        <p:nvSpPr>
          <p:cNvPr id="128" name="Graphic 106" descr="Icon of a person">
            <a:extLst>
              <a:ext uri="{FF2B5EF4-FFF2-40B4-BE49-F238E27FC236}">
                <a16:creationId xmlns:a16="http://schemas.microsoft.com/office/drawing/2014/main" id="{B70051AF-DB57-52F6-D4D5-5509A1EA1066}"/>
              </a:ext>
            </a:extLst>
          </p:cNvPr>
          <p:cNvSpPr/>
          <p:nvPr/>
        </p:nvSpPr>
        <p:spPr>
          <a:xfrm>
            <a:off x="7529990" y="415609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57" name="TextBox 156">
            <a:extLst>
              <a:ext uri="{FF2B5EF4-FFF2-40B4-BE49-F238E27FC236}">
                <a16:creationId xmlns:a16="http://schemas.microsoft.com/office/drawing/2014/main" id="{3F79C1D9-AC94-C664-41A9-CE29DB750A7D}"/>
              </a:ext>
            </a:extLst>
          </p:cNvPr>
          <p:cNvSpPr txBox="1"/>
          <p:nvPr/>
        </p:nvSpPr>
        <p:spPr>
          <a:xfrm>
            <a:off x="7416758" y="4397656"/>
            <a:ext cx="379911"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loud &am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AI CSAs</a:t>
            </a:r>
          </a:p>
        </p:txBody>
      </p:sp>
      <p:sp>
        <p:nvSpPr>
          <p:cNvPr id="131" name="Graphic 106" descr="Icon of a person">
            <a:extLst>
              <a:ext uri="{FF2B5EF4-FFF2-40B4-BE49-F238E27FC236}">
                <a16:creationId xmlns:a16="http://schemas.microsoft.com/office/drawing/2014/main" id="{70AA901C-7759-2843-224D-2B907216BB5C}"/>
              </a:ext>
            </a:extLst>
          </p:cNvPr>
          <p:cNvSpPr/>
          <p:nvPr/>
        </p:nvSpPr>
        <p:spPr>
          <a:xfrm>
            <a:off x="9721504" y="321367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62" name="TextBox 161">
            <a:extLst>
              <a:ext uri="{FF2B5EF4-FFF2-40B4-BE49-F238E27FC236}">
                <a16:creationId xmlns:a16="http://schemas.microsoft.com/office/drawing/2014/main" id="{A2F74C13-89A8-1042-8C2C-56D23085B5C3}"/>
              </a:ext>
            </a:extLst>
          </p:cNvPr>
          <p:cNvSpPr txBox="1"/>
          <p:nvPr/>
        </p:nvSpPr>
        <p:spPr>
          <a:xfrm>
            <a:off x="9613882" y="3448888"/>
            <a:ext cx="368691"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c CSA</a:t>
            </a:r>
          </a:p>
        </p:txBody>
      </p:sp>
      <p:sp>
        <p:nvSpPr>
          <p:cNvPr id="130" name="Graphic 106" descr="Icon of a person">
            <a:extLst>
              <a:ext uri="{FF2B5EF4-FFF2-40B4-BE49-F238E27FC236}">
                <a16:creationId xmlns:a16="http://schemas.microsoft.com/office/drawing/2014/main" id="{9B7AC2F7-5744-05E0-FDFB-F2A0F7D4DA61}"/>
              </a:ext>
            </a:extLst>
          </p:cNvPr>
          <p:cNvSpPr/>
          <p:nvPr/>
        </p:nvSpPr>
        <p:spPr>
          <a:xfrm>
            <a:off x="9721502" y="4156091"/>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solidFill>
              <a:srgbClr val="C03BC4"/>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64" name="TextBox 163">
            <a:extLst>
              <a:ext uri="{FF2B5EF4-FFF2-40B4-BE49-F238E27FC236}">
                <a16:creationId xmlns:a16="http://schemas.microsoft.com/office/drawing/2014/main" id="{559D907D-EA90-6094-CA0F-BC0E85F0FAA1}"/>
              </a:ext>
            </a:extLst>
          </p:cNvPr>
          <p:cNvSpPr txBox="1"/>
          <p:nvPr/>
        </p:nvSpPr>
        <p:spPr>
          <a:xfrm>
            <a:off x="9608270" y="4397656"/>
            <a:ext cx="379911" cy="24622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Cloud &amp;</a:t>
            </a:r>
            <a:br>
              <a:rPr kumimoji="0" lang="en-US" sz="800" b="0" i="0" u="none" strike="noStrike" kern="1200" cap="none" spc="0" normalizeH="0" baseline="0" noProof="0">
                <a:ln>
                  <a:noFill/>
                </a:ln>
                <a:solidFill>
                  <a:srgbClr val="000000"/>
                </a:solidFill>
                <a:effectLst/>
                <a:uLnTx/>
                <a:uFillTx/>
                <a:latin typeface="Segoe Sans Text"/>
                <a:ea typeface="+mn-ea"/>
                <a:cs typeface="+mn-cs"/>
              </a:rPr>
            </a:br>
            <a:r>
              <a:rPr kumimoji="0" lang="en-US" sz="800" b="0" i="0" u="none" strike="noStrike" kern="1200" cap="none" spc="0" normalizeH="0" baseline="0" noProof="0">
                <a:ln>
                  <a:noFill/>
                </a:ln>
                <a:solidFill>
                  <a:srgbClr val="000000"/>
                </a:solidFill>
                <a:effectLst/>
                <a:uLnTx/>
                <a:uFillTx/>
                <a:latin typeface="Segoe Sans Text"/>
                <a:ea typeface="+mn-ea"/>
                <a:cs typeface="+mn-cs"/>
              </a:rPr>
              <a:t>AI CSAs</a:t>
            </a:r>
          </a:p>
        </p:txBody>
      </p:sp>
      <p:sp>
        <p:nvSpPr>
          <p:cNvPr id="121" name="Graphic 106" descr="Icon of a person">
            <a:extLst>
              <a:ext uri="{FF2B5EF4-FFF2-40B4-BE49-F238E27FC236}">
                <a16:creationId xmlns:a16="http://schemas.microsoft.com/office/drawing/2014/main" id="{AB4205F2-79A8-4805-79E4-662F8C2C03A5}"/>
              </a:ext>
            </a:extLst>
          </p:cNvPr>
          <p:cNvSpPr/>
          <p:nvPr/>
        </p:nvSpPr>
        <p:spPr>
          <a:xfrm>
            <a:off x="909734" y="5254860"/>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70" name="TextBox 169">
            <a:extLst>
              <a:ext uri="{FF2B5EF4-FFF2-40B4-BE49-F238E27FC236}">
                <a16:creationId xmlns:a16="http://schemas.microsoft.com/office/drawing/2014/main" id="{F793A094-D999-A15C-8B4F-92678E5ADDDF}"/>
              </a:ext>
            </a:extLst>
          </p:cNvPr>
          <p:cNvSpPr txBox="1"/>
          <p:nvPr/>
        </p:nvSpPr>
        <p:spPr>
          <a:xfrm>
            <a:off x="709138" y="5490074"/>
            <a:ext cx="554640"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curity SSP</a:t>
            </a:r>
          </a:p>
        </p:txBody>
      </p:sp>
      <p:sp>
        <p:nvSpPr>
          <p:cNvPr id="178" name="Rectangle: Rounded Corners 177">
            <a:extLst>
              <a:ext uri="{FF2B5EF4-FFF2-40B4-BE49-F238E27FC236}">
                <a16:creationId xmlns:a16="http://schemas.microsoft.com/office/drawing/2014/main" id="{EE960503-D0C2-4B4B-C092-DFB7EC28487D}"/>
              </a:ext>
              <a:ext uri="{C183D7F6-B498-43B3-948B-1728B52AA6E4}">
                <adec:decorative xmlns:adec="http://schemas.microsoft.com/office/drawing/2017/decorative" val="1"/>
              </a:ext>
            </a:extLst>
          </p:cNvPr>
          <p:cNvSpPr/>
          <p:nvPr/>
        </p:nvSpPr>
        <p:spPr bwMode="auto">
          <a:xfrm>
            <a:off x="662940" y="5926496"/>
            <a:ext cx="6483096" cy="428340"/>
          </a:xfrm>
          <a:prstGeom prst="roundRect">
            <a:avLst>
              <a:gd name="adj" fmla="val 159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71" name="Rectangle: Rounded Corners 170">
            <a:extLst>
              <a:ext uri="{FF2B5EF4-FFF2-40B4-BE49-F238E27FC236}">
                <a16:creationId xmlns:a16="http://schemas.microsoft.com/office/drawing/2014/main" id="{9490C488-F212-B192-A7F2-E8A008A42BC7}"/>
              </a:ext>
            </a:extLst>
          </p:cNvPr>
          <p:cNvSpPr>
            <a:spLocks/>
          </p:cNvSpPr>
          <p:nvPr/>
        </p:nvSpPr>
        <p:spPr bwMode="auto">
          <a:xfrm>
            <a:off x="1410939" y="5127497"/>
            <a:ext cx="3553110" cy="704021"/>
          </a:xfrm>
          <a:prstGeom prst="roundRect">
            <a:avLst>
              <a:gd name="adj" fmla="val 737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864" tIns="27432" rIns="54864" bIns="27432" rtlCol="0" anchor="t">
            <a:noAutofit/>
          </a:bodyPr>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Owns Security Milestones</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upport Security positioning/solutioning (offers, pricing, arch.) </a:t>
            </a:r>
          </a:p>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1" u="none" strike="noStrike" kern="1200" cap="none" spc="0" normalizeH="0" baseline="0" noProof="0">
                <a:ln>
                  <a:noFill/>
                </a:ln>
                <a:solidFill>
                  <a:srgbClr val="000000"/>
                </a:solidFill>
                <a:effectLst/>
                <a:uLnTx/>
                <a:uFillTx/>
                <a:latin typeface="Segoe Sans Text"/>
                <a:ea typeface="+mn-ea"/>
                <a:cs typeface="+mn-cs"/>
              </a:rPr>
              <a:t>Security SSP should proactively engage Cloud AI SSP on identified Cloud &amp; AI opportunities without Security</a:t>
            </a:r>
          </a:p>
        </p:txBody>
      </p:sp>
      <p:grpSp>
        <p:nvGrpSpPr>
          <p:cNvPr id="204" name="Group 203">
            <a:extLst>
              <a:ext uri="{FF2B5EF4-FFF2-40B4-BE49-F238E27FC236}">
                <a16:creationId xmlns:a16="http://schemas.microsoft.com/office/drawing/2014/main" id="{AC58F72D-AD8E-269C-D242-85DD9C06B6FD}"/>
              </a:ext>
              <a:ext uri="{C183D7F6-B498-43B3-948B-1728B52AA6E4}">
                <adec:decorative xmlns:adec="http://schemas.microsoft.com/office/drawing/2017/decorative" val="1"/>
              </a:ext>
            </a:extLst>
          </p:cNvPr>
          <p:cNvGrpSpPr/>
          <p:nvPr/>
        </p:nvGrpSpPr>
        <p:grpSpPr>
          <a:xfrm>
            <a:off x="731580" y="5961504"/>
            <a:ext cx="509755" cy="358325"/>
            <a:chOff x="731580" y="5964322"/>
            <a:chExt cx="509755" cy="358325"/>
          </a:xfrm>
        </p:grpSpPr>
        <p:sp>
          <p:nvSpPr>
            <p:cNvPr id="120" name="Graphic 106" descr="Icon of a person">
              <a:extLst>
                <a:ext uri="{FF2B5EF4-FFF2-40B4-BE49-F238E27FC236}">
                  <a16:creationId xmlns:a16="http://schemas.microsoft.com/office/drawing/2014/main" id="{E5C576D5-3C33-B41C-813D-0E49D66BD74B}"/>
                </a:ext>
              </a:extLst>
            </p:cNvPr>
            <p:cNvSpPr/>
            <p:nvPr/>
          </p:nvSpPr>
          <p:spPr>
            <a:xfrm>
              <a:off x="909734" y="5964322"/>
              <a:ext cx="153446" cy="191756"/>
            </a:xfrm>
            <a:custGeom>
              <a:avLst/>
              <a:gdLst>
                <a:gd name="connsiteX0" fmla="*/ 221321 w 257515"/>
                <a:gd name="connsiteY0" fmla="*/ 193068 h 321847"/>
                <a:gd name="connsiteX1" fmla="*/ 257516 w 257515"/>
                <a:gd name="connsiteY1" fmla="*/ 229264 h 321847"/>
                <a:gd name="connsiteX2" fmla="*/ 257516 w 257515"/>
                <a:gd name="connsiteY2" fmla="*/ 238525 h 321847"/>
                <a:gd name="connsiteX3" fmla="*/ 243012 w 257515"/>
                <a:gd name="connsiteY3" fmla="*/ 277774 h 321847"/>
                <a:gd name="connsiteX4" fmla="*/ 128705 w 257515"/>
                <a:gd name="connsiteY4" fmla="*/ 321847 h 321847"/>
                <a:gd name="connsiteX5" fmla="*/ 14458 w 257515"/>
                <a:gd name="connsiteY5" fmla="*/ 277756 h 321847"/>
                <a:gd name="connsiteX6" fmla="*/ 0 w 257515"/>
                <a:gd name="connsiteY6" fmla="*/ 238561 h 321847"/>
                <a:gd name="connsiteX7" fmla="*/ 0 w 257515"/>
                <a:gd name="connsiteY7" fmla="*/ 229264 h 321847"/>
                <a:gd name="connsiteX8" fmla="*/ 36196 w 257515"/>
                <a:gd name="connsiteY8" fmla="*/ 193068 h 321847"/>
                <a:gd name="connsiteX9" fmla="*/ 221321 w 257515"/>
                <a:gd name="connsiteY9" fmla="*/ 193068 h 321847"/>
                <a:gd name="connsiteX10" fmla="*/ 221321 w 257515"/>
                <a:gd name="connsiteY10" fmla="*/ 217211 h 321847"/>
                <a:gd name="connsiteX11" fmla="*/ 36196 w 257515"/>
                <a:gd name="connsiteY11" fmla="*/ 217211 h 321847"/>
                <a:gd name="connsiteX12" fmla="*/ 24143 w 257515"/>
                <a:gd name="connsiteY12" fmla="*/ 229264 h 321847"/>
                <a:gd name="connsiteX13" fmla="*/ 24143 w 257515"/>
                <a:gd name="connsiteY13" fmla="*/ 238561 h 321847"/>
                <a:gd name="connsiteX14" fmla="*/ 32818 w 257515"/>
                <a:gd name="connsiteY14" fmla="*/ 262078 h 321847"/>
                <a:gd name="connsiteX15" fmla="*/ 128705 w 257515"/>
                <a:gd name="connsiteY15" fmla="*/ 297705 h 321847"/>
                <a:gd name="connsiteX16" fmla="*/ 224672 w 257515"/>
                <a:gd name="connsiteY16" fmla="*/ 262074 h 321847"/>
                <a:gd name="connsiteX17" fmla="*/ 233373 w 257515"/>
                <a:gd name="connsiteY17" fmla="*/ 238525 h 321847"/>
                <a:gd name="connsiteX18" fmla="*/ 233373 w 257515"/>
                <a:gd name="connsiteY18" fmla="*/ 229264 h 321847"/>
                <a:gd name="connsiteX19" fmla="*/ 221321 w 257515"/>
                <a:gd name="connsiteY19" fmla="*/ 217211 h 321847"/>
                <a:gd name="connsiteX20" fmla="*/ 128705 w 257515"/>
                <a:gd name="connsiteY20" fmla="*/ 0 h 321847"/>
                <a:gd name="connsiteX21" fmla="*/ 209182 w 257515"/>
                <a:gd name="connsiteY21" fmla="*/ 80476 h 321847"/>
                <a:gd name="connsiteX22" fmla="*/ 128705 w 257515"/>
                <a:gd name="connsiteY22" fmla="*/ 160953 h 321847"/>
                <a:gd name="connsiteX23" fmla="*/ 48229 w 257515"/>
                <a:gd name="connsiteY23" fmla="*/ 80476 h 321847"/>
                <a:gd name="connsiteX24" fmla="*/ 128705 w 257515"/>
                <a:gd name="connsiteY24" fmla="*/ 0 h 321847"/>
                <a:gd name="connsiteX25" fmla="*/ 128705 w 257515"/>
                <a:gd name="connsiteY25" fmla="*/ 24143 h 321847"/>
                <a:gd name="connsiteX26" fmla="*/ 72372 w 257515"/>
                <a:gd name="connsiteY26" fmla="*/ 80476 h 321847"/>
                <a:gd name="connsiteX27" fmla="*/ 128705 w 257515"/>
                <a:gd name="connsiteY27" fmla="*/ 136810 h 321847"/>
                <a:gd name="connsiteX28" fmla="*/ 185039 w 257515"/>
                <a:gd name="connsiteY28" fmla="*/ 80476 h 321847"/>
                <a:gd name="connsiteX29" fmla="*/ 128705 w 257515"/>
                <a:gd name="connsiteY29" fmla="*/ 24143 h 32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515" h="321847">
                  <a:moveTo>
                    <a:pt x="221321" y="193068"/>
                  </a:moveTo>
                  <a:cubicBezTo>
                    <a:pt x="241311" y="193068"/>
                    <a:pt x="257516" y="209272"/>
                    <a:pt x="257516" y="229264"/>
                  </a:cubicBezTo>
                  <a:lnTo>
                    <a:pt x="257516" y="238525"/>
                  </a:lnTo>
                  <a:cubicBezTo>
                    <a:pt x="257516" y="252919"/>
                    <a:pt x="252372" y="266839"/>
                    <a:pt x="243012" y="277774"/>
                  </a:cubicBezTo>
                  <a:cubicBezTo>
                    <a:pt x="217752" y="307284"/>
                    <a:pt x="179331" y="321847"/>
                    <a:pt x="128705" y="321847"/>
                  </a:cubicBezTo>
                  <a:cubicBezTo>
                    <a:pt x="78071" y="321847"/>
                    <a:pt x="39668" y="307280"/>
                    <a:pt x="14458" y="277756"/>
                  </a:cubicBezTo>
                  <a:cubicBezTo>
                    <a:pt x="5127" y="266829"/>
                    <a:pt x="0" y="252931"/>
                    <a:pt x="0" y="238561"/>
                  </a:cubicBezTo>
                  <a:lnTo>
                    <a:pt x="0" y="229264"/>
                  </a:lnTo>
                  <a:cubicBezTo>
                    <a:pt x="0" y="209272"/>
                    <a:pt x="16206" y="193068"/>
                    <a:pt x="36196" y="193068"/>
                  </a:cubicBezTo>
                  <a:lnTo>
                    <a:pt x="221321" y="193068"/>
                  </a:lnTo>
                  <a:close/>
                  <a:moveTo>
                    <a:pt x="221321" y="217211"/>
                  </a:moveTo>
                  <a:lnTo>
                    <a:pt x="36196" y="217211"/>
                  </a:lnTo>
                  <a:cubicBezTo>
                    <a:pt x="29539" y="217211"/>
                    <a:pt x="24143" y="222607"/>
                    <a:pt x="24143" y="229264"/>
                  </a:cubicBezTo>
                  <a:lnTo>
                    <a:pt x="24143" y="238561"/>
                  </a:lnTo>
                  <a:cubicBezTo>
                    <a:pt x="24143" y="247183"/>
                    <a:pt x="27219" y="255522"/>
                    <a:pt x="32818" y="262078"/>
                  </a:cubicBezTo>
                  <a:cubicBezTo>
                    <a:pt x="52990" y="285701"/>
                    <a:pt x="84631" y="297705"/>
                    <a:pt x="128705" y="297705"/>
                  </a:cubicBezTo>
                  <a:cubicBezTo>
                    <a:pt x="172779" y="297705"/>
                    <a:pt x="204448" y="285701"/>
                    <a:pt x="224672" y="262074"/>
                  </a:cubicBezTo>
                  <a:cubicBezTo>
                    <a:pt x="230287" y="255512"/>
                    <a:pt x="233373" y="247161"/>
                    <a:pt x="233373" y="238525"/>
                  </a:cubicBezTo>
                  <a:lnTo>
                    <a:pt x="233373" y="229264"/>
                  </a:lnTo>
                  <a:cubicBezTo>
                    <a:pt x="233373" y="222607"/>
                    <a:pt x="227976" y="217211"/>
                    <a:pt x="221321" y="217211"/>
                  </a:cubicBezTo>
                  <a:close/>
                  <a:moveTo>
                    <a:pt x="128705" y="0"/>
                  </a:moveTo>
                  <a:cubicBezTo>
                    <a:pt x="173151" y="0"/>
                    <a:pt x="209182" y="36031"/>
                    <a:pt x="209182" y="80476"/>
                  </a:cubicBezTo>
                  <a:cubicBezTo>
                    <a:pt x="209182" y="124922"/>
                    <a:pt x="173151" y="160953"/>
                    <a:pt x="128705" y="160953"/>
                  </a:cubicBezTo>
                  <a:cubicBezTo>
                    <a:pt x="84259" y="160953"/>
                    <a:pt x="48229" y="124922"/>
                    <a:pt x="48229" y="80476"/>
                  </a:cubicBezTo>
                  <a:cubicBezTo>
                    <a:pt x="48229" y="36031"/>
                    <a:pt x="84259" y="0"/>
                    <a:pt x="128705" y="0"/>
                  </a:cubicBezTo>
                  <a:close/>
                  <a:moveTo>
                    <a:pt x="128705" y="24143"/>
                  </a:moveTo>
                  <a:cubicBezTo>
                    <a:pt x="97593" y="24143"/>
                    <a:pt x="72372" y="49364"/>
                    <a:pt x="72372" y="80476"/>
                  </a:cubicBezTo>
                  <a:cubicBezTo>
                    <a:pt x="72372" y="111588"/>
                    <a:pt x="97593" y="136810"/>
                    <a:pt x="128705" y="136810"/>
                  </a:cubicBezTo>
                  <a:cubicBezTo>
                    <a:pt x="159817" y="136810"/>
                    <a:pt x="185039" y="111588"/>
                    <a:pt x="185039" y="80476"/>
                  </a:cubicBezTo>
                  <a:cubicBezTo>
                    <a:pt x="185039" y="49364"/>
                    <a:pt x="159817" y="24143"/>
                    <a:pt x="128705" y="2414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sp>
          <p:nvSpPr>
            <p:cNvPr id="176" name="TextBox 175">
              <a:extLst>
                <a:ext uri="{FF2B5EF4-FFF2-40B4-BE49-F238E27FC236}">
                  <a16:creationId xmlns:a16="http://schemas.microsoft.com/office/drawing/2014/main" id="{E46965A7-4E7A-471A-86C3-B045A57223DE}"/>
                </a:ext>
              </a:extLst>
            </p:cNvPr>
            <p:cNvSpPr txBox="1"/>
            <p:nvPr/>
          </p:nvSpPr>
          <p:spPr>
            <a:xfrm>
              <a:off x="731580" y="6199536"/>
              <a:ext cx="509755"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E&amp;O GTM</a:t>
              </a:r>
            </a:p>
          </p:txBody>
        </p:sp>
      </p:grpSp>
      <p:sp>
        <p:nvSpPr>
          <p:cNvPr id="177" name="Rectangle: Rounded Corners 176">
            <a:extLst>
              <a:ext uri="{FF2B5EF4-FFF2-40B4-BE49-F238E27FC236}">
                <a16:creationId xmlns:a16="http://schemas.microsoft.com/office/drawing/2014/main" id="{1DD1689C-BAEB-F6AA-B39F-7D40288E4BF0}"/>
              </a:ext>
            </a:extLst>
          </p:cNvPr>
          <p:cNvSpPr>
            <a:spLocks/>
          </p:cNvSpPr>
          <p:nvPr/>
        </p:nvSpPr>
        <p:spPr bwMode="auto">
          <a:xfrm>
            <a:off x="1401413" y="6032333"/>
            <a:ext cx="5604225" cy="216666"/>
          </a:xfrm>
          <a:prstGeom prst="roundRect">
            <a:avLst>
              <a:gd name="adj" fmla="val 1210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4864" tIns="27432" rIns="54864" bIns="27432" rtlCol="0" anchor="t">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Manages exception process opportunities w/o Security attached</a:t>
            </a:r>
          </a:p>
        </p:txBody>
      </p:sp>
      <p:sp>
        <p:nvSpPr>
          <p:cNvPr id="180" name="TextBox 179">
            <a:extLst>
              <a:ext uri="{FF2B5EF4-FFF2-40B4-BE49-F238E27FC236}">
                <a16:creationId xmlns:a16="http://schemas.microsoft.com/office/drawing/2014/main" id="{51CB1E88-75BF-B568-5C0D-103ABEC5BA20}"/>
              </a:ext>
            </a:extLst>
          </p:cNvPr>
          <p:cNvSpPr txBox="1"/>
          <p:nvPr/>
        </p:nvSpPr>
        <p:spPr>
          <a:xfrm>
            <a:off x="7243239" y="5965714"/>
            <a:ext cx="147373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a:ln>
                  <a:noFill/>
                </a:ln>
                <a:solidFill>
                  <a:srgbClr val="000000"/>
                </a:solidFill>
                <a:effectLst/>
                <a:uLnTx/>
                <a:uFillTx/>
                <a:latin typeface="Segoe Sans Text Semibold"/>
                <a:ea typeface="+mn-ea"/>
                <a:cs typeface="+mn-cs"/>
              </a:rPr>
              <a:t>M&amp;M Exception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a:ln>
                  <a:noFill/>
                </a:ln>
                <a:solidFill>
                  <a:srgbClr val="000000"/>
                </a:solidFill>
                <a:effectLst/>
                <a:uLnTx/>
                <a:uFillTx/>
                <a:latin typeface="Segoe Sans Text Semibold"/>
                <a:ea typeface="+mn-ea"/>
                <a:cs typeface="+mn-cs"/>
              </a:rPr>
              <a:t>(Details To Be Confirmed)</a:t>
            </a:r>
          </a:p>
        </p:txBody>
      </p:sp>
      <p:sp>
        <p:nvSpPr>
          <p:cNvPr id="181" name="Rectangle: Rounded Corners 180">
            <a:extLst>
              <a:ext uri="{FF2B5EF4-FFF2-40B4-BE49-F238E27FC236}">
                <a16:creationId xmlns:a16="http://schemas.microsoft.com/office/drawing/2014/main" id="{319275DC-59CA-B2B4-0C82-B30E045860E7}"/>
              </a:ext>
              <a:ext uri="{C183D7F6-B498-43B3-948B-1728B52AA6E4}">
                <adec:decorative xmlns:adec="http://schemas.microsoft.com/office/drawing/2017/decorative" val="1"/>
              </a:ext>
            </a:extLst>
          </p:cNvPr>
          <p:cNvSpPr/>
          <p:nvPr/>
        </p:nvSpPr>
        <p:spPr bwMode="auto">
          <a:xfrm>
            <a:off x="662940" y="4924886"/>
            <a:ext cx="4337685" cy="938775"/>
          </a:xfrm>
          <a:prstGeom prst="roundRect">
            <a:avLst>
              <a:gd name="adj" fmla="val 7053"/>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59" name="Rectangle: Rounded Corners 158">
            <a:extLst>
              <a:ext uri="{FF2B5EF4-FFF2-40B4-BE49-F238E27FC236}">
                <a16:creationId xmlns:a16="http://schemas.microsoft.com/office/drawing/2014/main" id="{8504DD96-CA1B-EF9E-38C7-B1B4872D7DE6}"/>
              </a:ext>
            </a:extLst>
          </p:cNvPr>
          <p:cNvSpPr>
            <a:spLocks/>
          </p:cNvSpPr>
          <p:nvPr/>
        </p:nvSpPr>
        <p:spPr bwMode="auto">
          <a:xfrm>
            <a:off x="10167465" y="2903859"/>
            <a:ext cx="1361595" cy="953766"/>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Drive Security specific ongoing solution health and proactive optimization</a:t>
            </a:r>
          </a:p>
        </p:txBody>
      </p:sp>
      <p:sp>
        <p:nvSpPr>
          <p:cNvPr id="160" name="Rectangle: Rounded Corners 159">
            <a:extLst>
              <a:ext uri="{FF2B5EF4-FFF2-40B4-BE49-F238E27FC236}">
                <a16:creationId xmlns:a16="http://schemas.microsoft.com/office/drawing/2014/main" id="{F0A67E10-7777-3921-12B2-07FCE5DA874D}"/>
              </a:ext>
            </a:extLst>
          </p:cNvPr>
          <p:cNvSpPr>
            <a:spLocks/>
          </p:cNvSpPr>
          <p:nvPr/>
        </p:nvSpPr>
        <p:spPr bwMode="auto">
          <a:xfrm>
            <a:off x="10167465" y="3947692"/>
            <a:ext cx="1361595" cy="914359"/>
          </a:xfrm>
          <a:prstGeom prst="roundRect">
            <a:avLst>
              <a:gd name="adj" fmla="val 3157"/>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54864" tIns="27432" rIns="54864" bIns="27432" rtlCol="0" anchor="t"/>
          <a:lstStyle/>
          <a:p>
            <a:pPr marL="100013" marR="0" lvl="0" indent="-1000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Drive Customer Success and Optimization Plan</a:t>
            </a:r>
          </a:p>
        </p:txBody>
      </p:sp>
      <p:cxnSp>
        <p:nvCxnSpPr>
          <p:cNvPr id="20" name="Straight Connector 19">
            <a:extLst>
              <a:ext uri="{FF2B5EF4-FFF2-40B4-BE49-F238E27FC236}">
                <a16:creationId xmlns:a16="http://schemas.microsoft.com/office/drawing/2014/main" id="{4783E209-BF77-7933-5EFA-020FF33B4ACD}"/>
              </a:ext>
              <a:ext uri="{C183D7F6-B498-43B3-948B-1728B52AA6E4}">
                <adec:decorative xmlns:adec="http://schemas.microsoft.com/office/drawing/2017/decorative" val="1"/>
              </a:ext>
            </a:extLst>
          </p:cNvPr>
          <p:cNvCxnSpPr/>
          <p:nvPr/>
        </p:nvCxnSpPr>
        <p:spPr>
          <a:xfrm>
            <a:off x="9383268" y="2903860"/>
            <a:ext cx="0" cy="1958192"/>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77A9BE1-3501-B021-5B75-AB9A956B1D51}"/>
              </a:ext>
              <a:ext uri="{C183D7F6-B498-43B3-948B-1728B52AA6E4}">
                <adec:decorative xmlns:adec="http://schemas.microsoft.com/office/drawing/2017/decorative" val="1"/>
              </a:ext>
            </a:extLst>
          </p:cNvPr>
          <p:cNvCxnSpPr/>
          <p:nvPr/>
        </p:nvCxnSpPr>
        <p:spPr>
          <a:xfrm>
            <a:off x="7191756" y="2903860"/>
            <a:ext cx="0" cy="1958192"/>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A5E8E12-B924-EACD-B91E-5A31AD7CEF7A}"/>
              </a:ext>
              <a:ext uri="{C183D7F6-B498-43B3-948B-1728B52AA6E4}">
                <adec:decorative xmlns:adec="http://schemas.microsoft.com/office/drawing/2017/decorative" val="1"/>
              </a:ext>
            </a:extLst>
          </p:cNvPr>
          <p:cNvCxnSpPr/>
          <p:nvPr/>
        </p:nvCxnSpPr>
        <p:spPr>
          <a:xfrm>
            <a:off x="5000244" y="2903860"/>
            <a:ext cx="0" cy="1958192"/>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C15F8E7-AD76-1116-A1DA-F15A930797AF}"/>
              </a:ext>
              <a:ext uri="{C183D7F6-B498-43B3-948B-1728B52AA6E4}">
                <adec:decorative xmlns:adec="http://schemas.microsoft.com/office/drawing/2017/decorative" val="1"/>
              </a:ext>
            </a:extLst>
          </p:cNvPr>
          <p:cNvCxnSpPr/>
          <p:nvPr/>
        </p:nvCxnSpPr>
        <p:spPr>
          <a:xfrm>
            <a:off x="2808732" y="2903860"/>
            <a:ext cx="0" cy="1958192"/>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862F85F9-590B-CE08-3031-B77E3260E90C}"/>
              </a:ext>
            </a:extLst>
          </p:cNvPr>
          <p:cNvSpPr>
            <a:spLocks/>
          </p:cNvSpPr>
          <p:nvPr/>
        </p:nvSpPr>
        <p:spPr bwMode="auto">
          <a:xfrm>
            <a:off x="1410939" y="4958447"/>
            <a:ext cx="1875513" cy="1384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1" u="none" strike="noStrike" kern="1200" cap="none" spc="0" normalizeH="0" baseline="0" noProof="0">
                <a:ln>
                  <a:noFill/>
                </a:ln>
                <a:solidFill>
                  <a:srgbClr val="000000"/>
                </a:solidFill>
                <a:effectLst/>
                <a:uLnTx/>
                <a:uFillTx/>
                <a:latin typeface="Segoe Sans Text"/>
                <a:ea typeface="+mn-ea"/>
                <a:cs typeface="+mn-cs"/>
              </a:rPr>
              <a:t>Supports security/CISO Conversation</a:t>
            </a:r>
          </a:p>
        </p:txBody>
      </p:sp>
      <p:sp>
        <p:nvSpPr>
          <p:cNvPr id="24" name="Rectangle 23">
            <a:extLst>
              <a:ext uri="{FF2B5EF4-FFF2-40B4-BE49-F238E27FC236}">
                <a16:creationId xmlns:a16="http://schemas.microsoft.com/office/drawing/2014/main" id="{51572FEB-50AD-129C-79C8-0C18203BB78C}"/>
              </a:ext>
            </a:extLst>
          </p:cNvPr>
          <p:cNvSpPr/>
          <p:nvPr/>
        </p:nvSpPr>
        <p:spPr bwMode="auto">
          <a:xfrm>
            <a:off x="7146036" y="2462178"/>
            <a:ext cx="4565904" cy="3892658"/>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0962169B-AD47-494F-6AC9-0CEBD1F007F7}"/>
              </a:ext>
              <a:ext uri="{C183D7F6-B498-43B3-948B-1728B52AA6E4}">
                <adec:decorative xmlns:adec="http://schemas.microsoft.com/office/drawing/2017/decorative" val="1"/>
              </a:ext>
            </a:extLst>
          </p:cNvPr>
          <p:cNvGrpSpPr/>
          <p:nvPr/>
        </p:nvGrpSpPr>
        <p:grpSpPr>
          <a:xfrm>
            <a:off x="-12700" y="3137432"/>
            <a:ext cx="345758" cy="2873086"/>
            <a:chOff x="-12701" y="2953256"/>
            <a:chExt cx="395877" cy="3289555"/>
          </a:xfrm>
          <a:solidFill>
            <a:schemeClr val="bg1">
              <a:lumMod val="65000"/>
            </a:schemeClr>
          </a:solidFill>
        </p:grpSpPr>
        <p:sp>
          <p:nvSpPr>
            <p:cNvPr id="25" name="Graphic 57">
              <a:extLst>
                <a:ext uri="{FF2B5EF4-FFF2-40B4-BE49-F238E27FC236}">
                  <a16:creationId xmlns:a16="http://schemas.microsoft.com/office/drawing/2014/main" id="{40002166-B0A9-E36D-4EC1-8B1BA7DEB382}"/>
                </a:ext>
                <a:ext uri="{C183D7F6-B498-43B3-948B-1728B52AA6E4}">
                  <adec:decorative xmlns:adec="http://schemas.microsoft.com/office/drawing/2017/decorative" val="1"/>
                </a:ext>
              </a:extLst>
            </p:cNvPr>
            <p:cNvSpPr/>
            <p:nvPr/>
          </p:nvSpPr>
          <p:spPr>
            <a:xfrm>
              <a:off x="-12701" y="2953256"/>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bg1">
                <a:lumMod val="65000"/>
              </a:schemeClr>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MACC</a:t>
              </a:r>
            </a:p>
          </p:txBody>
        </p:sp>
        <p:sp>
          <p:nvSpPr>
            <p:cNvPr id="26" name="Graphic 57">
              <a:extLst>
                <a:ext uri="{FF2B5EF4-FFF2-40B4-BE49-F238E27FC236}">
                  <a16:creationId xmlns:a16="http://schemas.microsoft.com/office/drawing/2014/main" id="{C262C9D4-DAD0-1504-FB92-5D7EB4C1F023}"/>
                </a:ext>
              </a:extLst>
            </p:cNvPr>
            <p:cNvSpPr/>
            <p:nvPr/>
          </p:nvSpPr>
          <p:spPr>
            <a:xfrm>
              <a:off x="-12701" y="3788451"/>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rgbClr val="A6A6A6"/>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CSU/Unified</a:t>
              </a:r>
            </a:p>
          </p:txBody>
        </p:sp>
        <p:sp>
          <p:nvSpPr>
            <p:cNvPr id="27" name="Graphic 57">
              <a:extLst>
                <a:ext uri="{FF2B5EF4-FFF2-40B4-BE49-F238E27FC236}">
                  <a16:creationId xmlns:a16="http://schemas.microsoft.com/office/drawing/2014/main" id="{E05898F0-96F3-BB68-CC0F-A1BFC935AB23}"/>
                </a:ext>
              </a:extLst>
            </p:cNvPr>
            <p:cNvSpPr/>
            <p:nvPr/>
          </p:nvSpPr>
          <p:spPr>
            <a:xfrm>
              <a:off x="-12701" y="4623645"/>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accent1"/>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Security</a:t>
              </a:r>
            </a:p>
          </p:txBody>
        </p:sp>
        <p:sp>
          <p:nvSpPr>
            <p:cNvPr id="28" name="Graphic 57">
              <a:extLst>
                <a:ext uri="{FF2B5EF4-FFF2-40B4-BE49-F238E27FC236}">
                  <a16:creationId xmlns:a16="http://schemas.microsoft.com/office/drawing/2014/main" id="{CE6FF758-34F0-A1E9-348F-6BEF4F103915}"/>
                </a:ext>
              </a:extLst>
            </p:cNvPr>
            <p:cNvSpPr/>
            <p:nvPr/>
          </p:nvSpPr>
          <p:spPr>
            <a:xfrm>
              <a:off x="-12701" y="5458840"/>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grp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GitHub</a:t>
              </a:r>
            </a:p>
          </p:txBody>
        </p:sp>
      </p:grpSp>
      <p:grpSp>
        <p:nvGrpSpPr>
          <p:cNvPr id="29" name="Group 28">
            <a:extLst>
              <a:ext uri="{FF2B5EF4-FFF2-40B4-BE49-F238E27FC236}">
                <a16:creationId xmlns:a16="http://schemas.microsoft.com/office/drawing/2014/main" id="{AF4E35A6-413A-864C-CF92-07AF8AC1BC7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0" name="Table 2 Cell 1, 1 to Text">
              <a:extLst>
                <a:ext uri="{FF2B5EF4-FFF2-40B4-BE49-F238E27FC236}">
                  <a16:creationId xmlns:a16="http://schemas.microsoft.com/office/drawing/2014/main" id="{6D337D6A-D447-2C33-F755-9C3B545BE9ED}"/>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31" name="Table 2 Cell 2, 1 to Text">
              <a:extLst>
                <a:ext uri="{FF2B5EF4-FFF2-40B4-BE49-F238E27FC236}">
                  <a16:creationId xmlns:a16="http://schemas.microsoft.com/office/drawing/2014/main" id="{69AD1887-E768-4BEC-C108-0D1BB21EAE6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32" name="Table 2 Cell 3, 1 to Text">
              <a:extLst>
                <a:ext uri="{FF2B5EF4-FFF2-40B4-BE49-F238E27FC236}">
                  <a16:creationId xmlns:a16="http://schemas.microsoft.com/office/drawing/2014/main" id="{57C9CD87-39BF-3B24-1932-F03D2BD9A043}"/>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33" name="Table 2 Cell 4, 1 to Text">
              <a:extLst>
                <a:ext uri="{FF2B5EF4-FFF2-40B4-BE49-F238E27FC236}">
                  <a16:creationId xmlns:a16="http://schemas.microsoft.com/office/drawing/2014/main" id="{6C2AF4F4-DF69-CCB8-80A4-442A4A91FD6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4" name="Table 2 Cell 5, 1 to Text">
              <a:extLst>
                <a:ext uri="{FF2B5EF4-FFF2-40B4-BE49-F238E27FC236}">
                  <a16:creationId xmlns:a16="http://schemas.microsoft.com/office/drawing/2014/main" id="{6196EE56-2578-19EB-ACBB-05B196233671}"/>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6" name="Table 2 Cell 6, 1 to Text">
              <a:extLst>
                <a:ext uri="{FF2B5EF4-FFF2-40B4-BE49-F238E27FC236}">
                  <a16:creationId xmlns:a16="http://schemas.microsoft.com/office/drawing/2014/main" id="{C940EEA0-DE86-1448-EE33-EB3128080BD8}"/>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0" name="Table 2 Cell 7, 1 to Text">
              <a:extLst>
                <a:ext uri="{FF2B5EF4-FFF2-40B4-BE49-F238E27FC236}">
                  <a16:creationId xmlns:a16="http://schemas.microsoft.com/office/drawing/2014/main" id="{8903A085-F5F1-3C40-4272-1795C3DBF750}"/>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1" name="Table 2 Cell 1, 2 to Text">
              <a:extLst>
                <a:ext uri="{FF2B5EF4-FFF2-40B4-BE49-F238E27FC236}">
                  <a16:creationId xmlns:a16="http://schemas.microsoft.com/office/drawing/2014/main" id="{9327A432-8627-AFEC-DD2D-CA53806A84C5}"/>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42" name="Table 2 Cell 1, 3 to Text">
              <a:extLst>
                <a:ext uri="{FF2B5EF4-FFF2-40B4-BE49-F238E27FC236}">
                  <a16:creationId xmlns:a16="http://schemas.microsoft.com/office/drawing/2014/main" id="{E002331C-3057-8784-DC75-CEAAE665DA1A}"/>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43" name="Table 2 Cell 1, 4 to Text">
              <a:extLst>
                <a:ext uri="{FF2B5EF4-FFF2-40B4-BE49-F238E27FC236}">
                  <a16:creationId xmlns:a16="http://schemas.microsoft.com/office/drawing/2014/main" id="{09D4FFF5-772C-7442-86FC-BBC522932954}"/>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45" name="Table 2 Cell 1, 5 to Text">
              <a:extLst>
                <a:ext uri="{FF2B5EF4-FFF2-40B4-BE49-F238E27FC236}">
                  <a16:creationId xmlns:a16="http://schemas.microsoft.com/office/drawing/2014/main" id="{0CB62C77-9DED-EA20-033D-FC89AB8D9C21}"/>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46" name="Table 2 Cell 1, 6 to Text">
              <a:extLst>
                <a:ext uri="{FF2B5EF4-FFF2-40B4-BE49-F238E27FC236}">
                  <a16:creationId xmlns:a16="http://schemas.microsoft.com/office/drawing/2014/main" id="{C17C3E35-6854-6E42-BA8D-C734B8DE1AD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47" name="Table 2 Cell 1, 7 to Text">
              <a:extLst>
                <a:ext uri="{FF2B5EF4-FFF2-40B4-BE49-F238E27FC236}">
                  <a16:creationId xmlns:a16="http://schemas.microsoft.com/office/drawing/2014/main" id="{AC2F0593-4338-F388-D7EC-3C76F64DE67E}"/>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6 KPIs &amp; Outcomes</a:t>
              </a:r>
            </a:p>
          </p:txBody>
        </p:sp>
        <p:sp>
          <p:nvSpPr>
            <p:cNvPr id="48" name="Table 2 Cell 1, 8 to Text">
              <a:extLst>
                <a:ext uri="{FF2B5EF4-FFF2-40B4-BE49-F238E27FC236}">
                  <a16:creationId xmlns:a16="http://schemas.microsoft.com/office/drawing/2014/main" id="{C40500EE-FDAD-6DC6-3219-BC282B13817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chemeClr val="bg1"/>
                  </a:solidFill>
                </a:rPr>
                <a:t>2.7 Orchestration</a:t>
              </a:r>
            </a:p>
          </p:txBody>
        </p:sp>
      </p:grpSp>
    </p:spTree>
    <p:extLst>
      <p:ext uri="{BB962C8B-B14F-4D97-AF65-F5344CB8AC3E}">
        <p14:creationId xmlns:p14="http://schemas.microsoft.com/office/powerpoint/2010/main" val="617777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334EC6-8487-CBB9-D6D9-C5B807FAACFD}"/>
              </a:ext>
            </a:extLst>
          </p:cNvPr>
          <p:cNvSpPr>
            <a:spLocks noGrp="1"/>
          </p:cNvSpPr>
          <p:nvPr>
            <p:ph type="title"/>
          </p:nvPr>
        </p:nvSpPr>
        <p:spPr>
          <a:xfrm>
            <a:off x="571500" y="457200"/>
            <a:ext cx="9608820" cy="861774"/>
          </a:xfrm>
        </p:spPr>
        <p:txBody>
          <a:bodyPr/>
          <a:lstStyle/>
          <a:p>
            <a:r>
              <a:rPr lang="en-US" sz="2800"/>
              <a:t>Connecting with GitHub to win developers across the 3 Azure Solution Plays</a:t>
            </a:r>
          </a:p>
        </p:txBody>
      </p:sp>
      <p:sp>
        <p:nvSpPr>
          <p:cNvPr id="78" name="Rectangle: Rounded Corners 77">
            <a:extLst>
              <a:ext uri="{FF2B5EF4-FFF2-40B4-BE49-F238E27FC236}">
                <a16:creationId xmlns:a16="http://schemas.microsoft.com/office/drawing/2014/main" id="{A57F14B9-A8B1-4DAB-DCAE-B728401FAEDF}"/>
              </a:ext>
              <a:ext uri="{C183D7F6-B498-43B3-948B-1728B52AA6E4}">
                <adec:decorative xmlns:adec="http://schemas.microsoft.com/office/drawing/2017/decorative" val="1"/>
              </a:ext>
            </a:extLst>
          </p:cNvPr>
          <p:cNvSpPr>
            <a:spLocks/>
          </p:cNvSpPr>
          <p:nvPr/>
        </p:nvSpPr>
        <p:spPr bwMode="auto">
          <a:xfrm>
            <a:off x="571500" y="1436688"/>
            <a:ext cx="5387340" cy="5044068"/>
          </a:xfrm>
          <a:prstGeom prst="roundRect">
            <a:avLst>
              <a:gd name="adj" fmla="val 2529"/>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Rectangle: Rounded Corners 79">
            <a:extLst>
              <a:ext uri="{FF2B5EF4-FFF2-40B4-BE49-F238E27FC236}">
                <a16:creationId xmlns:a16="http://schemas.microsoft.com/office/drawing/2014/main" id="{0934894E-ABDC-7FF2-9091-7DDD83E626F6}"/>
              </a:ext>
              <a:ext uri="{C183D7F6-B498-43B3-948B-1728B52AA6E4}">
                <adec:decorative xmlns:adec="http://schemas.microsoft.com/office/drawing/2017/decorative" val="1"/>
              </a:ext>
            </a:extLst>
          </p:cNvPr>
          <p:cNvSpPr>
            <a:spLocks/>
          </p:cNvSpPr>
          <p:nvPr/>
        </p:nvSpPr>
        <p:spPr bwMode="auto">
          <a:xfrm>
            <a:off x="6233160" y="1436688"/>
            <a:ext cx="5387340" cy="5044068"/>
          </a:xfrm>
          <a:prstGeom prst="roundRect">
            <a:avLst>
              <a:gd name="adj" fmla="val 2529"/>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Rectangle: Rounded Corners 81">
            <a:extLst>
              <a:ext uri="{FF2B5EF4-FFF2-40B4-BE49-F238E27FC236}">
                <a16:creationId xmlns:a16="http://schemas.microsoft.com/office/drawing/2014/main" id="{30ABB4C2-8D2C-483E-4E56-45F4178F2ED2}"/>
              </a:ext>
            </a:extLst>
          </p:cNvPr>
          <p:cNvSpPr>
            <a:spLocks/>
          </p:cNvSpPr>
          <p:nvPr/>
        </p:nvSpPr>
        <p:spPr bwMode="auto">
          <a:xfrm>
            <a:off x="699516" y="1564704"/>
            <a:ext cx="5131308" cy="343396"/>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Y26 MCAPS Priorities for GitHub </a:t>
            </a:r>
          </a:p>
        </p:txBody>
      </p:sp>
      <p:sp>
        <p:nvSpPr>
          <p:cNvPr id="83" name="Rectangle: Rounded Corners 82">
            <a:extLst>
              <a:ext uri="{FF2B5EF4-FFF2-40B4-BE49-F238E27FC236}">
                <a16:creationId xmlns:a16="http://schemas.microsoft.com/office/drawing/2014/main" id="{66BAA4EB-A824-803C-DE3E-96893A011DA0}"/>
              </a:ext>
            </a:extLst>
          </p:cNvPr>
          <p:cNvSpPr>
            <a:spLocks/>
          </p:cNvSpPr>
          <p:nvPr/>
        </p:nvSpPr>
        <p:spPr bwMode="auto">
          <a:xfrm>
            <a:off x="6361176" y="1564704"/>
            <a:ext cx="5131308" cy="343396"/>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Review the </a:t>
            </a:r>
            <a:r>
              <a:rPr kumimoji="0" lang="en-US" sz="1400" b="0" i="0" u="none" strike="noStrike" kern="1200" cap="none" spc="0" normalizeH="0" baseline="0" noProof="0">
                <a:ln>
                  <a:noFill/>
                </a:ln>
                <a:solidFill>
                  <a:srgbClr val="8DC8E8">
                    <a:lumMod val="60000"/>
                    <a:lumOff val="40000"/>
                  </a:srgbClr>
                </a:solidFill>
                <a:effectLst/>
                <a:uLnTx/>
                <a:uFillTx/>
                <a:latin typeface="Segoe Sans Text Semibold"/>
                <a:ea typeface="+mn-ea"/>
                <a:cs typeface="+mn-cs"/>
                <a:hlinkClick r:id="rId3">
                  <a:extLst>
                    <a:ext uri="{A12FA001-AC4F-418D-AE19-62706E023703}">
                      <ahyp:hlinkClr xmlns:ahyp="http://schemas.microsoft.com/office/drawing/2018/hyperlinkcolor" val="tx"/>
                    </a:ext>
                  </a:extLst>
                </a:hlinkClick>
              </a:rPr>
              <a:t>GitHub Playbook</a:t>
            </a:r>
            <a:r>
              <a:rPr kumimoji="0" lang="en-US" sz="1400" b="0" i="0" u="none" strike="noStrike" kern="1200" cap="none" spc="0" normalizeH="0" baseline="0" noProof="0">
                <a:ln>
                  <a:noFill/>
                </a:ln>
                <a:solidFill>
                  <a:srgbClr val="8DC8E8">
                    <a:lumMod val="60000"/>
                    <a:lumOff val="40000"/>
                  </a:srgbClr>
                </a:solidFill>
                <a:effectLst/>
                <a:uLnTx/>
                <a:uFillTx/>
                <a:latin typeface="Segoe Sans Text Semibold"/>
                <a:ea typeface="+mn-ea"/>
                <a:cs typeface="+mn-cs"/>
              </a:rPr>
              <a:t> </a:t>
            </a: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or more details on:</a:t>
            </a:r>
          </a:p>
        </p:txBody>
      </p:sp>
      <p:cxnSp>
        <p:nvCxnSpPr>
          <p:cNvPr id="122" name="Straight Connector 121">
            <a:extLst>
              <a:ext uri="{FF2B5EF4-FFF2-40B4-BE49-F238E27FC236}">
                <a16:creationId xmlns:a16="http://schemas.microsoft.com/office/drawing/2014/main" id="{E0E6A3AD-23F9-0981-77B3-47914069E25D}"/>
              </a:ext>
              <a:ext uri="{C183D7F6-B498-43B3-948B-1728B52AA6E4}">
                <adec:decorative xmlns:adec="http://schemas.microsoft.com/office/drawing/2017/decorative" val="1"/>
              </a:ext>
            </a:extLst>
          </p:cNvPr>
          <p:cNvCxnSpPr>
            <a:cxnSpLocks/>
          </p:cNvCxnSpPr>
          <p:nvPr/>
        </p:nvCxnSpPr>
        <p:spPr>
          <a:xfrm>
            <a:off x="6754876" y="2366916"/>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947F5B6C-406A-782B-8AB1-59709E420DAF}"/>
              </a:ext>
              <a:ext uri="{C183D7F6-B498-43B3-948B-1728B52AA6E4}">
                <adec:decorative xmlns:adec="http://schemas.microsoft.com/office/drawing/2017/decorative" val="1"/>
              </a:ext>
            </a:extLst>
          </p:cNvPr>
          <p:cNvCxnSpPr>
            <a:cxnSpLocks/>
          </p:cNvCxnSpPr>
          <p:nvPr/>
        </p:nvCxnSpPr>
        <p:spPr>
          <a:xfrm>
            <a:off x="6754876" y="2825732"/>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F1C80D3-5254-E460-83BD-60576543742E}"/>
              </a:ext>
              <a:ext uri="{C183D7F6-B498-43B3-948B-1728B52AA6E4}">
                <adec:decorative xmlns:adec="http://schemas.microsoft.com/office/drawing/2017/decorative" val="1"/>
              </a:ext>
            </a:extLst>
          </p:cNvPr>
          <p:cNvCxnSpPr>
            <a:cxnSpLocks/>
          </p:cNvCxnSpPr>
          <p:nvPr/>
        </p:nvCxnSpPr>
        <p:spPr>
          <a:xfrm>
            <a:off x="6754876" y="3284548"/>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C16794B7-3765-A87F-5EE9-607E457A547F}"/>
              </a:ext>
              <a:ext uri="{C183D7F6-B498-43B3-948B-1728B52AA6E4}">
                <adec:decorative xmlns:adec="http://schemas.microsoft.com/office/drawing/2017/decorative" val="1"/>
              </a:ext>
            </a:extLst>
          </p:cNvPr>
          <p:cNvCxnSpPr>
            <a:cxnSpLocks/>
          </p:cNvCxnSpPr>
          <p:nvPr/>
        </p:nvCxnSpPr>
        <p:spPr>
          <a:xfrm>
            <a:off x="6754876" y="3743364"/>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Content Placeholder 3 Cell 3, 5 to Text">
            <a:extLst>
              <a:ext uri="{FF2B5EF4-FFF2-40B4-BE49-F238E27FC236}">
                <a16:creationId xmlns:a16="http://schemas.microsoft.com/office/drawing/2014/main" id="{55848249-2169-9BB6-98C5-062C8FA128D1}"/>
              </a:ext>
            </a:extLst>
          </p:cNvPr>
          <p:cNvSpPr txBox="1"/>
          <p:nvPr/>
        </p:nvSpPr>
        <p:spPr>
          <a:xfrm>
            <a:off x="699516" y="1945887"/>
            <a:ext cx="5131308" cy="574516"/>
          </a:xfrm>
          <a:prstGeom prst="rect">
            <a:avLst/>
          </a:prstGeom>
          <a:noFill/>
        </p:spPr>
        <p:txBody>
          <a:bodyPr vert="horz" wrap="square" lIns="0" tIns="0" rIns="0" bIns="0" rtlCol="0" anchor="ctr" anchorCtr="0">
            <a:spAutoFit/>
          </a:bodyPr>
          <a:lstStyle>
            <a:defPPr>
              <a:defRPr lang="en-US"/>
            </a:defPPr>
            <a:lvl1pPr marL="111125" marR="0" lvl="0" indent="-111125"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kumimoji="0" sz="1050" b="0" i="0" u="none" strike="noStrike" kern="1200" cap="none" spc="0" normalizeH="0" baseline="0">
                <a:ln>
                  <a:noFill/>
                </a:ln>
                <a:solidFill>
                  <a:srgbClr val="000000"/>
                </a:solidFill>
                <a:effectLst/>
                <a:uLnTx/>
                <a:uFillTx/>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ea"/>
                <a:cs typeface="+mn-cs"/>
              </a:rPr>
              <a:t>Enterprise</a:t>
            </a:r>
          </a:p>
          <a:p>
            <a:pPr marL="198438" marR="0" lvl="0" indent="-114300" algn="l" defTabSz="932742" rtl="0" eaLnBrk="1" fontAlgn="auto" latinLnBrk="0" hangingPunct="1">
              <a:lnSpc>
                <a:spcPct val="100000"/>
              </a:lnSpc>
              <a:spcBef>
                <a:spcPts val="20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Continue GitHub Copilot penetration and expansion, while leveraging Agentic DevOps story to position Copilot Enterprise Upsell to increase ARPU</a:t>
            </a:r>
          </a:p>
        </p:txBody>
      </p:sp>
      <p:sp>
        <p:nvSpPr>
          <p:cNvPr id="35" name="Content Placeholder 3 Cell 3, 6 to Text">
            <a:extLst>
              <a:ext uri="{FF2B5EF4-FFF2-40B4-BE49-F238E27FC236}">
                <a16:creationId xmlns:a16="http://schemas.microsoft.com/office/drawing/2014/main" id="{AF26AFC2-DB2B-AF72-D901-DA7C8826C33B}"/>
              </a:ext>
            </a:extLst>
          </p:cNvPr>
          <p:cNvSpPr txBox="1"/>
          <p:nvPr/>
        </p:nvSpPr>
        <p:spPr>
          <a:xfrm>
            <a:off x="699516" y="2686105"/>
            <a:ext cx="5131308" cy="397545"/>
          </a:xfrm>
          <a:prstGeom prst="rect">
            <a:avLst/>
          </a:prstGeom>
          <a:noFill/>
        </p:spPr>
        <p:txBody>
          <a:bodyPr vert="horz" wrap="square" lIns="0" tIns="0" rIns="0" bIns="0" rtlCol="0" anchor="ctr" anchorCtr="0">
            <a:spAutoFit/>
          </a:bodyPr>
          <a:lstStyle>
            <a:defPPr>
              <a:defRPr lang="en-US"/>
            </a:defPPr>
            <a:lvl1pPr marL="111125" marR="0" lvl="0" indent="-111125"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kumimoji="0" sz="1050" b="0" i="0" u="none" strike="noStrike" kern="1200" cap="none" spc="0" normalizeH="0" baseline="0">
                <a:ln>
                  <a:noFill/>
                </a:ln>
                <a:solidFill>
                  <a:srgbClr val="000000"/>
                </a:solidFill>
                <a:effectLst/>
                <a:uLnTx/>
                <a:uFillTx/>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ea"/>
                <a:cs typeface="+mn-cs"/>
              </a:rPr>
              <a:t>SME&amp;C</a:t>
            </a:r>
          </a:p>
          <a:p>
            <a:pPr marL="198438" marR="0" lvl="0" indent="-114300" algn="l" defTabSz="932742" rtl="0" eaLnBrk="1" fontAlgn="auto" latinLnBrk="0" hangingPunct="1">
              <a:lnSpc>
                <a:spcPct val="100000"/>
              </a:lnSpc>
              <a:spcBef>
                <a:spcPts val="20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Increase GitHub Copilot penetration in Corp and leverage CSP to accelerate SMB</a:t>
            </a:r>
          </a:p>
        </p:txBody>
      </p:sp>
      <p:cxnSp>
        <p:nvCxnSpPr>
          <p:cNvPr id="126" name="Straight Connector 125">
            <a:extLst>
              <a:ext uri="{FF2B5EF4-FFF2-40B4-BE49-F238E27FC236}">
                <a16:creationId xmlns:a16="http://schemas.microsoft.com/office/drawing/2014/main" id="{20C03C9C-356C-189E-A59D-0AD417495C17}"/>
              </a:ext>
              <a:ext uri="{C183D7F6-B498-43B3-948B-1728B52AA6E4}">
                <adec:decorative xmlns:adec="http://schemas.microsoft.com/office/drawing/2017/decorative" val="1"/>
              </a:ext>
            </a:extLst>
          </p:cNvPr>
          <p:cNvCxnSpPr>
            <a:cxnSpLocks/>
          </p:cNvCxnSpPr>
          <p:nvPr/>
        </p:nvCxnSpPr>
        <p:spPr>
          <a:xfrm>
            <a:off x="704229" y="2597483"/>
            <a:ext cx="49177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C47AE604-A681-DD2F-2D31-9A909F3B43A3}"/>
              </a:ext>
            </a:extLst>
          </p:cNvPr>
          <p:cNvSpPr>
            <a:spLocks/>
          </p:cNvSpPr>
          <p:nvPr/>
        </p:nvSpPr>
        <p:spPr bwMode="auto">
          <a:xfrm>
            <a:off x="699516" y="3277048"/>
            <a:ext cx="5131308" cy="343396"/>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Orchestrating with GitHub Sellers</a:t>
            </a:r>
          </a:p>
        </p:txBody>
      </p:sp>
      <p:sp>
        <p:nvSpPr>
          <p:cNvPr id="41" name="Content Placeholder 3 Cell 3, 5 to Text">
            <a:extLst>
              <a:ext uri="{FF2B5EF4-FFF2-40B4-BE49-F238E27FC236}">
                <a16:creationId xmlns:a16="http://schemas.microsoft.com/office/drawing/2014/main" id="{A86A00F5-739D-77D2-FB4D-51392811D9D3}"/>
              </a:ext>
            </a:extLst>
          </p:cNvPr>
          <p:cNvSpPr txBox="1"/>
          <p:nvPr/>
        </p:nvSpPr>
        <p:spPr>
          <a:xfrm>
            <a:off x="699516" y="3689866"/>
            <a:ext cx="5131308" cy="746358"/>
          </a:xfrm>
          <a:prstGeom prst="rect">
            <a:avLst/>
          </a:prstGeom>
          <a:noFill/>
        </p:spPr>
        <p:txBody>
          <a:bodyPr vert="horz" wrap="square" lIns="0" tIns="0" rIns="0" bIns="0" rtlCol="0" anchor="ctr" anchorCtr="0">
            <a:spAutoFit/>
          </a:bodyPr>
          <a:lstStyle>
            <a:defPPr>
              <a:defRPr lang="en-US"/>
            </a:defPPr>
            <a:lvl1pPr marL="111125" marR="0" lvl="0" indent="-111125"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kumimoji="0" sz="1050" b="0" i="0" u="none" strike="noStrike" kern="1200" cap="none" spc="0" normalizeH="0" baseline="0">
                <a:ln>
                  <a:noFill/>
                </a:ln>
                <a:solidFill>
                  <a:srgbClr val="000000"/>
                </a:solidFill>
                <a:effectLst/>
                <a:uLnTx/>
                <a:uFillTx/>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1"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ea"/>
                <a:cs typeface="+mn-cs"/>
              </a:rPr>
              <a:t>Enterprise Model</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Ent sellers orchestrate Agentic DevOps and Azure portfolio while generating GitHub Copilot Pipe for GitHub sellers to close</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GitHub sellers orchestrate qualified GitHub opportunities</a:t>
            </a: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Content Placeholder 3 Cell 3, 6 to Text">
            <a:extLst>
              <a:ext uri="{FF2B5EF4-FFF2-40B4-BE49-F238E27FC236}">
                <a16:creationId xmlns:a16="http://schemas.microsoft.com/office/drawing/2014/main" id="{ABD06C7F-2C60-C84A-CA76-415B6713CBC1}"/>
              </a:ext>
            </a:extLst>
          </p:cNvPr>
          <p:cNvSpPr txBox="1"/>
          <p:nvPr/>
        </p:nvSpPr>
        <p:spPr>
          <a:xfrm>
            <a:off x="699516" y="4575068"/>
            <a:ext cx="5131308" cy="959237"/>
          </a:xfrm>
          <a:prstGeom prst="rect">
            <a:avLst/>
          </a:prstGeom>
          <a:noFill/>
        </p:spPr>
        <p:txBody>
          <a:bodyPr vert="horz" wrap="square" lIns="0" tIns="0" rIns="0" bIns="0" rtlCol="0" anchor="ctr" anchorCtr="0">
            <a:spAutoFit/>
          </a:bodyPr>
          <a:lstStyle>
            <a:defPPr>
              <a:defRPr lang="en-US"/>
            </a:defPPr>
            <a:lvl1pPr marL="111125" marR="0" lvl="0" indent="-111125" defTabSz="932742" fontAlgn="auto">
              <a:lnSpc>
                <a:spcPct val="100000"/>
              </a:lnSpc>
              <a:spcBef>
                <a:spcPts val="0"/>
              </a:spcBef>
              <a:spcAft>
                <a:spcPts val="0"/>
              </a:spcAft>
              <a:buClrTx/>
              <a:buSzTx/>
              <a:buFont typeface="Arial" panose="020B0604020202020204" pitchFamily="34" charset="0"/>
              <a:buChar char="•"/>
              <a:tabLst/>
              <a:defRPr kumimoji="0" sz="1050" b="0" i="0" u="none" strike="noStrike" cap="none" spc="0" normalizeH="0" baseline="0">
                <a:ln>
                  <a:noFill/>
                </a:ln>
                <a:solidFill>
                  <a:srgbClr val="000000"/>
                </a:solidFill>
                <a:effectLst/>
                <a:uLnTx/>
                <a:uFillTx/>
                <a:latin typeface="Segoe Sans Text"/>
              </a:defRPr>
            </a:lvl1pPr>
            <a:lvl2pPr marL="0" lvl="1" indent="-182880" defTabSz="914400">
              <a:buFont typeface="Arial" panose="020B0604020202020204" pitchFamily="34" charset="0"/>
              <a:buChar char="•"/>
              <a:defRPr sz="1000">
                <a:solidFill>
                  <a:srgbClr val="000000"/>
                </a:solidFill>
                <a:latin typeface="Segoe Sans Text"/>
                <a:ea typeface="+mn-lt"/>
                <a:cs typeface="Segoe UI"/>
              </a:defRPr>
            </a:lvl2pPr>
            <a:lvl3pPr marL="914400" defTabSz="914400">
              <a:defRPr sz="1800">
                <a:solidFill>
                  <a:srgbClr val="000000"/>
                </a:solidFill>
                <a:latin typeface="Segoe Sans Text"/>
              </a:defRPr>
            </a:lvl3pPr>
            <a:lvl4pPr marL="1371600" defTabSz="914400">
              <a:defRPr sz="1800">
                <a:solidFill>
                  <a:srgbClr val="000000"/>
                </a:solidFill>
                <a:latin typeface="Segoe Sans Text"/>
              </a:defRPr>
            </a:lvl4pPr>
            <a:lvl5pPr marL="1828800" defTabSz="914400">
              <a:defRPr sz="1800">
                <a:solidFill>
                  <a:srgbClr val="000000"/>
                </a:solidFill>
                <a:latin typeface="Segoe Sans Text"/>
              </a:defRPr>
            </a:lvl5pPr>
            <a:lvl6pPr marL="2286000" defTabSz="914400">
              <a:defRPr sz="1800">
                <a:solidFill>
                  <a:srgbClr val="000000"/>
                </a:solidFill>
                <a:latin typeface="Segoe Sans Text"/>
              </a:defRPr>
            </a:lvl6pPr>
            <a:lvl7pPr marL="2743200" defTabSz="914400">
              <a:defRPr sz="1800">
                <a:solidFill>
                  <a:srgbClr val="000000"/>
                </a:solidFill>
                <a:latin typeface="Segoe Sans Text"/>
              </a:defRPr>
            </a:lvl7pPr>
            <a:lvl8pPr marL="3200400" defTabSz="914400">
              <a:defRPr sz="1800">
                <a:solidFill>
                  <a:srgbClr val="000000"/>
                </a:solidFill>
                <a:latin typeface="Segoe Sans Text"/>
              </a:defRPr>
            </a:lvl8pPr>
            <a:lvl9pPr marL="3657600" defTabSz="914400">
              <a:defRPr sz="1800">
                <a:solidFill>
                  <a:srgbClr val="000000"/>
                </a:solidFill>
                <a:latin typeface="Segoe Sans Text"/>
              </a:defRPr>
            </a:lvl9pPr>
          </a:lstStyle>
          <a:p>
            <a:pPr marL="0" marR="0" lvl="1"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lt"/>
                <a:cs typeface="Segoe Sans Text" pitchFamily="2" charset="0"/>
              </a:rPr>
              <a:t>Corp Model</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lt"/>
                <a:cs typeface="Segoe Sans Text" pitchFamily="2" charset="0"/>
              </a:rPr>
              <a:t>Corp sellers qualify GitHub Copilot Pipe for GitHub sellers and Azure dev opportunities for Partners to close</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lt"/>
                <a:cs typeface="Segoe Sans Text" pitchFamily="2" charset="0"/>
              </a:rPr>
              <a:t>GitHub sellers orchestrate qualified GitHub opportunities</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lt"/>
                <a:cs typeface="Segoe Sans Text" pitchFamily="2" charset="0"/>
              </a:rPr>
              <a:t>Partners orchestrate qualified Azure dev opportunities</a:t>
            </a:r>
          </a:p>
        </p:txBody>
      </p:sp>
      <p:sp>
        <p:nvSpPr>
          <p:cNvPr id="48" name="Content Placeholder 3 Cell 3, 6 to Text">
            <a:extLst>
              <a:ext uri="{FF2B5EF4-FFF2-40B4-BE49-F238E27FC236}">
                <a16:creationId xmlns:a16="http://schemas.microsoft.com/office/drawing/2014/main" id="{2BEF77E2-E157-4324-2E66-94DD4B0FD429}"/>
              </a:ext>
            </a:extLst>
          </p:cNvPr>
          <p:cNvSpPr txBox="1"/>
          <p:nvPr/>
        </p:nvSpPr>
        <p:spPr>
          <a:xfrm>
            <a:off x="699516" y="5673149"/>
            <a:ext cx="5131308" cy="738184"/>
          </a:xfrm>
          <a:prstGeom prst="rect">
            <a:avLst/>
          </a:prstGeom>
          <a:noFill/>
        </p:spPr>
        <p:txBody>
          <a:bodyPr vert="horz" wrap="square" lIns="0" tIns="0" rIns="0" bIns="0" rtlCol="0" anchor="ctr" anchorCtr="0">
            <a:noAutofit/>
          </a:bodyPr>
          <a:lstStyle>
            <a:defPPr>
              <a:defRPr lang="en-US"/>
            </a:defPPr>
            <a:lvl1pPr marL="111125" marR="0" lvl="0" indent="-111125" defTabSz="932742" fontAlgn="auto">
              <a:lnSpc>
                <a:spcPct val="100000"/>
              </a:lnSpc>
              <a:spcBef>
                <a:spcPts val="0"/>
              </a:spcBef>
              <a:spcAft>
                <a:spcPts val="0"/>
              </a:spcAft>
              <a:buClrTx/>
              <a:buSzTx/>
              <a:buFont typeface="Arial" panose="020B0604020202020204" pitchFamily="34" charset="0"/>
              <a:buChar char="•"/>
              <a:tabLst/>
              <a:defRPr kumimoji="0" sz="1050" b="0" i="0" u="none" strike="noStrike" cap="none" spc="0" normalizeH="0" baseline="0">
                <a:ln>
                  <a:noFill/>
                </a:ln>
                <a:solidFill>
                  <a:srgbClr val="000000"/>
                </a:solidFill>
                <a:effectLst/>
                <a:uLnTx/>
                <a:uFillTx/>
                <a:latin typeface="Segoe Sans Text"/>
              </a:defRPr>
            </a:lvl1pPr>
            <a:lvl2pPr marL="182880" lvl="1" indent="-182880" defTabSz="914400">
              <a:buFont typeface="Arial" panose="020B0604020202020204" pitchFamily="34" charset="0"/>
              <a:buChar char="•"/>
              <a:defRPr sz="1000">
                <a:solidFill>
                  <a:srgbClr val="000000"/>
                </a:solidFill>
                <a:latin typeface="Segoe Sans Text"/>
                <a:ea typeface="+mn-lt"/>
                <a:cs typeface="Segoe UI"/>
              </a:defRPr>
            </a:lvl2pPr>
            <a:lvl3pPr marL="914400" defTabSz="914400">
              <a:defRPr sz="1800">
                <a:solidFill>
                  <a:srgbClr val="000000"/>
                </a:solidFill>
                <a:latin typeface="Segoe Sans Text"/>
              </a:defRPr>
            </a:lvl3pPr>
            <a:lvl4pPr marL="1371600" defTabSz="914400">
              <a:defRPr sz="1800">
                <a:solidFill>
                  <a:srgbClr val="000000"/>
                </a:solidFill>
                <a:latin typeface="Segoe Sans Text"/>
              </a:defRPr>
            </a:lvl4pPr>
            <a:lvl5pPr marL="1828800" defTabSz="914400">
              <a:defRPr sz="1800">
                <a:solidFill>
                  <a:srgbClr val="000000"/>
                </a:solidFill>
                <a:latin typeface="Segoe Sans Text"/>
              </a:defRPr>
            </a:lvl5pPr>
            <a:lvl6pPr marL="2286000" defTabSz="914400">
              <a:defRPr sz="1800">
                <a:solidFill>
                  <a:srgbClr val="000000"/>
                </a:solidFill>
                <a:latin typeface="Segoe Sans Text"/>
              </a:defRPr>
            </a:lvl6pPr>
            <a:lvl7pPr marL="2743200" defTabSz="914400">
              <a:defRPr sz="1800">
                <a:solidFill>
                  <a:srgbClr val="000000"/>
                </a:solidFill>
                <a:latin typeface="Segoe Sans Text"/>
              </a:defRPr>
            </a:lvl7pPr>
            <a:lvl8pPr marL="3200400" defTabSz="914400">
              <a:defRPr sz="1800">
                <a:solidFill>
                  <a:srgbClr val="000000"/>
                </a:solidFill>
                <a:latin typeface="Segoe Sans Text"/>
              </a:defRPr>
            </a:lvl8pPr>
            <a:lvl9pPr marL="3657600" defTabSz="914400">
              <a:defRPr sz="1800">
                <a:solidFill>
                  <a:srgbClr val="000000"/>
                </a:solidFill>
                <a:latin typeface="Segoe Sans Text"/>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ea"/>
                <a:cs typeface="+mn-cs"/>
              </a:rPr>
              <a:t>SMB Model</a:t>
            </a:r>
          </a:p>
          <a:p>
            <a:pPr marL="198438" marR="0" lvl="0" indent="-114300" algn="l" defTabSz="932742"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For select GEOs, MCAPS sellers qualify GitHub Copilot pipeline for partner</a:t>
            </a:r>
            <a:br>
              <a:rPr kumimoji="0" lang="en-US" sz="1050" b="0" i="0" u="none" strike="noStrike" kern="1200" cap="none" spc="0" normalizeH="0" baseline="0" noProof="0">
                <a:ln>
                  <a:noFill/>
                </a:ln>
                <a:solidFill>
                  <a:srgbClr val="000000"/>
                </a:solidFill>
                <a:effectLst/>
                <a:uLnTx/>
                <a:uFillTx/>
                <a:latin typeface="Segoe Sans Text"/>
                <a:ea typeface="+mn-ea"/>
                <a:cs typeface="+mn-cs"/>
              </a:rPr>
            </a:br>
            <a:r>
              <a:rPr kumimoji="0" lang="en-US" sz="1050" b="0" i="0" u="none" strike="noStrike" kern="1200" cap="none" spc="0" normalizeH="0" baseline="0" noProof="0">
                <a:ln>
                  <a:noFill/>
                </a:ln>
                <a:solidFill>
                  <a:srgbClr val="000000"/>
                </a:solidFill>
                <a:effectLst/>
                <a:uLnTx/>
                <a:uFillTx/>
                <a:latin typeface="Segoe Sans Text"/>
                <a:ea typeface="+mn-ea"/>
                <a:cs typeface="+mn-cs"/>
              </a:rPr>
              <a:t>to close</a:t>
            </a:r>
          </a:p>
          <a:p>
            <a:pPr marL="198438" marR="0" lvl="0" indent="-114300" algn="l" defTabSz="932742"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Partners orchestrate all GitHub Copilot opportunities</a:t>
            </a:r>
          </a:p>
        </p:txBody>
      </p:sp>
      <p:cxnSp>
        <p:nvCxnSpPr>
          <p:cNvPr id="130" name="Straight Connector 129">
            <a:extLst>
              <a:ext uri="{FF2B5EF4-FFF2-40B4-BE49-F238E27FC236}">
                <a16:creationId xmlns:a16="http://schemas.microsoft.com/office/drawing/2014/main" id="{CB6F69EB-5FE4-8FE6-8C5D-EAFD583781FC}"/>
              </a:ext>
              <a:ext uri="{C183D7F6-B498-43B3-948B-1728B52AA6E4}">
                <adec:decorative xmlns:adec="http://schemas.microsoft.com/office/drawing/2017/decorative" val="1"/>
              </a:ext>
            </a:extLst>
          </p:cNvPr>
          <p:cNvCxnSpPr>
            <a:cxnSpLocks/>
          </p:cNvCxnSpPr>
          <p:nvPr/>
        </p:nvCxnSpPr>
        <p:spPr>
          <a:xfrm>
            <a:off x="704229" y="4505646"/>
            <a:ext cx="49177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74E2EC7-9783-D549-0B3C-DDDEA1B29D4A}"/>
              </a:ext>
              <a:ext uri="{C183D7F6-B498-43B3-948B-1728B52AA6E4}">
                <adec:decorative xmlns:adec="http://schemas.microsoft.com/office/drawing/2017/decorative" val="1"/>
              </a:ext>
            </a:extLst>
          </p:cNvPr>
          <p:cNvCxnSpPr>
            <a:cxnSpLocks/>
          </p:cNvCxnSpPr>
          <p:nvPr/>
        </p:nvCxnSpPr>
        <p:spPr>
          <a:xfrm>
            <a:off x="704229" y="5603727"/>
            <a:ext cx="49177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80E6A91-D3AB-882D-A44F-44471CD98464}"/>
              </a:ext>
              <a:ext uri="{C183D7F6-B498-43B3-948B-1728B52AA6E4}">
                <adec:decorative xmlns:adec="http://schemas.microsoft.com/office/drawing/2017/decorative" val="1"/>
              </a:ext>
            </a:extLst>
          </p:cNvPr>
          <p:cNvCxnSpPr>
            <a:cxnSpLocks/>
          </p:cNvCxnSpPr>
          <p:nvPr/>
        </p:nvCxnSpPr>
        <p:spPr>
          <a:xfrm>
            <a:off x="6754876" y="4202180"/>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52C7C23-1A5D-92A2-BB04-19FB14A1F576}"/>
              </a:ext>
              <a:ext uri="{C183D7F6-B498-43B3-948B-1728B52AA6E4}">
                <adec:decorative xmlns:adec="http://schemas.microsoft.com/office/drawing/2017/decorative" val="1"/>
              </a:ext>
            </a:extLst>
          </p:cNvPr>
          <p:cNvCxnSpPr>
            <a:cxnSpLocks/>
          </p:cNvCxnSpPr>
          <p:nvPr/>
        </p:nvCxnSpPr>
        <p:spPr>
          <a:xfrm>
            <a:off x="6754876" y="4660996"/>
            <a:ext cx="4737608"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4" name="Rectangle: Rounded Corners 143">
            <a:extLst>
              <a:ext uri="{FF2B5EF4-FFF2-40B4-BE49-F238E27FC236}">
                <a16:creationId xmlns:a16="http://schemas.microsoft.com/office/drawing/2014/main" id="{CCF37B2D-29BD-C83C-E00A-9B170ECDDFFB}"/>
              </a:ext>
            </a:extLst>
          </p:cNvPr>
          <p:cNvSpPr>
            <a:spLocks/>
          </p:cNvSpPr>
          <p:nvPr/>
        </p:nvSpPr>
        <p:spPr bwMode="auto">
          <a:xfrm>
            <a:off x="6361176" y="5265250"/>
            <a:ext cx="5131308" cy="343396"/>
          </a:xfrm>
          <a:prstGeom prst="roundRect">
            <a:avLst>
              <a:gd name="adj" fmla="val 1726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inding GH Sellers by Account </a:t>
            </a:r>
          </a:p>
        </p:txBody>
      </p:sp>
      <p:sp>
        <p:nvSpPr>
          <p:cNvPr id="79" name="Content Placeholder 3 Cell 3, 5 to Text">
            <a:extLst>
              <a:ext uri="{FF2B5EF4-FFF2-40B4-BE49-F238E27FC236}">
                <a16:creationId xmlns:a16="http://schemas.microsoft.com/office/drawing/2014/main" id="{039190FB-0EF3-BF30-4285-4F8D64550DBC}"/>
              </a:ext>
            </a:extLst>
          </p:cNvPr>
          <p:cNvSpPr txBox="1"/>
          <p:nvPr/>
        </p:nvSpPr>
        <p:spPr>
          <a:xfrm>
            <a:off x="6418284" y="5647427"/>
            <a:ext cx="5074199" cy="738184"/>
          </a:xfrm>
          <a:prstGeom prst="rect">
            <a:avLst/>
          </a:prstGeom>
          <a:noFill/>
        </p:spPr>
        <p:txBody>
          <a:bodyPr vert="horz" wrap="square" lIns="0" tIns="45720" rIns="0" bIns="45720" rtlCol="0" anchor="ctr" anchorCtr="0">
            <a:noAutofit/>
          </a:bodyPr>
          <a:lstStyle>
            <a:defPPr>
              <a:defRPr lang="en-US"/>
            </a:defPPr>
            <a:lvl1pPr marL="111125" marR="0" lvl="0" indent="-111125"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kumimoji="0" sz="1050" b="0" i="0" u="none" strike="noStrike" kern="1200" cap="none" spc="0" normalizeH="0" baseline="0">
                <a:ln>
                  <a:noFill/>
                </a:ln>
                <a:solidFill>
                  <a:srgbClr val="000000"/>
                </a:solidFill>
                <a:effectLst/>
                <a:uLnTx/>
                <a:uFillTx/>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1"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mn-ea"/>
                <a:cs typeface="+mn-cs"/>
              </a:rPr>
              <a:t>Find GH Sellers in </a:t>
            </a:r>
            <a:r>
              <a:rPr kumimoji="0" lang="en-US" sz="1200" b="0" i="0" u="none" strike="noStrike" kern="1200" cap="none" spc="0" normalizeH="0" baseline="0" noProof="0" err="1">
                <a:ln>
                  <a:noFill/>
                </a:ln>
                <a:solidFill>
                  <a:srgbClr val="0078D4"/>
                </a:solidFill>
                <a:effectLst/>
                <a:uLnTx/>
                <a:uFillTx/>
                <a:latin typeface="Segoe Sans Text Semibold"/>
                <a:ea typeface="+mn-ea"/>
                <a:cs typeface="+mn-cs"/>
                <a:hlinkClick r:id="rId4">
                  <a:extLst>
                    <a:ext uri="{A12FA001-AC4F-418D-AE19-62706E023703}">
                      <ahyp:hlinkClr xmlns:ahyp="http://schemas.microsoft.com/office/drawing/2018/hyperlinkcolor" val="tx"/>
                    </a:ext>
                  </a:extLst>
                </a:hlinkClick>
              </a:rPr>
              <a:t>Octodash</a:t>
            </a:r>
            <a:endParaRPr kumimoji="0" lang="en-US" sz="1200" b="0" i="0" u="none" strike="noStrike" kern="1200" cap="none" spc="0" normalizeH="0" baseline="0" noProof="0">
              <a:ln>
                <a:noFill/>
              </a:ln>
              <a:solidFill>
                <a:srgbClr val="0078D4"/>
              </a:solidFill>
              <a:effectLst/>
              <a:uLnTx/>
              <a:uFillTx/>
              <a:latin typeface="Segoe Sans Text Semibold"/>
              <a:ea typeface="+mn-ea"/>
              <a:cs typeface="+mn-cs"/>
            </a:endParaRP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Browse to GH Joint Sales Dashboard &gt; Ent/SMC – Territory &amp; DevOps Tool</a:t>
            </a:r>
          </a:p>
          <a:p>
            <a:pPr marL="198438" marR="0" lvl="1" indent="-1143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There you can filter by Account Name or TPID ID to display account details including GH Seller(s) assigned as “GH Account Owner (Microsoft Alias)”</a:t>
            </a:r>
          </a:p>
        </p:txBody>
      </p:sp>
      <p:sp>
        <p:nvSpPr>
          <p:cNvPr id="93" name="TextBox 92">
            <a:extLst>
              <a:ext uri="{FF2B5EF4-FFF2-40B4-BE49-F238E27FC236}">
                <a16:creationId xmlns:a16="http://schemas.microsoft.com/office/drawing/2014/main" id="{3A434F12-2FB5-F30B-0856-47A263830E4B}"/>
              </a:ext>
            </a:extLst>
          </p:cNvPr>
          <p:cNvSpPr txBox="1"/>
          <p:nvPr/>
        </p:nvSpPr>
        <p:spPr>
          <a:xfrm>
            <a:off x="6754875" y="2045175"/>
            <a:ext cx="2372316"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GitHub Copilot Growth Framework</a:t>
            </a:r>
          </a:p>
        </p:txBody>
      </p:sp>
      <p:grpSp>
        <p:nvGrpSpPr>
          <p:cNvPr id="161" name="Group 160">
            <a:extLst>
              <a:ext uri="{FF2B5EF4-FFF2-40B4-BE49-F238E27FC236}">
                <a16:creationId xmlns:a16="http://schemas.microsoft.com/office/drawing/2014/main" id="{ECA5F6E4-3B96-0004-0653-677914835EB7}"/>
              </a:ext>
              <a:ext uri="{C183D7F6-B498-43B3-948B-1728B52AA6E4}">
                <adec:decorative xmlns:adec="http://schemas.microsoft.com/office/drawing/2017/decorative" val="1"/>
              </a:ext>
            </a:extLst>
          </p:cNvPr>
          <p:cNvGrpSpPr/>
          <p:nvPr/>
        </p:nvGrpSpPr>
        <p:grpSpPr>
          <a:xfrm>
            <a:off x="6361176" y="1998625"/>
            <a:ext cx="277766" cy="277766"/>
            <a:chOff x="6384972" y="1989994"/>
            <a:chExt cx="218092" cy="218092"/>
          </a:xfrm>
        </p:grpSpPr>
        <p:sp>
          <p:nvSpPr>
            <p:cNvPr id="145" name="Oval 144">
              <a:extLst>
                <a:ext uri="{FF2B5EF4-FFF2-40B4-BE49-F238E27FC236}">
                  <a16:creationId xmlns:a16="http://schemas.microsoft.com/office/drawing/2014/main" id="{E2EEC974-E070-845E-1E03-34D2F637E3DD}"/>
                </a:ext>
              </a:extLst>
            </p:cNvPr>
            <p:cNvSpPr/>
            <p:nvPr/>
          </p:nvSpPr>
          <p:spPr bwMode="auto">
            <a:xfrm>
              <a:off x="6384972" y="1989994"/>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2" name="Graphic 4" descr="Icon of a launched rocket">
              <a:extLst>
                <a:ext uri="{FF2B5EF4-FFF2-40B4-BE49-F238E27FC236}">
                  <a16:creationId xmlns:a16="http://schemas.microsoft.com/office/drawing/2014/main" id="{CC092AFF-3010-D14F-5FB9-F5D189F73E71}"/>
                </a:ext>
              </a:extLst>
            </p:cNvPr>
            <p:cNvSpPr>
              <a:spLocks noChangeAspect="1"/>
            </p:cNvSpPr>
            <p:nvPr/>
          </p:nvSpPr>
          <p:spPr>
            <a:xfrm>
              <a:off x="6441074" y="2046093"/>
              <a:ext cx="105888" cy="105894"/>
            </a:xfrm>
            <a:custGeom>
              <a:avLst/>
              <a:gdLst>
                <a:gd name="connsiteX0" fmla="*/ 209108 w 385026"/>
                <a:gd name="connsiteY0" fmla="*/ 106544 h 385048"/>
                <a:gd name="connsiteX1" fmla="*/ 278507 w 385026"/>
                <a:gd name="connsiteY1" fmla="*/ 106544 h 385048"/>
                <a:gd name="connsiteX2" fmla="*/ 278507 w 385026"/>
                <a:gd name="connsiteY2" fmla="*/ 175944 h 385048"/>
                <a:gd name="connsiteX3" fmla="*/ 209108 w 385026"/>
                <a:gd name="connsiteY3" fmla="*/ 175944 h 385048"/>
                <a:gd name="connsiteX4" fmla="*/ 209108 w 385026"/>
                <a:gd name="connsiteY4" fmla="*/ 106544 h 385048"/>
                <a:gd name="connsiteX5" fmla="*/ 257686 w 385026"/>
                <a:gd name="connsiteY5" fmla="*/ 127364 h 385048"/>
                <a:gd name="connsiteX6" fmla="*/ 229926 w 385026"/>
                <a:gd name="connsiteY6" fmla="*/ 127364 h 385048"/>
                <a:gd name="connsiteX7" fmla="*/ 229926 w 385026"/>
                <a:gd name="connsiteY7" fmla="*/ 155124 h 385048"/>
                <a:gd name="connsiteX8" fmla="*/ 257686 w 385026"/>
                <a:gd name="connsiteY8" fmla="*/ 155124 h 385048"/>
                <a:gd name="connsiteX9" fmla="*/ 257686 w 385026"/>
                <a:gd name="connsiteY9" fmla="*/ 127364 h 385048"/>
                <a:gd name="connsiteX10" fmla="*/ 375002 w 385026"/>
                <a:gd name="connsiteY10" fmla="*/ 45525 h 385048"/>
                <a:gd name="connsiteX11" fmla="*/ 339453 w 385026"/>
                <a:gd name="connsiteY11" fmla="*/ 9991 h 385048"/>
                <a:gd name="connsiteX12" fmla="*/ 326457 w 385026"/>
                <a:gd name="connsiteY12" fmla="*/ 5957 h 385048"/>
                <a:gd name="connsiteX13" fmla="*/ 193495 w 385026"/>
                <a:gd name="connsiteY13" fmla="*/ 38811 h 385048"/>
                <a:gd name="connsiteX14" fmla="*/ 173948 w 385026"/>
                <a:gd name="connsiteY14" fmla="*/ 58359 h 385048"/>
                <a:gd name="connsiteX15" fmla="*/ 84259 w 385026"/>
                <a:gd name="connsiteY15" fmla="*/ 64768 h 385048"/>
                <a:gd name="connsiteX16" fmla="*/ 59869 w 385026"/>
                <a:gd name="connsiteY16" fmla="*/ 89158 h 385048"/>
                <a:gd name="connsiteX17" fmla="*/ 59869 w 385026"/>
                <a:gd name="connsiteY17" fmla="*/ 109978 h 385048"/>
                <a:gd name="connsiteX18" fmla="*/ 91099 w 385026"/>
                <a:gd name="connsiteY18" fmla="*/ 141208 h 385048"/>
                <a:gd name="connsiteX19" fmla="*/ 87569 w 385026"/>
                <a:gd name="connsiteY19" fmla="*/ 144737 h 385048"/>
                <a:gd name="connsiteX20" fmla="*/ 87569 w 385026"/>
                <a:gd name="connsiteY20" fmla="*/ 193317 h 385048"/>
                <a:gd name="connsiteX21" fmla="*/ 97293 w 385026"/>
                <a:gd name="connsiteY21" fmla="*/ 203040 h 385048"/>
                <a:gd name="connsiteX22" fmla="*/ 69899 w 385026"/>
                <a:gd name="connsiteY22" fmla="*/ 218664 h 385048"/>
                <a:gd name="connsiteX23" fmla="*/ 62602 w 385026"/>
                <a:gd name="connsiteY23" fmla="*/ 229492 h 385048"/>
                <a:gd name="connsiteX24" fmla="*/ 66783 w 385026"/>
                <a:gd name="connsiteY24" fmla="*/ 241862 h 385048"/>
                <a:gd name="connsiteX25" fmla="*/ 143123 w 385026"/>
                <a:gd name="connsiteY25" fmla="*/ 318202 h 385048"/>
                <a:gd name="connsiteX26" fmla="*/ 155483 w 385026"/>
                <a:gd name="connsiteY26" fmla="*/ 322385 h 385048"/>
                <a:gd name="connsiteX27" fmla="*/ 166312 w 385026"/>
                <a:gd name="connsiteY27" fmla="*/ 315103 h 385048"/>
                <a:gd name="connsiteX28" fmla="*/ 181974 w 385026"/>
                <a:gd name="connsiteY28" fmla="*/ 287722 h 385048"/>
                <a:gd name="connsiteX29" fmla="*/ 191734 w 385026"/>
                <a:gd name="connsiteY29" fmla="*/ 297479 h 385048"/>
                <a:gd name="connsiteX30" fmla="*/ 240312 w 385026"/>
                <a:gd name="connsiteY30" fmla="*/ 297479 h 385048"/>
                <a:gd name="connsiteX31" fmla="*/ 243783 w 385026"/>
                <a:gd name="connsiteY31" fmla="*/ 294011 h 385048"/>
                <a:gd name="connsiteX32" fmla="*/ 274985 w 385026"/>
                <a:gd name="connsiteY32" fmla="*/ 325214 h 385048"/>
                <a:gd name="connsiteX33" fmla="*/ 295806 w 385026"/>
                <a:gd name="connsiteY33" fmla="*/ 325214 h 385048"/>
                <a:gd name="connsiteX34" fmla="*/ 320195 w 385026"/>
                <a:gd name="connsiteY34" fmla="*/ 300822 h 385048"/>
                <a:gd name="connsiteX35" fmla="*/ 326628 w 385026"/>
                <a:gd name="connsiteY35" fmla="*/ 211166 h 385048"/>
                <a:gd name="connsiteX36" fmla="*/ 346215 w 385026"/>
                <a:gd name="connsiteY36" fmla="*/ 191576 h 385048"/>
                <a:gd name="connsiteX37" fmla="*/ 379053 w 385026"/>
                <a:gd name="connsiteY37" fmla="*/ 58564 h 385048"/>
                <a:gd name="connsiteX38" fmla="*/ 375002 w 385026"/>
                <a:gd name="connsiteY38" fmla="*/ 45525 h 385048"/>
                <a:gd name="connsiteX39" fmla="*/ 330726 w 385026"/>
                <a:gd name="connsiteY39" fmla="*/ 38111 h 385048"/>
                <a:gd name="connsiteX40" fmla="*/ 346885 w 385026"/>
                <a:gd name="connsiteY40" fmla="*/ 54263 h 385048"/>
                <a:gd name="connsiteX41" fmla="*/ 350936 w 385026"/>
                <a:gd name="connsiteY41" fmla="*/ 67303 h 385048"/>
                <a:gd name="connsiteX42" fmla="*/ 325397 w 385026"/>
                <a:gd name="connsiteY42" fmla="*/ 170757 h 385048"/>
                <a:gd name="connsiteX43" fmla="*/ 219493 w 385026"/>
                <a:gd name="connsiteY43" fmla="*/ 276661 h 385048"/>
                <a:gd name="connsiteX44" fmla="*/ 212553 w 385026"/>
                <a:gd name="connsiteY44" fmla="*/ 276661 h 385048"/>
                <a:gd name="connsiteX45" fmla="*/ 108389 w 385026"/>
                <a:gd name="connsiteY45" fmla="*/ 172497 h 385048"/>
                <a:gd name="connsiteX46" fmla="*/ 108389 w 385026"/>
                <a:gd name="connsiteY46" fmla="*/ 165558 h 385048"/>
                <a:gd name="connsiteX47" fmla="*/ 214315 w 385026"/>
                <a:gd name="connsiteY47" fmla="*/ 59631 h 385048"/>
                <a:gd name="connsiteX48" fmla="*/ 317730 w 385026"/>
                <a:gd name="connsiteY48" fmla="*/ 34078 h 385048"/>
                <a:gd name="connsiteX49" fmla="*/ 330726 w 385026"/>
                <a:gd name="connsiteY49" fmla="*/ 38111 h 385048"/>
                <a:gd name="connsiteX50" fmla="*/ 305426 w 385026"/>
                <a:gd name="connsiteY50" fmla="*/ 232368 h 385048"/>
                <a:gd name="connsiteX51" fmla="*/ 299374 w 385026"/>
                <a:gd name="connsiteY51" fmla="*/ 280004 h 385048"/>
                <a:gd name="connsiteX52" fmla="*/ 285394 w 385026"/>
                <a:gd name="connsiteY52" fmla="*/ 293983 h 385048"/>
                <a:gd name="connsiteX53" fmla="*/ 264603 w 385026"/>
                <a:gd name="connsiteY53" fmla="*/ 273190 h 385048"/>
                <a:gd name="connsiteX54" fmla="*/ 305426 w 385026"/>
                <a:gd name="connsiteY54" fmla="*/ 232368 h 385048"/>
                <a:gd name="connsiteX55" fmla="*/ 105079 w 385026"/>
                <a:gd name="connsiteY55" fmla="*/ 85588 h 385048"/>
                <a:gd name="connsiteX56" fmla="*/ 152748 w 385026"/>
                <a:gd name="connsiteY56" fmla="*/ 79558 h 385048"/>
                <a:gd name="connsiteX57" fmla="*/ 111919 w 385026"/>
                <a:gd name="connsiteY57" fmla="*/ 120388 h 385048"/>
                <a:gd name="connsiteX58" fmla="*/ 91099 w 385026"/>
                <a:gd name="connsiteY58" fmla="*/ 99568 h 385048"/>
                <a:gd name="connsiteX59" fmla="*/ 105079 w 385026"/>
                <a:gd name="connsiteY59" fmla="*/ 85588 h 385048"/>
                <a:gd name="connsiteX60" fmla="*/ 160396 w 385026"/>
                <a:gd name="connsiteY60" fmla="*/ 266143 h 385048"/>
                <a:gd name="connsiteX61" fmla="*/ 150320 w 385026"/>
                <a:gd name="connsiteY61" fmla="*/ 283759 h 385048"/>
                <a:gd name="connsiteX62" fmla="*/ 101243 w 385026"/>
                <a:gd name="connsiteY62" fmla="*/ 234684 h 385048"/>
                <a:gd name="connsiteX63" fmla="*/ 118878 w 385026"/>
                <a:gd name="connsiteY63" fmla="*/ 224626 h 385048"/>
                <a:gd name="connsiteX64" fmla="*/ 160396 w 385026"/>
                <a:gd name="connsiteY64" fmla="*/ 266143 h 385048"/>
                <a:gd name="connsiteX65" fmla="*/ 84122 w 385026"/>
                <a:gd name="connsiteY65" fmla="*/ 321747 h 385048"/>
                <a:gd name="connsiteX66" fmla="*/ 84122 w 385026"/>
                <a:gd name="connsiteY66" fmla="*/ 300926 h 385048"/>
                <a:gd name="connsiteX67" fmla="*/ 63302 w 385026"/>
                <a:gd name="connsiteY67" fmla="*/ 300926 h 385048"/>
                <a:gd name="connsiteX68" fmla="*/ 14723 w 385026"/>
                <a:gd name="connsiteY68" fmla="*/ 349507 h 385048"/>
                <a:gd name="connsiteX69" fmla="*/ 14723 w 385026"/>
                <a:gd name="connsiteY69" fmla="*/ 370327 h 385048"/>
                <a:gd name="connsiteX70" fmla="*/ 35542 w 385026"/>
                <a:gd name="connsiteY70" fmla="*/ 370327 h 385048"/>
                <a:gd name="connsiteX71" fmla="*/ 84122 w 385026"/>
                <a:gd name="connsiteY71" fmla="*/ 321747 h 385048"/>
                <a:gd name="connsiteX72" fmla="*/ 45952 w 385026"/>
                <a:gd name="connsiteY72" fmla="*/ 262757 h 385048"/>
                <a:gd name="connsiteX73" fmla="*/ 45952 w 385026"/>
                <a:gd name="connsiteY73" fmla="*/ 283578 h 385048"/>
                <a:gd name="connsiteX74" fmla="*/ 25132 w 385026"/>
                <a:gd name="connsiteY74" fmla="*/ 304397 h 385048"/>
                <a:gd name="connsiteX75" fmla="*/ 4312 w 385026"/>
                <a:gd name="connsiteY75" fmla="*/ 304397 h 385048"/>
                <a:gd name="connsiteX76" fmla="*/ 4312 w 385026"/>
                <a:gd name="connsiteY76" fmla="*/ 283578 h 385048"/>
                <a:gd name="connsiteX77" fmla="*/ 25132 w 385026"/>
                <a:gd name="connsiteY77" fmla="*/ 262757 h 385048"/>
                <a:gd name="connsiteX78" fmla="*/ 45952 w 385026"/>
                <a:gd name="connsiteY78" fmla="*/ 262757 h 385048"/>
                <a:gd name="connsiteX79" fmla="*/ 122252 w 385026"/>
                <a:gd name="connsiteY79" fmla="*/ 359957 h 385048"/>
                <a:gd name="connsiteX80" fmla="*/ 122252 w 385026"/>
                <a:gd name="connsiteY80" fmla="*/ 339138 h 385048"/>
                <a:gd name="connsiteX81" fmla="*/ 101432 w 385026"/>
                <a:gd name="connsiteY81" fmla="*/ 339138 h 385048"/>
                <a:gd name="connsiteX82" fmla="*/ 80653 w 385026"/>
                <a:gd name="connsiteY82" fmla="*/ 359916 h 385048"/>
                <a:gd name="connsiteX83" fmla="*/ 80653 w 385026"/>
                <a:gd name="connsiteY83" fmla="*/ 380737 h 385048"/>
                <a:gd name="connsiteX84" fmla="*/ 101473 w 385026"/>
                <a:gd name="connsiteY84" fmla="*/ 380737 h 385048"/>
                <a:gd name="connsiteX85" fmla="*/ 122252 w 385026"/>
                <a:gd name="connsiteY85" fmla="*/ 359957 h 38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85026" h="385048">
                  <a:moveTo>
                    <a:pt x="209108" y="106544"/>
                  </a:moveTo>
                  <a:cubicBezTo>
                    <a:pt x="228272" y="87380"/>
                    <a:pt x="259343" y="87380"/>
                    <a:pt x="278507" y="106544"/>
                  </a:cubicBezTo>
                  <a:cubicBezTo>
                    <a:pt x="297671" y="125708"/>
                    <a:pt x="297671" y="156779"/>
                    <a:pt x="278507" y="175944"/>
                  </a:cubicBezTo>
                  <a:cubicBezTo>
                    <a:pt x="259343" y="195107"/>
                    <a:pt x="228272" y="195107"/>
                    <a:pt x="209108" y="175944"/>
                  </a:cubicBezTo>
                  <a:cubicBezTo>
                    <a:pt x="189944" y="156779"/>
                    <a:pt x="189944" y="125708"/>
                    <a:pt x="209108" y="106544"/>
                  </a:cubicBezTo>
                  <a:close/>
                  <a:moveTo>
                    <a:pt x="257686" y="127364"/>
                  </a:moveTo>
                  <a:cubicBezTo>
                    <a:pt x="250021" y="119698"/>
                    <a:pt x="237594" y="119698"/>
                    <a:pt x="229926" y="127364"/>
                  </a:cubicBezTo>
                  <a:cubicBezTo>
                    <a:pt x="222261" y="135029"/>
                    <a:pt x="222261" y="147458"/>
                    <a:pt x="229926" y="155124"/>
                  </a:cubicBezTo>
                  <a:cubicBezTo>
                    <a:pt x="237594" y="162790"/>
                    <a:pt x="250021" y="162790"/>
                    <a:pt x="257686" y="155124"/>
                  </a:cubicBezTo>
                  <a:cubicBezTo>
                    <a:pt x="265353" y="147458"/>
                    <a:pt x="265353" y="135029"/>
                    <a:pt x="257686" y="127364"/>
                  </a:cubicBezTo>
                  <a:close/>
                  <a:moveTo>
                    <a:pt x="375002" y="45525"/>
                  </a:moveTo>
                  <a:cubicBezTo>
                    <a:pt x="369725" y="28549"/>
                    <a:pt x="356430" y="15260"/>
                    <a:pt x="339453" y="9991"/>
                  </a:cubicBezTo>
                  <a:lnTo>
                    <a:pt x="326457" y="5957"/>
                  </a:lnTo>
                  <a:cubicBezTo>
                    <a:pt x="279474" y="-8624"/>
                    <a:pt x="228281" y="4026"/>
                    <a:pt x="193495" y="38811"/>
                  </a:cubicBezTo>
                  <a:lnTo>
                    <a:pt x="173948" y="58359"/>
                  </a:lnTo>
                  <a:cubicBezTo>
                    <a:pt x="147060" y="38168"/>
                    <a:pt x="108723" y="40304"/>
                    <a:pt x="84259" y="64768"/>
                  </a:cubicBezTo>
                  <a:lnTo>
                    <a:pt x="59869" y="89158"/>
                  </a:lnTo>
                  <a:cubicBezTo>
                    <a:pt x="54120" y="94907"/>
                    <a:pt x="54120" y="104229"/>
                    <a:pt x="59869" y="109978"/>
                  </a:cubicBezTo>
                  <a:lnTo>
                    <a:pt x="91099" y="141208"/>
                  </a:lnTo>
                  <a:lnTo>
                    <a:pt x="87569" y="144737"/>
                  </a:lnTo>
                  <a:cubicBezTo>
                    <a:pt x="74154" y="158152"/>
                    <a:pt x="74154" y="179903"/>
                    <a:pt x="87569" y="193317"/>
                  </a:cubicBezTo>
                  <a:lnTo>
                    <a:pt x="97293" y="203040"/>
                  </a:lnTo>
                  <a:lnTo>
                    <a:pt x="69899" y="218664"/>
                  </a:lnTo>
                  <a:cubicBezTo>
                    <a:pt x="65911" y="220937"/>
                    <a:pt x="63213" y="224942"/>
                    <a:pt x="62602" y="229492"/>
                  </a:cubicBezTo>
                  <a:cubicBezTo>
                    <a:pt x="61991" y="234042"/>
                    <a:pt x="63537" y="238615"/>
                    <a:pt x="66783" y="241862"/>
                  </a:cubicBezTo>
                  <a:lnTo>
                    <a:pt x="143123" y="318202"/>
                  </a:lnTo>
                  <a:cubicBezTo>
                    <a:pt x="146366" y="321445"/>
                    <a:pt x="150937" y="322991"/>
                    <a:pt x="155483" y="322385"/>
                  </a:cubicBezTo>
                  <a:cubicBezTo>
                    <a:pt x="160031" y="321776"/>
                    <a:pt x="164033" y="319083"/>
                    <a:pt x="166312" y="315103"/>
                  </a:cubicBezTo>
                  <a:lnTo>
                    <a:pt x="181974" y="287722"/>
                  </a:lnTo>
                  <a:lnTo>
                    <a:pt x="191734" y="297479"/>
                  </a:lnTo>
                  <a:cubicBezTo>
                    <a:pt x="205148" y="310896"/>
                    <a:pt x="226898" y="310896"/>
                    <a:pt x="240312" y="297479"/>
                  </a:cubicBezTo>
                  <a:lnTo>
                    <a:pt x="243783" y="294011"/>
                  </a:lnTo>
                  <a:lnTo>
                    <a:pt x="274985" y="325214"/>
                  </a:lnTo>
                  <a:cubicBezTo>
                    <a:pt x="280734" y="330961"/>
                    <a:pt x="290056" y="330961"/>
                    <a:pt x="295806" y="325214"/>
                  </a:cubicBezTo>
                  <a:lnTo>
                    <a:pt x="320195" y="300822"/>
                  </a:lnTo>
                  <a:cubicBezTo>
                    <a:pt x="344649" y="276368"/>
                    <a:pt x="346794" y="238050"/>
                    <a:pt x="326628" y="211166"/>
                  </a:cubicBezTo>
                  <a:lnTo>
                    <a:pt x="346215" y="191576"/>
                  </a:lnTo>
                  <a:cubicBezTo>
                    <a:pt x="381014" y="156778"/>
                    <a:pt x="393659" y="105560"/>
                    <a:pt x="379053" y="58564"/>
                  </a:cubicBezTo>
                  <a:lnTo>
                    <a:pt x="375002" y="45525"/>
                  </a:lnTo>
                  <a:close/>
                  <a:moveTo>
                    <a:pt x="330726" y="38111"/>
                  </a:moveTo>
                  <a:cubicBezTo>
                    <a:pt x="338442" y="40506"/>
                    <a:pt x="344486" y="46547"/>
                    <a:pt x="346885" y="54263"/>
                  </a:cubicBezTo>
                  <a:lnTo>
                    <a:pt x="350936" y="67303"/>
                  </a:lnTo>
                  <a:cubicBezTo>
                    <a:pt x="362296" y="103855"/>
                    <a:pt x="352461" y="143692"/>
                    <a:pt x="325397" y="170757"/>
                  </a:cubicBezTo>
                  <a:lnTo>
                    <a:pt x="219493" y="276661"/>
                  </a:lnTo>
                  <a:cubicBezTo>
                    <a:pt x="217576" y="278577"/>
                    <a:pt x="214468" y="278577"/>
                    <a:pt x="212553" y="276661"/>
                  </a:cubicBezTo>
                  <a:lnTo>
                    <a:pt x="108389" y="172497"/>
                  </a:lnTo>
                  <a:cubicBezTo>
                    <a:pt x="106473" y="170581"/>
                    <a:pt x="106473" y="167474"/>
                    <a:pt x="108389" y="165558"/>
                  </a:cubicBezTo>
                  <a:lnTo>
                    <a:pt x="214315" y="59631"/>
                  </a:lnTo>
                  <a:cubicBezTo>
                    <a:pt x="241370" y="32576"/>
                    <a:pt x="281188" y="22737"/>
                    <a:pt x="317730" y="34078"/>
                  </a:cubicBezTo>
                  <a:lnTo>
                    <a:pt x="330726" y="38111"/>
                  </a:lnTo>
                  <a:close/>
                  <a:moveTo>
                    <a:pt x="305426" y="232368"/>
                  </a:moveTo>
                  <a:cubicBezTo>
                    <a:pt x="314308" y="247398"/>
                    <a:pt x="312292" y="267086"/>
                    <a:pt x="299374" y="280004"/>
                  </a:cubicBezTo>
                  <a:lnTo>
                    <a:pt x="285394" y="293983"/>
                  </a:lnTo>
                  <a:lnTo>
                    <a:pt x="264603" y="273190"/>
                  </a:lnTo>
                  <a:lnTo>
                    <a:pt x="305426" y="232368"/>
                  </a:lnTo>
                  <a:close/>
                  <a:moveTo>
                    <a:pt x="105079" y="85588"/>
                  </a:moveTo>
                  <a:cubicBezTo>
                    <a:pt x="118005" y="72662"/>
                    <a:pt x="137713" y="70652"/>
                    <a:pt x="152748" y="79558"/>
                  </a:cubicBezTo>
                  <a:lnTo>
                    <a:pt x="111919" y="120388"/>
                  </a:lnTo>
                  <a:lnTo>
                    <a:pt x="91099" y="99568"/>
                  </a:lnTo>
                  <a:lnTo>
                    <a:pt x="105079" y="85588"/>
                  </a:lnTo>
                  <a:close/>
                  <a:moveTo>
                    <a:pt x="160396" y="266143"/>
                  </a:moveTo>
                  <a:lnTo>
                    <a:pt x="150320" y="283759"/>
                  </a:lnTo>
                  <a:lnTo>
                    <a:pt x="101243" y="234684"/>
                  </a:lnTo>
                  <a:lnTo>
                    <a:pt x="118878" y="224626"/>
                  </a:lnTo>
                  <a:lnTo>
                    <a:pt x="160396" y="266143"/>
                  </a:lnTo>
                  <a:close/>
                  <a:moveTo>
                    <a:pt x="84122" y="321747"/>
                  </a:moveTo>
                  <a:cubicBezTo>
                    <a:pt x="89871" y="315998"/>
                    <a:pt x="89871" y="306676"/>
                    <a:pt x="84122" y="300926"/>
                  </a:cubicBezTo>
                  <a:cubicBezTo>
                    <a:pt x="78373" y="295177"/>
                    <a:pt x="69052" y="295177"/>
                    <a:pt x="63302" y="300926"/>
                  </a:cubicBezTo>
                  <a:lnTo>
                    <a:pt x="14723" y="349507"/>
                  </a:lnTo>
                  <a:cubicBezTo>
                    <a:pt x="8973" y="355256"/>
                    <a:pt x="8973" y="364578"/>
                    <a:pt x="14723" y="370327"/>
                  </a:cubicBezTo>
                  <a:cubicBezTo>
                    <a:pt x="20472" y="376077"/>
                    <a:pt x="29793" y="376077"/>
                    <a:pt x="35542" y="370327"/>
                  </a:cubicBezTo>
                  <a:lnTo>
                    <a:pt x="84122" y="321747"/>
                  </a:lnTo>
                  <a:close/>
                  <a:moveTo>
                    <a:pt x="45952" y="262757"/>
                  </a:moveTo>
                  <a:cubicBezTo>
                    <a:pt x="51701" y="268507"/>
                    <a:pt x="51701" y="277829"/>
                    <a:pt x="45952" y="283578"/>
                  </a:cubicBezTo>
                  <a:lnTo>
                    <a:pt x="25132" y="304397"/>
                  </a:lnTo>
                  <a:cubicBezTo>
                    <a:pt x="19383" y="310146"/>
                    <a:pt x="10061" y="310146"/>
                    <a:pt x="4312" y="304397"/>
                  </a:cubicBezTo>
                  <a:cubicBezTo>
                    <a:pt x="-1437" y="298647"/>
                    <a:pt x="-1437" y="289326"/>
                    <a:pt x="4312" y="283578"/>
                  </a:cubicBezTo>
                  <a:lnTo>
                    <a:pt x="25132" y="262757"/>
                  </a:lnTo>
                  <a:cubicBezTo>
                    <a:pt x="30881" y="257008"/>
                    <a:pt x="40202" y="257008"/>
                    <a:pt x="45952" y="262757"/>
                  </a:cubicBezTo>
                  <a:close/>
                  <a:moveTo>
                    <a:pt x="122252" y="359957"/>
                  </a:moveTo>
                  <a:cubicBezTo>
                    <a:pt x="128001" y="354208"/>
                    <a:pt x="128001" y="344888"/>
                    <a:pt x="122252" y="339138"/>
                  </a:cubicBezTo>
                  <a:cubicBezTo>
                    <a:pt x="116503" y="333389"/>
                    <a:pt x="107182" y="333389"/>
                    <a:pt x="101432" y="339138"/>
                  </a:cubicBezTo>
                  <a:lnTo>
                    <a:pt x="80653" y="359916"/>
                  </a:lnTo>
                  <a:cubicBezTo>
                    <a:pt x="74904" y="365665"/>
                    <a:pt x="74904" y="374987"/>
                    <a:pt x="80653" y="380737"/>
                  </a:cubicBezTo>
                  <a:cubicBezTo>
                    <a:pt x="86402" y="386486"/>
                    <a:pt x="95723" y="386486"/>
                    <a:pt x="101473" y="380737"/>
                  </a:cubicBezTo>
                  <a:lnTo>
                    <a:pt x="122252" y="359957"/>
                  </a:ln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sp>
        <p:nvSpPr>
          <p:cNvPr id="97" name="TextBox 96">
            <a:extLst>
              <a:ext uri="{FF2B5EF4-FFF2-40B4-BE49-F238E27FC236}">
                <a16:creationId xmlns:a16="http://schemas.microsoft.com/office/drawing/2014/main" id="{47AAEF09-8CC9-AA29-D55B-7815231364D9}"/>
              </a:ext>
            </a:extLst>
          </p:cNvPr>
          <p:cNvSpPr txBox="1"/>
          <p:nvPr/>
        </p:nvSpPr>
        <p:spPr>
          <a:xfrm>
            <a:off x="6754876" y="3880439"/>
            <a:ext cx="1716688"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ctivating Durable Usage</a:t>
            </a:r>
          </a:p>
        </p:txBody>
      </p:sp>
      <p:grpSp>
        <p:nvGrpSpPr>
          <p:cNvPr id="166" name="Group 165">
            <a:extLst>
              <a:ext uri="{FF2B5EF4-FFF2-40B4-BE49-F238E27FC236}">
                <a16:creationId xmlns:a16="http://schemas.microsoft.com/office/drawing/2014/main" id="{0FD849D8-7B82-F398-E335-9F57EE6C7D63}"/>
              </a:ext>
              <a:ext uri="{C183D7F6-B498-43B3-948B-1728B52AA6E4}">
                <adec:decorative xmlns:adec="http://schemas.microsoft.com/office/drawing/2017/decorative" val="1"/>
              </a:ext>
            </a:extLst>
          </p:cNvPr>
          <p:cNvGrpSpPr/>
          <p:nvPr/>
        </p:nvGrpSpPr>
        <p:grpSpPr>
          <a:xfrm>
            <a:off x="6361176" y="3833889"/>
            <a:ext cx="277766" cy="277766"/>
            <a:chOff x="6384972" y="3784418"/>
            <a:chExt cx="218092" cy="218092"/>
          </a:xfrm>
        </p:grpSpPr>
        <p:sp>
          <p:nvSpPr>
            <p:cNvPr id="149" name="Oval 148">
              <a:extLst>
                <a:ext uri="{FF2B5EF4-FFF2-40B4-BE49-F238E27FC236}">
                  <a16:creationId xmlns:a16="http://schemas.microsoft.com/office/drawing/2014/main" id="{0D7E6238-4E68-666C-4545-488523B3FAD7}"/>
                </a:ext>
              </a:extLst>
            </p:cNvPr>
            <p:cNvSpPr/>
            <p:nvPr/>
          </p:nvSpPr>
          <p:spPr bwMode="auto">
            <a:xfrm>
              <a:off x="6384972" y="3784418"/>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3" name="Graphic 27" descr="Icon of a Speedometer">
              <a:extLst>
                <a:ext uri="{FF2B5EF4-FFF2-40B4-BE49-F238E27FC236}">
                  <a16:creationId xmlns:a16="http://schemas.microsoft.com/office/drawing/2014/main" id="{FF5198BD-7E25-9F2B-72C4-0BDC3A467871}"/>
                </a:ext>
              </a:extLst>
            </p:cNvPr>
            <p:cNvSpPr>
              <a:spLocks noChangeAspect="1"/>
            </p:cNvSpPr>
            <p:nvPr/>
          </p:nvSpPr>
          <p:spPr>
            <a:xfrm>
              <a:off x="6439562" y="3844455"/>
              <a:ext cx="108913" cy="98019"/>
            </a:xfrm>
            <a:custGeom>
              <a:avLst/>
              <a:gdLst>
                <a:gd name="connsiteX0" fmla="*/ 43274 w 190505"/>
                <a:gd name="connsiteY0" fmla="*/ 33171 h 171450"/>
                <a:gd name="connsiteX1" fmla="*/ 88106 w 190505"/>
                <a:gd name="connsiteY1" fmla="*/ 14598 h 171450"/>
                <a:gd name="connsiteX2" fmla="*/ 88106 w 190505"/>
                <a:gd name="connsiteY2" fmla="*/ 30956 h 171450"/>
                <a:gd name="connsiteX3" fmla="*/ 95250 w 190505"/>
                <a:gd name="connsiteY3" fmla="*/ 38100 h 171450"/>
                <a:gd name="connsiteX4" fmla="*/ 102394 w 190505"/>
                <a:gd name="connsiteY4" fmla="*/ 30956 h 171450"/>
                <a:gd name="connsiteX5" fmla="*/ 102394 w 190505"/>
                <a:gd name="connsiteY5" fmla="*/ 14598 h 171450"/>
                <a:gd name="connsiteX6" fmla="*/ 176074 w 190505"/>
                <a:gd name="connsiteY6" fmla="*/ 90488 h 171450"/>
                <a:gd name="connsiteX7" fmla="*/ 159544 w 190505"/>
                <a:gd name="connsiteY7" fmla="*/ 90488 h 171450"/>
                <a:gd name="connsiteX8" fmla="*/ 152400 w 190505"/>
                <a:gd name="connsiteY8" fmla="*/ 97631 h 171450"/>
                <a:gd name="connsiteX9" fmla="*/ 159544 w 190505"/>
                <a:gd name="connsiteY9" fmla="*/ 104775 h 171450"/>
                <a:gd name="connsiteX10" fmla="*/ 175683 w 190505"/>
                <a:gd name="connsiteY10" fmla="*/ 104775 h 171450"/>
                <a:gd name="connsiteX11" fmla="*/ 145509 w 190505"/>
                <a:gd name="connsiteY11" fmla="*/ 158766 h 171450"/>
                <a:gd name="connsiteX12" fmla="*/ 144478 w 190505"/>
                <a:gd name="connsiteY12" fmla="*/ 168816 h 171450"/>
                <a:gd name="connsiteX13" fmla="*/ 154529 w 190505"/>
                <a:gd name="connsiteY13" fmla="*/ 169847 h 171450"/>
                <a:gd name="connsiteX14" fmla="*/ 190447 w 190505"/>
                <a:gd name="connsiteY14" fmla="*/ 98558 h 171450"/>
                <a:gd name="connsiteX15" fmla="*/ 190506 w 190505"/>
                <a:gd name="connsiteY15" fmla="*/ 97631 h 171450"/>
                <a:gd name="connsiteX16" fmla="*/ 190484 w 190505"/>
                <a:gd name="connsiteY16" fmla="*/ 97066 h 171450"/>
                <a:gd name="connsiteX17" fmla="*/ 190500 w 190505"/>
                <a:gd name="connsiteY17" fmla="*/ 95250 h 171450"/>
                <a:gd name="connsiteX18" fmla="*/ 95250 w 190505"/>
                <a:gd name="connsiteY18" fmla="*/ 0 h 171450"/>
                <a:gd name="connsiteX19" fmla="*/ 0 w 190505"/>
                <a:gd name="connsiteY19" fmla="*/ 95250 h 171450"/>
                <a:gd name="connsiteX20" fmla="*/ 35908 w 190505"/>
                <a:gd name="connsiteY20" fmla="*/ 169795 h 171450"/>
                <a:gd name="connsiteX21" fmla="*/ 45969 w 190505"/>
                <a:gd name="connsiteY21" fmla="*/ 168879 h 171450"/>
                <a:gd name="connsiteX22" fmla="*/ 45055 w 190505"/>
                <a:gd name="connsiteY22" fmla="*/ 158818 h 171450"/>
                <a:gd name="connsiteX23" fmla="*/ 14837 w 190505"/>
                <a:gd name="connsiteY23" fmla="*/ 104775 h 171450"/>
                <a:gd name="connsiteX24" fmla="*/ 30953 w 190505"/>
                <a:gd name="connsiteY24" fmla="*/ 104775 h 171450"/>
                <a:gd name="connsiteX25" fmla="*/ 38096 w 190505"/>
                <a:gd name="connsiteY25" fmla="*/ 97631 h 171450"/>
                <a:gd name="connsiteX26" fmla="*/ 30953 w 190505"/>
                <a:gd name="connsiteY26" fmla="*/ 90488 h 171450"/>
                <a:gd name="connsiteX27" fmla="*/ 14425 w 190505"/>
                <a:gd name="connsiteY27" fmla="*/ 90488 h 171450"/>
                <a:gd name="connsiteX28" fmla="*/ 33171 w 190505"/>
                <a:gd name="connsiteY28" fmla="*/ 43274 h 171450"/>
                <a:gd name="connsiteX29" fmla="*/ 44955 w 190505"/>
                <a:gd name="connsiteY29" fmla="*/ 55058 h 171450"/>
                <a:gd name="connsiteX30" fmla="*/ 55058 w 190505"/>
                <a:gd name="connsiteY30" fmla="*/ 55058 h 171450"/>
                <a:gd name="connsiteX31" fmla="*/ 55058 w 190505"/>
                <a:gd name="connsiteY31" fmla="*/ 44955 h 171450"/>
                <a:gd name="connsiteX32" fmla="*/ 43274 w 190505"/>
                <a:gd name="connsiteY32" fmla="*/ 33171 h 171450"/>
                <a:gd name="connsiteX33" fmla="*/ 140579 w 190505"/>
                <a:gd name="connsiteY33" fmla="*/ 44140 h 171450"/>
                <a:gd name="connsiteX34" fmla="*/ 132889 w 190505"/>
                <a:gd name="connsiteY34" fmla="*/ 44285 h 171450"/>
                <a:gd name="connsiteX35" fmla="*/ 130820 w 190505"/>
                <a:gd name="connsiteY35" fmla="*/ 46022 h 171450"/>
                <a:gd name="connsiteX36" fmla="*/ 125338 w 190505"/>
                <a:gd name="connsiteY36" fmla="*/ 50636 h 171450"/>
                <a:gd name="connsiteX37" fmla="*/ 108419 w 190505"/>
                <a:gd name="connsiteY37" fmla="*/ 64988 h 171450"/>
                <a:gd name="connsiteX38" fmla="*/ 90675 w 190505"/>
                <a:gd name="connsiteY38" fmla="*/ 80342 h 171450"/>
                <a:gd name="connsiteX39" fmla="*/ 84115 w 190505"/>
                <a:gd name="connsiteY39" fmla="*/ 86255 h 171450"/>
                <a:gd name="connsiteX40" fmla="*/ 80117 w 190505"/>
                <a:gd name="connsiteY40" fmla="*/ 90285 h 171450"/>
                <a:gd name="connsiteX41" fmla="*/ 83090 w 190505"/>
                <a:gd name="connsiteY41" fmla="*/ 115231 h 171450"/>
                <a:gd name="connsiteX42" fmla="*/ 108587 w 190505"/>
                <a:gd name="connsiteY42" fmla="*/ 112322 h 171450"/>
                <a:gd name="connsiteX43" fmla="*/ 111676 w 190505"/>
                <a:gd name="connsiteY43" fmla="*/ 107588 h 171450"/>
                <a:gd name="connsiteX44" fmla="*/ 116048 w 190505"/>
                <a:gd name="connsiteY44" fmla="*/ 99981 h 171450"/>
                <a:gd name="connsiteX45" fmla="*/ 127240 w 190505"/>
                <a:gd name="connsiteY45" fmla="*/ 79555 h 171450"/>
                <a:gd name="connsiteX46" fmla="*/ 137623 w 190505"/>
                <a:gd name="connsiteY46" fmla="*/ 60144 h 171450"/>
                <a:gd name="connsiteX47" fmla="*/ 140951 w 190505"/>
                <a:gd name="connsiteY47" fmla="*/ 53863 h 171450"/>
                <a:gd name="connsiteX48" fmla="*/ 142203 w 190505"/>
                <a:gd name="connsiteY48" fmla="*/ 51494 h 171450"/>
                <a:gd name="connsiteX49" fmla="*/ 140579 w 190505"/>
                <a:gd name="connsiteY49" fmla="*/ 4414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90505" h="171450">
                  <a:moveTo>
                    <a:pt x="43274" y="33171"/>
                  </a:moveTo>
                  <a:cubicBezTo>
                    <a:pt x="55626" y="22818"/>
                    <a:pt x="71114" y="16084"/>
                    <a:pt x="88106" y="14598"/>
                  </a:cubicBezTo>
                  <a:lnTo>
                    <a:pt x="88106" y="30956"/>
                  </a:lnTo>
                  <a:cubicBezTo>
                    <a:pt x="88106" y="34902"/>
                    <a:pt x="91305" y="38100"/>
                    <a:pt x="95250" y="38100"/>
                  </a:cubicBezTo>
                  <a:cubicBezTo>
                    <a:pt x="99195" y="38100"/>
                    <a:pt x="102394" y="34902"/>
                    <a:pt x="102394" y="30956"/>
                  </a:cubicBezTo>
                  <a:lnTo>
                    <a:pt x="102394" y="14598"/>
                  </a:lnTo>
                  <a:cubicBezTo>
                    <a:pt x="142199" y="18078"/>
                    <a:pt x="173747" y="50363"/>
                    <a:pt x="176074" y="90488"/>
                  </a:cubicBezTo>
                  <a:lnTo>
                    <a:pt x="159544" y="90488"/>
                  </a:lnTo>
                  <a:cubicBezTo>
                    <a:pt x="155599" y="90488"/>
                    <a:pt x="152400" y="93686"/>
                    <a:pt x="152400" y="97631"/>
                  </a:cubicBezTo>
                  <a:cubicBezTo>
                    <a:pt x="152400" y="101577"/>
                    <a:pt x="155599" y="104775"/>
                    <a:pt x="159544" y="104775"/>
                  </a:cubicBezTo>
                  <a:lnTo>
                    <a:pt x="175683" y="104775"/>
                  </a:lnTo>
                  <a:cubicBezTo>
                    <a:pt x="173200" y="126793"/>
                    <a:pt x="162126" y="145240"/>
                    <a:pt x="145509" y="158766"/>
                  </a:cubicBezTo>
                  <a:cubicBezTo>
                    <a:pt x="142449" y="161256"/>
                    <a:pt x="141987" y="165756"/>
                    <a:pt x="144478" y="168816"/>
                  </a:cubicBezTo>
                  <a:cubicBezTo>
                    <a:pt x="146969" y="171876"/>
                    <a:pt x="151468" y="172338"/>
                    <a:pt x="154529" y="169847"/>
                  </a:cubicBezTo>
                  <a:cubicBezTo>
                    <a:pt x="175736" y="152585"/>
                    <a:pt x="189487" y="127999"/>
                    <a:pt x="190447" y="98558"/>
                  </a:cubicBezTo>
                  <a:cubicBezTo>
                    <a:pt x="190486" y="98254"/>
                    <a:pt x="190506" y="97946"/>
                    <a:pt x="190506" y="97631"/>
                  </a:cubicBezTo>
                  <a:cubicBezTo>
                    <a:pt x="190506" y="97442"/>
                    <a:pt x="190498" y="97253"/>
                    <a:pt x="190484" y="97066"/>
                  </a:cubicBezTo>
                  <a:cubicBezTo>
                    <a:pt x="190494" y="96463"/>
                    <a:pt x="190500" y="95858"/>
                    <a:pt x="190500" y="95250"/>
                  </a:cubicBezTo>
                  <a:cubicBezTo>
                    <a:pt x="190500" y="42645"/>
                    <a:pt x="147855" y="0"/>
                    <a:pt x="95250" y="0"/>
                  </a:cubicBezTo>
                  <a:cubicBezTo>
                    <a:pt x="42645" y="0"/>
                    <a:pt x="0" y="42645"/>
                    <a:pt x="0" y="95250"/>
                  </a:cubicBezTo>
                  <a:cubicBezTo>
                    <a:pt x="0" y="126227"/>
                    <a:pt x="14507" y="151960"/>
                    <a:pt x="35908" y="169795"/>
                  </a:cubicBezTo>
                  <a:cubicBezTo>
                    <a:pt x="38939" y="172320"/>
                    <a:pt x="43443" y="171910"/>
                    <a:pt x="45969" y="168879"/>
                  </a:cubicBezTo>
                  <a:cubicBezTo>
                    <a:pt x="48495" y="165848"/>
                    <a:pt x="48086" y="161344"/>
                    <a:pt x="45055" y="158818"/>
                  </a:cubicBezTo>
                  <a:cubicBezTo>
                    <a:pt x="28755" y="145235"/>
                    <a:pt x="17400" y="126748"/>
                    <a:pt x="14837" y="104775"/>
                  </a:cubicBezTo>
                  <a:lnTo>
                    <a:pt x="30953" y="104775"/>
                  </a:lnTo>
                  <a:cubicBezTo>
                    <a:pt x="34898" y="104775"/>
                    <a:pt x="38096" y="101577"/>
                    <a:pt x="38096" y="97631"/>
                  </a:cubicBezTo>
                  <a:cubicBezTo>
                    <a:pt x="38096" y="93686"/>
                    <a:pt x="34898" y="90488"/>
                    <a:pt x="30953" y="90488"/>
                  </a:cubicBezTo>
                  <a:lnTo>
                    <a:pt x="14425" y="90488"/>
                  </a:lnTo>
                  <a:cubicBezTo>
                    <a:pt x="15465" y="72562"/>
                    <a:pt x="22337" y="56201"/>
                    <a:pt x="33171" y="43274"/>
                  </a:cubicBezTo>
                  <a:lnTo>
                    <a:pt x="44955" y="55058"/>
                  </a:lnTo>
                  <a:cubicBezTo>
                    <a:pt x="47745" y="57847"/>
                    <a:pt x="52268" y="57847"/>
                    <a:pt x="55058" y="55058"/>
                  </a:cubicBezTo>
                  <a:cubicBezTo>
                    <a:pt x="57847" y="52268"/>
                    <a:pt x="57847" y="47745"/>
                    <a:pt x="55058" y="44955"/>
                  </a:cubicBezTo>
                  <a:lnTo>
                    <a:pt x="43274" y="33171"/>
                  </a:lnTo>
                  <a:close/>
                  <a:moveTo>
                    <a:pt x="140579" y="44140"/>
                  </a:moveTo>
                  <a:cubicBezTo>
                    <a:pt x="138310" y="42383"/>
                    <a:pt x="135087" y="42444"/>
                    <a:pt x="132889" y="44285"/>
                  </a:cubicBezTo>
                  <a:lnTo>
                    <a:pt x="130820" y="46022"/>
                  </a:lnTo>
                  <a:cubicBezTo>
                    <a:pt x="129502" y="47129"/>
                    <a:pt x="127615" y="48716"/>
                    <a:pt x="125338" y="50636"/>
                  </a:cubicBezTo>
                  <a:cubicBezTo>
                    <a:pt x="120785" y="54475"/>
                    <a:pt x="114668" y="59650"/>
                    <a:pt x="108419" y="64988"/>
                  </a:cubicBezTo>
                  <a:cubicBezTo>
                    <a:pt x="102175" y="70321"/>
                    <a:pt x="95779" y="75834"/>
                    <a:pt x="90675" y="80342"/>
                  </a:cubicBezTo>
                  <a:cubicBezTo>
                    <a:pt x="88126" y="82594"/>
                    <a:pt x="85875" y="84618"/>
                    <a:pt x="84115" y="86255"/>
                  </a:cubicBezTo>
                  <a:cubicBezTo>
                    <a:pt x="82480" y="87777"/>
                    <a:pt x="80949" y="89256"/>
                    <a:pt x="80117" y="90285"/>
                  </a:cubicBezTo>
                  <a:cubicBezTo>
                    <a:pt x="73897" y="97977"/>
                    <a:pt x="75228" y="109145"/>
                    <a:pt x="83090" y="115231"/>
                  </a:cubicBezTo>
                  <a:cubicBezTo>
                    <a:pt x="90952" y="121315"/>
                    <a:pt x="102367" y="120013"/>
                    <a:pt x="108587" y="112322"/>
                  </a:cubicBezTo>
                  <a:cubicBezTo>
                    <a:pt x="109419" y="111292"/>
                    <a:pt x="110539" y="109495"/>
                    <a:pt x="111676" y="107588"/>
                  </a:cubicBezTo>
                  <a:cubicBezTo>
                    <a:pt x="112899" y="105536"/>
                    <a:pt x="114394" y="102926"/>
                    <a:pt x="116048" y="99981"/>
                  </a:cubicBezTo>
                  <a:cubicBezTo>
                    <a:pt x="119359" y="94085"/>
                    <a:pt x="123371" y="86728"/>
                    <a:pt x="127240" y="79555"/>
                  </a:cubicBezTo>
                  <a:cubicBezTo>
                    <a:pt x="131111" y="72378"/>
                    <a:pt x="134851" y="65363"/>
                    <a:pt x="137623" y="60144"/>
                  </a:cubicBezTo>
                  <a:cubicBezTo>
                    <a:pt x="139009" y="57535"/>
                    <a:pt x="140153" y="55373"/>
                    <a:pt x="140951" y="53863"/>
                  </a:cubicBezTo>
                  <a:lnTo>
                    <a:pt x="142203" y="51494"/>
                  </a:lnTo>
                  <a:cubicBezTo>
                    <a:pt x="143527" y="48978"/>
                    <a:pt x="142847" y="45896"/>
                    <a:pt x="140579" y="44140"/>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sp>
        <p:nvSpPr>
          <p:cNvPr id="137" name="TextBox 136">
            <a:extLst>
              <a:ext uri="{FF2B5EF4-FFF2-40B4-BE49-F238E27FC236}">
                <a16:creationId xmlns:a16="http://schemas.microsoft.com/office/drawing/2014/main" id="{C4482886-86D7-60C9-8EA4-D0BDD1B0FD87}"/>
              </a:ext>
            </a:extLst>
          </p:cNvPr>
          <p:cNvSpPr txBox="1"/>
          <p:nvPr/>
        </p:nvSpPr>
        <p:spPr>
          <a:xfrm>
            <a:off x="6754876" y="4292705"/>
            <a:ext cx="2372316" cy="18466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ngaging with Partners</a:t>
            </a:r>
          </a:p>
        </p:txBody>
      </p:sp>
      <p:grpSp>
        <p:nvGrpSpPr>
          <p:cNvPr id="165" name="Group 164">
            <a:extLst>
              <a:ext uri="{FF2B5EF4-FFF2-40B4-BE49-F238E27FC236}">
                <a16:creationId xmlns:a16="http://schemas.microsoft.com/office/drawing/2014/main" id="{3E906494-9820-620D-E681-AFC04A2C8000}"/>
              </a:ext>
              <a:ext uri="{C183D7F6-B498-43B3-948B-1728B52AA6E4}">
                <adec:decorative xmlns:adec="http://schemas.microsoft.com/office/drawing/2017/decorative" val="1"/>
              </a:ext>
            </a:extLst>
          </p:cNvPr>
          <p:cNvGrpSpPr/>
          <p:nvPr/>
        </p:nvGrpSpPr>
        <p:grpSpPr>
          <a:xfrm>
            <a:off x="6361176" y="4292705"/>
            <a:ext cx="277766" cy="277766"/>
            <a:chOff x="6384972" y="4233632"/>
            <a:chExt cx="218092" cy="218092"/>
          </a:xfrm>
        </p:grpSpPr>
        <p:sp>
          <p:nvSpPr>
            <p:cNvPr id="150" name="Oval 149">
              <a:extLst>
                <a:ext uri="{FF2B5EF4-FFF2-40B4-BE49-F238E27FC236}">
                  <a16:creationId xmlns:a16="http://schemas.microsoft.com/office/drawing/2014/main" id="{50CADDB3-10CD-EE12-5DFA-4540E6E1D813}"/>
                </a:ext>
              </a:extLst>
            </p:cNvPr>
            <p:cNvSpPr/>
            <p:nvPr/>
          </p:nvSpPr>
          <p:spPr bwMode="auto">
            <a:xfrm>
              <a:off x="6384972" y="4233632"/>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4" name="Graphic 37" descr="Icon of a handshake">
              <a:extLst>
                <a:ext uri="{FF2B5EF4-FFF2-40B4-BE49-F238E27FC236}">
                  <a16:creationId xmlns:a16="http://schemas.microsoft.com/office/drawing/2014/main" id="{07E25D21-E08E-2BFD-58C4-D357382EC976}"/>
                </a:ext>
              </a:extLst>
            </p:cNvPr>
            <p:cNvSpPr/>
            <p:nvPr/>
          </p:nvSpPr>
          <p:spPr>
            <a:xfrm>
              <a:off x="6437635" y="4291709"/>
              <a:ext cx="112766" cy="101938"/>
            </a:xfrm>
            <a:custGeom>
              <a:avLst/>
              <a:gdLst>
                <a:gd name="connsiteX0" fmla="*/ 143312 w 279350"/>
                <a:gd name="connsiteY0" fmla="*/ 1 h 252526"/>
                <a:gd name="connsiteX1" fmla="*/ 135192 w 279350"/>
                <a:gd name="connsiteY1" fmla="*/ 3864 h 252526"/>
                <a:gd name="connsiteX2" fmla="*/ 134380 w 279350"/>
                <a:gd name="connsiteY2" fmla="*/ 4466 h 252526"/>
                <a:gd name="connsiteX3" fmla="*/ 46663 w 279350"/>
                <a:gd name="connsiteY3" fmla="*/ 26207 h 252526"/>
                <a:gd name="connsiteX4" fmla="*/ 22361 w 279350"/>
                <a:gd name="connsiteY4" fmla="*/ 103340 h 252526"/>
                <a:gd name="connsiteX5" fmla="*/ 22151 w 279350"/>
                <a:gd name="connsiteY5" fmla="*/ 103550 h 252526"/>
                <a:gd name="connsiteX6" fmla="*/ 8741 w 279350"/>
                <a:gd name="connsiteY6" fmla="*/ 116863 h 252526"/>
                <a:gd name="connsiteX7" fmla="*/ 8546 w 279350"/>
                <a:gd name="connsiteY7" fmla="*/ 158595 h 252526"/>
                <a:gd name="connsiteX8" fmla="*/ 8741 w 279350"/>
                <a:gd name="connsiteY8" fmla="*/ 158790 h 252526"/>
                <a:gd name="connsiteX9" fmla="*/ 33841 w 279350"/>
                <a:gd name="connsiteY9" fmla="*/ 167203 h 252526"/>
                <a:gd name="connsiteX10" fmla="*/ 60200 w 279350"/>
                <a:gd name="connsiteY10" fmla="*/ 189014 h 252526"/>
                <a:gd name="connsiteX11" fmla="*/ 88436 w 279350"/>
                <a:gd name="connsiteY11" fmla="*/ 216199 h 252526"/>
                <a:gd name="connsiteX12" fmla="*/ 97143 w 279350"/>
                <a:gd name="connsiteY12" fmla="*/ 235672 h 252526"/>
                <a:gd name="connsiteX13" fmla="*/ 136158 w 279350"/>
                <a:gd name="connsiteY13" fmla="*/ 238430 h 252526"/>
                <a:gd name="connsiteX14" fmla="*/ 141576 w 279350"/>
                <a:gd name="connsiteY14" fmla="*/ 243805 h 252526"/>
                <a:gd name="connsiteX15" fmla="*/ 183964 w 279350"/>
                <a:gd name="connsiteY15" fmla="*/ 243805 h 252526"/>
                <a:gd name="connsiteX16" fmla="*/ 192644 w 279350"/>
                <a:gd name="connsiteY16" fmla="*/ 225355 h 252526"/>
                <a:gd name="connsiteX17" fmla="*/ 219802 w 279350"/>
                <a:gd name="connsiteY17" fmla="*/ 198309 h 252526"/>
                <a:gd name="connsiteX18" fmla="*/ 245979 w 279350"/>
                <a:gd name="connsiteY18" fmla="*/ 175855 h 252526"/>
                <a:gd name="connsiteX19" fmla="*/ 270617 w 279350"/>
                <a:gd name="connsiteY19" fmla="*/ 167371 h 252526"/>
                <a:gd name="connsiteX20" fmla="*/ 270798 w 279350"/>
                <a:gd name="connsiteY20" fmla="*/ 125639 h 252526"/>
                <a:gd name="connsiteX21" fmla="*/ 270617 w 279350"/>
                <a:gd name="connsiteY21" fmla="*/ 125459 h 252526"/>
                <a:gd name="connsiteX22" fmla="*/ 258956 w 279350"/>
                <a:gd name="connsiteY22" fmla="*/ 113854 h 252526"/>
                <a:gd name="connsiteX23" fmla="*/ 261364 w 279350"/>
                <a:gd name="connsiteY23" fmla="*/ 104530 h 252526"/>
                <a:gd name="connsiteX24" fmla="*/ 254015 w 279350"/>
                <a:gd name="connsiteY24" fmla="*/ 44293 h 252526"/>
                <a:gd name="connsiteX25" fmla="*/ 179779 w 279350"/>
                <a:gd name="connsiteY25" fmla="*/ 57 h 252526"/>
                <a:gd name="connsiteX26" fmla="*/ 157283 w 279350"/>
                <a:gd name="connsiteY26" fmla="*/ 57 h 252526"/>
                <a:gd name="connsiteX27" fmla="*/ 154399 w 279350"/>
                <a:gd name="connsiteY27" fmla="*/ 1 h 252526"/>
                <a:gd name="connsiteX28" fmla="*/ 143326 w 279350"/>
                <a:gd name="connsiteY28" fmla="*/ 1 h 252526"/>
                <a:gd name="connsiteX29" fmla="*/ 184258 w 279350"/>
                <a:gd name="connsiteY29" fmla="*/ 69225 h 252526"/>
                <a:gd name="connsiteX30" fmla="*/ 232751 w 279350"/>
                <a:gd name="connsiteY30" fmla="*/ 117409 h 252526"/>
                <a:gd name="connsiteX31" fmla="*/ 232793 w 279350"/>
                <a:gd name="connsiteY31" fmla="*/ 117465 h 252526"/>
                <a:gd name="connsiteX32" fmla="*/ 232989 w 279350"/>
                <a:gd name="connsiteY32" fmla="*/ 117647 h 252526"/>
                <a:gd name="connsiteX33" fmla="*/ 255737 w 279350"/>
                <a:gd name="connsiteY33" fmla="*/ 140255 h 252526"/>
                <a:gd name="connsiteX34" fmla="*/ 255781 w 279350"/>
                <a:gd name="connsiteY34" fmla="*/ 152530 h 252526"/>
                <a:gd name="connsiteX35" fmla="*/ 255737 w 279350"/>
                <a:gd name="connsiteY35" fmla="*/ 152574 h 252526"/>
                <a:gd name="connsiteX36" fmla="*/ 243334 w 279350"/>
                <a:gd name="connsiteY36" fmla="*/ 152574 h 252526"/>
                <a:gd name="connsiteX37" fmla="*/ 220586 w 279350"/>
                <a:gd name="connsiteY37" fmla="*/ 129966 h 252526"/>
                <a:gd name="connsiteX38" fmla="*/ 205691 w 279350"/>
                <a:gd name="connsiteY38" fmla="*/ 129966 h 252526"/>
                <a:gd name="connsiteX39" fmla="*/ 205467 w 279350"/>
                <a:gd name="connsiteY39" fmla="*/ 130204 h 252526"/>
                <a:gd name="connsiteX40" fmla="*/ 205400 w 279350"/>
                <a:gd name="connsiteY40" fmla="*/ 144934 h 252526"/>
                <a:gd name="connsiteX41" fmla="*/ 205467 w 279350"/>
                <a:gd name="connsiteY41" fmla="*/ 145001 h 252526"/>
                <a:gd name="connsiteX42" fmla="*/ 223189 w 279350"/>
                <a:gd name="connsiteY42" fmla="*/ 162626 h 252526"/>
                <a:gd name="connsiteX43" fmla="*/ 223234 w 279350"/>
                <a:gd name="connsiteY43" fmla="*/ 174900 h 252526"/>
                <a:gd name="connsiteX44" fmla="*/ 223189 w 279350"/>
                <a:gd name="connsiteY44" fmla="*/ 174945 h 252526"/>
                <a:gd name="connsiteX45" fmla="*/ 211724 w 279350"/>
                <a:gd name="connsiteY45" fmla="*/ 175785 h 252526"/>
                <a:gd name="connsiteX46" fmla="*/ 197907 w 279350"/>
                <a:gd name="connsiteY46" fmla="*/ 176764 h 252526"/>
                <a:gd name="connsiteX47" fmla="*/ 197039 w 279350"/>
                <a:gd name="connsiteY47" fmla="*/ 190511 h 252526"/>
                <a:gd name="connsiteX48" fmla="*/ 196269 w 279350"/>
                <a:gd name="connsiteY48" fmla="*/ 201976 h 252526"/>
                <a:gd name="connsiteX49" fmla="*/ 184650 w 279350"/>
                <a:gd name="connsiteY49" fmla="*/ 202676 h 252526"/>
                <a:gd name="connsiteX50" fmla="*/ 170722 w 279350"/>
                <a:gd name="connsiteY50" fmla="*/ 203474 h 252526"/>
                <a:gd name="connsiteX51" fmla="*/ 169826 w 279350"/>
                <a:gd name="connsiteY51" fmla="*/ 217319 h 252526"/>
                <a:gd name="connsiteX52" fmla="*/ 169070 w 279350"/>
                <a:gd name="connsiteY52" fmla="*/ 228994 h 252526"/>
                <a:gd name="connsiteX53" fmla="*/ 156471 w 279350"/>
                <a:gd name="connsiteY53" fmla="*/ 228994 h 252526"/>
                <a:gd name="connsiteX54" fmla="*/ 151263 w 279350"/>
                <a:gd name="connsiteY54" fmla="*/ 223829 h 252526"/>
                <a:gd name="connsiteX55" fmla="*/ 152733 w 279350"/>
                <a:gd name="connsiteY55" fmla="*/ 222359 h 252526"/>
                <a:gd name="connsiteX56" fmla="*/ 152914 w 279350"/>
                <a:gd name="connsiteY56" fmla="*/ 180627 h 252526"/>
                <a:gd name="connsiteX57" fmla="*/ 152733 w 279350"/>
                <a:gd name="connsiteY57" fmla="*/ 180446 h 252526"/>
                <a:gd name="connsiteX58" fmla="*/ 133135 w 279350"/>
                <a:gd name="connsiteY58" fmla="*/ 171795 h 252526"/>
                <a:gd name="connsiteX59" fmla="*/ 105781 w 279350"/>
                <a:gd name="connsiteY59" fmla="*/ 143741 h 252526"/>
                <a:gd name="connsiteX60" fmla="*/ 97143 w 279350"/>
                <a:gd name="connsiteY60" fmla="*/ 125207 h 252526"/>
                <a:gd name="connsiteX61" fmla="*/ 72043 w 279350"/>
                <a:gd name="connsiteY61" fmla="*/ 116793 h 252526"/>
                <a:gd name="connsiteX62" fmla="*/ 42394 w 279350"/>
                <a:gd name="connsiteY62" fmla="*/ 94885 h 252526"/>
                <a:gd name="connsiteX63" fmla="*/ 61558 w 279350"/>
                <a:gd name="connsiteY63" fmla="*/ 40989 h 252526"/>
                <a:gd name="connsiteX64" fmla="*/ 111688 w 279350"/>
                <a:gd name="connsiteY64" fmla="*/ 21671 h 252526"/>
                <a:gd name="connsiteX65" fmla="*/ 90732 w 279350"/>
                <a:gd name="connsiteY65" fmla="*/ 37532 h 252526"/>
                <a:gd name="connsiteX66" fmla="*/ 84451 w 279350"/>
                <a:gd name="connsiteY66" fmla="*/ 82910 h 252526"/>
                <a:gd name="connsiteX67" fmla="*/ 84572 w 279350"/>
                <a:gd name="connsiteY67" fmla="*/ 83070 h 252526"/>
                <a:gd name="connsiteX68" fmla="*/ 130181 w 279350"/>
                <a:gd name="connsiteY68" fmla="*/ 89244 h 252526"/>
                <a:gd name="connsiteX69" fmla="*/ 156625 w 279350"/>
                <a:gd name="connsiteY69" fmla="*/ 69211 h 252526"/>
                <a:gd name="connsiteX70" fmla="*/ 184258 w 279350"/>
                <a:gd name="connsiteY70" fmla="*/ 69211 h 252526"/>
                <a:gd name="connsiteX71" fmla="*/ 103401 w 279350"/>
                <a:gd name="connsiteY71" fmla="*/ 54288 h 252526"/>
                <a:gd name="connsiteX72" fmla="*/ 147343 w 279350"/>
                <a:gd name="connsiteY72" fmla="*/ 20999 h 252526"/>
                <a:gd name="connsiteX73" fmla="*/ 154399 w 279350"/>
                <a:gd name="connsiteY73" fmla="*/ 20999 h 252526"/>
                <a:gd name="connsiteX74" fmla="*/ 157017 w 279350"/>
                <a:gd name="connsiteY74" fmla="*/ 21069 h 252526"/>
                <a:gd name="connsiteX75" fmla="*/ 179779 w 279350"/>
                <a:gd name="connsiteY75" fmla="*/ 21069 h 252526"/>
                <a:gd name="connsiteX76" fmla="*/ 235522 w 279350"/>
                <a:gd name="connsiteY76" fmla="*/ 54246 h 252526"/>
                <a:gd name="connsiteX77" fmla="*/ 241738 w 279350"/>
                <a:gd name="connsiteY77" fmla="*/ 96173 h 252526"/>
                <a:gd name="connsiteX78" fmla="*/ 196787 w 279350"/>
                <a:gd name="connsiteY78" fmla="*/ 51433 h 252526"/>
                <a:gd name="connsiteX79" fmla="*/ 189242 w 279350"/>
                <a:gd name="connsiteY79" fmla="*/ 48227 h 252526"/>
                <a:gd name="connsiteX80" fmla="*/ 153111 w 279350"/>
                <a:gd name="connsiteY80" fmla="*/ 48227 h 252526"/>
                <a:gd name="connsiteX81" fmla="*/ 146769 w 279350"/>
                <a:gd name="connsiteY81" fmla="*/ 50355 h 252526"/>
                <a:gd name="connsiteX82" fmla="*/ 117512 w 279350"/>
                <a:gd name="connsiteY82" fmla="*/ 72515 h 252526"/>
                <a:gd name="connsiteX83" fmla="*/ 101245 w 279350"/>
                <a:gd name="connsiteY83" fmla="*/ 70317 h 252526"/>
                <a:gd name="connsiteX84" fmla="*/ 103347 w 279350"/>
                <a:gd name="connsiteY84" fmla="*/ 54340 h 252526"/>
                <a:gd name="connsiteX85" fmla="*/ 103415 w 279350"/>
                <a:gd name="connsiteY85" fmla="*/ 54288 h 252526"/>
                <a:gd name="connsiteX86" fmla="*/ 56449 w 279350"/>
                <a:gd name="connsiteY86" fmla="*/ 165649 h 252526"/>
                <a:gd name="connsiteX87" fmla="*/ 56404 w 279350"/>
                <a:gd name="connsiteY87" fmla="*/ 153375 h 252526"/>
                <a:gd name="connsiteX88" fmla="*/ 56449 w 279350"/>
                <a:gd name="connsiteY88" fmla="*/ 153330 h 252526"/>
                <a:gd name="connsiteX89" fmla="*/ 69846 w 279350"/>
                <a:gd name="connsiteY89" fmla="*/ 140003 h 252526"/>
                <a:gd name="connsiteX90" fmla="*/ 82249 w 279350"/>
                <a:gd name="connsiteY90" fmla="*/ 140003 h 252526"/>
                <a:gd name="connsiteX91" fmla="*/ 82361 w 279350"/>
                <a:gd name="connsiteY91" fmla="*/ 152210 h 252526"/>
                <a:gd name="connsiteX92" fmla="*/ 82249 w 279350"/>
                <a:gd name="connsiteY92" fmla="*/ 152322 h 252526"/>
                <a:gd name="connsiteX93" fmla="*/ 68852 w 279350"/>
                <a:gd name="connsiteY93" fmla="*/ 165635 h 252526"/>
                <a:gd name="connsiteX94" fmla="*/ 68726 w 279350"/>
                <a:gd name="connsiteY94" fmla="*/ 165761 h 252526"/>
                <a:gd name="connsiteX95" fmla="*/ 56449 w 279350"/>
                <a:gd name="connsiteY95" fmla="*/ 165649 h 252526"/>
                <a:gd name="connsiteX96" fmla="*/ 49575 w 279350"/>
                <a:gd name="connsiteY96" fmla="*/ 118487 h 252526"/>
                <a:gd name="connsiteX97" fmla="*/ 49435 w 279350"/>
                <a:gd name="connsiteY97" fmla="*/ 130666 h 252526"/>
                <a:gd name="connsiteX98" fmla="*/ 36038 w 279350"/>
                <a:gd name="connsiteY98" fmla="*/ 143993 h 252526"/>
                <a:gd name="connsiteX99" fmla="*/ 23635 w 279350"/>
                <a:gd name="connsiteY99" fmla="*/ 143993 h 252526"/>
                <a:gd name="connsiteX100" fmla="*/ 23591 w 279350"/>
                <a:gd name="connsiteY100" fmla="*/ 131719 h 252526"/>
                <a:gd name="connsiteX101" fmla="*/ 23635 w 279350"/>
                <a:gd name="connsiteY101" fmla="*/ 131674 h 252526"/>
                <a:gd name="connsiteX102" fmla="*/ 37046 w 279350"/>
                <a:gd name="connsiteY102" fmla="*/ 118361 h 252526"/>
                <a:gd name="connsiteX103" fmla="*/ 49449 w 279350"/>
                <a:gd name="connsiteY103" fmla="*/ 118361 h 252526"/>
                <a:gd name="connsiteX104" fmla="*/ 49575 w 279350"/>
                <a:gd name="connsiteY104" fmla="*/ 118487 h 252526"/>
                <a:gd name="connsiteX105" fmla="*/ 124441 w 279350"/>
                <a:gd name="connsiteY105" fmla="*/ 220875 h 252526"/>
                <a:gd name="connsiteX106" fmla="*/ 112038 w 279350"/>
                <a:gd name="connsiteY106" fmla="*/ 220875 h 252526"/>
                <a:gd name="connsiteX107" fmla="*/ 111993 w 279350"/>
                <a:gd name="connsiteY107" fmla="*/ 208601 h 252526"/>
                <a:gd name="connsiteX108" fmla="*/ 112038 w 279350"/>
                <a:gd name="connsiteY108" fmla="*/ 208556 h 252526"/>
                <a:gd name="connsiteX109" fmla="*/ 125435 w 279350"/>
                <a:gd name="connsiteY109" fmla="*/ 195243 h 252526"/>
                <a:gd name="connsiteX110" fmla="*/ 137838 w 279350"/>
                <a:gd name="connsiteY110" fmla="*/ 195243 h 252526"/>
                <a:gd name="connsiteX111" fmla="*/ 137883 w 279350"/>
                <a:gd name="connsiteY111" fmla="*/ 207517 h 252526"/>
                <a:gd name="connsiteX112" fmla="*/ 137838 w 279350"/>
                <a:gd name="connsiteY112" fmla="*/ 207562 h 252526"/>
                <a:gd name="connsiteX113" fmla="*/ 124441 w 279350"/>
                <a:gd name="connsiteY113" fmla="*/ 220875 h 252526"/>
                <a:gd name="connsiteX114" fmla="*/ 96150 w 279350"/>
                <a:gd name="connsiteY114" fmla="*/ 192765 h 252526"/>
                <a:gd name="connsiteX115" fmla="*/ 83746 w 279350"/>
                <a:gd name="connsiteY115" fmla="*/ 192765 h 252526"/>
                <a:gd name="connsiteX116" fmla="*/ 83621 w 279350"/>
                <a:gd name="connsiteY116" fmla="*/ 180558 h 252526"/>
                <a:gd name="connsiteX117" fmla="*/ 83746 w 279350"/>
                <a:gd name="connsiteY117" fmla="*/ 180446 h 252526"/>
                <a:gd name="connsiteX118" fmla="*/ 97143 w 279350"/>
                <a:gd name="connsiteY118" fmla="*/ 167133 h 252526"/>
                <a:gd name="connsiteX119" fmla="*/ 97255 w 279350"/>
                <a:gd name="connsiteY119" fmla="*/ 167007 h 252526"/>
                <a:gd name="connsiteX120" fmla="*/ 109546 w 279350"/>
                <a:gd name="connsiteY120" fmla="*/ 167133 h 252526"/>
                <a:gd name="connsiteX121" fmla="*/ 109591 w 279350"/>
                <a:gd name="connsiteY121" fmla="*/ 179407 h 252526"/>
                <a:gd name="connsiteX122" fmla="*/ 109546 w 279350"/>
                <a:gd name="connsiteY122" fmla="*/ 179452 h 252526"/>
                <a:gd name="connsiteX123" fmla="*/ 96150 w 279350"/>
                <a:gd name="connsiteY123" fmla="*/ 192765 h 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79350" h="252526">
                  <a:moveTo>
                    <a:pt x="143312" y="1"/>
                  </a:moveTo>
                  <a:cubicBezTo>
                    <a:pt x="140162" y="2"/>
                    <a:pt x="137180" y="1421"/>
                    <a:pt x="135192" y="3864"/>
                  </a:cubicBezTo>
                  <a:lnTo>
                    <a:pt x="134380" y="4466"/>
                  </a:lnTo>
                  <a:cubicBezTo>
                    <a:pt x="103368" y="-4972"/>
                    <a:pt x="69678" y="3378"/>
                    <a:pt x="46663" y="26207"/>
                  </a:cubicBezTo>
                  <a:cubicBezTo>
                    <a:pt x="26337" y="46336"/>
                    <a:pt x="17244" y="75195"/>
                    <a:pt x="22361" y="103340"/>
                  </a:cubicBezTo>
                  <a:lnTo>
                    <a:pt x="22151" y="103550"/>
                  </a:lnTo>
                  <a:lnTo>
                    <a:pt x="8741" y="116863"/>
                  </a:lnTo>
                  <a:cubicBezTo>
                    <a:pt x="-2837" y="128334"/>
                    <a:pt x="-2924" y="147018"/>
                    <a:pt x="8546" y="158595"/>
                  </a:cubicBezTo>
                  <a:cubicBezTo>
                    <a:pt x="8611" y="158661"/>
                    <a:pt x="8676" y="158726"/>
                    <a:pt x="8741" y="158790"/>
                  </a:cubicBezTo>
                  <a:cubicBezTo>
                    <a:pt x="15342" y="165347"/>
                    <a:pt x="24621" y="168458"/>
                    <a:pt x="33841" y="167203"/>
                  </a:cubicBezTo>
                  <a:cubicBezTo>
                    <a:pt x="37164" y="179295"/>
                    <a:pt x="47700" y="188013"/>
                    <a:pt x="60200" y="189014"/>
                  </a:cubicBezTo>
                  <a:cubicBezTo>
                    <a:pt x="61498" y="203858"/>
                    <a:pt x="73554" y="215466"/>
                    <a:pt x="88436" y="216199"/>
                  </a:cubicBezTo>
                  <a:cubicBezTo>
                    <a:pt x="88800" y="223297"/>
                    <a:pt x="91698" y="230268"/>
                    <a:pt x="97143" y="235672"/>
                  </a:cubicBezTo>
                  <a:cubicBezTo>
                    <a:pt x="107783" y="246255"/>
                    <a:pt x="124469" y="247165"/>
                    <a:pt x="136158" y="238430"/>
                  </a:cubicBezTo>
                  <a:lnTo>
                    <a:pt x="141576" y="243805"/>
                  </a:lnTo>
                  <a:cubicBezTo>
                    <a:pt x="153313" y="255434"/>
                    <a:pt x="172228" y="255434"/>
                    <a:pt x="183964" y="243805"/>
                  </a:cubicBezTo>
                  <a:cubicBezTo>
                    <a:pt x="189144" y="238654"/>
                    <a:pt x="192042" y="232074"/>
                    <a:pt x="192644" y="225355"/>
                  </a:cubicBezTo>
                  <a:cubicBezTo>
                    <a:pt x="207064" y="224132"/>
                    <a:pt x="218521" y="212723"/>
                    <a:pt x="219802" y="198309"/>
                  </a:cubicBezTo>
                  <a:cubicBezTo>
                    <a:pt x="232413" y="197150"/>
                    <a:pt x="242914" y="188143"/>
                    <a:pt x="245979" y="175855"/>
                  </a:cubicBezTo>
                  <a:cubicBezTo>
                    <a:pt x="255058" y="176942"/>
                    <a:pt x="264133" y="173816"/>
                    <a:pt x="270617" y="167371"/>
                  </a:cubicBezTo>
                  <a:cubicBezTo>
                    <a:pt x="282192" y="155896"/>
                    <a:pt x="282272" y="137212"/>
                    <a:pt x="270798" y="125639"/>
                  </a:cubicBezTo>
                  <a:cubicBezTo>
                    <a:pt x="270738" y="125579"/>
                    <a:pt x="270678" y="125519"/>
                    <a:pt x="270617" y="125459"/>
                  </a:cubicBezTo>
                  <a:lnTo>
                    <a:pt x="258956" y="113854"/>
                  </a:lnTo>
                  <a:lnTo>
                    <a:pt x="261364" y="104530"/>
                  </a:lnTo>
                  <a:cubicBezTo>
                    <a:pt x="266573" y="84241"/>
                    <a:pt x="263950" y="62735"/>
                    <a:pt x="254015" y="44293"/>
                  </a:cubicBezTo>
                  <a:cubicBezTo>
                    <a:pt x="239288" y="17017"/>
                    <a:pt x="210776" y="27"/>
                    <a:pt x="179779" y="57"/>
                  </a:cubicBezTo>
                  <a:lnTo>
                    <a:pt x="157283" y="57"/>
                  </a:lnTo>
                  <a:cubicBezTo>
                    <a:pt x="156322" y="15"/>
                    <a:pt x="155361" y="-4"/>
                    <a:pt x="154399" y="1"/>
                  </a:cubicBezTo>
                  <a:lnTo>
                    <a:pt x="143326" y="1"/>
                  </a:lnTo>
                  <a:close/>
                  <a:moveTo>
                    <a:pt x="184258" y="69225"/>
                  </a:moveTo>
                  <a:lnTo>
                    <a:pt x="232751" y="117409"/>
                  </a:lnTo>
                  <a:lnTo>
                    <a:pt x="232793" y="117465"/>
                  </a:lnTo>
                  <a:lnTo>
                    <a:pt x="232989" y="117647"/>
                  </a:lnTo>
                  <a:lnTo>
                    <a:pt x="255737" y="140255"/>
                  </a:lnTo>
                  <a:cubicBezTo>
                    <a:pt x="259138" y="143632"/>
                    <a:pt x="259158" y="149128"/>
                    <a:pt x="255781" y="152530"/>
                  </a:cubicBezTo>
                  <a:cubicBezTo>
                    <a:pt x="255766" y="152545"/>
                    <a:pt x="255752" y="152559"/>
                    <a:pt x="255737" y="152574"/>
                  </a:cubicBezTo>
                  <a:cubicBezTo>
                    <a:pt x="252300" y="155972"/>
                    <a:pt x="246770" y="155972"/>
                    <a:pt x="243334" y="152574"/>
                  </a:cubicBezTo>
                  <a:lnTo>
                    <a:pt x="220586" y="129966"/>
                  </a:lnTo>
                  <a:cubicBezTo>
                    <a:pt x="216461" y="125881"/>
                    <a:pt x="209815" y="125881"/>
                    <a:pt x="205691" y="129966"/>
                  </a:cubicBezTo>
                  <a:lnTo>
                    <a:pt x="205467" y="130204"/>
                  </a:lnTo>
                  <a:cubicBezTo>
                    <a:pt x="201380" y="134253"/>
                    <a:pt x="201351" y="140848"/>
                    <a:pt x="205400" y="144934"/>
                  </a:cubicBezTo>
                  <a:cubicBezTo>
                    <a:pt x="205422" y="144956"/>
                    <a:pt x="205444" y="144979"/>
                    <a:pt x="205467" y="145001"/>
                  </a:cubicBezTo>
                  <a:lnTo>
                    <a:pt x="223189" y="162626"/>
                  </a:lnTo>
                  <a:cubicBezTo>
                    <a:pt x="226591" y="166002"/>
                    <a:pt x="226611" y="171498"/>
                    <a:pt x="223234" y="174900"/>
                  </a:cubicBezTo>
                  <a:cubicBezTo>
                    <a:pt x="223219" y="174915"/>
                    <a:pt x="223205" y="174929"/>
                    <a:pt x="223189" y="174945"/>
                  </a:cubicBezTo>
                  <a:cubicBezTo>
                    <a:pt x="220100" y="178019"/>
                    <a:pt x="215228" y="178376"/>
                    <a:pt x="211724" y="175785"/>
                  </a:cubicBezTo>
                  <a:cubicBezTo>
                    <a:pt x="207515" y="172633"/>
                    <a:pt x="201630" y="173051"/>
                    <a:pt x="197907" y="176764"/>
                  </a:cubicBezTo>
                  <a:cubicBezTo>
                    <a:pt x="194196" y="180474"/>
                    <a:pt x="193825" y="186365"/>
                    <a:pt x="197039" y="190511"/>
                  </a:cubicBezTo>
                  <a:cubicBezTo>
                    <a:pt x="199712" y="193980"/>
                    <a:pt x="199381" y="198897"/>
                    <a:pt x="196269" y="201976"/>
                  </a:cubicBezTo>
                  <a:cubicBezTo>
                    <a:pt x="193123" y="205095"/>
                    <a:pt x="188149" y="205395"/>
                    <a:pt x="184650" y="202676"/>
                  </a:cubicBezTo>
                  <a:cubicBezTo>
                    <a:pt x="180465" y="199410"/>
                    <a:pt x="174507" y="199752"/>
                    <a:pt x="170722" y="203474"/>
                  </a:cubicBezTo>
                  <a:cubicBezTo>
                    <a:pt x="166945" y="207190"/>
                    <a:pt x="166560" y="213148"/>
                    <a:pt x="169826" y="217319"/>
                  </a:cubicBezTo>
                  <a:cubicBezTo>
                    <a:pt x="172562" y="220841"/>
                    <a:pt x="172238" y="225854"/>
                    <a:pt x="169070" y="228994"/>
                  </a:cubicBezTo>
                  <a:cubicBezTo>
                    <a:pt x="165580" y="232446"/>
                    <a:pt x="159961" y="232446"/>
                    <a:pt x="156471" y="228994"/>
                  </a:cubicBezTo>
                  <a:lnTo>
                    <a:pt x="151263" y="223829"/>
                  </a:lnTo>
                  <a:lnTo>
                    <a:pt x="152733" y="222359"/>
                  </a:lnTo>
                  <a:cubicBezTo>
                    <a:pt x="164307" y="210884"/>
                    <a:pt x="164387" y="192200"/>
                    <a:pt x="152914" y="180627"/>
                  </a:cubicBezTo>
                  <a:cubicBezTo>
                    <a:pt x="152853" y="180567"/>
                    <a:pt x="152793" y="180506"/>
                    <a:pt x="152733" y="180446"/>
                  </a:cubicBezTo>
                  <a:cubicBezTo>
                    <a:pt x="147497" y="175234"/>
                    <a:pt x="140513" y="172152"/>
                    <a:pt x="133135" y="171795"/>
                  </a:cubicBezTo>
                  <a:cubicBezTo>
                    <a:pt x="132309" y="156922"/>
                    <a:pt x="120628" y="144942"/>
                    <a:pt x="105781" y="143741"/>
                  </a:cubicBezTo>
                  <a:cubicBezTo>
                    <a:pt x="105207" y="136729"/>
                    <a:pt x="102144" y="130155"/>
                    <a:pt x="97143" y="125207"/>
                  </a:cubicBezTo>
                  <a:cubicBezTo>
                    <a:pt x="90542" y="118650"/>
                    <a:pt x="81263" y="115539"/>
                    <a:pt x="72043" y="116793"/>
                  </a:cubicBezTo>
                  <a:cubicBezTo>
                    <a:pt x="68386" y="103534"/>
                    <a:pt x="56144" y="94487"/>
                    <a:pt x="42394" y="94885"/>
                  </a:cubicBezTo>
                  <a:cubicBezTo>
                    <a:pt x="40240" y="74939"/>
                    <a:pt x="47295" y="55098"/>
                    <a:pt x="61558" y="40989"/>
                  </a:cubicBezTo>
                  <a:cubicBezTo>
                    <a:pt x="74824" y="27811"/>
                    <a:pt x="93010" y="20803"/>
                    <a:pt x="111688" y="21671"/>
                  </a:cubicBezTo>
                  <a:lnTo>
                    <a:pt x="90732" y="37532"/>
                  </a:lnTo>
                  <a:cubicBezTo>
                    <a:pt x="76467" y="48328"/>
                    <a:pt x="73654" y="68645"/>
                    <a:pt x="84451" y="82910"/>
                  </a:cubicBezTo>
                  <a:cubicBezTo>
                    <a:pt x="84491" y="82964"/>
                    <a:pt x="84532" y="83017"/>
                    <a:pt x="84572" y="83070"/>
                  </a:cubicBezTo>
                  <a:cubicBezTo>
                    <a:pt x="95496" y="97310"/>
                    <a:pt x="115864" y="100067"/>
                    <a:pt x="130181" y="89244"/>
                  </a:cubicBezTo>
                  <a:lnTo>
                    <a:pt x="156625" y="69211"/>
                  </a:lnTo>
                  <a:lnTo>
                    <a:pt x="184258" y="69211"/>
                  </a:lnTo>
                  <a:close/>
                  <a:moveTo>
                    <a:pt x="103401" y="54288"/>
                  </a:moveTo>
                  <a:lnTo>
                    <a:pt x="147343" y="20999"/>
                  </a:lnTo>
                  <a:lnTo>
                    <a:pt x="154399" y="20999"/>
                  </a:lnTo>
                  <a:cubicBezTo>
                    <a:pt x="155272" y="20993"/>
                    <a:pt x="156144" y="21016"/>
                    <a:pt x="157017" y="21069"/>
                  </a:cubicBezTo>
                  <a:lnTo>
                    <a:pt x="179779" y="21069"/>
                  </a:lnTo>
                  <a:cubicBezTo>
                    <a:pt x="203046" y="21038"/>
                    <a:pt x="224455" y="33779"/>
                    <a:pt x="235522" y="54246"/>
                  </a:cubicBezTo>
                  <a:cubicBezTo>
                    <a:pt x="242452" y="67125"/>
                    <a:pt x="244622" y="81936"/>
                    <a:pt x="241738" y="96173"/>
                  </a:cubicBezTo>
                  <a:lnTo>
                    <a:pt x="196787" y="51433"/>
                  </a:lnTo>
                  <a:cubicBezTo>
                    <a:pt x="194811" y="49386"/>
                    <a:pt x="192088" y="48229"/>
                    <a:pt x="189242" y="48227"/>
                  </a:cubicBezTo>
                  <a:lnTo>
                    <a:pt x="153111" y="48227"/>
                  </a:lnTo>
                  <a:cubicBezTo>
                    <a:pt x="150822" y="48226"/>
                    <a:pt x="148595" y="48973"/>
                    <a:pt x="146769" y="50355"/>
                  </a:cubicBezTo>
                  <a:lnTo>
                    <a:pt x="117512" y="72515"/>
                  </a:lnTo>
                  <a:cubicBezTo>
                    <a:pt x="112405" y="76369"/>
                    <a:pt x="105146" y="75388"/>
                    <a:pt x="101245" y="70317"/>
                  </a:cubicBezTo>
                  <a:cubicBezTo>
                    <a:pt x="97414" y="65324"/>
                    <a:pt x="98355" y="58171"/>
                    <a:pt x="103347" y="54340"/>
                  </a:cubicBezTo>
                  <a:cubicBezTo>
                    <a:pt x="103370" y="54322"/>
                    <a:pt x="103392" y="54305"/>
                    <a:pt x="103415" y="54288"/>
                  </a:cubicBezTo>
                  <a:close/>
                  <a:moveTo>
                    <a:pt x="56449" y="165649"/>
                  </a:moveTo>
                  <a:cubicBezTo>
                    <a:pt x="53047" y="162273"/>
                    <a:pt x="53027" y="156777"/>
                    <a:pt x="56404" y="153375"/>
                  </a:cubicBezTo>
                  <a:cubicBezTo>
                    <a:pt x="56419" y="153360"/>
                    <a:pt x="56434" y="153346"/>
                    <a:pt x="56449" y="153330"/>
                  </a:cubicBezTo>
                  <a:lnTo>
                    <a:pt x="69846" y="140003"/>
                  </a:lnTo>
                  <a:cubicBezTo>
                    <a:pt x="73282" y="136606"/>
                    <a:pt x="78813" y="136606"/>
                    <a:pt x="82249" y="140003"/>
                  </a:cubicBezTo>
                  <a:cubicBezTo>
                    <a:pt x="85625" y="143355"/>
                    <a:pt x="85675" y="148798"/>
                    <a:pt x="82361" y="152210"/>
                  </a:cubicBezTo>
                  <a:lnTo>
                    <a:pt x="82249" y="152322"/>
                  </a:lnTo>
                  <a:lnTo>
                    <a:pt x="68852" y="165635"/>
                  </a:lnTo>
                  <a:lnTo>
                    <a:pt x="68726" y="165761"/>
                  </a:lnTo>
                  <a:cubicBezTo>
                    <a:pt x="65275" y="169047"/>
                    <a:pt x="59839" y="168997"/>
                    <a:pt x="56449" y="165649"/>
                  </a:cubicBezTo>
                  <a:close/>
                  <a:moveTo>
                    <a:pt x="49575" y="118487"/>
                  </a:moveTo>
                  <a:cubicBezTo>
                    <a:pt x="52878" y="121897"/>
                    <a:pt x="52816" y="127333"/>
                    <a:pt x="49435" y="130666"/>
                  </a:cubicBezTo>
                  <a:lnTo>
                    <a:pt x="36038" y="143993"/>
                  </a:lnTo>
                  <a:cubicBezTo>
                    <a:pt x="32602" y="147391"/>
                    <a:pt x="27071" y="147391"/>
                    <a:pt x="23635" y="143993"/>
                  </a:cubicBezTo>
                  <a:cubicBezTo>
                    <a:pt x="20233" y="140617"/>
                    <a:pt x="20214" y="135121"/>
                    <a:pt x="23591" y="131719"/>
                  </a:cubicBezTo>
                  <a:cubicBezTo>
                    <a:pt x="23606" y="131704"/>
                    <a:pt x="23620" y="131690"/>
                    <a:pt x="23635" y="131674"/>
                  </a:cubicBezTo>
                  <a:lnTo>
                    <a:pt x="37046" y="118361"/>
                  </a:lnTo>
                  <a:cubicBezTo>
                    <a:pt x="40482" y="114964"/>
                    <a:pt x="46013" y="114964"/>
                    <a:pt x="49449" y="118361"/>
                  </a:cubicBezTo>
                  <a:lnTo>
                    <a:pt x="49575" y="118487"/>
                  </a:lnTo>
                  <a:close/>
                  <a:moveTo>
                    <a:pt x="124441" y="220875"/>
                  </a:moveTo>
                  <a:cubicBezTo>
                    <a:pt x="121004" y="224272"/>
                    <a:pt x="115475" y="224272"/>
                    <a:pt x="112038" y="220875"/>
                  </a:cubicBezTo>
                  <a:cubicBezTo>
                    <a:pt x="108636" y="217498"/>
                    <a:pt x="108616" y="212002"/>
                    <a:pt x="111993" y="208601"/>
                  </a:cubicBezTo>
                  <a:cubicBezTo>
                    <a:pt x="112009" y="208585"/>
                    <a:pt x="112023" y="208571"/>
                    <a:pt x="112038" y="208556"/>
                  </a:cubicBezTo>
                  <a:lnTo>
                    <a:pt x="125435" y="195243"/>
                  </a:lnTo>
                  <a:cubicBezTo>
                    <a:pt x="128872" y="191845"/>
                    <a:pt x="134401" y="191845"/>
                    <a:pt x="137838" y="195243"/>
                  </a:cubicBezTo>
                  <a:cubicBezTo>
                    <a:pt x="141240" y="198620"/>
                    <a:pt x="141259" y="204115"/>
                    <a:pt x="137883" y="207517"/>
                  </a:cubicBezTo>
                  <a:cubicBezTo>
                    <a:pt x="137868" y="207533"/>
                    <a:pt x="137854" y="207547"/>
                    <a:pt x="137838" y="207562"/>
                  </a:cubicBezTo>
                  <a:lnTo>
                    <a:pt x="124441" y="220875"/>
                  </a:lnTo>
                  <a:close/>
                  <a:moveTo>
                    <a:pt x="96150" y="192765"/>
                  </a:moveTo>
                  <a:cubicBezTo>
                    <a:pt x="92717" y="196171"/>
                    <a:pt x="87179" y="196171"/>
                    <a:pt x="83746" y="192765"/>
                  </a:cubicBezTo>
                  <a:cubicBezTo>
                    <a:pt x="80366" y="189418"/>
                    <a:pt x="80310" y="183974"/>
                    <a:pt x="83621" y="180558"/>
                  </a:cubicBezTo>
                  <a:lnTo>
                    <a:pt x="83746" y="180446"/>
                  </a:lnTo>
                  <a:lnTo>
                    <a:pt x="97143" y="167133"/>
                  </a:lnTo>
                  <a:lnTo>
                    <a:pt x="97255" y="167007"/>
                  </a:lnTo>
                  <a:cubicBezTo>
                    <a:pt x="100712" y="163718"/>
                    <a:pt x="106158" y="163774"/>
                    <a:pt x="109546" y="167133"/>
                  </a:cubicBezTo>
                  <a:cubicBezTo>
                    <a:pt x="112948" y="170510"/>
                    <a:pt x="112968" y="176006"/>
                    <a:pt x="109591" y="179407"/>
                  </a:cubicBezTo>
                  <a:cubicBezTo>
                    <a:pt x="109576" y="179423"/>
                    <a:pt x="109561" y="179437"/>
                    <a:pt x="109546" y="179452"/>
                  </a:cubicBezTo>
                  <a:lnTo>
                    <a:pt x="96150" y="192765"/>
                  </a:ln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95" name="TextBox 94">
            <a:extLst>
              <a:ext uri="{FF2B5EF4-FFF2-40B4-BE49-F238E27FC236}">
                <a16:creationId xmlns:a16="http://schemas.microsoft.com/office/drawing/2014/main" id="{B6728130-D15A-B995-5B3E-D3E0DCEB4278}"/>
              </a:ext>
            </a:extLst>
          </p:cNvPr>
          <p:cNvSpPr txBox="1"/>
          <p:nvPr/>
        </p:nvSpPr>
        <p:spPr>
          <a:xfrm>
            <a:off x="6754876" y="2962807"/>
            <a:ext cx="1626920"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Programs and Guidance</a:t>
            </a:r>
          </a:p>
        </p:txBody>
      </p:sp>
      <p:grpSp>
        <p:nvGrpSpPr>
          <p:cNvPr id="163" name="Group 162">
            <a:extLst>
              <a:ext uri="{FF2B5EF4-FFF2-40B4-BE49-F238E27FC236}">
                <a16:creationId xmlns:a16="http://schemas.microsoft.com/office/drawing/2014/main" id="{8FEABCC5-987A-7F6B-3232-6A2024AAFF01}"/>
              </a:ext>
              <a:ext uri="{C183D7F6-B498-43B3-948B-1728B52AA6E4}">
                <adec:decorative xmlns:adec="http://schemas.microsoft.com/office/drawing/2017/decorative" val="1"/>
              </a:ext>
            </a:extLst>
          </p:cNvPr>
          <p:cNvGrpSpPr/>
          <p:nvPr/>
        </p:nvGrpSpPr>
        <p:grpSpPr>
          <a:xfrm>
            <a:off x="6361176" y="2916257"/>
            <a:ext cx="277766" cy="277766"/>
            <a:chOff x="6384972" y="2884878"/>
            <a:chExt cx="218092" cy="218092"/>
          </a:xfrm>
        </p:grpSpPr>
        <p:sp>
          <p:nvSpPr>
            <p:cNvPr id="147" name="Oval 146">
              <a:extLst>
                <a:ext uri="{FF2B5EF4-FFF2-40B4-BE49-F238E27FC236}">
                  <a16:creationId xmlns:a16="http://schemas.microsoft.com/office/drawing/2014/main" id="{64F917D6-804A-F81C-769C-008C816A0783}"/>
                </a:ext>
              </a:extLst>
            </p:cNvPr>
            <p:cNvSpPr/>
            <p:nvPr/>
          </p:nvSpPr>
          <p:spPr bwMode="auto">
            <a:xfrm>
              <a:off x="6384972" y="2884878"/>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5" name="Graphic 117" descr="Icon of two arrows with a slash in between">
              <a:extLst>
                <a:ext uri="{FF2B5EF4-FFF2-40B4-BE49-F238E27FC236}">
                  <a16:creationId xmlns:a16="http://schemas.microsoft.com/office/drawing/2014/main" id="{B7E411EA-FBF1-072A-56AE-BE7F7C996E57}"/>
                </a:ext>
              </a:extLst>
            </p:cNvPr>
            <p:cNvSpPr/>
            <p:nvPr/>
          </p:nvSpPr>
          <p:spPr>
            <a:xfrm>
              <a:off x="6429812" y="2942558"/>
              <a:ext cx="128412" cy="102733"/>
            </a:xfrm>
            <a:custGeom>
              <a:avLst/>
              <a:gdLst>
                <a:gd name="connsiteX0" fmla="*/ 110735 w 365124"/>
                <a:gd name="connsiteY0" fmla="*/ 272810 h 292107"/>
                <a:gd name="connsiteX1" fmla="*/ 229401 w 365124"/>
                <a:gd name="connsiteY1" fmla="*/ 8095 h 292107"/>
                <a:gd name="connsiteX2" fmla="*/ 247496 w 365124"/>
                <a:gd name="connsiteY2" fmla="*/ 1201 h 292107"/>
                <a:gd name="connsiteX3" fmla="*/ 255036 w 365124"/>
                <a:gd name="connsiteY3" fmla="*/ 17550 h 292107"/>
                <a:gd name="connsiteX4" fmla="*/ 254390 w 365124"/>
                <a:gd name="connsiteY4" fmla="*/ 19297 h 292107"/>
                <a:gd name="connsiteX5" fmla="*/ 135724 w 365124"/>
                <a:gd name="connsiteY5" fmla="*/ 284012 h 292107"/>
                <a:gd name="connsiteX6" fmla="*/ 117629 w 365124"/>
                <a:gd name="connsiteY6" fmla="*/ 290906 h 292107"/>
                <a:gd name="connsiteX7" fmla="*/ 110090 w 365124"/>
                <a:gd name="connsiteY7" fmla="*/ 274558 h 292107"/>
                <a:gd name="connsiteX8" fmla="*/ 110735 w 365124"/>
                <a:gd name="connsiteY8" fmla="*/ 272810 h 292107"/>
                <a:gd name="connsiteX9" fmla="*/ 229401 w 365124"/>
                <a:gd name="connsiteY9" fmla="*/ 8095 h 292107"/>
                <a:gd name="connsiteX10" fmla="*/ 110735 w 365124"/>
                <a:gd name="connsiteY10" fmla="*/ 272810 h 292107"/>
                <a:gd name="connsiteX11" fmla="*/ 4010 w 365124"/>
                <a:gd name="connsiteY11" fmla="*/ 136372 h 292107"/>
                <a:gd name="connsiteX12" fmla="*/ 81599 w 365124"/>
                <a:gd name="connsiteY12" fmla="*/ 58783 h 292107"/>
                <a:gd name="connsiteX13" fmla="*/ 100963 w 365124"/>
                <a:gd name="connsiteY13" fmla="*/ 58783 h 292107"/>
                <a:gd name="connsiteX14" fmla="*/ 102289 w 365124"/>
                <a:gd name="connsiteY14" fmla="*/ 76611 h 292107"/>
                <a:gd name="connsiteX15" fmla="*/ 100963 w 365124"/>
                <a:gd name="connsiteY15" fmla="*/ 78146 h 292107"/>
                <a:gd name="connsiteX16" fmla="*/ 33056 w 365124"/>
                <a:gd name="connsiteY16" fmla="*/ 146054 h 292107"/>
                <a:gd name="connsiteX17" fmla="*/ 100963 w 365124"/>
                <a:gd name="connsiteY17" fmla="*/ 213961 h 292107"/>
                <a:gd name="connsiteX18" fmla="*/ 100963 w 365124"/>
                <a:gd name="connsiteY18" fmla="*/ 233324 h 292107"/>
                <a:gd name="connsiteX19" fmla="*/ 83135 w 365124"/>
                <a:gd name="connsiteY19" fmla="*/ 234649 h 292107"/>
                <a:gd name="connsiteX20" fmla="*/ 81599 w 365124"/>
                <a:gd name="connsiteY20" fmla="*/ 233324 h 292107"/>
                <a:gd name="connsiteX21" fmla="*/ 4010 w 365124"/>
                <a:gd name="connsiteY21" fmla="*/ 155735 h 292107"/>
                <a:gd name="connsiteX22" fmla="*/ 2685 w 365124"/>
                <a:gd name="connsiteY22" fmla="*/ 137908 h 292107"/>
                <a:gd name="connsiteX23" fmla="*/ 4010 w 365124"/>
                <a:gd name="connsiteY23" fmla="*/ 136372 h 292107"/>
                <a:gd name="connsiteX24" fmla="*/ 81599 w 365124"/>
                <a:gd name="connsiteY24" fmla="*/ 58783 h 292107"/>
                <a:gd name="connsiteX25" fmla="*/ 4010 w 365124"/>
                <a:gd name="connsiteY25" fmla="*/ 136372 h 292107"/>
                <a:gd name="connsiteX26" fmla="*/ 264162 w 365124"/>
                <a:gd name="connsiteY26" fmla="*/ 58783 h 292107"/>
                <a:gd name="connsiteX27" fmla="*/ 281990 w 365124"/>
                <a:gd name="connsiteY27" fmla="*/ 57457 h 292107"/>
                <a:gd name="connsiteX28" fmla="*/ 283525 w 365124"/>
                <a:gd name="connsiteY28" fmla="*/ 58783 h 292107"/>
                <a:gd name="connsiteX29" fmla="*/ 361114 w 365124"/>
                <a:gd name="connsiteY29" fmla="*/ 136372 h 292107"/>
                <a:gd name="connsiteX30" fmla="*/ 362440 w 365124"/>
                <a:gd name="connsiteY30" fmla="*/ 154200 h 292107"/>
                <a:gd name="connsiteX31" fmla="*/ 361114 w 365124"/>
                <a:gd name="connsiteY31" fmla="*/ 155735 h 292107"/>
                <a:gd name="connsiteX32" fmla="*/ 283525 w 365124"/>
                <a:gd name="connsiteY32" fmla="*/ 233324 h 292107"/>
                <a:gd name="connsiteX33" fmla="*/ 264162 w 365124"/>
                <a:gd name="connsiteY33" fmla="*/ 233324 h 292107"/>
                <a:gd name="connsiteX34" fmla="*/ 262837 w 365124"/>
                <a:gd name="connsiteY34" fmla="*/ 215497 h 292107"/>
                <a:gd name="connsiteX35" fmla="*/ 264162 w 365124"/>
                <a:gd name="connsiteY35" fmla="*/ 213961 h 292107"/>
                <a:gd name="connsiteX36" fmla="*/ 332068 w 365124"/>
                <a:gd name="connsiteY36" fmla="*/ 146054 h 292107"/>
                <a:gd name="connsiteX37" fmla="*/ 264162 w 365124"/>
                <a:gd name="connsiteY37" fmla="*/ 78146 h 292107"/>
                <a:gd name="connsiteX38" fmla="*/ 264162 w 365124"/>
                <a:gd name="connsiteY38" fmla="*/ 58783 h 29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5124" h="292107">
                  <a:moveTo>
                    <a:pt x="110735" y="272810"/>
                  </a:moveTo>
                  <a:lnTo>
                    <a:pt x="229401" y="8095"/>
                  </a:lnTo>
                  <a:cubicBezTo>
                    <a:pt x="232495" y="1194"/>
                    <a:pt x="240595" y="-1892"/>
                    <a:pt x="247496" y="1201"/>
                  </a:cubicBezTo>
                  <a:cubicBezTo>
                    <a:pt x="253822" y="4037"/>
                    <a:pt x="256942" y="11081"/>
                    <a:pt x="255036" y="17550"/>
                  </a:cubicBezTo>
                  <a:lnTo>
                    <a:pt x="254390" y="19297"/>
                  </a:lnTo>
                  <a:lnTo>
                    <a:pt x="135724" y="284012"/>
                  </a:lnTo>
                  <a:cubicBezTo>
                    <a:pt x="132631" y="290913"/>
                    <a:pt x="124529" y="293999"/>
                    <a:pt x="117629" y="290906"/>
                  </a:cubicBezTo>
                  <a:cubicBezTo>
                    <a:pt x="111303" y="288071"/>
                    <a:pt x="108183" y="281026"/>
                    <a:pt x="110090" y="274558"/>
                  </a:cubicBezTo>
                  <a:lnTo>
                    <a:pt x="110735" y="272810"/>
                  </a:lnTo>
                  <a:lnTo>
                    <a:pt x="229401" y="8095"/>
                  </a:lnTo>
                  <a:lnTo>
                    <a:pt x="110735" y="272810"/>
                  </a:lnTo>
                  <a:close/>
                  <a:moveTo>
                    <a:pt x="4010" y="136372"/>
                  </a:moveTo>
                  <a:lnTo>
                    <a:pt x="81599" y="58783"/>
                  </a:lnTo>
                  <a:cubicBezTo>
                    <a:pt x="86946" y="53435"/>
                    <a:pt x="95616" y="53435"/>
                    <a:pt x="100963" y="58783"/>
                  </a:cubicBezTo>
                  <a:cubicBezTo>
                    <a:pt x="105824" y="63643"/>
                    <a:pt x="106266" y="71250"/>
                    <a:pt x="102289" y="76611"/>
                  </a:cubicBezTo>
                  <a:lnTo>
                    <a:pt x="100963" y="78146"/>
                  </a:lnTo>
                  <a:lnTo>
                    <a:pt x="33056" y="146054"/>
                  </a:lnTo>
                  <a:lnTo>
                    <a:pt x="100963" y="213961"/>
                  </a:lnTo>
                  <a:cubicBezTo>
                    <a:pt x="106310" y="219307"/>
                    <a:pt x="106310" y="227977"/>
                    <a:pt x="100963" y="233324"/>
                  </a:cubicBezTo>
                  <a:cubicBezTo>
                    <a:pt x="96102" y="238186"/>
                    <a:pt x="88495" y="238627"/>
                    <a:pt x="83135" y="234649"/>
                  </a:cubicBezTo>
                  <a:lnTo>
                    <a:pt x="81599" y="233324"/>
                  </a:lnTo>
                  <a:lnTo>
                    <a:pt x="4010" y="155735"/>
                  </a:lnTo>
                  <a:cubicBezTo>
                    <a:pt x="-851" y="150873"/>
                    <a:pt x="-1293" y="143268"/>
                    <a:pt x="2685" y="137908"/>
                  </a:cubicBezTo>
                  <a:lnTo>
                    <a:pt x="4010" y="136372"/>
                  </a:lnTo>
                  <a:lnTo>
                    <a:pt x="81599" y="58783"/>
                  </a:lnTo>
                  <a:lnTo>
                    <a:pt x="4010" y="136372"/>
                  </a:lnTo>
                  <a:close/>
                  <a:moveTo>
                    <a:pt x="264162" y="58783"/>
                  </a:moveTo>
                  <a:cubicBezTo>
                    <a:pt x="269022" y="53921"/>
                    <a:pt x="276630" y="53480"/>
                    <a:pt x="281990" y="57457"/>
                  </a:cubicBezTo>
                  <a:lnTo>
                    <a:pt x="283525" y="58783"/>
                  </a:lnTo>
                  <a:lnTo>
                    <a:pt x="361114" y="136372"/>
                  </a:lnTo>
                  <a:cubicBezTo>
                    <a:pt x="365976" y="141232"/>
                    <a:pt x="366418" y="148840"/>
                    <a:pt x="362440" y="154200"/>
                  </a:cubicBezTo>
                  <a:lnTo>
                    <a:pt x="361114" y="155735"/>
                  </a:lnTo>
                  <a:lnTo>
                    <a:pt x="283525" y="233324"/>
                  </a:lnTo>
                  <a:cubicBezTo>
                    <a:pt x="278178" y="238671"/>
                    <a:pt x="269510" y="238671"/>
                    <a:pt x="264162" y="233324"/>
                  </a:cubicBezTo>
                  <a:cubicBezTo>
                    <a:pt x="259301" y="228464"/>
                    <a:pt x="258859" y="220857"/>
                    <a:pt x="262837" y="215497"/>
                  </a:cubicBezTo>
                  <a:lnTo>
                    <a:pt x="264162" y="213961"/>
                  </a:lnTo>
                  <a:lnTo>
                    <a:pt x="332068" y="146054"/>
                  </a:lnTo>
                  <a:lnTo>
                    <a:pt x="264162" y="78146"/>
                  </a:lnTo>
                  <a:cubicBezTo>
                    <a:pt x="258815" y="72799"/>
                    <a:pt x="258815" y="64130"/>
                    <a:pt x="264162" y="58783"/>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sp>
        <p:nvSpPr>
          <p:cNvPr id="94" name="TextBox 93">
            <a:extLst>
              <a:ext uri="{FF2B5EF4-FFF2-40B4-BE49-F238E27FC236}">
                <a16:creationId xmlns:a16="http://schemas.microsoft.com/office/drawing/2014/main" id="{679EBD93-B3BE-A818-3B4B-AB598FFEED7B}"/>
              </a:ext>
            </a:extLst>
          </p:cNvPr>
          <p:cNvSpPr txBox="1"/>
          <p:nvPr/>
        </p:nvSpPr>
        <p:spPr>
          <a:xfrm>
            <a:off x="6754876" y="2503991"/>
            <a:ext cx="2372316"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GitHub Sales Orchestration Models</a:t>
            </a:r>
          </a:p>
        </p:txBody>
      </p:sp>
      <p:grpSp>
        <p:nvGrpSpPr>
          <p:cNvPr id="162" name="Group 161">
            <a:extLst>
              <a:ext uri="{FF2B5EF4-FFF2-40B4-BE49-F238E27FC236}">
                <a16:creationId xmlns:a16="http://schemas.microsoft.com/office/drawing/2014/main" id="{AAB955ED-24A7-2F5D-D2FB-6BD3E15BF3D4}"/>
              </a:ext>
              <a:ext uri="{C183D7F6-B498-43B3-948B-1728B52AA6E4}">
                <adec:decorative xmlns:adec="http://schemas.microsoft.com/office/drawing/2017/decorative" val="1"/>
              </a:ext>
            </a:extLst>
          </p:cNvPr>
          <p:cNvGrpSpPr/>
          <p:nvPr/>
        </p:nvGrpSpPr>
        <p:grpSpPr>
          <a:xfrm>
            <a:off x="6361176" y="2457441"/>
            <a:ext cx="277766" cy="277766"/>
            <a:chOff x="6384972" y="2432567"/>
            <a:chExt cx="218092" cy="218092"/>
          </a:xfrm>
        </p:grpSpPr>
        <p:sp>
          <p:nvSpPr>
            <p:cNvPr id="146" name="Oval 145">
              <a:extLst>
                <a:ext uri="{FF2B5EF4-FFF2-40B4-BE49-F238E27FC236}">
                  <a16:creationId xmlns:a16="http://schemas.microsoft.com/office/drawing/2014/main" id="{CD4D0333-3008-F1BC-0EE2-51BC40B007CD}"/>
                </a:ext>
              </a:extLst>
            </p:cNvPr>
            <p:cNvSpPr/>
            <p:nvPr/>
          </p:nvSpPr>
          <p:spPr bwMode="auto">
            <a:xfrm>
              <a:off x="6384972" y="2432567"/>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6" name="Graphic 39" descr="Icon of a chart made of vertical lines with a line tracing the top of each, turning into an arrow pointing up">
              <a:extLst>
                <a:ext uri="{FF2B5EF4-FFF2-40B4-BE49-F238E27FC236}">
                  <a16:creationId xmlns:a16="http://schemas.microsoft.com/office/drawing/2014/main" id="{92996AAB-C649-5F0F-4CEE-4B537CCB5F46}"/>
                </a:ext>
              </a:extLst>
            </p:cNvPr>
            <p:cNvSpPr/>
            <p:nvPr/>
          </p:nvSpPr>
          <p:spPr>
            <a:xfrm>
              <a:off x="6446135" y="2491211"/>
              <a:ext cx="95766" cy="100804"/>
            </a:xfrm>
            <a:custGeom>
              <a:avLst/>
              <a:gdLst>
                <a:gd name="connsiteX0" fmla="*/ 195609 w 270323"/>
                <a:gd name="connsiteY0" fmla="*/ 0 h 284545"/>
                <a:gd name="connsiteX1" fmla="*/ 260397 w 270323"/>
                <a:gd name="connsiteY1" fmla="*/ 7 h 284545"/>
                <a:gd name="connsiteX2" fmla="*/ 261824 w 270323"/>
                <a:gd name="connsiteY2" fmla="*/ 205 h 284545"/>
                <a:gd name="connsiteX3" fmla="*/ 263230 w 270323"/>
                <a:gd name="connsiteY3" fmla="*/ 598 h 284545"/>
                <a:gd name="connsiteX4" fmla="*/ 264088 w 270323"/>
                <a:gd name="connsiteY4" fmla="*/ 962 h 284545"/>
                <a:gd name="connsiteX5" fmla="*/ 267199 w 270323"/>
                <a:gd name="connsiteY5" fmla="*/ 3107 h 284545"/>
                <a:gd name="connsiteX6" fmla="*/ 267778 w 270323"/>
                <a:gd name="connsiteY6" fmla="*/ 3733 h 284545"/>
                <a:gd name="connsiteX7" fmla="*/ 268397 w 270323"/>
                <a:gd name="connsiteY7" fmla="*/ 4535 h 284545"/>
                <a:gd name="connsiteX8" fmla="*/ 269168 w 270323"/>
                <a:gd name="connsiteY8" fmla="*/ 5818 h 284545"/>
                <a:gd name="connsiteX9" fmla="*/ 269719 w 270323"/>
                <a:gd name="connsiteY9" fmla="*/ 7103 h 284545"/>
                <a:gd name="connsiteX10" fmla="*/ 269991 w 270323"/>
                <a:gd name="connsiteY10" fmla="*/ 8014 h 284545"/>
                <a:gd name="connsiteX11" fmla="*/ 270184 w 270323"/>
                <a:gd name="connsiteY11" fmla="*/ 8925 h 284545"/>
                <a:gd name="connsiteX12" fmla="*/ 270318 w 270323"/>
                <a:gd name="connsiteY12" fmla="*/ 10265 h 284545"/>
                <a:gd name="connsiteX13" fmla="*/ 270323 w 270323"/>
                <a:gd name="connsiteY13" fmla="*/ 74748 h 284545"/>
                <a:gd name="connsiteX14" fmla="*/ 259653 w 270323"/>
                <a:gd name="connsiteY14" fmla="*/ 85419 h 284545"/>
                <a:gd name="connsiteX15" fmla="*/ 249081 w 270323"/>
                <a:gd name="connsiteY15" fmla="*/ 76196 h 284545"/>
                <a:gd name="connsiteX16" fmla="*/ 248983 w 270323"/>
                <a:gd name="connsiteY16" fmla="*/ 74748 h 284545"/>
                <a:gd name="connsiteX17" fmla="*/ 248977 w 270323"/>
                <a:gd name="connsiteY17" fmla="*/ 36408 h 284545"/>
                <a:gd name="connsiteX18" fmla="*/ 157363 w 270323"/>
                <a:gd name="connsiteY18" fmla="*/ 128041 h 284545"/>
                <a:gd name="connsiteX19" fmla="*/ 143469 w 270323"/>
                <a:gd name="connsiteY19" fmla="*/ 129075 h 284545"/>
                <a:gd name="connsiteX20" fmla="*/ 142273 w 270323"/>
                <a:gd name="connsiteY20" fmla="*/ 128042 h 284545"/>
                <a:gd name="connsiteX21" fmla="*/ 99160 w 270323"/>
                <a:gd name="connsiteY21" fmla="*/ 86633 h 284545"/>
                <a:gd name="connsiteX22" fmla="*/ 18216 w 270323"/>
                <a:gd name="connsiteY22" fmla="*/ 167577 h 284545"/>
                <a:gd name="connsiteX23" fmla="*/ 3125 w 270323"/>
                <a:gd name="connsiteY23" fmla="*/ 167577 h 284545"/>
                <a:gd name="connsiteX24" fmla="*/ 2092 w 270323"/>
                <a:gd name="connsiteY24" fmla="*/ 153684 h 284545"/>
                <a:gd name="connsiteX25" fmla="*/ 3125 w 270323"/>
                <a:gd name="connsiteY25" fmla="*/ 152486 h 284545"/>
                <a:gd name="connsiteX26" fmla="*/ 91614 w 270323"/>
                <a:gd name="connsiteY26" fmla="*/ 63998 h 284545"/>
                <a:gd name="connsiteX27" fmla="*/ 105508 w 270323"/>
                <a:gd name="connsiteY27" fmla="*/ 62965 h 284545"/>
                <a:gd name="connsiteX28" fmla="*/ 106704 w 270323"/>
                <a:gd name="connsiteY28" fmla="*/ 63998 h 284545"/>
                <a:gd name="connsiteX29" fmla="*/ 149817 w 270323"/>
                <a:gd name="connsiteY29" fmla="*/ 105406 h 284545"/>
                <a:gd name="connsiteX30" fmla="*/ 233868 w 270323"/>
                <a:gd name="connsiteY30" fmla="*/ 21341 h 284545"/>
                <a:gd name="connsiteX31" fmla="*/ 195609 w 270323"/>
                <a:gd name="connsiteY31" fmla="*/ 21341 h 284545"/>
                <a:gd name="connsiteX32" fmla="*/ 185037 w 270323"/>
                <a:gd name="connsiteY32" fmla="*/ 12118 h 284545"/>
                <a:gd name="connsiteX33" fmla="*/ 184939 w 270323"/>
                <a:gd name="connsiteY33" fmla="*/ 10670 h 284545"/>
                <a:gd name="connsiteX34" fmla="*/ 194162 w 270323"/>
                <a:gd name="connsiteY34" fmla="*/ 97 h 284545"/>
                <a:gd name="connsiteX35" fmla="*/ 195609 w 270323"/>
                <a:gd name="connsiteY35" fmla="*/ 0 h 284545"/>
                <a:gd name="connsiteX36" fmla="*/ 10670 w 270323"/>
                <a:gd name="connsiteY36" fmla="*/ 213409 h 284545"/>
                <a:gd name="connsiteX37" fmla="*/ 21341 w 270323"/>
                <a:gd name="connsiteY37" fmla="*/ 224079 h 284545"/>
                <a:gd name="connsiteX38" fmla="*/ 21341 w 270323"/>
                <a:gd name="connsiteY38" fmla="*/ 273875 h 284545"/>
                <a:gd name="connsiteX39" fmla="*/ 10670 w 270323"/>
                <a:gd name="connsiteY39" fmla="*/ 284545 h 284545"/>
                <a:gd name="connsiteX40" fmla="*/ 0 w 270323"/>
                <a:gd name="connsiteY40" fmla="*/ 273875 h 284545"/>
                <a:gd name="connsiteX41" fmla="*/ 0 w 270323"/>
                <a:gd name="connsiteY41" fmla="*/ 224079 h 284545"/>
                <a:gd name="connsiteX42" fmla="*/ 10670 w 270323"/>
                <a:gd name="connsiteY42" fmla="*/ 213409 h 284545"/>
                <a:gd name="connsiteX43" fmla="*/ 92477 w 270323"/>
                <a:gd name="connsiteY43" fmla="*/ 167170 h 284545"/>
                <a:gd name="connsiteX44" fmla="*/ 81807 w 270323"/>
                <a:gd name="connsiteY44" fmla="*/ 156500 h 284545"/>
                <a:gd name="connsiteX45" fmla="*/ 71136 w 270323"/>
                <a:gd name="connsiteY45" fmla="*/ 167170 h 284545"/>
                <a:gd name="connsiteX46" fmla="*/ 71136 w 270323"/>
                <a:gd name="connsiteY46" fmla="*/ 273875 h 284545"/>
                <a:gd name="connsiteX47" fmla="*/ 81807 w 270323"/>
                <a:gd name="connsiteY47" fmla="*/ 284545 h 284545"/>
                <a:gd name="connsiteX48" fmla="*/ 92477 w 270323"/>
                <a:gd name="connsiteY48" fmla="*/ 273875 h 284545"/>
                <a:gd name="connsiteX49" fmla="*/ 92477 w 270323"/>
                <a:gd name="connsiteY49" fmla="*/ 167170 h 284545"/>
                <a:gd name="connsiteX50" fmla="*/ 152943 w 270323"/>
                <a:gd name="connsiteY50" fmla="*/ 184954 h 284545"/>
                <a:gd name="connsiteX51" fmla="*/ 163613 w 270323"/>
                <a:gd name="connsiteY51" fmla="*/ 195625 h 284545"/>
                <a:gd name="connsiteX52" fmla="*/ 163613 w 270323"/>
                <a:gd name="connsiteY52" fmla="*/ 273875 h 284545"/>
                <a:gd name="connsiteX53" fmla="*/ 152943 w 270323"/>
                <a:gd name="connsiteY53" fmla="*/ 284545 h 284545"/>
                <a:gd name="connsiteX54" fmla="*/ 142273 w 270323"/>
                <a:gd name="connsiteY54" fmla="*/ 273875 h 284545"/>
                <a:gd name="connsiteX55" fmla="*/ 142273 w 270323"/>
                <a:gd name="connsiteY55" fmla="*/ 195625 h 284545"/>
                <a:gd name="connsiteX56" fmla="*/ 152943 w 270323"/>
                <a:gd name="connsiteY56" fmla="*/ 184954 h 284545"/>
                <a:gd name="connsiteX57" fmla="*/ 234750 w 270323"/>
                <a:gd name="connsiteY57" fmla="*/ 124488 h 284545"/>
                <a:gd name="connsiteX58" fmla="*/ 224079 w 270323"/>
                <a:gd name="connsiteY58" fmla="*/ 113818 h 284545"/>
                <a:gd name="connsiteX59" fmla="*/ 213409 w 270323"/>
                <a:gd name="connsiteY59" fmla="*/ 124488 h 284545"/>
                <a:gd name="connsiteX60" fmla="*/ 213409 w 270323"/>
                <a:gd name="connsiteY60" fmla="*/ 273875 h 284545"/>
                <a:gd name="connsiteX61" fmla="*/ 224079 w 270323"/>
                <a:gd name="connsiteY61" fmla="*/ 284545 h 284545"/>
                <a:gd name="connsiteX62" fmla="*/ 234750 w 270323"/>
                <a:gd name="connsiteY62" fmla="*/ 273875 h 284545"/>
                <a:gd name="connsiteX63" fmla="*/ 234750 w 270323"/>
                <a:gd name="connsiteY63" fmla="*/ 124488 h 28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0323" h="284545">
                  <a:moveTo>
                    <a:pt x="195609" y="0"/>
                  </a:moveTo>
                  <a:lnTo>
                    <a:pt x="260397" y="7"/>
                  </a:lnTo>
                  <a:lnTo>
                    <a:pt x="261824" y="205"/>
                  </a:lnTo>
                  <a:lnTo>
                    <a:pt x="263230" y="598"/>
                  </a:lnTo>
                  <a:lnTo>
                    <a:pt x="264088" y="962"/>
                  </a:lnTo>
                  <a:cubicBezTo>
                    <a:pt x="265214" y="1458"/>
                    <a:pt x="266270" y="2179"/>
                    <a:pt x="267199" y="3107"/>
                  </a:cubicBezTo>
                  <a:lnTo>
                    <a:pt x="267778" y="3733"/>
                  </a:lnTo>
                  <a:lnTo>
                    <a:pt x="268397" y="4535"/>
                  </a:lnTo>
                  <a:lnTo>
                    <a:pt x="269168" y="5818"/>
                  </a:lnTo>
                  <a:lnTo>
                    <a:pt x="269719" y="7103"/>
                  </a:lnTo>
                  <a:lnTo>
                    <a:pt x="269991" y="8014"/>
                  </a:lnTo>
                  <a:lnTo>
                    <a:pt x="270184" y="8925"/>
                  </a:lnTo>
                  <a:lnTo>
                    <a:pt x="270318" y="10265"/>
                  </a:lnTo>
                  <a:lnTo>
                    <a:pt x="270323" y="74748"/>
                  </a:lnTo>
                  <a:cubicBezTo>
                    <a:pt x="270323" y="80641"/>
                    <a:pt x="265547" y="85419"/>
                    <a:pt x="259653" y="85419"/>
                  </a:cubicBezTo>
                  <a:cubicBezTo>
                    <a:pt x="254252" y="85419"/>
                    <a:pt x="249788" y="81405"/>
                    <a:pt x="249081" y="76196"/>
                  </a:cubicBezTo>
                  <a:lnTo>
                    <a:pt x="248983" y="74748"/>
                  </a:lnTo>
                  <a:lnTo>
                    <a:pt x="248977" y="36408"/>
                  </a:lnTo>
                  <a:lnTo>
                    <a:pt x="157363" y="128041"/>
                  </a:lnTo>
                  <a:cubicBezTo>
                    <a:pt x="153575" y="131830"/>
                    <a:pt x="147646" y="132174"/>
                    <a:pt x="143469" y="129075"/>
                  </a:cubicBezTo>
                  <a:lnTo>
                    <a:pt x="142273" y="128042"/>
                  </a:lnTo>
                  <a:lnTo>
                    <a:pt x="99160" y="86633"/>
                  </a:lnTo>
                  <a:lnTo>
                    <a:pt x="18216" y="167577"/>
                  </a:lnTo>
                  <a:cubicBezTo>
                    <a:pt x="14049" y="171744"/>
                    <a:pt x="7292" y="171744"/>
                    <a:pt x="3125" y="167577"/>
                  </a:cubicBezTo>
                  <a:cubicBezTo>
                    <a:pt x="-663" y="163788"/>
                    <a:pt x="-1007" y="157861"/>
                    <a:pt x="2092" y="153684"/>
                  </a:cubicBezTo>
                  <a:lnTo>
                    <a:pt x="3125" y="152486"/>
                  </a:lnTo>
                  <a:lnTo>
                    <a:pt x="91614" y="63998"/>
                  </a:lnTo>
                  <a:cubicBezTo>
                    <a:pt x="95402" y="60210"/>
                    <a:pt x="101331" y="59865"/>
                    <a:pt x="105508" y="62965"/>
                  </a:cubicBezTo>
                  <a:lnTo>
                    <a:pt x="106704" y="63998"/>
                  </a:lnTo>
                  <a:lnTo>
                    <a:pt x="149817" y="105406"/>
                  </a:lnTo>
                  <a:lnTo>
                    <a:pt x="233868" y="21341"/>
                  </a:lnTo>
                  <a:lnTo>
                    <a:pt x="195609" y="21341"/>
                  </a:lnTo>
                  <a:cubicBezTo>
                    <a:pt x="190207" y="21341"/>
                    <a:pt x="185742" y="17327"/>
                    <a:pt x="185037" y="12118"/>
                  </a:cubicBezTo>
                  <a:lnTo>
                    <a:pt x="184939" y="10670"/>
                  </a:lnTo>
                  <a:cubicBezTo>
                    <a:pt x="184939" y="5268"/>
                    <a:pt x="188954" y="804"/>
                    <a:pt x="194162" y="97"/>
                  </a:cubicBezTo>
                  <a:lnTo>
                    <a:pt x="195609" y="0"/>
                  </a:lnTo>
                  <a:close/>
                  <a:moveTo>
                    <a:pt x="10670" y="213409"/>
                  </a:moveTo>
                  <a:cubicBezTo>
                    <a:pt x="16564" y="213409"/>
                    <a:pt x="21341" y="218186"/>
                    <a:pt x="21341" y="224079"/>
                  </a:cubicBezTo>
                  <a:lnTo>
                    <a:pt x="21341" y="273875"/>
                  </a:lnTo>
                  <a:cubicBezTo>
                    <a:pt x="21341" y="279768"/>
                    <a:pt x="16564" y="284545"/>
                    <a:pt x="10670" y="284545"/>
                  </a:cubicBezTo>
                  <a:cubicBezTo>
                    <a:pt x="4777" y="284545"/>
                    <a:pt x="0" y="279768"/>
                    <a:pt x="0" y="273875"/>
                  </a:cubicBezTo>
                  <a:lnTo>
                    <a:pt x="0" y="224079"/>
                  </a:lnTo>
                  <a:cubicBezTo>
                    <a:pt x="0" y="218186"/>
                    <a:pt x="4777" y="213409"/>
                    <a:pt x="10670" y="213409"/>
                  </a:cubicBezTo>
                  <a:close/>
                  <a:moveTo>
                    <a:pt x="92477" y="167170"/>
                  </a:moveTo>
                  <a:cubicBezTo>
                    <a:pt x="92477" y="161277"/>
                    <a:pt x="87700" y="156500"/>
                    <a:pt x="81807" y="156500"/>
                  </a:cubicBezTo>
                  <a:cubicBezTo>
                    <a:pt x="75914" y="156500"/>
                    <a:pt x="71136" y="161277"/>
                    <a:pt x="71136" y="167170"/>
                  </a:cubicBezTo>
                  <a:lnTo>
                    <a:pt x="71136" y="273875"/>
                  </a:lnTo>
                  <a:cubicBezTo>
                    <a:pt x="71136" y="279768"/>
                    <a:pt x="75914" y="284545"/>
                    <a:pt x="81807" y="284545"/>
                  </a:cubicBezTo>
                  <a:cubicBezTo>
                    <a:pt x="87700" y="284545"/>
                    <a:pt x="92477" y="279768"/>
                    <a:pt x="92477" y="273875"/>
                  </a:cubicBezTo>
                  <a:lnTo>
                    <a:pt x="92477" y="167170"/>
                  </a:lnTo>
                  <a:close/>
                  <a:moveTo>
                    <a:pt x="152943" y="184954"/>
                  </a:moveTo>
                  <a:cubicBezTo>
                    <a:pt x="158836" y="184954"/>
                    <a:pt x="163613" y="189732"/>
                    <a:pt x="163613" y="195625"/>
                  </a:cubicBezTo>
                  <a:lnTo>
                    <a:pt x="163613" y="273875"/>
                  </a:lnTo>
                  <a:cubicBezTo>
                    <a:pt x="163613" y="279768"/>
                    <a:pt x="158836" y="284545"/>
                    <a:pt x="152943" y="284545"/>
                  </a:cubicBezTo>
                  <a:cubicBezTo>
                    <a:pt x="147050" y="284545"/>
                    <a:pt x="142273" y="279768"/>
                    <a:pt x="142273" y="273875"/>
                  </a:cubicBezTo>
                  <a:lnTo>
                    <a:pt x="142273" y="195625"/>
                  </a:lnTo>
                  <a:cubicBezTo>
                    <a:pt x="142273" y="189732"/>
                    <a:pt x="147050" y="184954"/>
                    <a:pt x="152943" y="184954"/>
                  </a:cubicBezTo>
                  <a:close/>
                  <a:moveTo>
                    <a:pt x="234750" y="124488"/>
                  </a:moveTo>
                  <a:cubicBezTo>
                    <a:pt x="234750" y="118596"/>
                    <a:pt x="229972" y="113818"/>
                    <a:pt x="224079" y="113818"/>
                  </a:cubicBezTo>
                  <a:cubicBezTo>
                    <a:pt x="218186" y="113818"/>
                    <a:pt x="213409" y="118596"/>
                    <a:pt x="213409" y="124488"/>
                  </a:cubicBezTo>
                  <a:lnTo>
                    <a:pt x="213409" y="273875"/>
                  </a:lnTo>
                  <a:cubicBezTo>
                    <a:pt x="213409" y="279768"/>
                    <a:pt x="218186" y="284545"/>
                    <a:pt x="224079" y="284545"/>
                  </a:cubicBezTo>
                  <a:cubicBezTo>
                    <a:pt x="229972" y="284545"/>
                    <a:pt x="234750" y="279768"/>
                    <a:pt x="234750" y="273875"/>
                  </a:cubicBezTo>
                  <a:lnTo>
                    <a:pt x="234750" y="124488"/>
                  </a:ln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sp>
        <p:nvSpPr>
          <p:cNvPr id="96" name="TextBox 95">
            <a:extLst>
              <a:ext uri="{FF2B5EF4-FFF2-40B4-BE49-F238E27FC236}">
                <a16:creationId xmlns:a16="http://schemas.microsoft.com/office/drawing/2014/main" id="{8E84F3BC-8E42-0087-F78A-E897F251FA2A}"/>
              </a:ext>
            </a:extLst>
          </p:cNvPr>
          <p:cNvSpPr txBox="1"/>
          <p:nvPr/>
        </p:nvSpPr>
        <p:spPr>
          <a:xfrm>
            <a:off x="6754875" y="3421623"/>
            <a:ext cx="1052339"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Repo Migration</a:t>
            </a:r>
          </a:p>
        </p:txBody>
      </p:sp>
      <p:grpSp>
        <p:nvGrpSpPr>
          <p:cNvPr id="164" name="Group 163">
            <a:extLst>
              <a:ext uri="{FF2B5EF4-FFF2-40B4-BE49-F238E27FC236}">
                <a16:creationId xmlns:a16="http://schemas.microsoft.com/office/drawing/2014/main" id="{B3CEA710-D9CA-F296-0839-035F63B4EEB0}"/>
              </a:ext>
              <a:ext uri="{C183D7F6-B498-43B3-948B-1728B52AA6E4}">
                <adec:decorative xmlns:adec="http://schemas.microsoft.com/office/drawing/2017/decorative" val="1"/>
              </a:ext>
            </a:extLst>
          </p:cNvPr>
          <p:cNvGrpSpPr/>
          <p:nvPr/>
        </p:nvGrpSpPr>
        <p:grpSpPr>
          <a:xfrm>
            <a:off x="6361176" y="3375073"/>
            <a:ext cx="277766" cy="277766"/>
            <a:chOff x="6384972" y="3331944"/>
            <a:chExt cx="218092" cy="218092"/>
          </a:xfrm>
        </p:grpSpPr>
        <p:sp>
          <p:nvSpPr>
            <p:cNvPr id="148" name="Oval 147">
              <a:extLst>
                <a:ext uri="{FF2B5EF4-FFF2-40B4-BE49-F238E27FC236}">
                  <a16:creationId xmlns:a16="http://schemas.microsoft.com/office/drawing/2014/main" id="{3AE82E88-1965-D3A0-DFE3-B8236BAFB347}"/>
                </a:ext>
              </a:extLst>
            </p:cNvPr>
            <p:cNvSpPr/>
            <p:nvPr/>
          </p:nvSpPr>
          <p:spPr bwMode="auto">
            <a:xfrm>
              <a:off x="6384972" y="3331944"/>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7" name="Graphic 127" descr="Icon of a folder with an arrow pointing to the right">
              <a:extLst>
                <a:ext uri="{FF2B5EF4-FFF2-40B4-BE49-F238E27FC236}">
                  <a16:creationId xmlns:a16="http://schemas.microsoft.com/office/drawing/2014/main" id="{25FE8BE4-7A87-A5D0-F92E-A873FCCDC711}"/>
                </a:ext>
              </a:extLst>
            </p:cNvPr>
            <p:cNvSpPr>
              <a:spLocks noChangeAspect="1"/>
            </p:cNvSpPr>
            <p:nvPr/>
          </p:nvSpPr>
          <p:spPr>
            <a:xfrm>
              <a:off x="6440673" y="3395266"/>
              <a:ext cx="106691" cy="91449"/>
            </a:xfrm>
            <a:custGeom>
              <a:avLst/>
              <a:gdLst>
                <a:gd name="connsiteX0" fmla="*/ 147638 w 200025"/>
                <a:gd name="connsiteY0" fmla="*/ 66675 h 171450"/>
                <a:gd name="connsiteX1" fmla="*/ 200025 w 200025"/>
                <a:gd name="connsiteY1" fmla="*/ 119063 h 171450"/>
                <a:gd name="connsiteX2" fmla="*/ 147638 w 200025"/>
                <a:gd name="connsiteY2" fmla="*/ 171450 h 171450"/>
                <a:gd name="connsiteX3" fmla="*/ 95250 w 200025"/>
                <a:gd name="connsiteY3" fmla="*/ 119063 h 171450"/>
                <a:gd name="connsiteX4" fmla="*/ 147638 w 200025"/>
                <a:gd name="connsiteY4" fmla="*/ 66675 h 171450"/>
                <a:gd name="connsiteX5" fmla="*/ 59122 w 200025"/>
                <a:gd name="connsiteY5" fmla="*/ 0 h 171450"/>
                <a:gd name="connsiteX6" fmla="*/ 71352 w 200025"/>
                <a:gd name="connsiteY6" fmla="*/ 3829 h 171450"/>
                <a:gd name="connsiteX7" fmla="*/ 72838 w 200025"/>
                <a:gd name="connsiteY7" fmla="*/ 4972 h 171450"/>
                <a:gd name="connsiteX8" fmla="*/ 95460 w 200025"/>
                <a:gd name="connsiteY8" fmla="*/ 23813 h 171450"/>
                <a:gd name="connsiteX9" fmla="*/ 169069 w 200025"/>
                <a:gd name="connsiteY9" fmla="*/ 23813 h 171450"/>
                <a:gd name="connsiteX10" fmla="*/ 190300 w 200025"/>
                <a:gd name="connsiteY10" fmla="*/ 42272 h 171450"/>
                <a:gd name="connsiteX11" fmla="*/ 190452 w 200025"/>
                <a:gd name="connsiteY11" fmla="*/ 43777 h 171450"/>
                <a:gd name="connsiteX12" fmla="*/ 190500 w 200025"/>
                <a:gd name="connsiteY12" fmla="*/ 45244 h 171450"/>
                <a:gd name="connsiteX13" fmla="*/ 190500 w 200025"/>
                <a:gd name="connsiteY13" fmla="*/ 74390 h 171450"/>
                <a:gd name="connsiteX14" fmla="*/ 176222 w 200025"/>
                <a:gd name="connsiteY14" fmla="*/ 64132 h 171450"/>
                <a:gd name="connsiteX15" fmla="*/ 176213 w 200025"/>
                <a:gd name="connsiteY15" fmla="*/ 45244 h 171450"/>
                <a:gd name="connsiteX16" fmla="*/ 170040 w 200025"/>
                <a:gd name="connsiteY16" fmla="*/ 38167 h 171450"/>
                <a:gd name="connsiteX17" fmla="*/ 169069 w 200025"/>
                <a:gd name="connsiteY17" fmla="*/ 38100 h 171450"/>
                <a:gd name="connsiteX18" fmla="*/ 95450 w 200025"/>
                <a:gd name="connsiteY18" fmla="*/ 38100 h 171450"/>
                <a:gd name="connsiteX19" fmla="*/ 72838 w 200025"/>
                <a:gd name="connsiteY19" fmla="*/ 56950 h 171450"/>
                <a:gd name="connsiteX20" fmla="*/ 60989 w 200025"/>
                <a:gd name="connsiteY20" fmla="*/ 61827 h 171450"/>
                <a:gd name="connsiteX21" fmla="*/ 59122 w 200025"/>
                <a:gd name="connsiteY21" fmla="*/ 61913 h 171450"/>
                <a:gd name="connsiteX22" fmla="*/ 14288 w 200025"/>
                <a:gd name="connsiteY22" fmla="*/ 61903 h 171450"/>
                <a:gd name="connsiteX23" fmla="*/ 14288 w 200025"/>
                <a:gd name="connsiteY23" fmla="*/ 130969 h 171450"/>
                <a:gd name="connsiteX24" fmla="*/ 20460 w 200025"/>
                <a:gd name="connsiteY24" fmla="*/ 138046 h 171450"/>
                <a:gd name="connsiteX25" fmla="*/ 21431 w 200025"/>
                <a:gd name="connsiteY25" fmla="*/ 138113 h 171450"/>
                <a:gd name="connsiteX26" fmla="*/ 88716 w 200025"/>
                <a:gd name="connsiteY26" fmla="*/ 138113 h 171450"/>
                <a:gd name="connsiteX27" fmla="*/ 95469 w 200025"/>
                <a:gd name="connsiteY27" fmla="*/ 152410 h 171450"/>
                <a:gd name="connsiteX28" fmla="*/ 21431 w 200025"/>
                <a:gd name="connsiteY28" fmla="*/ 152400 h 171450"/>
                <a:gd name="connsiteX29" fmla="*/ 48 w 200025"/>
                <a:gd name="connsiteY29" fmla="*/ 132436 h 171450"/>
                <a:gd name="connsiteX30" fmla="*/ 0 w 200025"/>
                <a:gd name="connsiteY30" fmla="*/ 130969 h 171450"/>
                <a:gd name="connsiteX31" fmla="*/ 0 w 200025"/>
                <a:gd name="connsiteY31" fmla="*/ 21431 h 171450"/>
                <a:gd name="connsiteX32" fmla="*/ 19964 w 200025"/>
                <a:gd name="connsiteY32" fmla="*/ 48 h 171450"/>
                <a:gd name="connsiteX33" fmla="*/ 21431 w 200025"/>
                <a:gd name="connsiteY33" fmla="*/ 0 h 171450"/>
                <a:gd name="connsiteX34" fmla="*/ 59122 w 200025"/>
                <a:gd name="connsiteY34" fmla="*/ 0 h 171450"/>
                <a:gd name="connsiteX35" fmla="*/ 150419 w 200025"/>
                <a:gd name="connsiteY35" fmla="*/ 90916 h 171450"/>
                <a:gd name="connsiteX36" fmla="*/ 149695 w 200025"/>
                <a:gd name="connsiteY36" fmla="*/ 91335 h 171450"/>
                <a:gd name="connsiteX37" fmla="*/ 149028 w 200025"/>
                <a:gd name="connsiteY37" fmla="*/ 91878 h 171450"/>
                <a:gd name="connsiteX38" fmla="*/ 148485 w 200025"/>
                <a:gd name="connsiteY38" fmla="*/ 92545 h 171450"/>
                <a:gd name="connsiteX39" fmla="*/ 148485 w 200025"/>
                <a:gd name="connsiteY39" fmla="*/ 97955 h 171450"/>
                <a:gd name="connsiteX40" fmla="*/ 149028 w 200025"/>
                <a:gd name="connsiteY40" fmla="*/ 98622 h 171450"/>
                <a:gd name="connsiteX41" fmla="*/ 164706 w 200025"/>
                <a:gd name="connsiteY41" fmla="*/ 114300 h 171450"/>
                <a:gd name="connsiteX42" fmla="*/ 114300 w 200025"/>
                <a:gd name="connsiteY42" fmla="*/ 114300 h 171450"/>
                <a:gd name="connsiteX43" fmla="*/ 113443 w 200025"/>
                <a:gd name="connsiteY43" fmla="*/ 114376 h 171450"/>
                <a:gd name="connsiteX44" fmla="*/ 109614 w 200025"/>
                <a:gd name="connsiteY44" fmla="*/ 118205 h 171450"/>
                <a:gd name="connsiteX45" fmla="*/ 109538 w 200025"/>
                <a:gd name="connsiteY45" fmla="*/ 119063 h 171450"/>
                <a:gd name="connsiteX46" fmla="*/ 109614 w 200025"/>
                <a:gd name="connsiteY46" fmla="*/ 119920 h 171450"/>
                <a:gd name="connsiteX47" fmla="*/ 113443 w 200025"/>
                <a:gd name="connsiteY47" fmla="*/ 123749 h 171450"/>
                <a:gd name="connsiteX48" fmla="*/ 114300 w 200025"/>
                <a:gd name="connsiteY48" fmla="*/ 123825 h 171450"/>
                <a:gd name="connsiteX49" fmla="*/ 164706 w 200025"/>
                <a:gd name="connsiteY49" fmla="*/ 123825 h 171450"/>
                <a:gd name="connsiteX50" fmla="*/ 149028 w 200025"/>
                <a:gd name="connsiteY50" fmla="*/ 139503 h 171450"/>
                <a:gd name="connsiteX51" fmla="*/ 148485 w 200025"/>
                <a:gd name="connsiteY51" fmla="*/ 140170 h 171450"/>
                <a:gd name="connsiteX52" fmla="*/ 149726 w 200025"/>
                <a:gd name="connsiteY52" fmla="*/ 146790 h 171450"/>
                <a:gd name="connsiteX53" fmla="*/ 155105 w 200025"/>
                <a:gd name="connsiteY53" fmla="*/ 146790 h 171450"/>
                <a:gd name="connsiteX54" fmla="*/ 155772 w 200025"/>
                <a:gd name="connsiteY54" fmla="*/ 146247 h 171450"/>
                <a:gd name="connsiteX55" fmla="*/ 179851 w 200025"/>
                <a:gd name="connsiteY55" fmla="*/ 122130 h 171450"/>
                <a:gd name="connsiteX56" fmla="*/ 180289 w 200025"/>
                <a:gd name="connsiteY56" fmla="*/ 121529 h 171450"/>
                <a:gd name="connsiteX57" fmla="*/ 180613 w 200025"/>
                <a:gd name="connsiteY57" fmla="*/ 120882 h 171450"/>
                <a:gd name="connsiteX58" fmla="*/ 180813 w 200025"/>
                <a:gd name="connsiteY58" fmla="*/ 120282 h 171450"/>
                <a:gd name="connsiteX59" fmla="*/ 180956 w 200025"/>
                <a:gd name="connsiteY59" fmla="*/ 119501 h 171450"/>
                <a:gd name="connsiteX60" fmla="*/ 180975 w 200025"/>
                <a:gd name="connsiteY60" fmla="*/ 119063 h 171450"/>
                <a:gd name="connsiteX61" fmla="*/ 180946 w 200025"/>
                <a:gd name="connsiteY61" fmla="*/ 118558 h 171450"/>
                <a:gd name="connsiteX62" fmla="*/ 180813 w 200025"/>
                <a:gd name="connsiteY62" fmla="*/ 117843 h 171450"/>
                <a:gd name="connsiteX63" fmla="*/ 180527 w 200025"/>
                <a:gd name="connsiteY63" fmla="*/ 117053 h 171450"/>
                <a:gd name="connsiteX64" fmla="*/ 180127 w 200025"/>
                <a:gd name="connsiteY64" fmla="*/ 116348 h 171450"/>
                <a:gd name="connsiteX65" fmla="*/ 179699 w 200025"/>
                <a:gd name="connsiteY65" fmla="*/ 115814 h 171450"/>
                <a:gd name="connsiteX66" fmla="*/ 155772 w 200025"/>
                <a:gd name="connsiteY66" fmla="*/ 91878 h 171450"/>
                <a:gd name="connsiteX67" fmla="*/ 155105 w 200025"/>
                <a:gd name="connsiteY67" fmla="*/ 91335 h 171450"/>
                <a:gd name="connsiteX68" fmla="*/ 150419 w 200025"/>
                <a:gd name="connsiteY68" fmla="*/ 90916 h 171450"/>
                <a:gd name="connsiteX69" fmla="*/ 59122 w 200025"/>
                <a:gd name="connsiteY69" fmla="*/ 14288 h 171450"/>
                <a:gd name="connsiteX70" fmla="*/ 21431 w 200025"/>
                <a:gd name="connsiteY70" fmla="*/ 14288 h 171450"/>
                <a:gd name="connsiteX71" fmla="*/ 14354 w 200025"/>
                <a:gd name="connsiteY71" fmla="*/ 20460 h 171450"/>
                <a:gd name="connsiteX72" fmla="*/ 14288 w 200025"/>
                <a:gd name="connsiteY72" fmla="*/ 21431 h 171450"/>
                <a:gd name="connsiteX73" fmla="*/ 14288 w 200025"/>
                <a:gd name="connsiteY73" fmla="*/ 47615 h 171450"/>
                <a:gd name="connsiteX74" fmla="*/ 59122 w 200025"/>
                <a:gd name="connsiteY74" fmla="*/ 47625 h 171450"/>
                <a:gd name="connsiteX75" fmla="*/ 62884 w 200025"/>
                <a:gd name="connsiteY75" fmla="*/ 46549 h 171450"/>
                <a:gd name="connsiteX76" fmla="*/ 63694 w 200025"/>
                <a:gd name="connsiteY76" fmla="*/ 45977 h 171450"/>
                <a:gd name="connsiteX77" fmla="*/ 81705 w 200025"/>
                <a:gd name="connsiteY77" fmla="*/ 30947 h 171450"/>
                <a:gd name="connsiteX78" fmla="*/ 63703 w 200025"/>
                <a:gd name="connsiteY78" fmla="*/ 15945 h 171450"/>
                <a:gd name="connsiteX79" fmla="*/ 60112 w 200025"/>
                <a:gd name="connsiteY79" fmla="*/ 14354 h 171450"/>
                <a:gd name="connsiteX80" fmla="*/ 59122 w 200025"/>
                <a:gd name="connsiteY80"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0025" h="171450">
                  <a:moveTo>
                    <a:pt x="147638" y="66675"/>
                  </a:moveTo>
                  <a:cubicBezTo>
                    <a:pt x="176571" y="66675"/>
                    <a:pt x="200025" y="90129"/>
                    <a:pt x="200025" y="119063"/>
                  </a:cubicBezTo>
                  <a:cubicBezTo>
                    <a:pt x="200025" y="147996"/>
                    <a:pt x="176571" y="171450"/>
                    <a:pt x="147638" y="171450"/>
                  </a:cubicBezTo>
                  <a:cubicBezTo>
                    <a:pt x="118704" y="171450"/>
                    <a:pt x="95250" y="147996"/>
                    <a:pt x="95250" y="119063"/>
                  </a:cubicBezTo>
                  <a:cubicBezTo>
                    <a:pt x="95250" y="90129"/>
                    <a:pt x="118704" y="66675"/>
                    <a:pt x="147638" y="66675"/>
                  </a:cubicBezTo>
                  <a:close/>
                  <a:moveTo>
                    <a:pt x="59122" y="0"/>
                  </a:moveTo>
                  <a:cubicBezTo>
                    <a:pt x="63503" y="0"/>
                    <a:pt x="67770" y="1343"/>
                    <a:pt x="71352" y="3829"/>
                  </a:cubicBezTo>
                  <a:lnTo>
                    <a:pt x="72838" y="4972"/>
                  </a:lnTo>
                  <a:lnTo>
                    <a:pt x="95460" y="23813"/>
                  </a:lnTo>
                  <a:lnTo>
                    <a:pt x="169069" y="23813"/>
                  </a:lnTo>
                  <a:cubicBezTo>
                    <a:pt x="179760" y="23809"/>
                    <a:pt x="188818" y="31685"/>
                    <a:pt x="190300" y="42272"/>
                  </a:cubicBezTo>
                  <a:lnTo>
                    <a:pt x="190452" y="43777"/>
                  </a:lnTo>
                  <a:lnTo>
                    <a:pt x="190500" y="45244"/>
                  </a:lnTo>
                  <a:lnTo>
                    <a:pt x="190500" y="74390"/>
                  </a:lnTo>
                  <a:cubicBezTo>
                    <a:pt x="186252" y="70311"/>
                    <a:pt x="181444" y="66857"/>
                    <a:pt x="176222" y="64132"/>
                  </a:cubicBezTo>
                  <a:lnTo>
                    <a:pt x="176213" y="45244"/>
                  </a:lnTo>
                  <a:cubicBezTo>
                    <a:pt x="176213" y="41674"/>
                    <a:pt x="173577" y="38652"/>
                    <a:pt x="170040" y="38167"/>
                  </a:cubicBezTo>
                  <a:lnTo>
                    <a:pt x="169069" y="38100"/>
                  </a:lnTo>
                  <a:lnTo>
                    <a:pt x="95450" y="38100"/>
                  </a:lnTo>
                  <a:lnTo>
                    <a:pt x="72838" y="56950"/>
                  </a:lnTo>
                  <a:cubicBezTo>
                    <a:pt x="69478" y="59746"/>
                    <a:pt x="65343" y="61448"/>
                    <a:pt x="60989" y="61827"/>
                  </a:cubicBezTo>
                  <a:lnTo>
                    <a:pt x="59122" y="61913"/>
                  </a:lnTo>
                  <a:lnTo>
                    <a:pt x="14288" y="61903"/>
                  </a:lnTo>
                  <a:lnTo>
                    <a:pt x="14288" y="130969"/>
                  </a:lnTo>
                  <a:cubicBezTo>
                    <a:pt x="14288" y="134588"/>
                    <a:pt x="16974" y="137579"/>
                    <a:pt x="20460" y="138046"/>
                  </a:cubicBezTo>
                  <a:lnTo>
                    <a:pt x="21431" y="138113"/>
                  </a:lnTo>
                  <a:lnTo>
                    <a:pt x="88716" y="138113"/>
                  </a:lnTo>
                  <a:cubicBezTo>
                    <a:pt x="90354" y="143199"/>
                    <a:pt x="92640" y="147999"/>
                    <a:pt x="95469" y="152410"/>
                  </a:cubicBezTo>
                  <a:lnTo>
                    <a:pt x="21431" y="152400"/>
                  </a:lnTo>
                  <a:cubicBezTo>
                    <a:pt x="10163" y="152401"/>
                    <a:pt x="819" y="143677"/>
                    <a:pt x="48" y="132436"/>
                  </a:cubicBezTo>
                  <a:lnTo>
                    <a:pt x="0" y="130969"/>
                  </a:lnTo>
                  <a:lnTo>
                    <a:pt x="0" y="21431"/>
                  </a:lnTo>
                  <a:cubicBezTo>
                    <a:pt x="-1" y="10163"/>
                    <a:pt x="8723" y="819"/>
                    <a:pt x="19964" y="48"/>
                  </a:cubicBezTo>
                  <a:lnTo>
                    <a:pt x="21431" y="0"/>
                  </a:lnTo>
                  <a:lnTo>
                    <a:pt x="59122" y="0"/>
                  </a:lnTo>
                  <a:close/>
                  <a:moveTo>
                    <a:pt x="150419" y="90916"/>
                  </a:moveTo>
                  <a:lnTo>
                    <a:pt x="149695" y="91335"/>
                  </a:lnTo>
                  <a:lnTo>
                    <a:pt x="149028" y="91878"/>
                  </a:lnTo>
                  <a:lnTo>
                    <a:pt x="148485" y="92545"/>
                  </a:lnTo>
                  <a:cubicBezTo>
                    <a:pt x="147361" y="94174"/>
                    <a:pt x="147361" y="96326"/>
                    <a:pt x="148485" y="97955"/>
                  </a:cubicBezTo>
                  <a:lnTo>
                    <a:pt x="149028" y="98622"/>
                  </a:lnTo>
                  <a:lnTo>
                    <a:pt x="164706" y="114300"/>
                  </a:lnTo>
                  <a:lnTo>
                    <a:pt x="114300" y="114300"/>
                  </a:lnTo>
                  <a:lnTo>
                    <a:pt x="113443" y="114376"/>
                  </a:lnTo>
                  <a:cubicBezTo>
                    <a:pt x="111494" y="114732"/>
                    <a:pt x="109970" y="116256"/>
                    <a:pt x="109614" y="118205"/>
                  </a:cubicBezTo>
                  <a:lnTo>
                    <a:pt x="109538" y="119063"/>
                  </a:lnTo>
                  <a:lnTo>
                    <a:pt x="109614" y="119920"/>
                  </a:lnTo>
                  <a:cubicBezTo>
                    <a:pt x="109970" y="121869"/>
                    <a:pt x="111494" y="123393"/>
                    <a:pt x="113443" y="123749"/>
                  </a:cubicBezTo>
                  <a:lnTo>
                    <a:pt x="114300" y="123825"/>
                  </a:lnTo>
                  <a:lnTo>
                    <a:pt x="164706" y="123825"/>
                  </a:lnTo>
                  <a:lnTo>
                    <a:pt x="149028" y="139503"/>
                  </a:lnTo>
                  <a:lnTo>
                    <a:pt x="148485" y="140170"/>
                  </a:lnTo>
                  <a:cubicBezTo>
                    <a:pt x="147000" y="142341"/>
                    <a:pt x="147556" y="145305"/>
                    <a:pt x="149726" y="146790"/>
                  </a:cubicBezTo>
                  <a:cubicBezTo>
                    <a:pt x="151347" y="147899"/>
                    <a:pt x="153484" y="147899"/>
                    <a:pt x="155105" y="146790"/>
                  </a:cubicBezTo>
                  <a:lnTo>
                    <a:pt x="155772" y="146247"/>
                  </a:lnTo>
                  <a:lnTo>
                    <a:pt x="179851" y="122130"/>
                  </a:lnTo>
                  <a:lnTo>
                    <a:pt x="180289" y="121529"/>
                  </a:lnTo>
                  <a:lnTo>
                    <a:pt x="180613" y="120882"/>
                  </a:lnTo>
                  <a:lnTo>
                    <a:pt x="180813" y="120282"/>
                  </a:lnTo>
                  <a:lnTo>
                    <a:pt x="180956" y="119501"/>
                  </a:lnTo>
                  <a:lnTo>
                    <a:pt x="180975" y="119063"/>
                  </a:lnTo>
                  <a:lnTo>
                    <a:pt x="180946" y="118558"/>
                  </a:lnTo>
                  <a:lnTo>
                    <a:pt x="180813" y="117843"/>
                  </a:lnTo>
                  <a:lnTo>
                    <a:pt x="180527" y="117053"/>
                  </a:lnTo>
                  <a:lnTo>
                    <a:pt x="180127" y="116348"/>
                  </a:lnTo>
                  <a:lnTo>
                    <a:pt x="179699" y="115814"/>
                  </a:lnTo>
                  <a:lnTo>
                    <a:pt x="155772" y="91878"/>
                  </a:lnTo>
                  <a:lnTo>
                    <a:pt x="155105" y="91335"/>
                  </a:lnTo>
                  <a:cubicBezTo>
                    <a:pt x="153726" y="90380"/>
                    <a:pt x="151946" y="90221"/>
                    <a:pt x="150419" y="90916"/>
                  </a:cubicBezTo>
                  <a:close/>
                  <a:moveTo>
                    <a:pt x="59122" y="14288"/>
                  </a:moveTo>
                  <a:lnTo>
                    <a:pt x="21431" y="14288"/>
                  </a:lnTo>
                  <a:cubicBezTo>
                    <a:pt x="17861" y="14288"/>
                    <a:pt x="14840" y="16923"/>
                    <a:pt x="14354" y="20460"/>
                  </a:cubicBezTo>
                  <a:lnTo>
                    <a:pt x="14288" y="21431"/>
                  </a:lnTo>
                  <a:lnTo>
                    <a:pt x="14288" y="47615"/>
                  </a:lnTo>
                  <a:lnTo>
                    <a:pt x="59122" y="47625"/>
                  </a:lnTo>
                  <a:cubicBezTo>
                    <a:pt x="60452" y="47623"/>
                    <a:pt x="61755" y="47251"/>
                    <a:pt x="62884" y="46549"/>
                  </a:cubicBezTo>
                  <a:lnTo>
                    <a:pt x="63694" y="45977"/>
                  </a:lnTo>
                  <a:lnTo>
                    <a:pt x="81705" y="30947"/>
                  </a:lnTo>
                  <a:lnTo>
                    <a:pt x="63703" y="15945"/>
                  </a:lnTo>
                  <a:cubicBezTo>
                    <a:pt x="62678" y="15090"/>
                    <a:pt x="61434" y="14538"/>
                    <a:pt x="60112" y="14354"/>
                  </a:cubicBezTo>
                  <a:lnTo>
                    <a:pt x="59122" y="14288"/>
                  </a:ln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sp>
        <p:nvSpPr>
          <p:cNvPr id="139" name="TextBox 138">
            <a:extLst>
              <a:ext uri="{FF2B5EF4-FFF2-40B4-BE49-F238E27FC236}">
                <a16:creationId xmlns:a16="http://schemas.microsoft.com/office/drawing/2014/main" id="{877EE5A0-78BD-1C6D-64D2-5E2CF6E67AD4}"/>
              </a:ext>
            </a:extLst>
          </p:cNvPr>
          <p:cNvSpPr txBox="1"/>
          <p:nvPr/>
        </p:nvSpPr>
        <p:spPr>
          <a:xfrm>
            <a:off x="6754876" y="4812519"/>
            <a:ext cx="1713482" cy="184666"/>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GH + Azure Cross-Selling</a:t>
            </a:r>
          </a:p>
        </p:txBody>
      </p:sp>
      <p:grpSp>
        <p:nvGrpSpPr>
          <p:cNvPr id="167" name="Group 166">
            <a:extLst>
              <a:ext uri="{FF2B5EF4-FFF2-40B4-BE49-F238E27FC236}">
                <a16:creationId xmlns:a16="http://schemas.microsoft.com/office/drawing/2014/main" id="{6FC780E5-E919-8189-9178-1360A6C0F323}"/>
              </a:ext>
              <a:ext uri="{C183D7F6-B498-43B3-948B-1728B52AA6E4}">
                <adec:decorative xmlns:adec="http://schemas.microsoft.com/office/drawing/2017/decorative" val="1"/>
              </a:ext>
            </a:extLst>
          </p:cNvPr>
          <p:cNvGrpSpPr/>
          <p:nvPr/>
        </p:nvGrpSpPr>
        <p:grpSpPr>
          <a:xfrm>
            <a:off x="6361176" y="4751521"/>
            <a:ext cx="277766" cy="277766"/>
            <a:chOff x="6384972" y="4682849"/>
            <a:chExt cx="218092" cy="218092"/>
          </a:xfrm>
        </p:grpSpPr>
        <p:sp>
          <p:nvSpPr>
            <p:cNvPr id="151" name="Oval 150">
              <a:extLst>
                <a:ext uri="{FF2B5EF4-FFF2-40B4-BE49-F238E27FC236}">
                  <a16:creationId xmlns:a16="http://schemas.microsoft.com/office/drawing/2014/main" id="{A2B901A0-5D33-1E79-C732-6F7988703214}"/>
                </a:ext>
              </a:extLst>
            </p:cNvPr>
            <p:cNvSpPr/>
            <p:nvPr/>
          </p:nvSpPr>
          <p:spPr bwMode="auto">
            <a:xfrm>
              <a:off x="6384972" y="4682849"/>
              <a:ext cx="218092" cy="218092"/>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58" name="Graphic 94" descr="Icon of a bi-directional arrow pointing down and right">
              <a:extLst>
                <a:ext uri="{FF2B5EF4-FFF2-40B4-BE49-F238E27FC236}">
                  <a16:creationId xmlns:a16="http://schemas.microsoft.com/office/drawing/2014/main" id="{F977195B-DEB4-F0A7-66D3-3D7DBF7407DA}"/>
                </a:ext>
              </a:extLst>
            </p:cNvPr>
            <p:cNvSpPr>
              <a:spLocks noChangeAspect="1"/>
            </p:cNvSpPr>
            <p:nvPr/>
          </p:nvSpPr>
          <p:spPr>
            <a:xfrm>
              <a:off x="6440601" y="4738505"/>
              <a:ext cx="106834" cy="106781"/>
            </a:xfrm>
            <a:custGeom>
              <a:avLst/>
              <a:gdLst>
                <a:gd name="connsiteX0" fmla="*/ 192175 w 255727"/>
                <a:gd name="connsiteY0" fmla="*/ 2711 h 255600"/>
                <a:gd name="connsiteX1" fmla="*/ 177901 w 255727"/>
                <a:gd name="connsiteY1" fmla="*/ 3215 h 255600"/>
                <a:gd name="connsiteX2" fmla="*/ 177901 w 255727"/>
                <a:gd name="connsiteY2" fmla="*/ 16985 h 255600"/>
                <a:gd name="connsiteX3" fmla="*/ 221262 w 255727"/>
                <a:gd name="connsiteY3" fmla="*/ 60347 h 255600"/>
                <a:gd name="connsiteX4" fmla="*/ 117706 w 255727"/>
                <a:gd name="connsiteY4" fmla="*/ 60347 h 255600"/>
                <a:gd name="connsiteX5" fmla="*/ 60474 w 255727"/>
                <a:gd name="connsiteY5" fmla="*/ 117579 h 255600"/>
                <a:gd name="connsiteX6" fmla="*/ 60474 w 255727"/>
                <a:gd name="connsiteY6" fmla="*/ 221121 h 255600"/>
                <a:gd name="connsiteX7" fmla="*/ 17113 w 255727"/>
                <a:gd name="connsiteY7" fmla="*/ 177760 h 255600"/>
                <a:gd name="connsiteX8" fmla="*/ 2832 w 255727"/>
                <a:gd name="connsiteY8" fmla="*/ 178014 h 255600"/>
                <a:gd name="connsiteX9" fmla="*/ 2838 w 255727"/>
                <a:gd name="connsiteY9" fmla="*/ 192047 h 255600"/>
                <a:gd name="connsiteX10" fmla="*/ 63437 w 255727"/>
                <a:gd name="connsiteY10" fmla="*/ 252646 h 255600"/>
                <a:gd name="connsiteX11" fmla="*/ 77711 w 255727"/>
                <a:gd name="connsiteY11" fmla="*/ 252646 h 255600"/>
                <a:gd name="connsiteX12" fmla="*/ 138310 w 255727"/>
                <a:gd name="connsiteY12" fmla="*/ 192047 h 255600"/>
                <a:gd name="connsiteX13" fmla="*/ 138813 w 255727"/>
                <a:gd name="connsiteY13" fmla="*/ 177773 h 255600"/>
                <a:gd name="connsiteX14" fmla="*/ 124539 w 255727"/>
                <a:gd name="connsiteY14" fmla="*/ 177269 h 255600"/>
                <a:gd name="connsiteX15" fmla="*/ 124035 w 255727"/>
                <a:gd name="connsiteY15" fmla="*/ 177773 h 255600"/>
                <a:gd name="connsiteX16" fmla="*/ 80674 w 255727"/>
                <a:gd name="connsiteY16" fmla="*/ 221135 h 255600"/>
                <a:gd name="connsiteX17" fmla="*/ 80674 w 255727"/>
                <a:gd name="connsiteY17" fmla="*/ 117579 h 255600"/>
                <a:gd name="connsiteX18" fmla="*/ 117706 w 255727"/>
                <a:gd name="connsiteY18" fmla="*/ 80546 h 255600"/>
                <a:gd name="connsiteX19" fmla="*/ 221249 w 255727"/>
                <a:gd name="connsiteY19" fmla="*/ 80546 h 255600"/>
                <a:gd name="connsiteX20" fmla="*/ 177887 w 255727"/>
                <a:gd name="connsiteY20" fmla="*/ 123908 h 255600"/>
                <a:gd name="connsiteX21" fmla="*/ 178142 w 255727"/>
                <a:gd name="connsiteY21" fmla="*/ 138189 h 255600"/>
                <a:gd name="connsiteX22" fmla="*/ 192175 w 255727"/>
                <a:gd name="connsiteY22" fmla="*/ 138182 h 255600"/>
                <a:gd name="connsiteX23" fmla="*/ 252774 w 255727"/>
                <a:gd name="connsiteY23" fmla="*/ 77584 h 255600"/>
                <a:gd name="connsiteX24" fmla="*/ 252774 w 255727"/>
                <a:gd name="connsiteY24" fmla="*/ 63309 h 255600"/>
                <a:gd name="connsiteX25" fmla="*/ 192175 w 255727"/>
                <a:gd name="connsiteY25" fmla="*/ 2711 h 2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5727" h="255600">
                  <a:moveTo>
                    <a:pt x="192175" y="2711"/>
                  </a:moveTo>
                  <a:cubicBezTo>
                    <a:pt x="188095" y="-1092"/>
                    <a:pt x="181704" y="-866"/>
                    <a:pt x="177901" y="3215"/>
                  </a:cubicBezTo>
                  <a:cubicBezTo>
                    <a:pt x="174286" y="7093"/>
                    <a:pt x="174286" y="13106"/>
                    <a:pt x="177901" y="16985"/>
                  </a:cubicBezTo>
                  <a:lnTo>
                    <a:pt x="221262" y="60347"/>
                  </a:lnTo>
                  <a:lnTo>
                    <a:pt x="117706" y="60347"/>
                  </a:lnTo>
                  <a:cubicBezTo>
                    <a:pt x="86098" y="60347"/>
                    <a:pt x="60474" y="85970"/>
                    <a:pt x="60474" y="117579"/>
                  </a:cubicBezTo>
                  <a:lnTo>
                    <a:pt x="60474" y="221121"/>
                  </a:lnTo>
                  <a:lnTo>
                    <a:pt x="17113" y="177760"/>
                  </a:lnTo>
                  <a:cubicBezTo>
                    <a:pt x="13099" y="173887"/>
                    <a:pt x="6705" y="174001"/>
                    <a:pt x="2832" y="178014"/>
                  </a:cubicBezTo>
                  <a:cubicBezTo>
                    <a:pt x="-947" y="181930"/>
                    <a:pt x="-944" y="188135"/>
                    <a:pt x="2838" y="192047"/>
                  </a:cubicBezTo>
                  <a:lnTo>
                    <a:pt x="63437" y="252646"/>
                  </a:lnTo>
                  <a:cubicBezTo>
                    <a:pt x="67380" y="256585"/>
                    <a:pt x="73768" y="256585"/>
                    <a:pt x="77711" y="252646"/>
                  </a:cubicBezTo>
                  <a:lnTo>
                    <a:pt x="138310" y="192047"/>
                  </a:lnTo>
                  <a:cubicBezTo>
                    <a:pt x="142390" y="188244"/>
                    <a:pt x="142616" y="181853"/>
                    <a:pt x="138813" y="177773"/>
                  </a:cubicBezTo>
                  <a:cubicBezTo>
                    <a:pt x="135011" y="173693"/>
                    <a:pt x="128621" y="173467"/>
                    <a:pt x="124539" y="177269"/>
                  </a:cubicBezTo>
                  <a:cubicBezTo>
                    <a:pt x="124365" y="177431"/>
                    <a:pt x="124197" y="177599"/>
                    <a:pt x="124035" y="177773"/>
                  </a:cubicBezTo>
                  <a:lnTo>
                    <a:pt x="80674" y="221135"/>
                  </a:lnTo>
                  <a:lnTo>
                    <a:pt x="80674" y="117579"/>
                  </a:lnTo>
                  <a:cubicBezTo>
                    <a:pt x="80674" y="97126"/>
                    <a:pt x="97254" y="80546"/>
                    <a:pt x="117706" y="80546"/>
                  </a:cubicBezTo>
                  <a:lnTo>
                    <a:pt x="221249" y="80546"/>
                  </a:lnTo>
                  <a:lnTo>
                    <a:pt x="177887" y="123908"/>
                  </a:lnTo>
                  <a:cubicBezTo>
                    <a:pt x="174014" y="127922"/>
                    <a:pt x="174129" y="134316"/>
                    <a:pt x="178142" y="138189"/>
                  </a:cubicBezTo>
                  <a:cubicBezTo>
                    <a:pt x="182058" y="141967"/>
                    <a:pt x="188263" y="141965"/>
                    <a:pt x="192175" y="138182"/>
                  </a:cubicBezTo>
                  <a:lnTo>
                    <a:pt x="252774" y="77584"/>
                  </a:lnTo>
                  <a:cubicBezTo>
                    <a:pt x="256713" y="73640"/>
                    <a:pt x="256713" y="67252"/>
                    <a:pt x="252774" y="63309"/>
                  </a:cubicBezTo>
                  <a:lnTo>
                    <a:pt x="192175" y="2711"/>
                  </a:ln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grpSp>
        <p:nvGrpSpPr>
          <p:cNvPr id="2" name="Group 1">
            <a:extLst>
              <a:ext uri="{FF2B5EF4-FFF2-40B4-BE49-F238E27FC236}">
                <a16:creationId xmlns:a16="http://schemas.microsoft.com/office/drawing/2014/main" id="{1996D1B4-F7D8-85E9-0D16-766896267632}"/>
              </a:ext>
              <a:ext uri="{C183D7F6-B498-43B3-948B-1728B52AA6E4}">
                <adec:decorative xmlns:adec="http://schemas.microsoft.com/office/drawing/2017/decorative" val="1"/>
              </a:ext>
            </a:extLst>
          </p:cNvPr>
          <p:cNvGrpSpPr/>
          <p:nvPr/>
        </p:nvGrpSpPr>
        <p:grpSpPr>
          <a:xfrm>
            <a:off x="-12700" y="3137432"/>
            <a:ext cx="345758" cy="2873086"/>
            <a:chOff x="-12701" y="2953256"/>
            <a:chExt cx="395877" cy="3289555"/>
          </a:xfrm>
          <a:solidFill>
            <a:schemeClr val="bg1">
              <a:lumMod val="65000"/>
            </a:schemeClr>
          </a:solidFill>
        </p:grpSpPr>
        <p:sp>
          <p:nvSpPr>
            <p:cNvPr id="3" name="Graphic 57">
              <a:extLst>
                <a:ext uri="{FF2B5EF4-FFF2-40B4-BE49-F238E27FC236}">
                  <a16:creationId xmlns:a16="http://schemas.microsoft.com/office/drawing/2014/main" id="{CEA9CBB4-9833-8B16-DEB7-C6FA0189D7DB}"/>
                </a:ext>
                <a:ext uri="{C183D7F6-B498-43B3-948B-1728B52AA6E4}">
                  <adec:decorative xmlns:adec="http://schemas.microsoft.com/office/drawing/2017/decorative" val="1"/>
                </a:ext>
              </a:extLst>
            </p:cNvPr>
            <p:cNvSpPr/>
            <p:nvPr/>
          </p:nvSpPr>
          <p:spPr>
            <a:xfrm>
              <a:off x="-12701" y="2953256"/>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bg1">
                <a:lumMod val="65000"/>
              </a:schemeClr>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MACC</a:t>
              </a:r>
            </a:p>
          </p:txBody>
        </p:sp>
        <p:sp>
          <p:nvSpPr>
            <p:cNvPr id="4" name="Graphic 57">
              <a:extLst>
                <a:ext uri="{FF2B5EF4-FFF2-40B4-BE49-F238E27FC236}">
                  <a16:creationId xmlns:a16="http://schemas.microsoft.com/office/drawing/2014/main" id="{4ABB2EC2-02C0-CB63-1A7D-BE3DD28A9F70}"/>
                </a:ext>
              </a:extLst>
            </p:cNvPr>
            <p:cNvSpPr/>
            <p:nvPr/>
          </p:nvSpPr>
          <p:spPr>
            <a:xfrm>
              <a:off x="-12701" y="3788451"/>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rgbClr val="A6A6A6"/>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CSU/Unified</a:t>
              </a:r>
            </a:p>
          </p:txBody>
        </p:sp>
        <p:sp>
          <p:nvSpPr>
            <p:cNvPr id="5" name="Graphic 57">
              <a:extLst>
                <a:ext uri="{FF2B5EF4-FFF2-40B4-BE49-F238E27FC236}">
                  <a16:creationId xmlns:a16="http://schemas.microsoft.com/office/drawing/2014/main" id="{4081F702-4CE2-5AEB-E8BA-E5BCE437DD1D}"/>
                </a:ext>
              </a:extLst>
            </p:cNvPr>
            <p:cNvSpPr/>
            <p:nvPr/>
          </p:nvSpPr>
          <p:spPr>
            <a:xfrm>
              <a:off x="-12701" y="4623645"/>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grp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Security</a:t>
              </a:r>
            </a:p>
          </p:txBody>
        </p:sp>
        <p:sp>
          <p:nvSpPr>
            <p:cNvPr id="7" name="Graphic 57">
              <a:extLst>
                <a:ext uri="{FF2B5EF4-FFF2-40B4-BE49-F238E27FC236}">
                  <a16:creationId xmlns:a16="http://schemas.microsoft.com/office/drawing/2014/main" id="{C0D61221-3952-5031-EBD5-313A095E108F}"/>
                </a:ext>
              </a:extLst>
            </p:cNvPr>
            <p:cNvSpPr/>
            <p:nvPr/>
          </p:nvSpPr>
          <p:spPr>
            <a:xfrm>
              <a:off x="-12701" y="5458840"/>
              <a:ext cx="395877" cy="783971"/>
            </a:xfrm>
            <a:custGeom>
              <a:avLst/>
              <a:gdLst>
                <a:gd name="connsiteX0" fmla="*/ 21683 w 310125"/>
                <a:gd name="connsiteY0" fmla="*/ -229 h 781050"/>
                <a:gd name="connsiteX1" fmla="*/ 135480 w 310125"/>
                <a:gd name="connsiteY1" fmla="*/ -229 h 781050"/>
                <a:gd name="connsiteX2" fmla="*/ 165258 w 310125"/>
                <a:gd name="connsiteY2" fmla="*/ 19888 h 781050"/>
                <a:gd name="connsiteX3" fmla="*/ 306230 w 310125"/>
                <a:gd name="connsiteY3" fmla="*/ 370179 h 781050"/>
                <a:gd name="connsiteX4" fmla="*/ 306230 w 310125"/>
                <a:gd name="connsiteY4" fmla="*/ 410413 h 781050"/>
                <a:gd name="connsiteX5" fmla="*/ 165258 w 310125"/>
                <a:gd name="connsiteY5" fmla="*/ 760704 h 781050"/>
                <a:gd name="connsiteX6" fmla="*/ 135480 w 310125"/>
                <a:gd name="connsiteY6" fmla="*/ 780821 h 781050"/>
                <a:gd name="connsiteX7" fmla="*/ 21683 w 310125"/>
                <a:gd name="connsiteY7" fmla="*/ 780821 h 781050"/>
                <a:gd name="connsiteX8" fmla="*/ 0 w 310125"/>
                <a:gd name="connsiteY8" fmla="*/ 759142 h 781050"/>
                <a:gd name="connsiteX9" fmla="*/ 0 w 310125"/>
                <a:gd name="connsiteY9" fmla="*/ 21450 h 781050"/>
                <a:gd name="connsiteX10" fmla="*/ 21683 w 310125"/>
                <a:gd name="connsiteY10" fmla="*/ -229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25" h="781050">
                  <a:moveTo>
                    <a:pt x="21683" y="-229"/>
                  </a:moveTo>
                  <a:lnTo>
                    <a:pt x="135480" y="-229"/>
                  </a:lnTo>
                  <a:cubicBezTo>
                    <a:pt x="148580" y="-229"/>
                    <a:pt x="160367" y="7734"/>
                    <a:pt x="165258" y="19888"/>
                  </a:cubicBezTo>
                  <a:lnTo>
                    <a:pt x="306230" y="370179"/>
                  </a:lnTo>
                  <a:cubicBezTo>
                    <a:pt x="311425" y="383086"/>
                    <a:pt x="311425" y="397506"/>
                    <a:pt x="306230" y="410413"/>
                  </a:cubicBezTo>
                  <a:lnTo>
                    <a:pt x="165258" y="760704"/>
                  </a:lnTo>
                  <a:cubicBezTo>
                    <a:pt x="160367" y="772858"/>
                    <a:pt x="148580" y="780821"/>
                    <a:pt x="135480" y="780821"/>
                  </a:cubicBezTo>
                  <a:lnTo>
                    <a:pt x="21683" y="780821"/>
                  </a:lnTo>
                  <a:cubicBezTo>
                    <a:pt x="9708" y="780821"/>
                    <a:pt x="0" y="771115"/>
                    <a:pt x="0" y="759142"/>
                  </a:cubicBezTo>
                  <a:lnTo>
                    <a:pt x="0" y="21450"/>
                  </a:lnTo>
                  <a:cubicBezTo>
                    <a:pt x="0" y="9477"/>
                    <a:pt x="9708" y="-229"/>
                    <a:pt x="21683" y="-229"/>
                  </a:cubicBezTo>
                  <a:close/>
                </a:path>
              </a:pathLst>
            </a:custGeom>
            <a:solidFill>
              <a:schemeClr val="accent1"/>
            </a:solidFill>
            <a:ln w="9525" cap="flat">
              <a:noFill/>
              <a:prstDash val="solid"/>
              <a:miter/>
            </a:ln>
          </p:spPr>
          <p:txBody>
            <a:bodyPr vert="vert270" rIns="173736"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Semibold"/>
                  <a:ea typeface="+mn-ea"/>
                  <a:cs typeface="+mn-cs"/>
                </a:rPr>
                <a:t>GitHub</a:t>
              </a:r>
            </a:p>
          </p:txBody>
        </p:sp>
      </p:grpSp>
      <p:grpSp>
        <p:nvGrpSpPr>
          <p:cNvPr id="8" name="Group 7">
            <a:extLst>
              <a:ext uri="{FF2B5EF4-FFF2-40B4-BE49-F238E27FC236}">
                <a16:creationId xmlns:a16="http://schemas.microsoft.com/office/drawing/2014/main" id="{3956B98C-C469-9246-4BE9-B452A25929F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0" name="Table 2 Cell 1, 1 to Text">
              <a:extLst>
                <a:ext uri="{FF2B5EF4-FFF2-40B4-BE49-F238E27FC236}">
                  <a16:creationId xmlns:a16="http://schemas.microsoft.com/office/drawing/2014/main" id="{781AB613-B07D-FBA8-F8B7-E07EA5880194}"/>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1" name="Table 2 Cell 2, 1 to Text">
              <a:extLst>
                <a:ext uri="{FF2B5EF4-FFF2-40B4-BE49-F238E27FC236}">
                  <a16:creationId xmlns:a16="http://schemas.microsoft.com/office/drawing/2014/main" id="{58880BBB-F51F-057F-97BC-A2C70D30CB2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12" name="Table 2 Cell 3, 1 to Text">
              <a:extLst>
                <a:ext uri="{FF2B5EF4-FFF2-40B4-BE49-F238E27FC236}">
                  <a16:creationId xmlns:a16="http://schemas.microsoft.com/office/drawing/2014/main" id="{93CB561B-A992-0EA5-874A-51C6E383883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3" name="Table 2 Cell 4, 1 to Text">
              <a:extLst>
                <a:ext uri="{FF2B5EF4-FFF2-40B4-BE49-F238E27FC236}">
                  <a16:creationId xmlns:a16="http://schemas.microsoft.com/office/drawing/2014/main" id="{3F9605BB-FE85-9B15-13A4-7660325119DF}"/>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4" name="Table 2 Cell 5, 1 to Text">
              <a:extLst>
                <a:ext uri="{FF2B5EF4-FFF2-40B4-BE49-F238E27FC236}">
                  <a16:creationId xmlns:a16="http://schemas.microsoft.com/office/drawing/2014/main" id="{45D020E8-74E2-EE5F-DACE-44071CAE69AE}"/>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5" name="Table 2 Cell 6, 1 to Text">
              <a:extLst>
                <a:ext uri="{FF2B5EF4-FFF2-40B4-BE49-F238E27FC236}">
                  <a16:creationId xmlns:a16="http://schemas.microsoft.com/office/drawing/2014/main" id="{80FC082B-7E05-509A-10AC-9C7BF72B092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6" name="Table 2 Cell 7, 1 to Text">
              <a:extLst>
                <a:ext uri="{FF2B5EF4-FFF2-40B4-BE49-F238E27FC236}">
                  <a16:creationId xmlns:a16="http://schemas.microsoft.com/office/drawing/2014/main" id="{518115E2-E667-285C-700B-46601CC75EEA}"/>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7" name="Table 2 Cell 1, 2 to Text">
              <a:extLst>
                <a:ext uri="{FF2B5EF4-FFF2-40B4-BE49-F238E27FC236}">
                  <a16:creationId xmlns:a16="http://schemas.microsoft.com/office/drawing/2014/main" id="{3F88455D-EF41-97DD-E34C-9B4ECCCBA4DF}"/>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18" name="Table 2 Cell 1, 3 to Text">
              <a:extLst>
                <a:ext uri="{FF2B5EF4-FFF2-40B4-BE49-F238E27FC236}">
                  <a16:creationId xmlns:a16="http://schemas.microsoft.com/office/drawing/2014/main" id="{4456561B-1190-FF76-E085-CA3DEF0685C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19" name="Table 2 Cell 1, 4 to Text">
              <a:extLst>
                <a:ext uri="{FF2B5EF4-FFF2-40B4-BE49-F238E27FC236}">
                  <a16:creationId xmlns:a16="http://schemas.microsoft.com/office/drawing/2014/main" id="{2E11141E-6037-200E-F741-BD989BFAC80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24" name="Table 2 Cell 1, 5 to Text">
              <a:extLst>
                <a:ext uri="{FF2B5EF4-FFF2-40B4-BE49-F238E27FC236}">
                  <a16:creationId xmlns:a16="http://schemas.microsoft.com/office/drawing/2014/main" id="{0A24C2BB-5112-8D3C-D6FD-B94DC88479A0}"/>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4 Sales Model &amp; Role Changes</a:t>
              </a:r>
            </a:p>
          </p:txBody>
        </p:sp>
        <p:sp>
          <p:nvSpPr>
            <p:cNvPr id="28" name="Table 2 Cell 1, 6 to Text">
              <a:extLst>
                <a:ext uri="{FF2B5EF4-FFF2-40B4-BE49-F238E27FC236}">
                  <a16:creationId xmlns:a16="http://schemas.microsoft.com/office/drawing/2014/main" id="{0772884F-C52C-0A54-43CB-3EAF1482E29D}"/>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2.5 Key Offerings </a:t>
              </a:r>
            </a:p>
          </p:txBody>
        </p:sp>
        <p:sp>
          <p:nvSpPr>
            <p:cNvPr id="30" name="Table 2 Cell 1, 7 to Text">
              <a:extLst>
                <a:ext uri="{FF2B5EF4-FFF2-40B4-BE49-F238E27FC236}">
                  <a16:creationId xmlns:a16="http://schemas.microsoft.com/office/drawing/2014/main" id="{C8088EC2-3C70-DD97-F78C-CE1B77D8DBD8}"/>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6 KPIs &amp; Outcomes</a:t>
              </a:r>
            </a:p>
          </p:txBody>
        </p:sp>
        <p:sp>
          <p:nvSpPr>
            <p:cNvPr id="31" name="Table 2 Cell 1, 8 to Text">
              <a:extLst>
                <a:ext uri="{FF2B5EF4-FFF2-40B4-BE49-F238E27FC236}">
                  <a16:creationId xmlns:a16="http://schemas.microsoft.com/office/drawing/2014/main" id="{2133B526-92B7-1E32-4961-406C17E2001F}"/>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chemeClr val="bg1"/>
                  </a:solidFill>
                </a:rPr>
                <a:t>2.7 Orchestration</a:t>
              </a:r>
            </a:p>
          </p:txBody>
        </p:sp>
      </p:grpSp>
    </p:spTree>
    <p:extLst>
      <p:ext uri="{BB962C8B-B14F-4D97-AF65-F5344CB8AC3E}">
        <p14:creationId xmlns:p14="http://schemas.microsoft.com/office/powerpoint/2010/main" val="388109445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CBF5E-3399-DCC6-33CA-F5DDCA7BBF37}"/>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A6FE3A13-9616-7CD3-3038-2D225661C07E}"/>
              </a:ext>
            </a:extLst>
          </p:cNvPr>
          <p:cNvSpPr txBox="1">
            <a:spLocks noGrp="1"/>
          </p:cNvSpPr>
          <p:nvPr>
            <p:ph type="title"/>
          </p:nvPr>
        </p:nvSpPr>
        <p:spPr>
          <a:xfrm>
            <a:off x="304798" y="457200"/>
            <a:ext cx="8778242"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Infra </a:t>
            </a:r>
            <a:br>
              <a:rPr lang="en-US" sz="2400" noProof="0">
                <a:sym typeface="Trebuchet MS" panose="020B0603020202020204" pitchFamily="34" charset="0"/>
              </a:rPr>
            </a:br>
            <a:r>
              <a:rPr lang="en-US" sz="2400" noProof="0">
                <a:sym typeface="Trebuchet MS" panose="020B0603020202020204" pitchFamily="34" charset="0"/>
              </a:rPr>
              <a:t>Cloud Solution Architect</a:t>
            </a:r>
          </a:p>
        </p:txBody>
      </p:sp>
      <p:sp>
        <p:nvSpPr>
          <p:cNvPr id="60" name="Rectangle: Rounded Corners 59">
            <a:extLst>
              <a:ext uri="{FF2B5EF4-FFF2-40B4-BE49-F238E27FC236}">
                <a16:creationId xmlns:a16="http://schemas.microsoft.com/office/drawing/2014/main" id="{3C9C314B-FE3A-B79B-E018-B9D328D4B44E}"/>
              </a:ext>
              <a:ext uri="{C183D7F6-B498-43B3-948B-1728B52AA6E4}">
                <adec:decorative xmlns:adec="http://schemas.microsoft.com/office/drawing/2017/decorative" val="0"/>
              </a:ext>
            </a:extLst>
          </p:cNvPr>
          <p:cNvSpPr/>
          <p:nvPr/>
        </p:nvSpPr>
        <p:spPr>
          <a:xfrm>
            <a:off x="9906970" y="442913"/>
            <a:ext cx="198851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FY25 Infra/SAP Solution Architect </a:t>
            </a:r>
            <a:br>
              <a:rPr kumimoji="0" lang="en-US" sz="700" b="0" i="0" u="none" strike="noStrike" kern="1200" cap="none" spc="0" normalizeH="0" baseline="0" noProof="0">
                <a:ln>
                  <a:noFill/>
                </a:ln>
                <a:solidFill>
                  <a:srgbClr val="2A446F"/>
                </a:solidFill>
                <a:effectLst/>
                <a:uLnTx/>
                <a:uFillTx/>
                <a:latin typeface="Segoe Sans Text Semibold"/>
                <a:ea typeface="+mn-ea"/>
                <a:cs typeface="+mn-cs"/>
              </a:rPr>
            </a:b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Infra Solution Architect</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 </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ENT</a:t>
            </a:r>
          </a:p>
        </p:txBody>
      </p:sp>
      <p:sp>
        <p:nvSpPr>
          <p:cNvPr id="33" name="Rectangle: Rounded Corners 32">
            <a:extLst>
              <a:ext uri="{FF2B5EF4-FFF2-40B4-BE49-F238E27FC236}">
                <a16:creationId xmlns:a16="http://schemas.microsoft.com/office/drawing/2014/main" id="{4B903719-2853-A6FA-1BA7-BB8A27F8A03F}"/>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4" name="Rectangle: Rounded Corners 33">
            <a:extLst>
              <a:ext uri="{FF2B5EF4-FFF2-40B4-BE49-F238E27FC236}">
                <a16:creationId xmlns:a16="http://schemas.microsoft.com/office/drawing/2014/main" id="{CE9A5018-F507-7BD3-2FB4-C1D883E10167}"/>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9D245284-4987-26BD-8E6D-975A5E2AA6FE}"/>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6" name="Rectangle: Rounded Corners 35">
            <a:extLst>
              <a:ext uri="{FF2B5EF4-FFF2-40B4-BE49-F238E27FC236}">
                <a16:creationId xmlns:a16="http://schemas.microsoft.com/office/drawing/2014/main" id="{76B1ABBD-1039-FDEA-66BE-B6C929640E58}"/>
              </a:ext>
            </a:extLst>
          </p:cNvPr>
          <p:cNvSpPr/>
          <p:nvPr/>
        </p:nvSpPr>
        <p:spPr>
          <a:xfrm>
            <a:off x="304799" y="1200266"/>
            <a:ext cx="3266414"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Infra CSA is the accountable for delivering migration &amp; modernization, ensuring secure and resilient architecture, and preparing customers for production AI at scal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nd Unified opportunities across all Cloud &amp; AI</a:t>
            </a:r>
          </a:p>
        </p:txBody>
      </p:sp>
      <p:sp>
        <p:nvSpPr>
          <p:cNvPr id="39" name="Rectangle 38">
            <a:extLst>
              <a:ext uri="{FF2B5EF4-FFF2-40B4-BE49-F238E27FC236}">
                <a16:creationId xmlns:a16="http://schemas.microsoft.com/office/drawing/2014/main" id="{2069B468-DE82-5C8E-F8E7-6A1491F6ADC7}"/>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7" name="TextBox 36">
            <a:extLst>
              <a:ext uri="{FF2B5EF4-FFF2-40B4-BE49-F238E27FC236}">
                <a16:creationId xmlns:a16="http://schemas.microsoft.com/office/drawing/2014/main" id="{902AB2D5-3499-7E9E-6CB4-D7D60A7E9A24}"/>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graphicFrame>
        <p:nvGraphicFramePr>
          <p:cNvPr id="2" name="Table 1">
            <a:extLst>
              <a:ext uri="{FF2B5EF4-FFF2-40B4-BE49-F238E27FC236}">
                <a16:creationId xmlns:a16="http://schemas.microsoft.com/office/drawing/2014/main" id="{AF722455-6A7C-B98C-94A5-BAA3B05E28C6}"/>
              </a:ext>
            </a:extLst>
          </p:cNvPr>
          <p:cNvGraphicFramePr>
            <a:graphicFrameLocks noGrp="1"/>
          </p:cNvGraphicFramePr>
          <p:nvPr>
            <p:extLst>
              <p:ext uri="{D42A27DB-BD31-4B8C-83A1-F6EECF244321}">
                <p14:modId xmlns:p14="http://schemas.microsoft.com/office/powerpoint/2010/main" val="2256151385"/>
              </p:ext>
            </p:extLst>
          </p:nvPr>
        </p:nvGraphicFramePr>
        <p:xfrm>
          <a:off x="3674366" y="1541398"/>
          <a:ext cx="8247674" cy="2470913"/>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1939290">
                  <a:extLst>
                    <a:ext uri="{9D8B030D-6E8A-4147-A177-3AD203B41FA5}">
                      <a16:colId xmlns:a16="http://schemas.microsoft.com/office/drawing/2014/main" val="88879238"/>
                    </a:ext>
                  </a:extLst>
                </a:gridCol>
                <a:gridCol w="5654590">
                  <a:extLst>
                    <a:ext uri="{9D8B030D-6E8A-4147-A177-3AD203B41FA5}">
                      <a16:colId xmlns:a16="http://schemas.microsoft.com/office/drawing/2014/main" val="707651252"/>
                    </a:ext>
                  </a:extLst>
                </a:gridCol>
              </a:tblGrid>
              <a:tr h="202970">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709859">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2C in 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2C results for Enterprise; drive hands-on engagement in Unified accounts and oversight for risk mitigation in non-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4946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Ready networking and infrastructure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Infrastruct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Infrastructur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70861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Infrastructure Migratio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CAF/WAF, networking, storage, monitor, resilienc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I Ready</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None/>
                      </a:pPr>
                      <a:r>
                        <a:rPr lang="en-US" sz="700" b="0" i="0" u="none" strike="noStrike" kern="1200" cap="none" spc="0" normalizeH="0" baseline="0">
                          <a:solidFill>
                            <a:schemeClr val="tx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pplication</a:t>
                      </a:r>
                      <a:r>
                        <a:rPr lang="en-US" sz="700" b="0" i="0" u="none" strike="noStrike" kern="1200" cap="none" spc="0" normalizeH="0" baseline="0">
                          <a:solidFill>
                            <a:schemeClr val="tx1"/>
                          </a:solidFill>
                          <a:latin typeface="+mn-lt"/>
                          <a:ea typeface="+mn-ea"/>
                          <a:cs typeface="Segoe Sans Text" pitchFamily="2" charset="0"/>
                        </a:rPr>
                        <a:t>, Infrastructure, and </a:t>
                      </a:r>
                      <a:r>
                        <a:rPr lang="en-US" sz="700" b="0" i="0" u="none" strike="noStrike" kern="1200" cap="none" spc="0" normalizeH="0" baseline="0">
                          <a:solidFill>
                            <a:schemeClr val="accent1"/>
                          </a:solidFill>
                          <a:latin typeface="+mn-lt"/>
                          <a:ea typeface="+mn-ea"/>
                          <a:cs typeface="Segoe Sans Text" pitchFamily="2" charset="0"/>
                        </a:rPr>
                        <a:t>Database </a:t>
                      </a:r>
                      <a:r>
                        <a:rPr lang="en-US" sz="700" b="0" i="0" u="none" strike="noStrike" kern="1200" cap="none" spc="0" normalizeH="0" baseline="0">
                          <a:solidFill>
                            <a:schemeClr val="tx1"/>
                          </a:solidFill>
                          <a:latin typeface="+mn-lt"/>
                          <a:ea typeface="+mn-ea"/>
                          <a:cs typeface="Segoe Sans Text" pitchFamily="2" charset="0"/>
                        </a:rPr>
                        <a:t>Migration &amp;</a:t>
                      </a:r>
                      <a:r>
                        <a:rPr lang="en-US" sz="700" b="0" i="0" u="none" strike="noStrike" kern="1200" cap="none" spc="0" normalizeH="0" baseline="0">
                          <a:solidFill>
                            <a:schemeClr val="accent1"/>
                          </a:solidFill>
                          <a:latin typeface="+mn-lt"/>
                          <a:ea typeface="+mn-ea"/>
                          <a:cs typeface="Segoe Sans Text" pitchFamily="2" charset="0"/>
                        </a:rPr>
                        <a:t> Modernization</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Defender for Cloud</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AF/WAF, networking, storage, monitor, resiliency</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Ready</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40" name="Graphic 13">
            <a:extLst>
              <a:ext uri="{FF2B5EF4-FFF2-40B4-BE49-F238E27FC236}">
                <a16:creationId xmlns:a16="http://schemas.microsoft.com/office/drawing/2014/main" id="{5F9BFF21-B00B-9234-C7D9-4B4CFCB731FC}"/>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1" name="Graphic 40">
            <a:extLst>
              <a:ext uri="{FF2B5EF4-FFF2-40B4-BE49-F238E27FC236}">
                <a16:creationId xmlns:a16="http://schemas.microsoft.com/office/drawing/2014/main" id="{B1ED8358-F5BC-4AB4-73C4-0AED3B8A254C}"/>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sp>
        <p:nvSpPr>
          <p:cNvPr id="4" name="Rectangle: Rounded Corners 3">
            <a:extLst>
              <a:ext uri="{FF2B5EF4-FFF2-40B4-BE49-F238E27FC236}">
                <a16:creationId xmlns:a16="http://schemas.microsoft.com/office/drawing/2014/main" id="{38746EE4-3A2A-B69D-C5F3-ECF1FC5869FF}"/>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 name="Rectangle: Rounded Corners 4">
            <a:extLst>
              <a:ext uri="{FF2B5EF4-FFF2-40B4-BE49-F238E27FC236}">
                <a16:creationId xmlns:a16="http://schemas.microsoft.com/office/drawing/2014/main" id="{D11F6D50-3C83-B98C-4EC3-CA6E03648081}"/>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 name="Rectangle 5">
            <a:extLst>
              <a:ext uri="{FF2B5EF4-FFF2-40B4-BE49-F238E27FC236}">
                <a16:creationId xmlns:a16="http://schemas.microsoft.com/office/drawing/2014/main" id="{55E83B1C-D026-8CBC-5185-52781B75E501}"/>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7" name="Graphic 73">
            <a:extLst>
              <a:ext uri="{FF2B5EF4-FFF2-40B4-BE49-F238E27FC236}">
                <a16:creationId xmlns:a16="http://schemas.microsoft.com/office/drawing/2014/main" id="{53C351A2-8A59-44F1-728F-3C94BECA0458}"/>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 name="TextBox 7">
            <a:extLst>
              <a:ext uri="{FF2B5EF4-FFF2-40B4-BE49-F238E27FC236}">
                <a16:creationId xmlns:a16="http://schemas.microsoft.com/office/drawing/2014/main" id="{6567D0BB-BE40-9722-DB4C-36C2B9E05392}"/>
              </a:ext>
            </a:extLst>
          </p:cNvPr>
          <p:cNvSpPr txBox="1"/>
          <p:nvPr/>
        </p:nvSpPr>
        <p:spPr>
          <a:xfrm>
            <a:off x="425445" y="4478878"/>
            <a:ext cx="2065343" cy="2616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igrate &amp; Modernize </a:t>
            </a:r>
            <a:b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b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your Estate</a:t>
            </a:r>
            <a:endParaRPr kumimoji="0" lang="en-US" sz="9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2" name="TextBox 21">
            <a:extLst>
              <a:ext uri="{FF2B5EF4-FFF2-40B4-BE49-F238E27FC236}">
                <a16:creationId xmlns:a16="http://schemas.microsoft.com/office/drawing/2014/main" id="{39D14131-9FFA-F188-6CFD-68D6027C6BE3}"/>
              </a:ext>
            </a:extLst>
          </p:cNvPr>
          <p:cNvSpPr txBox="1"/>
          <p:nvPr/>
        </p:nvSpPr>
        <p:spPr>
          <a:xfrm>
            <a:off x="425445" y="4794161"/>
            <a:ext cx="2065343"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cloudaicsu</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ECC84693-AB1A-92C9-7F83-025B521F88E3}"/>
              </a:ext>
            </a:extLst>
          </p:cNvPr>
          <p:cNvSpPr txBox="1"/>
          <p:nvPr/>
        </p:nvSpPr>
        <p:spPr>
          <a:xfrm>
            <a:off x="425445" y="5109444"/>
            <a:ext cx="206534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Cloud Accelerate Factory, SAP RAP and Azure Essentials (incl Proactive Resiliency)</a:t>
            </a:r>
          </a:p>
        </p:txBody>
      </p:sp>
      <p:sp>
        <p:nvSpPr>
          <p:cNvPr id="24" name="TextBox 23">
            <a:extLst>
              <a:ext uri="{FF2B5EF4-FFF2-40B4-BE49-F238E27FC236}">
                <a16:creationId xmlns:a16="http://schemas.microsoft.com/office/drawing/2014/main" id="{46BB4A5F-275D-7C2B-8344-F4906EAAC2B4}"/>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Content/Asse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10" name="Rectangle: Rounded Corners 9">
            <a:extLst>
              <a:ext uri="{FF2B5EF4-FFF2-40B4-BE49-F238E27FC236}">
                <a16:creationId xmlns:a16="http://schemas.microsoft.com/office/drawing/2014/main" id="{AE3290E6-8191-13E9-B016-E266EABABC56}"/>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1" name="Rectangle: Rounded Corners 10">
            <a:extLst>
              <a:ext uri="{FF2B5EF4-FFF2-40B4-BE49-F238E27FC236}">
                <a16:creationId xmlns:a16="http://schemas.microsoft.com/office/drawing/2014/main" id="{3D836C57-5C86-DE2F-0C63-1E11B5505450}"/>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Rectangle: Rounded Corners 12">
            <a:extLst>
              <a:ext uri="{FF2B5EF4-FFF2-40B4-BE49-F238E27FC236}">
                <a16:creationId xmlns:a16="http://schemas.microsoft.com/office/drawing/2014/main" id="{875484EE-BFE7-2FBA-D8B4-5E48B7CA72BB}"/>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4" name="Rectangle: Rounded Corners 13">
            <a:extLst>
              <a:ext uri="{FF2B5EF4-FFF2-40B4-BE49-F238E27FC236}">
                <a16:creationId xmlns:a16="http://schemas.microsoft.com/office/drawing/2014/main" id="{FCE526F8-2C2A-F791-ACBC-6796FA59C32D}"/>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Rectangle 14">
            <a:extLst>
              <a:ext uri="{FF2B5EF4-FFF2-40B4-BE49-F238E27FC236}">
                <a16:creationId xmlns:a16="http://schemas.microsoft.com/office/drawing/2014/main" id="{464D0497-60B8-78CD-9BD0-F43DD81FA20C}"/>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sp>
        <p:nvSpPr>
          <p:cNvPr id="16" name="TextBox 15">
            <a:extLst>
              <a:ext uri="{FF2B5EF4-FFF2-40B4-BE49-F238E27FC236}">
                <a16:creationId xmlns:a16="http://schemas.microsoft.com/office/drawing/2014/main" id="{BB1DD697-A9EA-AB81-534F-17B3701ADAFF}"/>
              </a:ext>
            </a:extLst>
          </p:cNvPr>
          <p:cNvSpPr txBox="1"/>
          <p:nvPr/>
        </p:nvSpPr>
        <p:spPr>
          <a:xfrm>
            <a:off x="2777298" y="4497928"/>
            <a:ext cx="4629342"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17" name="TextBox 16">
            <a:extLst>
              <a:ext uri="{FF2B5EF4-FFF2-40B4-BE49-F238E27FC236}">
                <a16:creationId xmlns:a16="http://schemas.microsoft.com/office/drawing/2014/main" id="{8EA22E4C-5353-C991-03AE-641918670C20}"/>
              </a:ext>
            </a:extLst>
          </p:cNvPr>
          <p:cNvSpPr txBox="1"/>
          <p:nvPr/>
        </p:nvSpPr>
        <p:spPr>
          <a:xfrm>
            <a:off x="2777298" y="4935441"/>
            <a:ext cx="5065776" cy="1561966"/>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Job 1: 95% C2C rate; 95% own of C2C milestone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lvl="1" indent="-90170">
              <a:spcAft>
                <a:spcPts val="200"/>
              </a:spcAft>
              <a:buClr>
                <a:srgbClr val="000000"/>
              </a:buClr>
              <a:buSzPct val="100000"/>
              <a:buFont typeface="Arial" panose="020B0604020202020204" pitchFamily="34" charset="0"/>
              <a:buChar char="•"/>
              <a:defRPr/>
            </a:pPr>
            <a:r>
              <a:rPr lang="en-US" sz="800">
                <a:solidFill>
                  <a:srgbClr val="000000"/>
                </a:solidFill>
                <a:ea typeface="Calibri"/>
                <a:cs typeface="Calibri"/>
              </a:rPr>
              <a:t>Contribute to 20% for total Completed Pipeline created against quarterly Net New Required budget by territory</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Ensure positive MACC Pipeline Based Outlook (FY PBO VTT) and Variance to Expectation (Life to FY PBO VTE) in EOU</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in EOU: Customer Funded delivery Mix VTT &gt; 0; Repeatable Delivery VTT &gt; 0; On Strategy delivery mix VTT &gt; 0</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Factory Oversight: Shared accountability for Factory Target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p:txBody>
      </p:sp>
      <p:pic>
        <p:nvPicPr>
          <p:cNvPr id="18" name="Graphic 17">
            <a:extLst>
              <a:ext uri="{FF2B5EF4-FFF2-40B4-BE49-F238E27FC236}">
                <a16:creationId xmlns:a16="http://schemas.microsoft.com/office/drawing/2014/main" id="{4AB43A9A-3153-CE98-B3C2-99F4E4E18C71}"/>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19" name="Group 18">
            <a:extLst>
              <a:ext uri="{FF2B5EF4-FFF2-40B4-BE49-F238E27FC236}">
                <a16:creationId xmlns:a16="http://schemas.microsoft.com/office/drawing/2014/main" id="{4061A383-DC6A-D684-A8DD-4416216898ED}"/>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20" name="Rectangle 19">
              <a:extLst>
                <a:ext uri="{FF2B5EF4-FFF2-40B4-BE49-F238E27FC236}">
                  <a16:creationId xmlns:a16="http://schemas.microsoft.com/office/drawing/2014/main" id="{7A13B279-DBA4-C7EF-16DA-BA7A84A064BD}"/>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21" name="Graphic 20">
              <a:extLst>
                <a:ext uri="{FF2B5EF4-FFF2-40B4-BE49-F238E27FC236}">
                  <a16:creationId xmlns:a16="http://schemas.microsoft.com/office/drawing/2014/main" id="{2FA7182B-A0B9-9550-BE9E-280214054D9C}"/>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0" name="TextBox 49">
            <a:extLst>
              <a:ext uri="{FF2B5EF4-FFF2-40B4-BE49-F238E27FC236}">
                <a16:creationId xmlns:a16="http://schemas.microsoft.com/office/drawing/2014/main" id="{EA7E5A4A-1C86-C7F0-B7C2-02078E9F657B}"/>
              </a:ext>
            </a:extLst>
          </p:cNvPr>
          <p:cNvSpPr txBox="1"/>
          <p:nvPr/>
        </p:nvSpPr>
        <p:spPr>
          <a:xfrm>
            <a:off x="8100059" y="4497928"/>
            <a:ext cx="3787141" cy="1656864"/>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Infra Migration</a:t>
            </a: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Windows Server VMs, Linux VMs, Azure Arc, Azure VMware Solution (AVS), Azure Arc, RISE with SAP, M-Series Azure VMs, HPC</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ata Migration &amp; Modernization</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SQL, Azure Database for PostgreSQL, Azure Database for MySQL</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pp Modernization</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Kubernetes Service (AKS), App Service, Azure Container Apps, Azure Red Hat OpenShift (ARO)</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Security</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Defender for Cloud, Network Security</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CAF + WAF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e.g., landing zones, WARA, networking, storage, monitor, backup/DR, resiliency etc.)</a:t>
            </a:r>
          </a:p>
        </p:txBody>
      </p:sp>
      <p:sp>
        <p:nvSpPr>
          <p:cNvPr id="61" name="TextBox 60">
            <a:extLst>
              <a:ext uri="{FF2B5EF4-FFF2-40B4-BE49-F238E27FC236}">
                <a16:creationId xmlns:a16="http://schemas.microsoft.com/office/drawing/2014/main" id="{6C815C09-8907-BC02-194C-D00DFF69A78A}"/>
              </a:ext>
            </a:extLst>
          </p:cNvPr>
          <p:cNvSpPr txBox="1"/>
          <p:nvPr/>
        </p:nvSpPr>
        <p:spPr>
          <a:xfrm>
            <a:off x="304800" y="6516001"/>
            <a:ext cx="3004667"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Implementation is subject to local legislation</a:t>
            </a:r>
          </a:p>
        </p:txBody>
      </p:sp>
      <p:grpSp>
        <p:nvGrpSpPr>
          <p:cNvPr id="46" name="Group 45">
            <a:extLst>
              <a:ext uri="{FF2B5EF4-FFF2-40B4-BE49-F238E27FC236}">
                <a16:creationId xmlns:a16="http://schemas.microsoft.com/office/drawing/2014/main" id="{62CCDAEB-AF3B-14FA-72AD-5AD272708CF8}"/>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7" name="Table 2 Cell 1, 1 to Text">
              <a:extLst>
                <a:ext uri="{FF2B5EF4-FFF2-40B4-BE49-F238E27FC236}">
                  <a16:creationId xmlns:a16="http://schemas.microsoft.com/office/drawing/2014/main" id="{0F8BBAF7-1799-9253-8216-B2EBF7D9F895}"/>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8" name="Table 2 Cell 2, 1 to Text">
              <a:extLst>
                <a:ext uri="{FF2B5EF4-FFF2-40B4-BE49-F238E27FC236}">
                  <a16:creationId xmlns:a16="http://schemas.microsoft.com/office/drawing/2014/main" id="{F7CB84BF-8B65-DC7B-F256-782A9766488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9" name="Table 2 Cell 3, 1 to Text">
              <a:extLst>
                <a:ext uri="{FF2B5EF4-FFF2-40B4-BE49-F238E27FC236}">
                  <a16:creationId xmlns:a16="http://schemas.microsoft.com/office/drawing/2014/main" id="{B41F7C83-361D-9F1B-8537-919A99A77E6B}"/>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51" name="Table 2 Cell 4, 1 to Text">
              <a:extLst>
                <a:ext uri="{FF2B5EF4-FFF2-40B4-BE49-F238E27FC236}">
                  <a16:creationId xmlns:a16="http://schemas.microsoft.com/office/drawing/2014/main" id="{721ECFA9-7FAB-503F-8815-90705E3F88C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2" name="Table 2 Cell 5, 1 to Text">
              <a:extLst>
                <a:ext uri="{FF2B5EF4-FFF2-40B4-BE49-F238E27FC236}">
                  <a16:creationId xmlns:a16="http://schemas.microsoft.com/office/drawing/2014/main" id="{CDDE83C5-98F7-CF8F-8D40-86D98931733E}"/>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53" name="Table 2 Cell 6, 1 to Text">
              <a:extLst>
                <a:ext uri="{FF2B5EF4-FFF2-40B4-BE49-F238E27FC236}">
                  <a16:creationId xmlns:a16="http://schemas.microsoft.com/office/drawing/2014/main" id="{85C507B0-8D56-4F13-FEEE-E8061EA3659D}"/>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4" name="Table 2 Cell 7, 1 to Text">
              <a:extLst>
                <a:ext uri="{FF2B5EF4-FFF2-40B4-BE49-F238E27FC236}">
                  <a16:creationId xmlns:a16="http://schemas.microsoft.com/office/drawing/2014/main" id="{121EED28-773B-E828-8B78-CB5A868AEB61}"/>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55" name="Table 2 Cell 1, 2 to Text">
              <a:extLst>
                <a:ext uri="{FF2B5EF4-FFF2-40B4-BE49-F238E27FC236}">
                  <a16:creationId xmlns:a16="http://schemas.microsoft.com/office/drawing/2014/main" id="{01EE700A-DA3F-E3F3-D292-FD4801104D27}"/>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3.1 Role Overview - Enterprise</a:t>
              </a:r>
            </a:p>
          </p:txBody>
        </p:sp>
        <p:sp>
          <p:nvSpPr>
            <p:cNvPr id="56" name="Table 2 Cell 1, 3 to Text">
              <a:extLst>
                <a:ext uri="{FF2B5EF4-FFF2-40B4-BE49-F238E27FC236}">
                  <a16:creationId xmlns:a16="http://schemas.microsoft.com/office/drawing/2014/main" id="{691217B4-0562-6560-D235-B3688B95335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57" name="Table 2 Cell 1, 4 to Text">
              <a:extLst>
                <a:ext uri="{FF2B5EF4-FFF2-40B4-BE49-F238E27FC236}">
                  <a16:creationId xmlns:a16="http://schemas.microsoft.com/office/drawing/2014/main" id="{E76F1C84-76A3-F135-F842-C39EF41180B0}"/>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58" name="Table 2 Cell 1, 5 to Text">
              <a:extLst>
                <a:ext uri="{FF2B5EF4-FFF2-40B4-BE49-F238E27FC236}">
                  <a16:creationId xmlns:a16="http://schemas.microsoft.com/office/drawing/2014/main" id="{023C5C0F-865D-85A6-CC77-4F4F6C258499}"/>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59" name="Table 2 Cell 1, 6 to Text">
              <a:extLst>
                <a:ext uri="{FF2B5EF4-FFF2-40B4-BE49-F238E27FC236}">
                  <a16:creationId xmlns:a16="http://schemas.microsoft.com/office/drawing/2014/main" id="{0A522EDC-8A32-ACCF-4C8F-DBCDFE96157D}"/>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74" name="Table 2 Cell 1, 7 to Text">
              <a:extLst>
                <a:ext uri="{FF2B5EF4-FFF2-40B4-BE49-F238E27FC236}">
                  <a16:creationId xmlns:a16="http://schemas.microsoft.com/office/drawing/2014/main" id="{2DC3CA39-57FA-F09F-9B5B-3F40E4475BF9}"/>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75" name="Table 2 Cell 1, 8 to Text">
              <a:extLst>
                <a:ext uri="{FF2B5EF4-FFF2-40B4-BE49-F238E27FC236}">
                  <a16:creationId xmlns:a16="http://schemas.microsoft.com/office/drawing/2014/main" id="{CC5B2D18-D0FD-FE73-0A8D-CB89ECE11F2D}"/>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32196432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EBD58-6F53-460F-83FD-8B54D2616D27}"/>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98AA1299-ABFE-F0DD-BD0D-40BA6C42DFD3}"/>
              </a:ext>
            </a:extLst>
          </p:cNvPr>
          <p:cNvSpPr txBox="1">
            <a:spLocks noGrp="1"/>
          </p:cNvSpPr>
          <p:nvPr>
            <p:ph type="title"/>
          </p:nvPr>
        </p:nvSpPr>
        <p:spPr>
          <a:xfrm>
            <a:off x="304798" y="457200"/>
            <a:ext cx="8778242"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Infra </a:t>
            </a:r>
            <a:br>
              <a:rPr lang="en-US" sz="2400" noProof="0">
                <a:sym typeface="Trebuchet MS" panose="020B0603020202020204" pitchFamily="34" charset="0"/>
              </a:rPr>
            </a:br>
            <a:r>
              <a:rPr lang="en-US" sz="2400" noProof="0">
                <a:sym typeface="Trebuchet MS" panose="020B0603020202020204" pitchFamily="34" charset="0"/>
              </a:rPr>
              <a:t>Cloud Solution Architect (SME&amp;C)</a:t>
            </a:r>
          </a:p>
        </p:txBody>
      </p:sp>
      <p:sp>
        <p:nvSpPr>
          <p:cNvPr id="60" name="Rectangle: Rounded Corners 59">
            <a:extLst>
              <a:ext uri="{FF2B5EF4-FFF2-40B4-BE49-F238E27FC236}">
                <a16:creationId xmlns:a16="http://schemas.microsoft.com/office/drawing/2014/main" id="{FB5140EB-09FA-FC16-136F-7B93F1B6314C}"/>
              </a:ext>
              <a:ext uri="{C183D7F6-B498-43B3-948B-1728B52AA6E4}">
                <adec:decorative xmlns:adec="http://schemas.microsoft.com/office/drawing/2017/decorative" val="0"/>
              </a:ext>
            </a:extLst>
          </p:cNvPr>
          <p:cNvSpPr/>
          <p:nvPr/>
        </p:nvSpPr>
        <p:spPr>
          <a:xfrm>
            <a:off x="9083040" y="442913"/>
            <a:ext cx="281244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Y25 Infra/SAP Solution Architect </a:t>
            </a:r>
            <a:br>
              <a:rPr kumimoji="0" lang="en-US" sz="900" b="0" i="0" u="none" strike="noStrike" kern="1200" cap="none" spc="0" normalizeH="0" baseline="0" noProof="0">
                <a:ln>
                  <a:noFill/>
                </a:ln>
                <a:solidFill>
                  <a:srgbClr val="2A446F"/>
                </a:solidFill>
                <a:effectLst/>
                <a:uLnTx/>
                <a:uFillTx/>
                <a:latin typeface="Segoe Sans Text Semibold"/>
                <a:ea typeface="+mn-ea"/>
                <a:cs typeface="+mn-cs"/>
              </a:rPr>
            </a:b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900" b="0" i="0" u="none" strike="noStrike" kern="1200" cap="none" spc="0" normalizeH="0" baseline="0" noProof="0">
                <a:ln>
                  <a:noFill/>
                </a:ln>
                <a:solidFill>
                  <a:srgbClr val="0078D4"/>
                </a:solidFill>
                <a:effectLst/>
                <a:uLnTx/>
                <a:uFillTx/>
                <a:latin typeface="Segoe Sans Text Semibold"/>
                <a:ea typeface="+mn-ea"/>
                <a:cs typeface="+mn-cs"/>
              </a:rPr>
              <a:t>Cloud &amp; AI Infra Solution Architect</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900" b="0" i="0" u="none" strike="noStrike" kern="1200" cap="none" spc="0" normalizeH="0" baseline="0" noProof="0">
                <a:ln>
                  <a:noFill/>
                </a:ln>
                <a:solidFill>
                  <a:srgbClr val="0078D4"/>
                </a:solidFill>
                <a:effectLst/>
                <a:uLnTx/>
                <a:uFillTx/>
                <a:latin typeface="Segoe Sans Text Semibold"/>
                <a:ea typeface="+mn-ea"/>
                <a:cs typeface="+mn-cs"/>
              </a:rPr>
              <a:t>Applicable Segments: </a:t>
            </a: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ME&amp;C</a:t>
            </a:r>
          </a:p>
        </p:txBody>
      </p:sp>
      <p:sp>
        <p:nvSpPr>
          <p:cNvPr id="33" name="Rectangle: Rounded Corners 32">
            <a:extLst>
              <a:ext uri="{FF2B5EF4-FFF2-40B4-BE49-F238E27FC236}">
                <a16:creationId xmlns:a16="http://schemas.microsoft.com/office/drawing/2014/main" id="{2152ECDB-115F-91BB-E7F9-91A9A38ED46B}"/>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4" name="Rectangle: Rounded Corners 33">
            <a:extLst>
              <a:ext uri="{FF2B5EF4-FFF2-40B4-BE49-F238E27FC236}">
                <a16:creationId xmlns:a16="http://schemas.microsoft.com/office/drawing/2014/main" id="{FFB4D141-4D6F-1ABA-A4FF-65303F6B0F1E}"/>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267892F8-8D64-72ED-D14E-70A3C52CE867}"/>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6" name="Rectangle: Rounded Corners 35">
            <a:extLst>
              <a:ext uri="{FF2B5EF4-FFF2-40B4-BE49-F238E27FC236}">
                <a16:creationId xmlns:a16="http://schemas.microsoft.com/office/drawing/2014/main" id="{EBA873B3-4195-BC0F-C95A-E19086949648}"/>
              </a:ext>
            </a:extLst>
          </p:cNvPr>
          <p:cNvSpPr/>
          <p:nvPr/>
        </p:nvSpPr>
        <p:spPr>
          <a:xfrm>
            <a:off x="304799" y="1200266"/>
            <a:ext cx="3266414"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Infra CSA is the accountable for delivering migration &amp; modernization, ensuring secure and resilient architecture, and preparing customers for production AI at scal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nd Unified opportunities across all Cloud &amp; AI</a:t>
            </a:r>
          </a:p>
        </p:txBody>
      </p:sp>
      <p:sp>
        <p:nvSpPr>
          <p:cNvPr id="39" name="Rectangle 38">
            <a:extLst>
              <a:ext uri="{FF2B5EF4-FFF2-40B4-BE49-F238E27FC236}">
                <a16:creationId xmlns:a16="http://schemas.microsoft.com/office/drawing/2014/main" id="{EB196147-0979-DAB0-49A2-799A26B078E7}"/>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7" name="TextBox 36">
            <a:extLst>
              <a:ext uri="{FF2B5EF4-FFF2-40B4-BE49-F238E27FC236}">
                <a16:creationId xmlns:a16="http://schemas.microsoft.com/office/drawing/2014/main" id="{032ECF0E-48F8-2CDD-B8AF-74ADC691AD45}"/>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graphicFrame>
        <p:nvGraphicFramePr>
          <p:cNvPr id="2" name="Table 1">
            <a:extLst>
              <a:ext uri="{FF2B5EF4-FFF2-40B4-BE49-F238E27FC236}">
                <a16:creationId xmlns:a16="http://schemas.microsoft.com/office/drawing/2014/main" id="{4447F2EB-56E6-6BA9-42DB-99E981B92FD4}"/>
              </a:ext>
            </a:extLst>
          </p:cNvPr>
          <p:cNvGraphicFramePr>
            <a:graphicFrameLocks noGrp="1"/>
          </p:cNvGraphicFramePr>
          <p:nvPr>
            <p:extLst>
              <p:ext uri="{D42A27DB-BD31-4B8C-83A1-F6EECF244321}">
                <p14:modId xmlns:p14="http://schemas.microsoft.com/office/powerpoint/2010/main" val="917152525"/>
              </p:ext>
            </p:extLst>
          </p:nvPr>
        </p:nvGraphicFramePr>
        <p:xfrm>
          <a:off x="3674366" y="1541398"/>
          <a:ext cx="8247674" cy="2531781"/>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1939290">
                  <a:extLst>
                    <a:ext uri="{9D8B030D-6E8A-4147-A177-3AD203B41FA5}">
                      <a16:colId xmlns:a16="http://schemas.microsoft.com/office/drawing/2014/main" val="88879238"/>
                    </a:ext>
                  </a:extLst>
                </a:gridCol>
                <a:gridCol w="5654590">
                  <a:extLst>
                    <a:ext uri="{9D8B030D-6E8A-4147-A177-3AD203B41FA5}">
                      <a16:colId xmlns:a16="http://schemas.microsoft.com/office/drawing/2014/main" val="707651252"/>
                    </a:ext>
                  </a:extLst>
                </a:gridCol>
              </a:tblGrid>
              <a:tr h="202970">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709859">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C2C in 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C2C results for SME&amp;C. Drive hands-on engagement in Unified accounts</a:t>
                      </a:r>
                      <a:endParaRPr lang="en-US" sz="700" b="0" i="0" u="none" strike="sngStrike" kern="1200" cap="none" spc="0" normalizeH="0" baseline="0" noProof="0">
                        <a:solidFill>
                          <a:srgbClr val="FF0000"/>
                        </a:solidFill>
                        <a:latin typeface="+mn-lt"/>
                        <a:ea typeface="+mn-ea"/>
                        <a:cs typeface="Segoe Sans Text" pitchFamily="2" charset="0"/>
                      </a:endParaRP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 through Unified</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4946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Ready networking and infrastructure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Infrastruct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Infrastructur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70861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Infrastructure Migratio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CAF/WAF, networking, storage, monitor, resilienc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I Ready</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None/>
                      </a:pPr>
                      <a:r>
                        <a:rPr lang="en-US" sz="700" b="0" i="0" u="none" strike="noStrike" kern="1200" cap="none" spc="0" normalizeH="0" baseline="0">
                          <a:solidFill>
                            <a:schemeClr val="tx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pplication</a:t>
                      </a:r>
                      <a:r>
                        <a:rPr lang="en-US" sz="700" b="0" i="0" u="none" strike="noStrike" kern="1200" cap="none" spc="0" normalizeH="0" baseline="0">
                          <a:solidFill>
                            <a:schemeClr val="tx1"/>
                          </a:solidFill>
                          <a:latin typeface="+mn-lt"/>
                          <a:ea typeface="+mn-ea"/>
                          <a:cs typeface="Segoe Sans Text" pitchFamily="2" charset="0"/>
                        </a:rPr>
                        <a:t>, Infrastructure, and </a:t>
                      </a:r>
                      <a:r>
                        <a:rPr lang="en-US" sz="700" b="0" i="0" u="none" strike="noStrike" kern="1200" cap="none" spc="0" normalizeH="0" baseline="0">
                          <a:solidFill>
                            <a:schemeClr val="accent1"/>
                          </a:solidFill>
                          <a:latin typeface="+mn-lt"/>
                          <a:ea typeface="+mn-ea"/>
                          <a:cs typeface="Segoe Sans Text" pitchFamily="2" charset="0"/>
                        </a:rPr>
                        <a:t>Database </a:t>
                      </a:r>
                      <a:r>
                        <a:rPr lang="en-US" sz="700" b="0" i="0" u="none" strike="noStrike" kern="1200" cap="none" spc="0" normalizeH="0" baseline="0">
                          <a:solidFill>
                            <a:schemeClr val="tx1"/>
                          </a:solidFill>
                          <a:latin typeface="+mn-lt"/>
                          <a:ea typeface="+mn-ea"/>
                          <a:cs typeface="Segoe Sans Text" pitchFamily="2" charset="0"/>
                        </a:rPr>
                        <a:t>Migration &amp;</a:t>
                      </a:r>
                      <a:r>
                        <a:rPr lang="en-US" sz="700" b="0" i="0" u="none" strike="noStrike" kern="1200" cap="none" spc="0" normalizeH="0" baseline="0">
                          <a:solidFill>
                            <a:schemeClr val="accent1"/>
                          </a:solidFill>
                          <a:latin typeface="+mn-lt"/>
                          <a:ea typeface="+mn-ea"/>
                          <a:cs typeface="Segoe Sans Text" pitchFamily="2" charset="0"/>
                        </a:rPr>
                        <a:t> Modernization</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Defender for Cloud</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AF/WAF, networking, storage, monitor, resiliency</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Ready</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40" name="Graphic 13">
            <a:extLst>
              <a:ext uri="{FF2B5EF4-FFF2-40B4-BE49-F238E27FC236}">
                <a16:creationId xmlns:a16="http://schemas.microsoft.com/office/drawing/2014/main" id="{1A9B03CB-59DE-EF4E-49B4-B67DA4D5A6A2}"/>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1" name="Graphic 40">
            <a:extLst>
              <a:ext uri="{FF2B5EF4-FFF2-40B4-BE49-F238E27FC236}">
                <a16:creationId xmlns:a16="http://schemas.microsoft.com/office/drawing/2014/main" id="{5D550928-6430-920E-D61B-951DACAACF7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sp>
        <p:nvSpPr>
          <p:cNvPr id="4" name="Rectangle: Rounded Corners 3">
            <a:extLst>
              <a:ext uri="{FF2B5EF4-FFF2-40B4-BE49-F238E27FC236}">
                <a16:creationId xmlns:a16="http://schemas.microsoft.com/office/drawing/2014/main" id="{47EE93DC-F1F9-C27B-22A7-7092460CE0DA}"/>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 name="Rectangle: Rounded Corners 4">
            <a:extLst>
              <a:ext uri="{FF2B5EF4-FFF2-40B4-BE49-F238E27FC236}">
                <a16:creationId xmlns:a16="http://schemas.microsoft.com/office/drawing/2014/main" id="{24C90895-AABA-A4FF-0344-7FE103848D81}"/>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 name="Rectangle 5">
            <a:extLst>
              <a:ext uri="{FF2B5EF4-FFF2-40B4-BE49-F238E27FC236}">
                <a16:creationId xmlns:a16="http://schemas.microsoft.com/office/drawing/2014/main" id="{AA4E3F17-1224-F33B-374B-BA1270BA65FD}"/>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7" name="Graphic 73">
            <a:extLst>
              <a:ext uri="{FF2B5EF4-FFF2-40B4-BE49-F238E27FC236}">
                <a16:creationId xmlns:a16="http://schemas.microsoft.com/office/drawing/2014/main" id="{A6F09592-F5A0-009F-1075-348E6C57C88B}"/>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 name="TextBox 7">
            <a:extLst>
              <a:ext uri="{FF2B5EF4-FFF2-40B4-BE49-F238E27FC236}">
                <a16:creationId xmlns:a16="http://schemas.microsoft.com/office/drawing/2014/main" id="{1A863F8A-6F4C-F2B0-4F48-F75BB6F42421}"/>
              </a:ext>
            </a:extLst>
          </p:cNvPr>
          <p:cNvSpPr txBox="1"/>
          <p:nvPr/>
        </p:nvSpPr>
        <p:spPr>
          <a:xfrm>
            <a:off x="425445" y="4478878"/>
            <a:ext cx="2065343" cy="2616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igrate &amp; Modernize </a:t>
            </a:r>
            <a:b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b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your Estate</a:t>
            </a:r>
            <a:endParaRPr kumimoji="0" lang="en-US" sz="9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2" name="TextBox 21">
            <a:extLst>
              <a:ext uri="{FF2B5EF4-FFF2-40B4-BE49-F238E27FC236}">
                <a16:creationId xmlns:a16="http://schemas.microsoft.com/office/drawing/2014/main" id="{7B66BC57-57EB-1BDD-E610-825716F77A00}"/>
              </a:ext>
            </a:extLst>
          </p:cNvPr>
          <p:cNvSpPr txBox="1"/>
          <p:nvPr/>
        </p:nvSpPr>
        <p:spPr>
          <a:xfrm>
            <a:off x="425445" y="4794161"/>
            <a:ext cx="2065343"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cloudaicsu</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8B37A1D-709F-602D-5C89-237927C39F66}"/>
              </a:ext>
            </a:extLst>
          </p:cNvPr>
          <p:cNvSpPr txBox="1"/>
          <p:nvPr/>
        </p:nvSpPr>
        <p:spPr>
          <a:xfrm>
            <a:off x="425445" y="5109444"/>
            <a:ext cx="206534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Cloud Accelerate Factory, SAP RAP and Azure Essentials (incl Proactive Resiliency)</a:t>
            </a:r>
          </a:p>
        </p:txBody>
      </p:sp>
      <p:sp>
        <p:nvSpPr>
          <p:cNvPr id="24" name="TextBox 23">
            <a:extLst>
              <a:ext uri="{FF2B5EF4-FFF2-40B4-BE49-F238E27FC236}">
                <a16:creationId xmlns:a16="http://schemas.microsoft.com/office/drawing/2014/main" id="{CB18208E-6219-06EC-A232-EF04FE6DB3A1}"/>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Content/Asse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10" name="Rectangle: Rounded Corners 9">
            <a:extLst>
              <a:ext uri="{FF2B5EF4-FFF2-40B4-BE49-F238E27FC236}">
                <a16:creationId xmlns:a16="http://schemas.microsoft.com/office/drawing/2014/main" id="{A8377822-E53B-D00F-1760-0F552333F104}"/>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1" name="Rectangle: Rounded Corners 10">
            <a:extLst>
              <a:ext uri="{FF2B5EF4-FFF2-40B4-BE49-F238E27FC236}">
                <a16:creationId xmlns:a16="http://schemas.microsoft.com/office/drawing/2014/main" id="{08F53250-13E0-52AB-45DA-54C68214611E}"/>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Rectangle: Rounded Corners 12">
            <a:extLst>
              <a:ext uri="{FF2B5EF4-FFF2-40B4-BE49-F238E27FC236}">
                <a16:creationId xmlns:a16="http://schemas.microsoft.com/office/drawing/2014/main" id="{32B489F5-1E63-2357-C8BB-3E601CEFAF94}"/>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4" name="Rectangle: Rounded Corners 13">
            <a:extLst>
              <a:ext uri="{FF2B5EF4-FFF2-40B4-BE49-F238E27FC236}">
                <a16:creationId xmlns:a16="http://schemas.microsoft.com/office/drawing/2014/main" id="{1F66B4C1-6B5F-01F5-0D50-6B855469DDFF}"/>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Rectangle 14">
            <a:extLst>
              <a:ext uri="{FF2B5EF4-FFF2-40B4-BE49-F238E27FC236}">
                <a16:creationId xmlns:a16="http://schemas.microsoft.com/office/drawing/2014/main" id="{C5F9B7BA-935F-082F-D6D5-13ACB7B93DFB}"/>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sp>
        <p:nvSpPr>
          <p:cNvPr id="16" name="TextBox 15">
            <a:extLst>
              <a:ext uri="{FF2B5EF4-FFF2-40B4-BE49-F238E27FC236}">
                <a16:creationId xmlns:a16="http://schemas.microsoft.com/office/drawing/2014/main" id="{4011CAAC-8E43-37C3-7A80-A8DA0AA9F17B}"/>
              </a:ext>
            </a:extLst>
          </p:cNvPr>
          <p:cNvSpPr txBox="1"/>
          <p:nvPr/>
        </p:nvSpPr>
        <p:spPr>
          <a:xfrm>
            <a:off x="2777298" y="4497928"/>
            <a:ext cx="4629342"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17" name="TextBox 16">
            <a:extLst>
              <a:ext uri="{FF2B5EF4-FFF2-40B4-BE49-F238E27FC236}">
                <a16:creationId xmlns:a16="http://schemas.microsoft.com/office/drawing/2014/main" id="{C76D1648-6D96-5CBD-5CE1-877C06E854A2}"/>
              </a:ext>
            </a:extLst>
          </p:cNvPr>
          <p:cNvSpPr txBox="1"/>
          <p:nvPr/>
        </p:nvSpPr>
        <p:spPr>
          <a:xfrm>
            <a:off x="2777298" y="4935441"/>
            <a:ext cx="5065776" cy="101822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a:t>
            </a:r>
            <a:r>
              <a:rPr kumimoji="0" lang="en-US" sz="800" b="0" i="0" u="none" strike="noStrike" kern="1200" cap="none" spc="0" normalizeH="0" baseline="0" noProof="0">
                <a:ln>
                  <a:noFill/>
                </a:ln>
                <a:solidFill>
                  <a:srgbClr val="000000">
                    <a:lumMod val="95000"/>
                    <a:lumOff val="5000"/>
                  </a:srgbClr>
                </a:solidFill>
                <a:effectLst/>
                <a:uLnTx/>
                <a:uFillTx/>
                <a:latin typeface="Segoe Sans Text"/>
                <a:ea typeface="Calibri" panose="020F0502020204030204" pitchFamily="34" charset="0"/>
                <a:cs typeface="Calibri" panose="020F0502020204030204" pitchFamily="34" charset="0"/>
              </a:rPr>
              <a:t>NNR</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1 targets defined.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2 targets for total Completed Pipeline created against quarterly Net New Required budget</a:t>
            </a:r>
            <a:endParaRPr kumimoji="0" lang="en-US" sz="800" b="0" i="0" u="none" strike="sngStrike" kern="1200" cap="none" spc="0" normalizeH="0" baseline="0" noProof="0">
              <a:ln>
                <a:noFill/>
              </a:ln>
              <a:solidFill>
                <a:srgbClr val="FF0000"/>
              </a:solidFill>
              <a:effectLst/>
              <a:uLnTx/>
              <a:uFillTx/>
              <a:latin typeface="Segoe Sans Text"/>
              <a:ea typeface="Calibri" panose="020F0502020204030204" pitchFamily="34" charset="0"/>
              <a:cs typeface="Calibri" panose="020F0502020204030204" pitchFamily="34" charset="0"/>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Repeatable Delivery VTT &gt; 0; On Strategy delivery mix VTT &gt; 0</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Drive Factory engagements where applicable. </a:t>
            </a:r>
          </a:p>
        </p:txBody>
      </p:sp>
      <p:pic>
        <p:nvPicPr>
          <p:cNvPr id="18" name="Graphic 17">
            <a:extLst>
              <a:ext uri="{FF2B5EF4-FFF2-40B4-BE49-F238E27FC236}">
                <a16:creationId xmlns:a16="http://schemas.microsoft.com/office/drawing/2014/main" id="{CDF86558-EEA6-8731-5911-17801944D690}"/>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19" name="Group 18">
            <a:extLst>
              <a:ext uri="{FF2B5EF4-FFF2-40B4-BE49-F238E27FC236}">
                <a16:creationId xmlns:a16="http://schemas.microsoft.com/office/drawing/2014/main" id="{15641821-8AC8-A878-42B4-9C16B008F1A9}"/>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20" name="Rectangle 19">
              <a:extLst>
                <a:ext uri="{FF2B5EF4-FFF2-40B4-BE49-F238E27FC236}">
                  <a16:creationId xmlns:a16="http://schemas.microsoft.com/office/drawing/2014/main" id="{A5662FB5-3076-9368-4721-83AA75C4E879}"/>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21" name="Graphic 20">
              <a:extLst>
                <a:ext uri="{FF2B5EF4-FFF2-40B4-BE49-F238E27FC236}">
                  <a16:creationId xmlns:a16="http://schemas.microsoft.com/office/drawing/2014/main" id="{322BF344-2D94-BD22-8F59-5CECD9F9C2DD}"/>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0" name="TextBox 49">
            <a:extLst>
              <a:ext uri="{FF2B5EF4-FFF2-40B4-BE49-F238E27FC236}">
                <a16:creationId xmlns:a16="http://schemas.microsoft.com/office/drawing/2014/main" id="{FACB8EA3-4BE4-B682-BFDA-AFF8B3569C72}"/>
              </a:ext>
            </a:extLst>
          </p:cNvPr>
          <p:cNvSpPr txBox="1"/>
          <p:nvPr/>
        </p:nvSpPr>
        <p:spPr>
          <a:xfrm>
            <a:off x="8100059" y="4497928"/>
            <a:ext cx="3787141" cy="1656864"/>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Infra Migration: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Windows Server VMs, Linux VMs, Azure Arc, Azure VMware Solution (AVS), Azure Arc, RISE with SAP, M-Series Azure VMs, HPC</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ata Migration &amp; Modernization</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SQL, Azure Database for PostgreSQL, Azure Database for MySQL</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pp Modernization</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Kubernetes Service (AKS), App Service, Azure Container Apps, Azure Red Hat OpenShift (ARO)</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Security</a:t>
            </a: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Defender for Cloud, Network Security</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CAF + WAF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e.g., landing zones, WARA, networking, storage, monitor, backup/DR, resiliency etc.)</a:t>
            </a:r>
          </a:p>
        </p:txBody>
      </p:sp>
      <p:sp>
        <p:nvSpPr>
          <p:cNvPr id="61" name="TextBox 60">
            <a:extLst>
              <a:ext uri="{FF2B5EF4-FFF2-40B4-BE49-F238E27FC236}">
                <a16:creationId xmlns:a16="http://schemas.microsoft.com/office/drawing/2014/main" id="{4734819A-8442-4D53-BA2E-55C996EA70C5}"/>
              </a:ext>
            </a:extLst>
          </p:cNvPr>
          <p:cNvSpPr txBox="1"/>
          <p:nvPr/>
        </p:nvSpPr>
        <p:spPr>
          <a:xfrm>
            <a:off x="304800" y="6516001"/>
            <a:ext cx="3004667"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Implementation is subject to local legislation</a:t>
            </a:r>
          </a:p>
        </p:txBody>
      </p:sp>
      <p:grpSp>
        <p:nvGrpSpPr>
          <p:cNvPr id="12" name="Group 11">
            <a:extLst>
              <a:ext uri="{FF2B5EF4-FFF2-40B4-BE49-F238E27FC236}">
                <a16:creationId xmlns:a16="http://schemas.microsoft.com/office/drawing/2014/main" id="{F55402FA-1DB4-F9D7-893B-7DAC8DDD658A}"/>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3" name="Table 2 Cell 1, 1 to Text">
              <a:extLst>
                <a:ext uri="{FF2B5EF4-FFF2-40B4-BE49-F238E27FC236}">
                  <a16:creationId xmlns:a16="http://schemas.microsoft.com/office/drawing/2014/main" id="{0D5C68EE-8A79-4E5F-E399-47E60368073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B6FD4AED-2025-A081-5630-AF5589BA45D9}"/>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BA9A0115-E22E-0007-8E52-7D13AC2EFD41}"/>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27" name="Table 2 Cell 4, 1 to Text">
              <a:extLst>
                <a:ext uri="{FF2B5EF4-FFF2-40B4-BE49-F238E27FC236}">
                  <a16:creationId xmlns:a16="http://schemas.microsoft.com/office/drawing/2014/main" id="{1088095D-55F7-1FE1-E0F6-F8C337EED607}"/>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8" name="Table 2 Cell 5, 1 to Text">
              <a:extLst>
                <a:ext uri="{FF2B5EF4-FFF2-40B4-BE49-F238E27FC236}">
                  <a16:creationId xmlns:a16="http://schemas.microsoft.com/office/drawing/2014/main" id="{E91CA31A-8E1A-C076-BDBE-A30F71E9ED72}"/>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9" name="Table 2 Cell 6, 1 to Text">
              <a:extLst>
                <a:ext uri="{FF2B5EF4-FFF2-40B4-BE49-F238E27FC236}">
                  <a16:creationId xmlns:a16="http://schemas.microsoft.com/office/drawing/2014/main" id="{7C132340-C272-990D-8610-88B5321811B6}"/>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1" name="Table 2 Cell 7, 1 to Text">
              <a:extLst>
                <a:ext uri="{FF2B5EF4-FFF2-40B4-BE49-F238E27FC236}">
                  <a16:creationId xmlns:a16="http://schemas.microsoft.com/office/drawing/2014/main" id="{0E79D6EE-9221-DD99-4705-6CB4505C3150}"/>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2" name="Table 2 Cell 1, 2 to Text">
              <a:extLst>
                <a:ext uri="{FF2B5EF4-FFF2-40B4-BE49-F238E27FC236}">
                  <a16:creationId xmlns:a16="http://schemas.microsoft.com/office/drawing/2014/main" id="{7517817E-1D35-C03C-5B29-367A3EA33470}"/>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38" name="Table 2 Cell 1, 3 to Text">
              <a:extLst>
                <a:ext uri="{FF2B5EF4-FFF2-40B4-BE49-F238E27FC236}">
                  <a16:creationId xmlns:a16="http://schemas.microsoft.com/office/drawing/2014/main" id="{CF61FC01-FBAF-23F3-B6D6-0CAFCFECE28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sz="800">
                  <a:solidFill>
                    <a:schemeClr val="bg1"/>
                  </a:solidFill>
                </a:rPr>
                <a:t>3.2 Role Overview – SME&amp;C</a:t>
              </a:r>
            </a:p>
          </p:txBody>
        </p:sp>
        <p:sp>
          <p:nvSpPr>
            <p:cNvPr id="42" name="Table 2 Cell 1, 4 to Text">
              <a:extLst>
                <a:ext uri="{FF2B5EF4-FFF2-40B4-BE49-F238E27FC236}">
                  <a16:creationId xmlns:a16="http://schemas.microsoft.com/office/drawing/2014/main" id="{42E940D0-189E-5C21-61E6-04BB3E7E3AA1}"/>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43" name="Table 2 Cell 1, 5 to Text">
              <a:extLst>
                <a:ext uri="{FF2B5EF4-FFF2-40B4-BE49-F238E27FC236}">
                  <a16:creationId xmlns:a16="http://schemas.microsoft.com/office/drawing/2014/main" id="{958E0974-8013-C63A-5B3B-5774DFFFFA88}"/>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44" name="Table 2 Cell 1, 6 to Text">
              <a:extLst>
                <a:ext uri="{FF2B5EF4-FFF2-40B4-BE49-F238E27FC236}">
                  <a16:creationId xmlns:a16="http://schemas.microsoft.com/office/drawing/2014/main" id="{BB4732F3-7856-A2A8-A67B-556B003F7653}"/>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45" name="Table 2 Cell 1, 7 to Text">
              <a:extLst>
                <a:ext uri="{FF2B5EF4-FFF2-40B4-BE49-F238E27FC236}">
                  <a16:creationId xmlns:a16="http://schemas.microsoft.com/office/drawing/2014/main" id="{75C60535-6A8F-BB46-9F45-73293890BEDA}"/>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46" name="Table 2 Cell 1, 8 to Text">
              <a:extLst>
                <a:ext uri="{FF2B5EF4-FFF2-40B4-BE49-F238E27FC236}">
                  <a16:creationId xmlns:a16="http://schemas.microsoft.com/office/drawing/2014/main" id="{5A2419D1-B1C6-1DD6-4695-1666ECD1DF51}"/>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29796510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E4593-0FCB-4658-F551-8AD04A8A3F74}"/>
            </a:ext>
          </a:extLst>
        </p:cNvPr>
        <p:cNvGrpSpPr/>
        <p:nvPr/>
      </p:nvGrpSpPr>
      <p:grpSpPr>
        <a:xfrm>
          <a:off x="0" y="0"/>
          <a:ext cx="0" cy="0"/>
          <a:chOff x="0" y="0"/>
          <a:chExt cx="0" cy="0"/>
        </a:xfrm>
      </p:grpSpPr>
      <p:cxnSp>
        <p:nvCxnSpPr>
          <p:cNvPr id="78" name="Straight Arrow Connector 77">
            <a:extLst>
              <a:ext uri="{FF2B5EF4-FFF2-40B4-BE49-F238E27FC236}">
                <a16:creationId xmlns:a16="http://schemas.microsoft.com/office/drawing/2014/main" id="{D11D1BEB-7090-C69B-1B73-6BA6EE6BCB54}"/>
              </a:ext>
              <a:ext uri="{C183D7F6-B498-43B3-948B-1728B52AA6E4}">
                <adec:decorative xmlns:adec="http://schemas.microsoft.com/office/drawing/2017/decorative" val="1"/>
              </a:ext>
            </a:extLst>
          </p:cNvPr>
          <p:cNvCxnSpPr>
            <a:cxnSpLocks/>
            <a:stCxn id="77" idx="0"/>
          </p:cNvCxnSpPr>
          <p:nvPr/>
        </p:nvCxnSpPr>
        <p:spPr>
          <a:xfrm>
            <a:off x="8796864" y="2566386"/>
            <a:ext cx="0" cy="376620"/>
          </a:xfrm>
          <a:prstGeom prst="straightConnector1">
            <a:avLst/>
          </a:prstGeom>
          <a:ln w="635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1752623-4131-6596-AFA6-365D300A0DEB}"/>
              </a:ext>
              <a:ext uri="{C183D7F6-B498-43B3-948B-1728B52AA6E4}">
                <adec:decorative xmlns:adec="http://schemas.microsoft.com/office/drawing/2017/decorative" val="1"/>
              </a:ext>
            </a:extLst>
          </p:cNvPr>
          <p:cNvCxnSpPr>
            <a:cxnSpLocks/>
            <a:stCxn id="74" idx="0"/>
          </p:cNvCxnSpPr>
          <p:nvPr/>
        </p:nvCxnSpPr>
        <p:spPr>
          <a:xfrm>
            <a:off x="901306" y="2566386"/>
            <a:ext cx="0" cy="203760"/>
          </a:xfrm>
          <a:prstGeom prst="straightConnector1">
            <a:avLst/>
          </a:prstGeom>
          <a:ln w="635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1FEA736-1D3F-401E-1A83-80CECDEE4502}"/>
              </a:ext>
              <a:ext uri="{C183D7F6-B498-43B3-948B-1728B52AA6E4}">
                <adec:decorative xmlns:adec="http://schemas.microsoft.com/office/drawing/2017/decorative" val="1"/>
              </a:ext>
            </a:extLst>
          </p:cNvPr>
          <p:cNvCxnSpPr>
            <a:cxnSpLocks/>
            <a:stCxn id="76" idx="0"/>
          </p:cNvCxnSpPr>
          <p:nvPr/>
        </p:nvCxnSpPr>
        <p:spPr>
          <a:xfrm>
            <a:off x="5599798" y="2566386"/>
            <a:ext cx="0" cy="203760"/>
          </a:xfrm>
          <a:prstGeom prst="straightConnector1">
            <a:avLst/>
          </a:prstGeom>
          <a:ln w="635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6B63564-1C3B-53E3-CE89-9FEEF6EBF539}"/>
              </a:ext>
            </a:extLst>
          </p:cNvPr>
          <p:cNvSpPr>
            <a:spLocks noGrp="1"/>
          </p:cNvSpPr>
          <p:nvPr>
            <p:ph type="title"/>
          </p:nvPr>
        </p:nvSpPr>
        <p:spPr>
          <a:xfrm>
            <a:off x="241693" y="470532"/>
            <a:ext cx="11049000" cy="492125"/>
          </a:xfrm>
        </p:spPr>
        <p:txBody>
          <a:bodyPr lIns="0" tIns="0" rIns="0" bIns="0"/>
          <a:lstStyle/>
          <a:p>
            <a:r>
              <a:rPr lang="en-US">
                <a:solidFill>
                  <a:schemeClr val="accent1"/>
                </a:solidFill>
              </a:rPr>
              <a:t>You are </a:t>
            </a:r>
            <a:r>
              <a:rPr lang="en-US">
                <a:solidFill>
                  <a:srgbClr val="C03BC4"/>
                </a:solidFill>
              </a:rPr>
              <a:t>here</a:t>
            </a:r>
            <a:r>
              <a:rPr lang="en-US">
                <a:solidFill>
                  <a:schemeClr val="accent1"/>
                </a:solidFill>
              </a:rPr>
              <a:t> in the </a:t>
            </a:r>
            <a:r>
              <a:rPr lang="en-US"/>
              <a:t>Cloud &amp; AI CSU Skilling Journey</a:t>
            </a:r>
          </a:p>
        </p:txBody>
      </p:sp>
      <p:sp>
        <p:nvSpPr>
          <p:cNvPr id="43" name="Rectangle 42">
            <a:extLst>
              <a:ext uri="{FF2B5EF4-FFF2-40B4-BE49-F238E27FC236}">
                <a16:creationId xmlns:a16="http://schemas.microsoft.com/office/drawing/2014/main" id="{63F9182D-BB34-722B-A2B9-CA63E4216811}"/>
              </a:ext>
              <a:ext uri="{C183D7F6-B498-43B3-948B-1728B52AA6E4}">
                <adec:decorative xmlns:adec="http://schemas.microsoft.com/office/drawing/2017/decorative" val="1"/>
              </a:ext>
            </a:extLst>
          </p:cNvPr>
          <p:cNvSpPr/>
          <p:nvPr/>
        </p:nvSpPr>
        <p:spPr bwMode="auto">
          <a:xfrm>
            <a:off x="0" y="1057127"/>
            <a:ext cx="12192000" cy="52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8" name="Rectangle 17">
            <a:extLst>
              <a:ext uri="{FF2B5EF4-FFF2-40B4-BE49-F238E27FC236}">
                <a16:creationId xmlns:a16="http://schemas.microsoft.com/office/drawing/2014/main" id="{234FD03E-76DF-BA25-5214-AADB5926A61C}"/>
              </a:ext>
            </a:extLst>
          </p:cNvPr>
          <p:cNvSpPr/>
          <p:nvPr/>
        </p:nvSpPr>
        <p:spPr bwMode="auto">
          <a:xfrm>
            <a:off x="304801" y="1137130"/>
            <a:ext cx="11315700" cy="369332"/>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j-ea"/>
                <a:cs typeface="+mj-cs"/>
              </a:rPr>
              <a:t>Develop </a:t>
            </a:r>
            <a:r>
              <a:rPr kumimoji="0" lang="en-US" sz="1200" b="0" i="0" u="none" strike="noStrike" kern="1200" cap="none" spc="0" normalizeH="0" baseline="0" noProof="0">
                <a:ln>
                  <a:noFill/>
                </a:ln>
                <a:solidFill>
                  <a:srgbClr val="0078D4"/>
                </a:solidFill>
                <a:effectLst/>
                <a:uLnTx/>
                <a:uFillTx/>
                <a:latin typeface="Segoe Sans Text"/>
                <a:ea typeface="+mj-ea"/>
                <a:cs typeface="+mj-cs"/>
              </a:rPr>
              <a:t>Skilling</a:t>
            </a:r>
            <a:r>
              <a:rPr kumimoji="0" lang="en-US" sz="1200" b="0" i="0" u="none" strike="noStrike" kern="1200" cap="none" spc="0" normalizeH="0" baseline="0" noProof="0">
                <a:ln>
                  <a:noFill/>
                </a:ln>
                <a:solidFill>
                  <a:srgbClr val="000000"/>
                </a:solidFill>
                <a:effectLst/>
                <a:uLnTx/>
                <a:uFillTx/>
                <a:latin typeface="Segoe Sans Text"/>
                <a:ea typeface="+mj-ea"/>
                <a:cs typeface="+mj-cs"/>
              </a:rPr>
              <a:t> to align with FY26 solution play technical expectations, delivery excellence, custom and repeatable delivery offers, and improve consultative skills to drive </a:t>
            </a:r>
            <a:r>
              <a:rPr kumimoji="0" lang="en-US" sz="1200" b="0" i="0" u="none" strike="noStrike" kern="1200" cap="none" spc="0" normalizeH="0" baseline="0" noProof="0">
                <a:ln>
                  <a:noFill/>
                </a:ln>
                <a:solidFill>
                  <a:srgbClr val="0078D4"/>
                </a:solidFill>
                <a:effectLst/>
                <a:uLnTx/>
                <a:uFillTx/>
                <a:latin typeface="Segoe Sans Text"/>
                <a:ea typeface="+mj-ea"/>
                <a:cs typeface="+mj-cs"/>
              </a:rPr>
              <a:t>customer value and outcomes in delivery</a:t>
            </a:r>
            <a:endParaRPr kumimoji="0" lang="en-US" sz="1200" b="0" i="0" u="none" strike="noStrike" kern="1200" cap="none" spc="0" normalizeH="0" baseline="0" noProof="0">
              <a:ln>
                <a:noFill/>
              </a:ln>
              <a:solidFill>
                <a:srgbClr val="000000"/>
              </a:solidFill>
              <a:effectLst/>
              <a:uLnTx/>
              <a:uFillTx/>
              <a:latin typeface="Segoe Sans Text"/>
              <a:ea typeface="+mj-ea"/>
              <a:cs typeface="+mj-cs"/>
            </a:endParaRPr>
          </a:p>
        </p:txBody>
      </p:sp>
      <p:sp>
        <p:nvSpPr>
          <p:cNvPr id="44" name="Rectangle: Rounded Corners 43">
            <a:extLst>
              <a:ext uri="{FF2B5EF4-FFF2-40B4-BE49-F238E27FC236}">
                <a16:creationId xmlns:a16="http://schemas.microsoft.com/office/drawing/2014/main" id="{502C4CB0-7542-D25B-7ECB-6EB562C6134B}"/>
              </a:ext>
              <a:ext uri="{C183D7F6-B498-43B3-948B-1728B52AA6E4}">
                <adec:decorative xmlns:adec="http://schemas.microsoft.com/office/drawing/2017/decorative" val="1"/>
              </a:ext>
            </a:extLst>
          </p:cNvPr>
          <p:cNvSpPr>
            <a:spLocks/>
          </p:cNvSpPr>
          <p:nvPr/>
        </p:nvSpPr>
        <p:spPr bwMode="auto">
          <a:xfrm>
            <a:off x="304800" y="2770146"/>
            <a:ext cx="2936240" cy="3592554"/>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25" name="Freeform: Shape 124">
            <a:extLst>
              <a:ext uri="{FF2B5EF4-FFF2-40B4-BE49-F238E27FC236}">
                <a16:creationId xmlns:a16="http://schemas.microsoft.com/office/drawing/2014/main" id="{D9A06A75-D26E-229B-C5D4-1DA1C09DE8E0}"/>
              </a:ext>
            </a:extLst>
          </p:cNvPr>
          <p:cNvSpPr/>
          <p:nvPr/>
        </p:nvSpPr>
        <p:spPr>
          <a:xfrm>
            <a:off x="1405199"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May</a:t>
            </a:r>
          </a:p>
        </p:txBody>
      </p:sp>
      <p:sp>
        <p:nvSpPr>
          <p:cNvPr id="133" name="Freeform: Shape 132">
            <a:extLst>
              <a:ext uri="{FF2B5EF4-FFF2-40B4-BE49-F238E27FC236}">
                <a16:creationId xmlns:a16="http://schemas.microsoft.com/office/drawing/2014/main" id="{FBAD85FD-A5EE-DA06-5C18-E84329FB5F2B}"/>
              </a:ext>
            </a:extLst>
          </p:cNvPr>
          <p:cNvSpPr/>
          <p:nvPr/>
        </p:nvSpPr>
        <p:spPr>
          <a:xfrm>
            <a:off x="2503134"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Jun</a:t>
            </a:r>
          </a:p>
        </p:txBody>
      </p:sp>
      <p:sp>
        <p:nvSpPr>
          <p:cNvPr id="146" name="Freeform: Shape 145">
            <a:extLst>
              <a:ext uri="{FF2B5EF4-FFF2-40B4-BE49-F238E27FC236}">
                <a16:creationId xmlns:a16="http://schemas.microsoft.com/office/drawing/2014/main" id="{CF57464A-D64F-1F65-B92F-73C2D41B7041}"/>
              </a:ext>
            </a:extLst>
          </p:cNvPr>
          <p:cNvSpPr/>
          <p:nvPr/>
        </p:nvSpPr>
        <p:spPr>
          <a:xfrm>
            <a:off x="6302446"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Aug</a:t>
            </a:r>
          </a:p>
        </p:txBody>
      </p:sp>
      <p:sp>
        <p:nvSpPr>
          <p:cNvPr id="135" name="Freeform: Shape 134">
            <a:extLst>
              <a:ext uri="{FF2B5EF4-FFF2-40B4-BE49-F238E27FC236}">
                <a16:creationId xmlns:a16="http://schemas.microsoft.com/office/drawing/2014/main" id="{06895652-BC19-BEC6-2D2C-47769532287C}"/>
              </a:ext>
            </a:extLst>
          </p:cNvPr>
          <p:cNvSpPr/>
          <p:nvPr/>
        </p:nvSpPr>
        <p:spPr>
          <a:xfrm>
            <a:off x="7400381"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Sep</a:t>
            </a:r>
          </a:p>
        </p:txBody>
      </p:sp>
      <p:sp>
        <p:nvSpPr>
          <p:cNvPr id="134" name="Freeform: Shape 133">
            <a:extLst>
              <a:ext uri="{FF2B5EF4-FFF2-40B4-BE49-F238E27FC236}">
                <a16:creationId xmlns:a16="http://schemas.microsoft.com/office/drawing/2014/main" id="{F0DDC007-0B89-FAFE-0CB9-EBD242F0A842}"/>
              </a:ext>
            </a:extLst>
          </p:cNvPr>
          <p:cNvSpPr/>
          <p:nvPr/>
        </p:nvSpPr>
        <p:spPr>
          <a:xfrm>
            <a:off x="8498316"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Oct</a:t>
            </a:r>
          </a:p>
        </p:txBody>
      </p:sp>
      <p:sp>
        <p:nvSpPr>
          <p:cNvPr id="132" name="Freeform: Shape 131">
            <a:extLst>
              <a:ext uri="{FF2B5EF4-FFF2-40B4-BE49-F238E27FC236}">
                <a16:creationId xmlns:a16="http://schemas.microsoft.com/office/drawing/2014/main" id="{E5808CC9-2D71-E459-FCB2-E0BED6B5EE98}"/>
              </a:ext>
            </a:extLst>
          </p:cNvPr>
          <p:cNvSpPr/>
          <p:nvPr/>
        </p:nvSpPr>
        <p:spPr>
          <a:xfrm>
            <a:off x="9596251"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Nov</a:t>
            </a:r>
          </a:p>
        </p:txBody>
      </p:sp>
      <p:sp>
        <p:nvSpPr>
          <p:cNvPr id="131" name="Freeform: Shape 130">
            <a:extLst>
              <a:ext uri="{FF2B5EF4-FFF2-40B4-BE49-F238E27FC236}">
                <a16:creationId xmlns:a16="http://schemas.microsoft.com/office/drawing/2014/main" id="{41D476CB-D302-9A79-1CCD-8F7D239D7E7C}"/>
              </a:ext>
            </a:extLst>
          </p:cNvPr>
          <p:cNvSpPr/>
          <p:nvPr/>
        </p:nvSpPr>
        <p:spPr>
          <a:xfrm>
            <a:off x="10694187" y="2102242"/>
            <a:ext cx="1193013" cy="373424"/>
          </a:xfrm>
          <a:custGeom>
            <a:avLst/>
            <a:gdLst>
              <a:gd name="connsiteX0" fmla="*/ 14768 w 1148060"/>
              <a:gd name="connsiteY0" fmla="*/ -221 h 371475"/>
              <a:gd name="connsiteX1" fmla="*/ 960591 w 1148060"/>
              <a:gd name="connsiteY1" fmla="*/ -221 h 371475"/>
              <a:gd name="connsiteX2" fmla="*/ 999930 w 1148060"/>
              <a:gd name="connsiteY2" fmla="*/ 16076 h 371475"/>
              <a:gd name="connsiteX3" fmla="*/ 1132737 w 1148060"/>
              <a:gd name="connsiteY3" fmla="*/ 148883 h 371475"/>
              <a:gd name="connsiteX4" fmla="*/ 1132737 w 1148060"/>
              <a:gd name="connsiteY4" fmla="*/ 222150 h 371475"/>
              <a:gd name="connsiteX5" fmla="*/ 999930 w 1148060"/>
              <a:gd name="connsiteY5" fmla="*/ 354957 h 371475"/>
              <a:gd name="connsiteX6" fmla="*/ 960591 w 1148060"/>
              <a:gd name="connsiteY6" fmla="*/ 371254 h 371475"/>
              <a:gd name="connsiteX7" fmla="*/ 16197 w 1148060"/>
              <a:gd name="connsiteY7" fmla="*/ 371254 h 371475"/>
              <a:gd name="connsiteX8" fmla="*/ 681 w 1148060"/>
              <a:gd name="connsiteY8" fmla="*/ 355747 h 371475"/>
              <a:gd name="connsiteX9" fmla="*/ 5224 w 1148060"/>
              <a:gd name="connsiteY9" fmla="*/ 344775 h 371475"/>
              <a:gd name="connsiteX10" fmla="*/ 139832 w 1148060"/>
              <a:gd name="connsiteY10" fmla="*/ 210167 h 371475"/>
              <a:gd name="connsiteX11" fmla="*/ 139832 w 1148060"/>
              <a:gd name="connsiteY11" fmla="*/ 160866 h 371475"/>
              <a:gd name="connsiteX12" fmla="*/ 4215 w 1148060"/>
              <a:gd name="connsiteY12" fmla="*/ 25249 h 371475"/>
              <a:gd name="connsiteX13" fmla="*/ 4215 w 1148060"/>
              <a:gd name="connsiteY13" fmla="*/ 4151 h 371475"/>
              <a:gd name="connsiteX14" fmla="*/ 14768 w 1148060"/>
              <a:gd name="connsiteY14" fmla="*/ -2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8060" h="371475">
                <a:moveTo>
                  <a:pt x="14768" y="-221"/>
                </a:moveTo>
                <a:lnTo>
                  <a:pt x="960591" y="-221"/>
                </a:lnTo>
                <a:cubicBezTo>
                  <a:pt x="975346" y="-221"/>
                  <a:pt x="989490" y="5637"/>
                  <a:pt x="999930" y="16076"/>
                </a:cubicBezTo>
                <a:lnTo>
                  <a:pt x="1132737" y="148883"/>
                </a:lnTo>
                <a:cubicBezTo>
                  <a:pt x="1152968" y="169114"/>
                  <a:pt x="1152968" y="201919"/>
                  <a:pt x="1132737" y="222150"/>
                </a:cubicBezTo>
                <a:lnTo>
                  <a:pt x="999930" y="354957"/>
                </a:lnTo>
                <a:cubicBezTo>
                  <a:pt x="989490" y="365396"/>
                  <a:pt x="975346" y="371254"/>
                  <a:pt x="960591" y="371254"/>
                </a:cubicBezTo>
                <a:lnTo>
                  <a:pt x="16197" y="371254"/>
                </a:lnTo>
                <a:cubicBezTo>
                  <a:pt x="7625" y="371254"/>
                  <a:pt x="681" y="364310"/>
                  <a:pt x="681" y="355747"/>
                </a:cubicBezTo>
                <a:cubicBezTo>
                  <a:pt x="681" y="351633"/>
                  <a:pt x="2319" y="347680"/>
                  <a:pt x="5224" y="344775"/>
                </a:cubicBezTo>
                <a:lnTo>
                  <a:pt x="139832" y="210167"/>
                </a:lnTo>
                <a:cubicBezTo>
                  <a:pt x="153443" y="196556"/>
                  <a:pt x="153443" y="174477"/>
                  <a:pt x="139832" y="160866"/>
                </a:cubicBezTo>
                <a:lnTo>
                  <a:pt x="4215" y="25249"/>
                </a:lnTo>
                <a:cubicBezTo>
                  <a:pt x="-1605" y="19429"/>
                  <a:pt x="-1605" y="9980"/>
                  <a:pt x="4215" y="4151"/>
                </a:cubicBezTo>
                <a:cubicBezTo>
                  <a:pt x="7015" y="1351"/>
                  <a:pt x="10815" y="-221"/>
                  <a:pt x="14768" y="-221"/>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Dec</a:t>
            </a:r>
          </a:p>
        </p:txBody>
      </p:sp>
      <p:sp>
        <p:nvSpPr>
          <p:cNvPr id="62" name="TextBox 61">
            <a:extLst>
              <a:ext uri="{FF2B5EF4-FFF2-40B4-BE49-F238E27FC236}">
                <a16:creationId xmlns:a16="http://schemas.microsoft.com/office/drawing/2014/main" id="{A98784F5-07B1-24EA-19B0-E6F52A878C0D}"/>
              </a:ext>
            </a:extLst>
          </p:cNvPr>
          <p:cNvSpPr txBox="1"/>
          <p:nvPr/>
        </p:nvSpPr>
        <p:spPr>
          <a:xfrm>
            <a:off x="328920" y="1807657"/>
            <a:ext cx="460928"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Text Semibold"/>
                <a:ea typeface="+mn-ea"/>
                <a:cs typeface="+mn-cs"/>
              </a:rPr>
              <a:t>FY25</a:t>
            </a:r>
          </a:p>
        </p:txBody>
      </p:sp>
      <p:sp>
        <p:nvSpPr>
          <p:cNvPr id="70" name="TextBox 69">
            <a:extLst>
              <a:ext uri="{FF2B5EF4-FFF2-40B4-BE49-F238E27FC236}">
                <a16:creationId xmlns:a16="http://schemas.microsoft.com/office/drawing/2014/main" id="{8AEE3F9A-7CC3-4A46-7921-5338A2EE6E79}"/>
              </a:ext>
            </a:extLst>
          </p:cNvPr>
          <p:cNvSpPr txBox="1"/>
          <p:nvPr/>
        </p:nvSpPr>
        <p:spPr>
          <a:xfrm>
            <a:off x="3617226" y="1807657"/>
            <a:ext cx="45365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Text Semibold"/>
                <a:ea typeface="+mn-ea"/>
                <a:cs typeface="+mn-cs"/>
              </a:rPr>
              <a:t>FY26</a:t>
            </a:r>
          </a:p>
        </p:txBody>
      </p:sp>
      <p:sp>
        <p:nvSpPr>
          <p:cNvPr id="72" name="TextBox 71">
            <a:extLst>
              <a:ext uri="{FF2B5EF4-FFF2-40B4-BE49-F238E27FC236}">
                <a16:creationId xmlns:a16="http://schemas.microsoft.com/office/drawing/2014/main" id="{2A7DEEE6-BD1C-E4A5-9FD7-FA4BC37A722C}"/>
              </a:ext>
            </a:extLst>
          </p:cNvPr>
          <p:cNvSpPr txBox="1"/>
          <p:nvPr/>
        </p:nvSpPr>
        <p:spPr>
          <a:xfrm>
            <a:off x="8511152" y="1807657"/>
            <a:ext cx="26930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Text Semibold"/>
                <a:ea typeface="+mn-ea"/>
                <a:cs typeface="+mn-cs"/>
              </a:rPr>
              <a:t>Q2</a:t>
            </a:r>
          </a:p>
        </p:txBody>
      </p:sp>
      <p:sp>
        <p:nvSpPr>
          <p:cNvPr id="73" name="TextBox 72">
            <a:extLst>
              <a:ext uri="{FF2B5EF4-FFF2-40B4-BE49-F238E27FC236}">
                <a16:creationId xmlns:a16="http://schemas.microsoft.com/office/drawing/2014/main" id="{5FA2F16B-D821-9156-A1AD-B02BD06560BD}"/>
              </a:ext>
            </a:extLst>
          </p:cNvPr>
          <p:cNvSpPr txBox="1"/>
          <p:nvPr/>
        </p:nvSpPr>
        <p:spPr>
          <a:xfrm>
            <a:off x="10766641" y="1807657"/>
            <a:ext cx="112055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Solution Area L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rPr>
              <a:t>Worldwide Learning Led</a:t>
            </a:r>
          </a:p>
        </p:txBody>
      </p:sp>
      <p:sp>
        <p:nvSpPr>
          <p:cNvPr id="74" name="Oval 73">
            <a:extLst>
              <a:ext uri="{FF2B5EF4-FFF2-40B4-BE49-F238E27FC236}">
                <a16:creationId xmlns:a16="http://schemas.microsoft.com/office/drawing/2014/main" id="{FDC0E6E5-900A-6D80-9E40-6B8CBD89CF39}"/>
              </a:ext>
              <a:ext uri="{C183D7F6-B498-43B3-948B-1728B52AA6E4}">
                <adec:decorative xmlns:adec="http://schemas.microsoft.com/office/drawing/2017/decorative" val="1"/>
              </a:ext>
            </a:extLst>
          </p:cNvPr>
          <p:cNvSpPr/>
          <p:nvPr/>
        </p:nvSpPr>
        <p:spPr bwMode="auto">
          <a:xfrm flipV="1">
            <a:off x="878446" y="2520666"/>
            <a:ext cx="45720" cy="45720"/>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75" name="Oval 74">
            <a:extLst>
              <a:ext uri="{FF2B5EF4-FFF2-40B4-BE49-F238E27FC236}">
                <a16:creationId xmlns:a16="http://schemas.microsoft.com/office/drawing/2014/main" id="{60DD9470-E073-F6AB-A982-E08CCAB57BC1}"/>
              </a:ext>
              <a:ext uri="{C183D7F6-B498-43B3-948B-1728B52AA6E4}">
                <adec:decorative xmlns:adec="http://schemas.microsoft.com/office/drawing/2017/decorative" val="1"/>
              </a:ext>
            </a:extLst>
          </p:cNvPr>
          <p:cNvSpPr/>
          <p:nvPr/>
        </p:nvSpPr>
        <p:spPr bwMode="auto">
          <a:xfrm flipV="1">
            <a:off x="3926337" y="2520666"/>
            <a:ext cx="45720" cy="45720"/>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76" name="Oval 75">
            <a:extLst>
              <a:ext uri="{FF2B5EF4-FFF2-40B4-BE49-F238E27FC236}">
                <a16:creationId xmlns:a16="http://schemas.microsoft.com/office/drawing/2014/main" id="{0F4B62CB-A168-604D-2A5B-B49BDE79A2ED}"/>
              </a:ext>
              <a:ext uri="{C183D7F6-B498-43B3-948B-1728B52AA6E4}">
                <adec:decorative xmlns:adec="http://schemas.microsoft.com/office/drawing/2017/decorative" val="1"/>
              </a:ext>
            </a:extLst>
          </p:cNvPr>
          <p:cNvSpPr/>
          <p:nvPr/>
        </p:nvSpPr>
        <p:spPr bwMode="auto">
          <a:xfrm flipV="1">
            <a:off x="5576938" y="2520666"/>
            <a:ext cx="45720" cy="45720"/>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77" name="Oval 76">
            <a:extLst>
              <a:ext uri="{FF2B5EF4-FFF2-40B4-BE49-F238E27FC236}">
                <a16:creationId xmlns:a16="http://schemas.microsoft.com/office/drawing/2014/main" id="{6FD6A4F9-3005-6BF4-8E3A-108377B8DFB6}"/>
              </a:ext>
              <a:ext uri="{C183D7F6-B498-43B3-948B-1728B52AA6E4}">
                <adec:decorative xmlns:adec="http://schemas.microsoft.com/office/drawing/2017/decorative" val="1"/>
              </a:ext>
            </a:extLst>
          </p:cNvPr>
          <p:cNvSpPr/>
          <p:nvPr/>
        </p:nvSpPr>
        <p:spPr bwMode="auto">
          <a:xfrm flipV="1">
            <a:off x="8774004" y="2520666"/>
            <a:ext cx="45720" cy="45720"/>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79" name="Rectangle: Rounded Corners 78">
            <a:extLst>
              <a:ext uri="{FF2B5EF4-FFF2-40B4-BE49-F238E27FC236}">
                <a16:creationId xmlns:a16="http://schemas.microsoft.com/office/drawing/2014/main" id="{801AF159-2396-A7E8-62E5-D39788827989}"/>
              </a:ext>
              <a:ext uri="{C183D7F6-B498-43B3-948B-1728B52AA6E4}">
                <adec:decorative xmlns:adec="http://schemas.microsoft.com/office/drawing/2017/decorative" val="1"/>
              </a:ext>
            </a:extLst>
          </p:cNvPr>
          <p:cNvSpPr>
            <a:spLocks/>
          </p:cNvSpPr>
          <p:nvPr/>
        </p:nvSpPr>
        <p:spPr bwMode="auto">
          <a:xfrm>
            <a:off x="3357880" y="2770146"/>
            <a:ext cx="1941195" cy="3592554"/>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0" name="Rectangle: Rounded Corners 79">
            <a:extLst>
              <a:ext uri="{FF2B5EF4-FFF2-40B4-BE49-F238E27FC236}">
                <a16:creationId xmlns:a16="http://schemas.microsoft.com/office/drawing/2014/main" id="{D8B8D6EF-D38C-3657-EA12-B1616677B5D1}"/>
              </a:ext>
              <a:ext uri="{C183D7F6-B498-43B3-948B-1728B52AA6E4}">
                <adec:decorative xmlns:adec="http://schemas.microsoft.com/office/drawing/2017/decorative" val="1"/>
              </a:ext>
            </a:extLst>
          </p:cNvPr>
          <p:cNvSpPr>
            <a:spLocks/>
          </p:cNvSpPr>
          <p:nvPr/>
        </p:nvSpPr>
        <p:spPr bwMode="auto">
          <a:xfrm>
            <a:off x="5431765" y="2770146"/>
            <a:ext cx="1941195" cy="3592554"/>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1" name="Rectangle: Rounded Corners 80">
            <a:extLst>
              <a:ext uri="{FF2B5EF4-FFF2-40B4-BE49-F238E27FC236}">
                <a16:creationId xmlns:a16="http://schemas.microsoft.com/office/drawing/2014/main" id="{843A2D17-A428-D8C1-0CB0-CCF0368A9916}"/>
              </a:ext>
              <a:ext uri="{C183D7F6-B498-43B3-948B-1728B52AA6E4}">
                <adec:decorative xmlns:adec="http://schemas.microsoft.com/office/drawing/2017/decorative" val="1"/>
              </a:ext>
            </a:extLst>
          </p:cNvPr>
          <p:cNvSpPr>
            <a:spLocks/>
          </p:cNvSpPr>
          <p:nvPr/>
        </p:nvSpPr>
        <p:spPr bwMode="auto">
          <a:xfrm>
            <a:off x="8413501" y="2943006"/>
            <a:ext cx="1941195" cy="951939"/>
          </a:xfrm>
          <a:prstGeom prst="roundRect">
            <a:avLst>
              <a:gd name="adj" fmla="val 644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51" name="Graphic 148">
            <a:extLst>
              <a:ext uri="{FF2B5EF4-FFF2-40B4-BE49-F238E27FC236}">
                <a16:creationId xmlns:a16="http://schemas.microsoft.com/office/drawing/2014/main" id="{6EF47F5F-A8FD-6655-36FB-3055045A1A84}"/>
              </a:ext>
            </a:extLst>
          </p:cNvPr>
          <p:cNvSpPr/>
          <p:nvPr/>
        </p:nvSpPr>
        <p:spPr>
          <a:xfrm>
            <a:off x="8413502" y="4259497"/>
            <a:ext cx="1668697" cy="373424"/>
          </a:xfrm>
          <a:custGeom>
            <a:avLst/>
            <a:gdLst>
              <a:gd name="connsiteX0" fmla="*/ 6562 w 1646989"/>
              <a:gd name="connsiteY0" fmla="*/ -447 h 371475"/>
              <a:gd name="connsiteX1" fmla="*/ 1437150 w 1646989"/>
              <a:gd name="connsiteY1" fmla="*/ -447 h 371475"/>
              <a:gd name="connsiteX2" fmla="*/ 1492777 w 1646989"/>
              <a:gd name="connsiteY2" fmla="*/ 22584 h 371475"/>
              <a:gd name="connsiteX3" fmla="*/ 1639461 w 1646989"/>
              <a:gd name="connsiteY3" fmla="*/ 169298 h 371475"/>
              <a:gd name="connsiteX4" fmla="*/ 1639461 w 1646989"/>
              <a:gd name="connsiteY4" fmla="*/ 201283 h 371475"/>
              <a:gd name="connsiteX5" fmla="*/ 1471155 w 1646989"/>
              <a:gd name="connsiteY5" fmla="*/ 369628 h 371475"/>
              <a:gd name="connsiteX6" fmla="*/ 1467726 w 1646989"/>
              <a:gd name="connsiteY6" fmla="*/ 371028 h 371475"/>
              <a:gd name="connsiteX7" fmla="*/ 6896 w 1646989"/>
              <a:gd name="connsiteY7" fmla="*/ 371028 h 371475"/>
              <a:gd name="connsiteX8" fmla="*/ -687 w 1646989"/>
              <a:gd name="connsiteY8" fmla="*/ 363446 h 371475"/>
              <a:gd name="connsiteX9" fmla="*/ 1533 w 1646989"/>
              <a:gd name="connsiteY9" fmla="*/ 358083 h 371475"/>
              <a:gd name="connsiteX10" fmla="*/ 161381 w 1646989"/>
              <a:gd name="connsiteY10" fmla="*/ 198235 h 371475"/>
              <a:gd name="connsiteX11" fmla="*/ 161381 w 1646989"/>
              <a:gd name="connsiteY11" fmla="*/ 172346 h 371475"/>
              <a:gd name="connsiteX12" fmla="*/ 1295 w 1646989"/>
              <a:gd name="connsiteY12" fmla="*/ 12259 h 371475"/>
              <a:gd name="connsiteX13" fmla="*/ 1295 w 1646989"/>
              <a:gd name="connsiteY13" fmla="*/ 1734 h 371475"/>
              <a:gd name="connsiteX14" fmla="*/ 6562 w 1646989"/>
              <a:gd name="connsiteY14" fmla="*/ -44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6989" h="371475">
                <a:moveTo>
                  <a:pt x="6562" y="-447"/>
                </a:moveTo>
                <a:lnTo>
                  <a:pt x="1437150" y="-447"/>
                </a:lnTo>
                <a:cubicBezTo>
                  <a:pt x="1458010" y="-447"/>
                  <a:pt x="1478013" y="7840"/>
                  <a:pt x="1492777" y="22584"/>
                </a:cubicBezTo>
                <a:lnTo>
                  <a:pt x="1639461" y="169298"/>
                </a:lnTo>
                <a:cubicBezTo>
                  <a:pt x="1648320" y="178128"/>
                  <a:pt x="1648320" y="192453"/>
                  <a:pt x="1639461" y="201283"/>
                </a:cubicBezTo>
                <a:lnTo>
                  <a:pt x="1471155" y="369628"/>
                </a:lnTo>
                <a:cubicBezTo>
                  <a:pt x="1470203" y="370523"/>
                  <a:pt x="1469060" y="371028"/>
                  <a:pt x="1467726" y="371028"/>
                </a:cubicBezTo>
                <a:lnTo>
                  <a:pt x="6896" y="371028"/>
                </a:lnTo>
                <a:cubicBezTo>
                  <a:pt x="2714" y="371028"/>
                  <a:pt x="-687" y="367628"/>
                  <a:pt x="-687" y="363446"/>
                </a:cubicBezTo>
                <a:cubicBezTo>
                  <a:pt x="-687" y="361427"/>
                  <a:pt x="114" y="359503"/>
                  <a:pt x="1533" y="358083"/>
                </a:cubicBezTo>
                <a:lnTo>
                  <a:pt x="161381" y="198235"/>
                </a:lnTo>
                <a:cubicBezTo>
                  <a:pt x="168525" y="191091"/>
                  <a:pt x="168525" y="179490"/>
                  <a:pt x="161381" y="172346"/>
                </a:cubicBezTo>
                <a:lnTo>
                  <a:pt x="1295" y="12259"/>
                </a:lnTo>
                <a:cubicBezTo>
                  <a:pt x="-1610" y="9354"/>
                  <a:pt x="-1610" y="4639"/>
                  <a:pt x="1295" y="1734"/>
                </a:cubicBezTo>
                <a:cubicBezTo>
                  <a:pt x="2695" y="334"/>
                  <a:pt x="4590" y="-447"/>
                  <a:pt x="6562" y="-447"/>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Jan</a:t>
            </a:r>
          </a:p>
        </p:txBody>
      </p:sp>
      <p:sp>
        <p:nvSpPr>
          <p:cNvPr id="150" name="Graphic 148">
            <a:extLst>
              <a:ext uri="{FF2B5EF4-FFF2-40B4-BE49-F238E27FC236}">
                <a16:creationId xmlns:a16="http://schemas.microsoft.com/office/drawing/2014/main" id="{2308D963-BAB0-885D-B952-48330EA4EAA4}"/>
              </a:ext>
            </a:extLst>
          </p:cNvPr>
          <p:cNvSpPr/>
          <p:nvPr/>
        </p:nvSpPr>
        <p:spPr>
          <a:xfrm>
            <a:off x="9953679" y="4259497"/>
            <a:ext cx="1668697" cy="373424"/>
          </a:xfrm>
          <a:custGeom>
            <a:avLst/>
            <a:gdLst>
              <a:gd name="connsiteX0" fmla="*/ 6562 w 1646989"/>
              <a:gd name="connsiteY0" fmla="*/ -447 h 371475"/>
              <a:gd name="connsiteX1" fmla="*/ 1437150 w 1646989"/>
              <a:gd name="connsiteY1" fmla="*/ -447 h 371475"/>
              <a:gd name="connsiteX2" fmla="*/ 1492777 w 1646989"/>
              <a:gd name="connsiteY2" fmla="*/ 22584 h 371475"/>
              <a:gd name="connsiteX3" fmla="*/ 1639461 w 1646989"/>
              <a:gd name="connsiteY3" fmla="*/ 169298 h 371475"/>
              <a:gd name="connsiteX4" fmla="*/ 1639461 w 1646989"/>
              <a:gd name="connsiteY4" fmla="*/ 201283 h 371475"/>
              <a:gd name="connsiteX5" fmla="*/ 1471155 w 1646989"/>
              <a:gd name="connsiteY5" fmla="*/ 369628 h 371475"/>
              <a:gd name="connsiteX6" fmla="*/ 1467726 w 1646989"/>
              <a:gd name="connsiteY6" fmla="*/ 371028 h 371475"/>
              <a:gd name="connsiteX7" fmla="*/ 6896 w 1646989"/>
              <a:gd name="connsiteY7" fmla="*/ 371028 h 371475"/>
              <a:gd name="connsiteX8" fmla="*/ -687 w 1646989"/>
              <a:gd name="connsiteY8" fmla="*/ 363446 h 371475"/>
              <a:gd name="connsiteX9" fmla="*/ 1533 w 1646989"/>
              <a:gd name="connsiteY9" fmla="*/ 358083 h 371475"/>
              <a:gd name="connsiteX10" fmla="*/ 161381 w 1646989"/>
              <a:gd name="connsiteY10" fmla="*/ 198235 h 371475"/>
              <a:gd name="connsiteX11" fmla="*/ 161381 w 1646989"/>
              <a:gd name="connsiteY11" fmla="*/ 172346 h 371475"/>
              <a:gd name="connsiteX12" fmla="*/ 1295 w 1646989"/>
              <a:gd name="connsiteY12" fmla="*/ 12259 h 371475"/>
              <a:gd name="connsiteX13" fmla="*/ 1295 w 1646989"/>
              <a:gd name="connsiteY13" fmla="*/ 1734 h 371475"/>
              <a:gd name="connsiteX14" fmla="*/ 6562 w 1646989"/>
              <a:gd name="connsiteY14" fmla="*/ -44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6989" h="371475">
                <a:moveTo>
                  <a:pt x="6562" y="-447"/>
                </a:moveTo>
                <a:lnTo>
                  <a:pt x="1437150" y="-447"/>
                </a:lnTo>
                <a:cubicBezTo>
                  <a:pt x="1458010" y="-447"/>
                  <a:pt x="1478013" y="7840"/>
                  <a:pt x="1492777" y="22584"/>
                </a:cubicBezTo>
                <a:lnTo>
                  <a:pt x="1639461" y="169298"/>
                </a:lnTo>
                <a:cubicBezTo>
                  <a:pt x="1648320" y="178128"/>
                  <a:pt x="1648320" y="192453"/>
                  <a:pt x="1639461" y="201283"/>
                </a:cubicBezTo>
                <a:lnTo>
                  <a:pt x="1471155" y="369628"/>
                </a:lnTo>
                <a:cubicBezTo>
                  <a:pt x="1470203" y="370523"/>
                  <a:pt x="1469060" y="371028"/>
                  <a:pt x="1467726" y="371028"/>
                </a:cubicBezTo>
                <a:lnTo>
                  <a:pt x="6896" y="371028"/>
                </a:lnTo>
                <a:cubicBezTo>
                  <a:pt x="2714" y="371028"/>
                  <a:pt x="-687" y="367628"/>
                  <a:pt x="-687" y="363446"/>
                </a:cubicBezTo>
                <a:cubicBezTo>
                  <a:pt x="-687" y="361427"/>
                  <a:pt x="114" y="359503"/>
                  <a:pt x="1533" y="358083"/>
                </a:cubicBezTo>
                <a:lnTo>
                  <a:pt x="161381" y="198235"/>
                </a:lnTo>
                <a:cubicBezTo>
                  <a:pt x="168525" y="191091"/>
                  <a:pt x="168525" y="179490"/>
                  <a:pt x="161381" y="172346"/>
                </a:cubicBezTo>
                <a:lnTo>
                  <a:pt x="1295" y="12259"/>
                </a:lnTo>
                <a:cubicBezTo>
                  <a:pt x="-1610" y="9354"/>
                  <a:pt x="-1610" y="4639"/>
                  <a:pt x="1295" y="1734"/>
                </a:cubicBezTo>
                <a:cubicBezTo>
                  <a:pt x="2695" y="334"/>
                  <a:pt x="4590" y="-447"/>
                  <a:pt x="6562" y="-447"/>
                </a:cubicBezTo>
                <a:close/>
              </a:path>
            </a:pathLst>
          </a:custGeom>
          <a:solidFill>
            <a:srgbClr val="2A446F"/>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Feb</a:t>
            </a:r>
          </a:p>
        </p:txBody>
      </p:sp>
      <p:sp>
        <p:nvSpPr>
          <p:cNvPr id="93" name="TextBox 92">
            <a:extLst>
              <a:ext uri="{FF2B5EF4-FFF2-40B4-BE49-F238E27FC236}">
                <a16:creationId xmlns:a16="http://schemas.microsoft.com/office/drawing/2014/main" id="{A2DB38D5-9034-CA53-4B59-54C2F5603FD5}"/>
              </a:ext>
            </a:extLst>
          </p:cNvPr>
          <p:cNvSpPr txBox="1"/>
          <p:nvPr/>
        </p:nvSpPr>
        <p:spPr>
          <a:xfrm>
            <a:off x="8511152" y="3954501"/>
            <a:ext cx="26930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Text Semibold"/>
                <a:ea typeface="+mn-ea"/>
                <a:cs typeface="+mn-cs"/>
              </a:rPr>
              <a:t>Q3</a:t>
            </a:r>
          </a:p>
        </p:txBody>
      </p:sp>
      <p:sp>
        <p:nvSpPr>
          <p:cNvPr id="41" name="Rectangle: Rounded Corners 40">
            <a:extLst>
              <a:ext uri="{FF2B5EF4-FFF2-40B4-BE49-F238E27FC236}">
                <a16:creationId xmlns:a16="http://schemas.microsoft.com/office/drawing/2014/main" id="{12E1842B-B3DE-8894-A253-F581BECDD3B1}"/>
              </a:ext>
              <a:ext uri="{C183D7F6-B498-43B3-948B-1728B52AA6E4}">
                <adec:decorative xmlns:adec="http://schemas.microsoft.com/office/drawing/2017/decorative" val="1"/>
              </a:ext>
            </a:extLst>
          </p:cNvPr>
          <p:cNvSpPr>
            <a:spLocks/>
          </p:cNvSpPr>
          <p:nvPr/>
        </p:nvSpPr>
        <p:spPr bwMode="auto">
          <a:xfrm>
            <a:off x="10013949" y="4744180"/>
            <a:ext cx="1606551" cy="1618520"/>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42" name="TextBox 41">
            <a:extLst>
              <a:ext uri="{FF2B5EF4-FFF2-40B4-BE49-F238E27FC236}">
                <a16:creationId xmlns:a16="http://schemas.microsoft.com/office/drawing/2014/main" id="{D2BA994C-512C-9C88-3318-F0C238A57366}"/>
              </a:ext>
            </a:extLst>
          </p:cNvPr>
          <p:cNvSpPr txBox="1"/>
          <p:nvPr/>
        </p:nvSpPr>
        <p:spPr>
          <a:xfrm>
            <a:off x="8947347" y="2517152"/>
            <a:ext cx="2490819" cy="26866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ts val="107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mn-cs"/>
              </a:rPr>
              <a:t>Latest updates via Communities, </a:t>
            </a:r>
            <a:r>
              <a:rPr kumimoji="0" lang="en-US" sz="800" b="0" i="0" u="none" strike="noStrike" kern="1200" cap="none" spc="0" normalizeH="0" baseline="0" noProof="0" err="1">
                <a:ln>
                  <a:noFill/>
                </a:ln>
                <a:solidFill>
                  <a:srgbClr val="000000"/>
                </a:solidFill>
                <a:effectLst/>
                <a:uLnTx/>
                <a:uFillTx/>
                <a:latin typeface="Segoe Sans Text Semibold"/>
                <a:ea typeface="+mn-ea"/>
                <a:cs typeface="+mn-cs"/>
              </a:rPr>
              <a:t>LevelUps</a:t>
            </a:r>
            <a:r>
              <a:rPr kumimoji="0" lang="en-US" sz="800" b="0" i="0" u="none" strike="noStrike" kern="1200" cap="none" spc="0" normalizeH="0" baseline="0" noProof="0">
                <a:ln>
                  <a:noFill/>
                </a:ln>
                <a:solidFill>
                  <a:srgbClr val="000000"/>
                </a:solidFill>
                <a:effectLst/>
                <a:uLnTx/>
                <a:uFillTx/>
                <a:latin typeface="Segoe Sans Text Semibold"/>
                <a:ea typeface="+mn-ea"/>
                <a:cs typeface="+mn-cs"/>
              </a:rPr>
              <a:t>, Offer &amp; IP Updates, VBD Updates</a:t>
            </a:r>
          </a:p>
        </p:txBody>
      </p:sp>
      <p:sp>
        <p:nvSpPr>
          <p:cNvPr id="45" name="TextBox 44">
            <a:extLst>
              <a:ext uri="{FF2B5EF4-FFF2-40B4-BE49-F238E27FC236}">
                <a16:creationId xmlns:a16="http://schemas.microsoft.com/office/drawing/2014/main" id="{F6DDF417-AE12-9474-5247-0C96987886CA}"/>
              </a:ext>
            </a:extLst>
          </p:cNvPr>
          <p:cNvSpPr txBox="1"/>
          <p:nvPr/>
        </p:nvSpPr>
        <p:spPr>
          <a:xfrm>
            <a:off x="10083788" y="2786160"/>
            <a:ext cx="270908" cy="12759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ctr" defTabSz="914400" rtl="0" eaLnBrk="1" fontAlgn="auto" latinLnBrk="0" hangingPunct="1">
              <a:lnSpc>
                <a:spcPts val="1070"/>
              </a:lnSpc>
              <a:spcBef>
                <a:spcPts val="0"/>
              </a:spcBef>
              <a:spcAft>
                <a:spcPts val="0"/>
              </a:spcAft>
              <a:buClrTx/>
              <a:buSzTx/>
              <a:buFontTx/>
              <a:buNone/>
              <a:tabLst/>
              <a:defRPr/>
            </a:pPr>
            <a:r>
              <a:rPr kumimoji="0" lang="en-US" sz="800" b="1" i="0" u="none" strike="noStrike" kern="1200" cap="none" spc="0" normalizeH="0" baseline="0" noProof="0">
                <a:ln>
                  <a:noFill/>
                </a:ln>
                <a:solidFill>
                  <a:srgbClr val="0078D4"/>
                </a:solidFill>
                <a:effectLst/>
                <a:uLnTx/>
                <a:uFillTx/>
                <a:latin typeface="Segoe Sans Text Semibold"/>
                <a:ea typeface="+mn-ea"/>
                <a:cs typeface="+mn-cs"/>
              </a:rPr>
              <a:t>Ignite</a:t>
            </a:r>
          </a:p>
        </p:txBody>
      </p:sp>
      <p:sp>
        <p:nvSpPr>
          <p:cNvPr id="116" name="TextBox 115">
            <a:extLst>
              <a:ext uri="{FF2B5EF4-FFF2-40B4-BE49-F238E27FC236}">
                <a16:creationId xmlns:a16="http://schemas.microsoft.com/office/drawing/2014/main" id="{7D09CF66-5954-48DD-211D-450CE84E7305}"/>
              </a:ext>
            </a:extLst>
          </p:cNvPr>
          <p:cNvSpPr txBox="1"/>
          <p:nvPr/>
        </p:nvSpPr>
        <p:spPr>
          <a:xfrm>
            <a:off x="365596" y="2813064"/>
            <a:ext cx="2757018"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MCAPS Q4 Skills Challenge</a:t>
            </a:r>
            <a:br>
              <a:rPr kumimoji="0" lang="en-US" sz="1800" b="0" i="0" u="none" strike="noStrike" kern="1200" cap="none" spc="0" normalizeH="0" baseline="0" noProof="0">
                <a:ln>
                  <a:noFill/>
                </a:ln>
                <a:solidFill>
                  <a:srgbClr val="0078D4">
                    <a:lumMod val="75000"/>
                  </a:srgbClr>
                </a:solidFill>
                <a:effectLst/>
                <a:uLnTx/>
                <a:uFillTx/>
                <a:latin typeface="Segoe Sans Text Semibold"/>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April 24–June 23, published in Viva April 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Required, All MCAPS</a:t>
            </a:r>
          </a:p>
        </p:txBody>
      </p:sp>
      <p:sp>
        <p:nvSpPr>
          <p:cNvPr id="82" name="Rounded Rectangle 18">
            <a:extLst>
              <a:ext uri="{FF2B5EF4-FFF2-40B4-BE49-F238E27FC236}">
                <a16:creationId xmlns:a16="http://schemas.microsoft.com/office/drawing/2014/main" id="{D6D1D915-C3DC-3338-083A-B857D223945E}"/>
              </a:ext>
            </a:extLst>
          </p:cNvPr>
          <p:cNvSpPr/>
          <p:nvPr/>
        </p:nvSpPr>
        <p:spPr bwMode="auto">
          <a:xfrm>
            <a:off x="365596" y="3360850"/>
            <a:ext cx="1265279"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AI Business Solutions</a:t>
            </a:r>
          </a:p>
        </p:txBody>
      </p:sp>
      <p:sp>
        <p:nvSpPr>
          <p:cNvPr id="83" name="Rounded Rectangle 39">
            <a:extLst>
              <a:ext uri="{FF2B5EF4-FFF2-40B4-BE49-F238E27FC236}">
                <a16:creationId xmlns:a16="http://schemas.microsoft.com/office/drawing/2014/main" id="{B2DABDBD-51BC-5B65-B159-A24DF2CA120C}"/>
              </a:ext>
            </a:extLst>
          </p:cNvPr>
          <p:cNvSpPr/>
          <p:nvPr/>
        </p:nvSpPr>
        <p:spPr bwMode="auto">
          <a:xfrm>
            <a:off x="365596" y="3652945"/>
            <a:ext cx="1265279"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Security</a:t>
            </a:r>
          </a:p>
        </p:txBody>
      </p:sp>
      <p:sp>
        <p:nvSpPr>
          <p:cNvPr id="85" name="Rounded Rectangle 49">
            <a:extLst>
              <a:ext uri="{FF2B5EF4-FFF2-40B4-BE49-F238E27FC236}">
                <a16:creationId xmlns:a16="http://schemas.microsoft.com/office/drawing/2014/main" id="{43F7362F-9CB4-CB3E-AB7E-1E748E47DBF7}"/>
              </a:ext>
            </a:extLst>
          </p:cNvPr>
          <p:cNvSpPr/>
          <p:nvPr/>
        </p:nvSpPr>
        <p:spPr bwMode="auto">
          <a:xfrm>
            <a:off x="365596" y="3936722"/>
            <a:ext cx="1265279" cy="395954"/>
          </a:xfrm>
          <a:prstGeom prst="roundRect">
            <a:avLst>
              <a:gd name="adj" fmla="val 10574"/>
            </a:avLst>
          </a:prstGeom>
          <a:solidFill>
            <a:schemeClr val="bg1">
              <a:lumMod val="95000"/>
            </a:schemeClr>
          </a:solid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78D4">
                    <a:lumMod val="50000"/>
                  </a:srgbClr>
                </a:solidFill>
                <a:effectLst/>
                <a:uLnTx/>
                <a:uFillTx/>
                <a:latin typeface="Segoe Sans Text"/>
                <a:ea typeface="+mn-ea"/>
                <a:cs typeface="+mn-cs"/>
              </a:rPr>
              <a:t>Cloud &amp; AI</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78D4">
                    <a:lumMod val="50000"/>
                  </a:srgbClr>
                </a:solidFill>
                <a:effectLst/>
                <a:uLnTx/>
                <a:uFillTx/>
                <a:latin typeface="Segoe Sans Text"/>
                <a:ea typeface="+mn-ea"/>
                <a:cs typeface="+mn-cs"/>
              </a:rPr>
              <a:t>(Infra, Data, AI, App Innovation)</a:t>
            </a:r>
            <a:endParaRPr kumimoji="0" lang="en-US" sz="1000" b="0" i="0" u="none" strike="noStrike" kern="1200" cap="none" spc="0" normalizeH="0" baseline="0" noProof="0">
              <a:ln>
                <a:noFill/>
              </a:ln>
              <a:solidFill>
                <a:srgbClr val="0078D4">
                  <a:lumMod val="50000"/>
                </a:srgbClr>
              </a:solidFill>
              <a:effectLst/>
              <a:uLnTx/>
              <a:uFillTx/>
              <a:latin typeface="Segoe Sans Text"/>
              <a:ea typeface="+mn-ea"/>
              <a:cs typeface="+mn-cs"/>
            </a:endParaRPr>
          </a:p>
        </p:txBody>
      </p:sp>
      <p:sp>
        <p:nvSpPr>
          <p:cNvPr id="138" name="TextBox 137">
            <a:extLst>
              <a:ext uri="{FF2B5EF4-FFF2-40B4-BE49-F238E27FC236}">
                <a16:creationId xmlns:a16="http://schemas.microsoft.com/office/drawing/2014/main" id="{4DB617B7-217E-2967-2A7E-779B832D82AA}"/>
              </a:ext>
            </a:extLst>
          </p:cNvPr>
          <p:cNvSpPr txBox="1"/>
          <p:nvPr/>
        </p:nvSpPr>
        <p:spPr>
          <a:xfrm>
            <a:off x="1720486" y="3418975"/>
            <a:ext cx="1430943" cy="900503"/>
          </a:xfrm>
          <a:prstGeom prst="rect">
            <a:avLst/>
          </a:prstGeom>
          <a:noFill/>
        </p:spPr>
        <p:txBody>
          <a:bodyPr wrap="square" lIns="0" tIns="0" rIns="0" bIns="0"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Segoe Sans Text"/>
                <a:ea typeface="+mn-ea"/>
                <a:cs typeface="+mn-cs"/>
              </a:rPr>
              <a:t>To build a solid foundation of baseline skills, strengthening understanding and communication of the Microsoft AI solutions differentiated story</a:t>
            </a:r>
          </a:p>
        </p:txBody>
      </p:sp>
      <p:sp>
        <p:nvSpPr>
          <p:cNvPr id="136" name="Text Placeholder 37">
            <a:extLst>
              <a:ext uri="{FF2B5EF4-FFF2-40B4-BE49-F238E27FC236}">
                <a16:creationId xmlns:a16="http://schemas.microsoft.com/office/drawing/2014/main" id="{C7CBFE52-5945-103D-0C23-A4D4EAD16C68}"/>
              </a:ext>
            </a:extLst>
          </p:cNvPr>
          <p:cNvSpPr txBox="1">
            <a:spLocks/>
          </p:cNvSpPr>
          <p:nvPr/>
        </p:nvSpPr>
        <p:spPr>
          <a:xfrm>
            <a:off x="365596" y="5004280"/>
            <a:ext cx="2721344" cy="703526"/>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b="1" i="0" kern="1200" spc="0" baseline="0">
                <a:solidFill>
                  <a:schemeClr val="tx1"/>
                </a:soli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Technical Roles </a:t>
            </a:r>
          </a:p>
          <a:p>
            <a:pPr marL="0" marR="0" lvl="0" indent="0" algn="l" defTabSz="932742" rtl="0" eaLnBrk="1" fontAlgn="auto" latinLnBrk="0" hangingPunct="1">
              <a:lnSpc>
                <a:spcPct val="110000"/>
              </a:lnSpc>
              <a:spcBef>
                <a:spcPts val="0"/>
              </a:spcBef>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1. Landing Microsoft’s differentiated story</a:t>
            </a:r>
          </a:p>
          <a:p>
            <a:pPr marL="0" marR="0" lvl="0" indent="0" algn="l" defTabSz="932742" rtl="0" eaLnBrk="1" fontAlgn="auto" latinLnBrk="0" hangingPunct="1">
              <a:lnSpc>
                <a:spcPct val="110000"/>
              </a:lnSpc>
              <a:spcBef>
                <a:spcPts val="0"/>
              </a:spcBef>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2. Demoing Copilot Studio to a technical leader</a:t>
            </a:r>
          </a:p>
          <a:p>
            <a:pPr marL="0" marR="0" lvl="0" indent="0" algn="l" defTabSz="932742" rtl="0" eaLnBrk="1" fontAlgn="auto" latinLnBrk="0" hangingPunct="1">
              <a:lnSpc>
                <a:spcPct val="110000"/>
              </a:lnSpc>
              <a:spcBef>
                <a:spcPts val="0"/>
              </a:spcBef>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3. Leading an Architecture Design Workshop (ADW) with a technical leader</a:t>
            </a:r>
          </a:p>
        </p:txBody>
      </p:sp>
      <p:sp>
        <p:nvSpPr>
          <p:cNvPr id="137" name="Text Placeholder 37">
            <a:extLst>
              <a:ext uri="{FF2B5EF4-FFF2-40B4-BE49-F238E27FC236}">
                <a16:creationId xmlns:a16="http://schemas.microsoft.com/office/drawing/2014/main" id="{A17B1ED4-7929-EAD8-6949-8136E44C9D1A}"/>
              </a:ext>
            </a:extLst>
          </p:cNvPr>
          <p:cNvSpPr txBox="1">
            <a:spLocks/>
          </p:cNvSpPr>
          <p:nvPr/>
        </p:nvSpPr>
        <p:spPr>
          <a:xfrm>
            <a:off x="365596" y="5742105"/>
            <a:ext cx="3006478" cy="568104"/>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b="1" i="0" kern="1200" spc="0" baseline="0">
                <a:solidFill>
                  <a:schemeClr val="tx1"/>
                </a:soli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Managers</a:t>
            </a: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 (Sales Managers and Technical Managers)</a:t>
            </a:r>
          </a:p>
          <a:p>
            <a:pPr marL="0" marR="0" lvl="0" indent="0" algn="l" defTabSz="932742" rtl="0" eaLnBrk="1" fontAlgn="auto" latinLnBrk="0" hangingPunct="1">
              <a:lnSpc>
                <a:spcPct val="110000"/>
              </a:lnSpc>
              <a:spcBef>
                <a:spcPts val="0"/>
              </a:spcBef>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1. Landing Microsoft’s differentiated story</a:t>
            </a:r>
          </a:p>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2. Change Management/Leading Through Change</a:t>
            </a:r>
          </a:p>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3. Driving a High-Performance Culture</a:t>
            </a:r>
          </a:p>
        </p:txBody>
      </p:sp>
      <p:sp>
        <p:nvSpPr>
          <p:cNvPr id="139" name="Text Placeholder 37">
            <a:extLst>
              <a:ext uri="{FF2B5EF4-FFF2-40B4-BE49-F238E27FC236}">
                <a16:creationId xmlns:a16="http://schemas.microsoft.com/office/drawing/2014/main" id="{4E164814-3D4B-782F-2160-BC78948522E8}"/>
              </a:ext>
            </a:extLst>
          </p:cNvPr>
          <p:cNvSpPr txBox="1">
            <a:spLocks/>
          </p:cNvSpPr>
          <p:nvPr/>
        </p:nvSpPr>
        <p:spPr>
          <a:xfrm>
            <a:off x="365596" y="4401878"/>
            <a:ext cx="2511317" cy="568104"/>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b="1" i="0" kern="1200" spc="0" baseline="0">
                <a:solidFill>
                  <a:schemeClr val="tx1"/>
                </a:soli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Sales Roles </a:t>
            </a:r>
          </a:p>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1. Landing Microsoft’s differentiated story</a:t>
            </a:r>
          </a:p>
          <a:p>
            <a:pPr marL="0" marR="0" lvl="0" indent="0" algn="l" defTabSz="932742" rtl="0" eaLnBrk="1" fontAlgn="auto" latinLnBrk="0" hangingPunct="1">
              <a:lnSpc>
                <a:spcPct val="110000"/>
              </a:lnSpc>
              <a:spcBef>
                <a:spcPts val="0"/>
              </a:spcBef>
              <a:spcAft>
                <a:spcPts val="1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2. Consultative selling – how to “listen and consult”</a:t>
            </a:r>
          </a:p>
          <a:p>
            <a:pPr marL="0" marR="0" lvl="0" indent="0" algn="l" defTabSz="932742" rtl="0" eaLnBrk="1" fontAlgn="auto" latinLnBrk="0" hangingPunct="1">
              <a:lnSpc>
                <a:spcPct val="110000"/>
              </a:lnSpc>
              <a:spcBef>
                <a:spcPts val="0"/>
              </a:spcBef>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3. Demoing Copilot to a customer executive</a:t>
            </a:r>
          </a:p>
        </p:txBody>
      </p:sp>
      <p:cxnSp>
        <p:nvCxnSpPr>
          <p:cNvPr id="66" name="Straight Arrow Connector 65">
            <a:extLst>
              <a:ext uri="{FF2B5EF4-FFF2-40B4-BE49-F238E27FC236}">
                <a16:creationId xmlns:a16="http://schemas.microsoft.com/office/drawing/2014/main" id="{989A66B5-9A56-4454-700B-1C857A487F03}"/>
              </a:ext>
              <a:ext uri="{C183D7F6-B498-43B3-948B-1728B52AA6E4}">
                <adec:decorative xmlns:adec="http://schemas.microsoft.com/office/drawing/2017/decorative" val="1"/>
              </a:ext>
            </a:extLst>
          </p:cNvPr>
          <p:cNvCxnSpPr>
            <a:cxnSpLocks/>
            <a:stCxn id="75" idx="0"/>
          </p:cNvCxnSpPr>
          <p:nvPr/>
        </p:nvCxnSpPr>
        <p:spPr>
          <a:xfrm>
            <a:off x="3949197" y="2566386"/>
            <a:ext cx="0" cy="203760"/>
          </a:xfrm>
          <a:prstGeom prst="straightConnector1">
            <a:avLst/>
          </a:prstGeom>
          <a:ln w="6350">
            <a:solidFill>
              <a:schemeClr val="bg1">
                <a:lumMod val="75000"/>
              </a:schemeClr>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0A3A314-43A3-BE41-DCEB-F3ABC8AA38A8}"/>
              </a:ext>
            </a:extLst>
          </p:cNvPr>
          <p:cNvSpPr txBox="1"/>
          <p:nvPr/>
        </p:nvSpPr>
        <p:spPr>
          <a:xfrm>
            <a:off x="3418676" y="2813064"/>
            <a:ext cx="1862195" cy="80021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Skilling Plan by Role </a:t>
            </a:r>
            <a:br>
              <a:rPr kumimoji="0" lang="en-US" sz="1800" b="0" i="0" u="none" strike="noStrike" kern="1200" cap="none" spc="0" normalizeH="0" baseline="0" noProof="0">
                <a:ln>
                  <a:noFill/>
                </a:ln>
                <a:solidFill>
                  <a:srgbClr val="0078D4">
                    <a:lumMod val="75000"/>
                  </a:srgbClr>
                </a:solidFill>
                <a:effectLst/>
                <a:uLnTx/>
                <a:uFillTx/>
                <a:latin typeface="Segoe Sans Text Semibold"/>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Announced July 1</a:t>
            </a:r>
            <a:br>
              <a:rPr kumimoji="0" lang="en-US" sz="1000" b="0" i="0"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Published in Viva July 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MC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All roles, </a:t>
            </a:r>
            <a:r>
              <a:rPr kumimoji="0" lang="en-US" sz="1000" b="0" i="1" u="none" strike="noStrike" kern="1200" cap="none" spc="0" normalizeH="0" baseline="0" noProof="0">
                <a:ln>
                  <a:noFill/>
                </a:ln>
                <a:solidFill>
                  <a:srgbClr val="0078D4"/>
                </a:solidFill>
                <a:effectLst/>
                <a:uLnTx/>
                <a:uFillTx/>
                <a:latin typeface="Segoe Sans Text"/>
                <a:ea typeface="+mn-ea"/>
                <a:cs typeface="+mn-cs"/>
              </a:rPr>
              <a:t>Copilot Enabled</a:t>
            </a:r>
          </a:p>
        </p:txBody>
      </p:sp>
      <p:sp>
        <p:nvSpPr>
          <p:cNvPr id="87" name="Rounded Rectangle 18">
            <a:extLst>
              <a:ext uri="{FF2B5EF4-FFF2-40B4-BE49-F238E27FC236}">
                <a16:creationId xmlns:a16="http://schemas.microsoft.com/office/drawing/2014/main" id="{6EA7FDA3-27CB-6535-0141-D43C08B1EBDC}"/>
              </a:ext>
            </a:extLst>
          </p:cNvPr>
          <p:cNvSpPr/>
          <p:nvPr/>
        </p:nvSpPr>
        <p:spPr bwMode="auto">
          <a:xfrm>
            <a:off x="3414156" y="3780975"/>
            <a:ext cx="1828404"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AI Business Solutions</a:t>
            </a:r>
          </a:p>
        </p:txBody>
      </p:sp>
      <p:sp>
        <p:nvSpPr>
          <p:cNvPr id="88" name="Rounded Rectangle 39">
            <a:extLst>
              <a:ext uri="{FF2B5EF4-FFF2-40B4-BE49-F238E27FC236}">
                <a16:creationId xmlns:a16="http://schemas.microsoft.com/office/drawing/2014/main" id="{6B99A5FC-48D8-0D45-EEEA-5B25E39813AF}"/>
              </a:ext>
            </a:extLst>
          </p:cNvPr>
          <p:cNvSpPr/>
          <p:nvPr/>
        </p:nvSpPr>
        <p:spPr bwMode="auto">
          <a:xfrm>
            <a:off x="3414156" y="4068694"/>
            <a:ext cx="1828404"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Security</a:t>
            </a:r>
          </a:p>
        </p:txBody>
      </p:sp>
      <p:sp>
        <p:nvSpPr>
          <p:cNvPr id="89" name="Rounded Rectangle 49">
            <a:extLst>
              <a:ext uri="{FF2B5EF4-FFF2-40B4-BE49-F238E27FC236}">
                <a16:creationId xmlns:a16="http://schemas.microsoft.com/office/drawing/2014/main" id="{35D9BF59-A9BD-F394-9AA1-C80C7963B36B}"/>
              </a:ext>
            </a:extLst>
          </p:cNvPr>
          <p:cNvSpPr/>
          <p:nvPr/>
        </p:nvSpPr>
        <p:spPr bwMode="auto">
          <a:xfrm>
            <a:off x="3414156" y="4356413"/>
            <a:ext cx="1828404" cy="395954"/>
          </a:xfrm>
          <a:prstGeom prst="roundRect">
            <a:avLst>
              <a:gd name="adj" fmla="val 10574"/>
            </a:avLst>
          </a:prstGeom>
          <a:solidFill>
            <a:schemeClr val="bg1">
              <a:lumMod val="95000"/>
            </a:schemeClr>
          </a:solidFill>
          <a:ln w="1270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78D4">
                    <a:lumMod val="50000"/>
                  </a:srgbClr>
                </a:solidFill>
                <a:effectLst/>
                <a:uLnTx/>
                <a:uFillTx/>
                <a:latin typeface="Segoe Sans Text"/>
                <a:ea typeface="+mn-ea"/>
                <a:cs typeface="+mn-cs"/>
              </a:rPr>
              <a:t>Cloud &amp; AI</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78D4">
                    <a:lumMod val="50000"/>
                  </a:srgbClr>
                </a:solidFill>
                <a:effectLst/>
                <a:uLnTx/>
                <a:uFillTx/>
                <a:latin typeface="Segoe Sans Text"/>
                <a:ea typeface="+mn-ea"/>
                <a:cs typeface="+mn-cs"/>
              </a:rPr>
              <a:t>(Infra, Data, AI App)</a:t>
            </a:r>
          </a:p>
        </p:txBody>
      </p:sp>
      <p:sp>
        <p:nvSpPr>
          <p:cNvPr id="144" name="Text Placeholder 37">
            <a:extLst>
              <a:ext uri="{FF2B5EF4-FFF2-40B4-BE49-F238E27FC236}">
                <a16:creationId xmlns:a16="http://schemas.microsoft.com/office/drawing/2014/main" id="{A91E871D-7A7D-CFA9-AA0C-1C40709577CD}"/>
              </a:ext>
            </a:extLst>
          </p:cNvPr>
          <p:cNvSpPr txBox="1">
            <a:spLocks/>
          </p:cNvSpPr>
          <p:nvPr/>
        </p:nvSpPr>
        <p:spPr>
          <a:xfrm>
            <a:off x="3418676" y="4830657"/>
            <a:ext cx="1331528" cy="1379095"/>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b="1" i="0" kern="1200" spc="0" baseline="0">
                <a:solidFill>
                  <a:schemeClr val="tx1"/>
                </a:soli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10000"/>
              </a:lnSpc>
              <a:spcBef>
                <a:spcPts val="0"/>
              </a:spcBef>
              <a:spcAft>
                <a:spcPts val="2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Cloud &amp; AI CSU Role </a:t>
            </a:r>
            <a:endParaRPr lang="en-US" sz="800" b="0">
              <a:solidFill>
                <a:srgbClr val="000000"/>
              </a:solidFill>
              <a:latin typeface="Segoe Sans Text Semibold"/>
            </a:endParaRPr>
          </a:p>
          <a:p>
            <a:pPr marL="0" marR="0" lvl="0" indent="0" algn="l" defTabSz="932742" rtl="0" eaLnBrk="1" fontAlgn="auto" latinLnBrk="0" hangingPunct="1">
              <a:lnSpc>
                <a:spcPct val="110000"/>
              </a:lnSpc>
              <a:spcBef>
                <a:spcPts val="0"/>
              </a:spcBef>
              <a:spcAft>
                <a:spcPts val="2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Topics: </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1. Certifications</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2. On Demand Labs</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3. Online Courses</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4. Delivery Excellence</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5. Consultative Skilling</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6. Operational Excellence</a:t>
            </a:r>
          </a:p>
        </p:txBody>
      </p:sp>
      <p:sp>
        <p:nvSpPr>
          <p:cNvPr id="95" name="TextBox 94">
            <a:extLst>
              <a:ext uri="{FF2B5EF4-FFF2-40B4-BE49-F238E27FC236}">
                <a16:creationId xmlns:a16="http://schemas.microsoft.com/office/drawing/2014/main" id="{905CD060-C761-6A0A-2337-80D4992489A6}"/>
              </a:ext>
            </a:extLst>
          </p:cNvPr>
          <p:cNvSpPr txBox="1"/>
          <p:nvPr/>
        </p:nvSpPr>
        <p:spPr>
          <a:xfrm>
            <a:off x="5492561" y="2813064"/>
            <a:ext cx="1862195" cy="80021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Role Immersions </a:t>
            </a:r>
            <a:br>
              <a:rPr kumimoji="0" lang="en-US" sz="1800" b="0" i="0" u="none" strike="noStrike" kern="1200" cap="none" spc="0" normalizeH="0" baseline="0" noProof="0">
                <a:ln>
                  <a:noFill/>
                </a:ln>
                <a:solidFill>
                  <a:srgbClr val="0078D4">
                    <a:lumMod val="75000"/>
                  </a:srgbClr>
                </a:solidFill>
                <a:effectLst/>
                <a:uLnTx/>
                <a:uFillTx/>
                <a:latin typeface="Segoe Sans Text Semibold"/>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Virtual Live events</a:t>
            </a:r>
            <a:br>
              <a:rPr kumimoji="0" lang="en-US" sz="1000" b="0" i="0"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July 21–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STU + CSU + SME&amp;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All roles</a:t>
            </a:r>
          </a:p>
        </p:txBody>
      </p:sp>
      <p:sp>
        <p:nvSpPr>
          <p:cNvPr id="108" name="Rounded Rectangle 18">
            <a:extLst>
              <a:ext uri="{FF2B5EF4-FFF2-40B4-BE49-F238E27FC236}">
                <a16:creationId xmlns:a16="http://schemas.microsoft.com/office/drawing/2014/main" id="{DE9C18F5-25BC-DC96-9B65-3B5309A38782}"/>
              </a:ext>
            </a:extLst>
          </p:cNvPr>
          <p:cNvSpPr/>
          <p:nvPr/>
        </p:nvSpPr>
        <p:spPr bwMode="auto">
          <a:xfrm>
            <a:off x="5482583" y="3780975"/>
            <a:ext cx="1851412"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AI Business Solutions</a:t>
            </a:r>
          </a:p>
        </p:txBody>
      </p:sp>
      <p:sp>
        <p:nvSpPr>
          <p:cNvPr id="109" name="Rounded Rectangle 39">
            <a:extLst>
              <a:ext uri="{FF2B5EF4-FFF2-40B4-BE49-F238E27FC236}">
                <a16:creationId xmlns:a16="http://schemas.microsoft.com/office/drawing/2014/main" id="{FC9A6BDA-5364-63EA-8691-EE29F69745C9}"/>
              </a:ext>
            </a:extLst>
          </p:cNvPr>
          <p:cNvSpPr/>
          <p:nvPr/>
        </p:nvSpPr>
        <p:spPr bwMode="auto">
          <a:xfrm>
            <a:off x="5482583" y="4068694"/>
            <a:ext cx="1851412" cy="24200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Security</a:t>
            </a:r>
          </a:p>
        </p:txBody>
      </p:sp>
      <p:sp>
        <p:nvSpPr>
          <p:cNvPr id="110" name="Rounded Rectangle 49">
            <a:extLst>
              <a:ext uri="{FF2B5EF4-FFF2-40B4-BE49-F238E27FC236}">
                <a16:creationId xmlns:a16="http://schemas.microsoft.com/office/drawing/2014/main" id="{FD032F2D-6B01-92F1-A71A-44BFDBEE3B50}"/>
              </a:ext>
            </a:extLst>
          </p:cNvPr>
          <p:cNvSpPr/>
          <p:nvPr/>
        </p:nvSpPr>
        <p:spPr bwMode="auto">
          <a:xfrm>
            <a:off x="5482583" y="4356413"/>
            <a:ext cx="1851412" cy="395954"/>
          </a:xfrm>
          <a:prstGeom prst="roundRect">
            <a:avLst>
              <a:gd name="adj" fmla="val 10574"/>
            </a:avLst>
          </a:prstGeom>
          <a:solidFill>
            <a:schemeClr val="bg1">
              <a:lumMod val="95000"/>
            </a:schemeClr>
          </a:solidFill>
          <a:ln w="38100">
            <a:solidFill>
              <a:srgbClr val="C03BC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78D4">
                    <a:lumMod val="50000"/>
                  </a:srgbClr>
                </a:solidFill>
                <a:effectLst/>
                <a:uLnTx/>
                <a:uFillTx/>
                <a:latin typeface="Segoe Sans Text"/>
                <a:ea typeface="+mn-ea"/>
                <a:cs typeface="+mn-cs"/>
              </a:rPr>
              <a:t>Cloud &amp; AI</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78D4">
                    <a:lumMod val="50000"/>
                  </a:srgbClr>
                </a:solidFill>
                <a:effectLst/>
                <a:uLnTx/>
                <a:uFillTx/>
                <a:latin typeface="Segoe Sans Text"/>
                <a:ea typeface="+mn-ea"/>
                <a:cs typeface="+mn-cs"/>
              </a:rPr>
              <a:t>(Infra, Data, AI App)</a:t>
            </a:r>
          </a:p>
        </p:txBody>
      </p:sp>
      <p:sp>
        <p:nvSpPr>
          <p:cNvPr id="145" name="Text Placeholder 37">
            <a:extLst>
              <a:ext uri="{FF2B5EF4-FFF2-40B4-BE49-F238E27FC236}">
                <a16:creationId xmlns:a16="http://schemas.microsoft.com/office/drawing/2014/main" id="{0CA970C7-5B58-3108-5DC1-CDBC3F66590A}"/>
              </a:ext>
            </a:extLst>
          </p:cNvPr>
          <p:cNvSpPr txBox="1">
            <a:spLocks/>
          </p:cNvSpPr>
          <p:nvPr/>
        </p:nvSpPr>
        <p:spPr>
          <a:xfrm>
            <a:off x="5492561" y="4830657"/>
            <a:ext cx="1606551" cy="1437573"/>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b="1" i="0" kern="1200" spc="0" baseline="0">
                <a:solidFill>
                  <a:schemeClr val="tx1"/>
                </a:solidFill>
                <a:latin typeface="Segoe Sans Display" pitchFamily="2" charset="0"/>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10000"/>
              </a:lnSpc>
              <a:spcBef>
                <a:spcPts val="0"/>
              </a:spcBef>
              <a:spcAft>
                <a:spcPts val="200"/>
              </a:spcAft>
              <a:buClrTx/>
              <a:buSzTx/>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Segoe Sans Text Semibold"/>
                <a:ea typeface="+mn-ea"/>
                <a:cs typeface="Segoe Sans Display" pitchFamily="2" charset="0"/>
              </a:rPr>
              <a:t>Cloud &amp; AI CSU Role Immersion will cover the following topics:</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1. Solution Area Strategy</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2. Role Evolution &amp; Orchestration STU/CSU</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3. Delivery Execution, Programs &amp; Offers in FY26</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4. Operational Excellence </a:t>
            </a:r>
          </a:p>
          <a:p>
            <a:pPr marL="0" marR="0" lvl="0" indent="0" algn="l" defTabSz="932742" rtl="0" eaLnBrk="1" fontAlgn="auto" latinLnBrk="0" hangingPunct="1">
              <a:lnSpc>
                <a:spcPct val="11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Segoe Sans Display" pitchFamily="2" charset="0"/>
              </a:rPr>
              <a:t>5. Technical Intensity</a:t>
            </a:r>
          </a:p>
        </p:txBody>
      </p:sp>
      <p:sp>
        <p:nvSpPr>
          <p:cNvPr id="99" name="TextBox 98">
            <a:extLst>
              <a:ext uri="{FF2B5EF4-FFF2-40B4-BE49-F238E27FC236}">
                <a16:creationId xmlns:a16="http://schemas.microsoft.com/office/drawing/2014/main" id="{4DFD513B-AB76-89A2-C202-348286F2D160}"/>
              </a:ext>
            </a:extLst>
          </p:cNvPr>
          <p:cNvSpPr txBox="1"/>
          <p:nvPr/>
        </p:nvSpPr>
        <p:spPr>
          <a:xfrm>
            <a:off x="8474297" y="3000775"/>
            <a:ext cx="1842313" cy="80021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Microsoft Airlift </a:t>
            </a:r>
            <a:br>
              <a:rPr kumimoji="0" lang="en-US" sz="1800" b="0" i="0" u="none" strike="noStrike" kern="1200" cap="none" spc="0" normalizeH="0" baseline="0" noProof="0">
                <a:ln>
                  <a:noFill/>
                </a:ln>
                <a:solidFill>
                  <a:srgbClr val="0078D4">
                    <a:lumMod val="75000"/>
                  </a:srgbClr>
                </a:solidFill>
                <a:effectLst/>
                <a:uLnTx/>
                <a:uFillTx/>
                <a:latin typeface="Segoe Sans Text Semibold"/>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Virtual October 13-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All Company</a:t>
            </a:r>
            <a:br>
              <a:rPr kumimoji="0" lang="en-US" sz="1000" b="0" i="0"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Technical Ro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By Solution Play &amp; Workload</a:t>
            </a:r>
          </a:p>
        </p:txBody>
      </p:sp>
      <p:sp>
        <p:nvSpPr>
          <p:cNvPr id="102" name="Rectangle 101">
            <a:extLst>
              <a:ext uri="{FF2B5EF4-FFF2-40B4-BE49-F238E27FC236}">
                <a16:creationId xmlns:a16="http://schemas.microsoft.com/office/drawing/2014/main" id="{9610B0D5-E5CC-8A48-1E04-53EDAB8F9F22}"/>
              </a:ext>
            </a:extLst>
          </p:cNvPr>
          <p:cNvSpPr/>
          <p:nvPr/>
        </p:nvSpPr>
        <p:spPr bwMode="auto">
          <a:xfrm>
            <a:off x="8074656" y="6439823"/>
            <a:ext cx="3545842" cy="123111"/>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Dates are subject to change, look for official invites and agendas in calendars</a:t>
            </a:r>
          </a:p>
        </p:txBody>
      </p:sp>
      <p:sp>
        <p:nvSpPr>
          <p:cNvPr id="113" name="TextBox 112">
            <a:extLst>
              <a:ext uri="{FF2B5EF4-FFF2-40B4-BE49-F238E27FC236}">
                <a16:creationId xmlns:a16="http://schemas.microsoft.com/office/drawing/2014/main" id="{E7BE8619-E651-646C-EE4B-322EADAA4046}"/>
              </a:ext>
            </a:extLst>
          </p:cNvPr>
          <p:cNvSpPr txBox="1"/>
          <p:nvPr/>
        </p:nvSpPr>
        <p:spPr>
          <a:xfrm>
            <a:off x="10074746" y="4808609"/>
            <a:ext cx="1503562" cy="64633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1">
                    <a:lumMod val="75000"/>
                  </a:schemeClr>
                </a:solidFill>
                <a:effectLst/>
                <a:uLnTx/>
                <a:uFillTx/>
                <a:latin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Tech Connect </a:t>
            </a:r>
            <a:br>
              <a:rPr kumimoji="0" lang="en-US" sz="1800" b="0" i="0" u="none" strike="noStrike" kern="1200" cap="none" spc="0" normalizeH="0" baseline="0" noProof="0">
                <a:ln>
                  <a:noFill/>
                </a:ln>
                <a:solidFill>
                  <a:srgbClr val="0078D4">
                    <a:lumMod val="75000"/>
                  </a:srgbClr>
                </a:solidFill>
                <a:effectLst/>
                <a:uLnTx/>
                <a:uFillTx/>
                <a:latin typeface="Segoe Sans Text Semibold"/>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In Person Feb TB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rPr>
              <a:t>MCAPS</a:t>
            </a:r>
            <a:br>
              <a:rPr kumimoji="0" lang="en-US" sz="1000" b="0" i="0" u="none" strike="noStrike" kern="1200" cap="none" spc="0" normalizeH="0" baseline="0" noProof="0">
                <a:ln>
                  <a:noFill/>
                </a:ln>
                <a:solidFill>
                  <a:srgbClr val="0078D4"/>
                </a:solidFill>
                <a:effectLst/>
                <a:uLnTx/>
                <a:uFillTx/>
                <a:latin typeface="Segoe Sans Text"/>
                <a:ea typeface="+mn-ea"/>
                <a:cs typeface="+mn-cs"/>
              </a:rPr>
            </a:br>
            <a:r>
              <a:rPr kumimoji="0" lang="en-US" sz="1000" b="0" i="0" u="none" strike="noStrike" kern="1200" cap="none" spc="0" normalizeH="0" baseline="0" noProof="0">
                <a:ln>
                  <a:noFill/>
                </a:ln>
                <a:solidFill>
                  <a:srgbClr val="0078D4"/>
                </a:solidFill>
                <a:effectLst/>
                <a:uLnTx/>
                <a:uFillTx/>
                <a:latin typeface="Segoe Sans Text"/>
                <a:ea typeface="+mn-ea"/>
                <a:cs typeface="+mn-cs"/>
              </a:rPr>
              <a:t>Technical Roles</a:t>
            </a:r>
          </a:p>
        </p:txBody>
      </p:sp>
      <p:sp>
        <p:nvSpPr>
          <p:cNvPr id="11" name="Rounded Rectangle 18">
            <a:extLst>
              <a:ext uri="{FF2B5EF4-FFF2-40B4-BE49-F238E27FC236}">
                <a16:creationId xmlns:a16="http://schemas.microsoft.com/office/drawing/2014/main" id="{2AA71FAB-62EF-8D6E-624D-C5F4FB1F9938}"/>
              </a:ext>
            </a:extLst>
          </p:cNvPr>
          <p:cNvSpPr/>
          <p:nvPr/>
        </p:nvSpPr>
        <p:spPr bwMode="auto">
          <a:xfrm>
            <a:off x="10082199" y="5531267"/>
            <a:ext cx="1474801" cy="18963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AI Business Solutions</a:t>
            </a:r>
          </a:p>
        </p:txBody>
      </p:sp>
      <p:sp>
        <p:nvSpPr>
          <p:cNvPr id="12" name="Rounded Rectangle 39">
            <a:extLst>
              <a:ext uri="{FF2B5EF4-FFF2-40B4-BE49-F238E27FC236}">
                <a16:creationId xmlns:a16="http://schemas.microsoft.com/office/drawing/2014/main" id="{EDEA0A7C-937C-BC4D-A40C-3237F1C97647}"/>
              </a:ext>
            </a:extLst>
          </p:cNvPr>
          <p:cNvSpPr/>
          <p:nvPr/>
        </p:nvSpPr>
        <p:spPr bwMode="auto">
          <a:xfrm>
            <a:off x="10082199" y="5766616"/>
            <a:ext cx="1474801" cy="189630"/>
          </a:xfrm>
          <a:prstGeom prst="roundRect">
            <a:avLst>
              <a:gd name="adj" fmla="val 20798"/>
            </a:avLst>
          </a:prstGeom>
          <a:no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a:ea typeface="+mn-ea"/>
                <a:cs typeface="+mn-cs"/>
              </a:rPr>
              <a:t>Security</a:t>
            </a:r>
          </a:p>
        </p:txBody>
      </p:sp>
      <p:sp>
        <p:nvSpPr>
          <p:cNvPr id="13" name="Rounded Rectangle 49">
            <a:extLst>
              <a:ext uri="{FF2B5EF4-FFF2-40B4-BE49-F238E27FC236}">
                <a16:creationId xmlns:a16="http://schemas.microsoft.com/office/drawing/2014/main" id="{278775BF-CDFE-8D0F-4B0F-219FF1630564}"/>
              </a:ext>
            </a:extLst>
          </p:cNvPr>
          <p:cNvSpPr/>
          <p:nvPr/>
        </p:nvSpPr>
        <p:spPr bwMode="auto">
          <a:xfrm>
            <a:off x="10082198" y="6001965"/>
            <a:ext cx="1474801" cy="310268"/>
          </a:xfrm>
          <a:prstGeom prst="roundRect">
            <a:avLst>
              <a:gd name="adj" fmla="val 10821"/>
            </a:avLst>
          </a:prstGeom>
          <a:solidFill>
            <a:schemeClr val="bg1">
              <a:lumMod val="95000"/>
            </a:schemeClr>
          </a:solidFill>
          <a:ln w="6350">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78D4">
                    <a:lumMod val="50000"/>
                  </a:srgbClr>
                </a:solidFill>
                <a:effectLst/>
                <a:uLnTx/>
                <a:uFillTx/>
                <a:latin typeface="Segoe Sans Text"/>
                <a:ea typeface="+mn-ea"/>
                <a:cs typeface="+mn-cs"/>
              </a:rPr>
              <a:t>Cloud &amp; AI</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78D4">
                    <a:lumMod val="50000"/>
                  </a:srgbClr>
                </a:solidFill>
                <a:effectLst/>
                <a:uLnTx/>
                <a:uFillTx/>
                <a:latin typeface="Segoe Sans Text"/>
                <a:ea typeface="+mn-ea"/>
                <a:cs typeface="+mn-cs"/>
              </a:rPr>
              <a:t>(Infra, Data, AI App)</a:t>
            </a:r>
          </a:p>
        </p:txBody>
      </p:sp>
      <p:sp>
        <p:nvSpPr>
          <p:cNvPr id="147" name="Graphic 122">
            <a:extLst>
              <a:ext uri="{FF2B5EF4-FFF2-40B4-BE49-F238E27FC236}">
                <a16:creationId xmlns:a16="http://schemas.microsoft.com/office/drawing/2014/main" id="{FB991876-345D-4BFE-3D6B-C54DC44CDF0D}"/>
              </a:ext>
            </a:extLst>
          </p:cNvPr>
          <p:cNvSpPr/>
          <p:nvPr/>
        </p:nvSpPr>
        <p:spPr>
          <a:xfrm>
            <a:off x="3601061" y="2102242"/>
            <a:ext cx="2794783" cy="377375"/>
          </a:xfrm>
          <a:custGeom>
            <a:avLst/>
            <a:gdLst>
              <a:gd name="connsiteX0" fmla="*/ 20941 w 2794783"/>
              <a:gd name="connsiteY0" fmla="*/ -221 h 377375"/>
              <a:gd name="connsiteX1" fmla="*/ 2602853 w 2794783"/>
              <a:gd name="connsiteY1" fmla="*/ -221 h 377375"/>
              <a:gd name="connsiteX2" fmla="*/ 2625205 w 2794783"/>
              <a:gd name="connsiteY2" fmla="*/ 9039 h 377375"/>
              <a:gd name="connsiteX3" fmla="*/ 2787157 w 2794783"/>
              <a:gd name="connsiteY3" fmla="*/ 170992 h 377375"/>
              <a:gd name="connsiteX4" fmla="*/ 2787157 w 2794783"/>
              <a:gd name="connsiteY4" fmla="*/ 205942 h 377375"/>
              <a:gd name="connsiteX5" fmla="*/ 2631175 w 2794783"/>
              <a:gd name="connsiteY5" fmla="*/ 361924 h 377375"/>
              <a:gd name="connsiteX6" fmla="*/ 2594405 w 2794783"/>
              <a:gd name="connsiteY6" fmla="*/ 377155 h 377375"/>
              <a:gd name="connsiteX7" fmla="*/ 21483 w 2794783"/>
              <a:gd name="connsiteY7" fmla="*/ 377155 h 377375"/>
              <a:gd name="connsiteX8" fmla="*/ -57 w 2794783"/>
              <a:gd name="connsiteY8" fmla="*/ 355606 h 377375"/>
              <a:gd name="connsiteX9" fmla="*/ 6252 w 2794783"/>
              <a:gd name="connsiteY9" fmla="*/ 340375 h 377375"/>
              <a:gd name="connsiteX10" fmla="*/ 158161 w 2794783"/>
              <a:gd name="connsiteY10" fmla="*/ 188467 h 377375"/>
              <a:gd name="connsiteX11" fmla="*/ 5865 w 2794783"/>
              <a:gd name="connsiteY11" fmla="*/ 36172 h 377375"/>
              <a:gd name="connsiteX12" fmla="*/ 5865 w 2794783"/>
              <a:gd name="connsiteY12" fmla="*/ 6020 h 377375"/>
              <a:gd name="connsiteX13" fmla="*/ 20941 w 2794783"/>
              <a:gd name="connsiteY13" fmla="*/ -221 h 37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4783" h="377375">
                <a:moveTo>
                  <a:pt x="20941" y="-221"/>
                </a:moveTo>
                <a:lnTo>
                  <a:pt x="2602853" y="-221"/>
                </a:lnTo>
                <a:cubicBezTo>
                  <a:pt x="2611233" y="-221"/>
                  <a:pt x="2619274" y="3108"/>
                  <a:pt x="2625205" y="9039"/>
                </a:cubicBezTo>
                <a:lnTo>
                  <a:pt x="2787157" y="170992"/>
                </a:lnTo>
                <a:cubicBezTo>
                  <a:pt x="2796815" y="180639"/>
                  <a:pt x="2796815" y="196295"/>
                  <a:pt x="2787157" y="205942"/>
                </a:cubicBezTo>
                <a:lnTo>
                  <a:pt x="2631175" y="361924"/>
                </a:lnTo>
                <a:cubicBezTo>
                  <a:pt x="2621422" y="371678"/>
                  <a:pt x="2608194" y="377155"/>
                  <a:pt x="2594405" y="377155"/>
                </a:cubicBezTo>
                <a:lnTo>
                  <a:pt x="21483" y="377155"/>
                </a:lnTo>
                <a:cubicBezTo>
                  <a:pt x="9591" y="377155"/>
                  <a:pt x="-57" y="367508"/>
                  <a:pt x="-57" y="355606"/>
                </a:cubicBezTo>
                <a:cubicBezTo>
                  <a:pt x="-57" y="349897"/>
                  <a:pt x="2208" y="344420"/>
                  <a:pt x="6252" y="340375"/>
                </a:cubicBezTo>
                <a:lnTo>
                  <a:pt x="158161" y="188467"/>
                </a:lnTo>
                <a:lnTo>
                  <a:pt x="5865" y="36172"/>
                </a:lnTo>
                <a:cubicBezTo>
                  <a:pt x="-2466" y="27840"/>
                  <a:pt x="-2466" y="14351"/>
                  <a:pt x="5865" y="6020"/>
                </a:cubicBezTo>
                <a:cubicBezTo>
                  <a:pt x="9862" y="2024"/>
                  <a:pt x="15281" y="-221"/>
                  <a:pt x="20941" y="-221"/>
                </a:cubicBezTo>
                <a:close/>
              </a:path>
            </a:pathLst>
          </a:custGeom>
          <a:solidFill>
            <a:srgbClr val="2A446F"/>
          </a:solidFill>
          <a:ln w="9657"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Jul</a:t>
            </a:r>
          </a:p>
        </p:txBody>
      </p:sp>
      <p:sp>
        <p:nvSpPr>
          <p:cNvPr id="14" name="Freeform: Shape 13">
            <a:extLst>
              <a:ext uri="{FF2B5EF4-FFF2-40B4-BE49-F238E27FC236}">
                <a16:creationId xmlns:a16="http://schemas.microsoft.com/office/drawing/2014/main" id="{1B35EDB0-C35A-EC63-FB62-7D3D11AC30E9}"/>
              </a:ext>
            </a:extLst>
          </p:cNvPr>
          <p:cNvSpPr/>
          <p:nvPr/>
        </p:nvSpPr>
        <p:spPr>
          <a:xfrm>
            <a:off x="307264" y="2102020"/>
            <a:ext cx="1192857" cy="373646"/>
          </a:xfrm>
          <a:custGeom>
            <a:avLst/>
            <a:gdLst>
              <a:gd name="connsiteX0" fmla="*/ 349961 w 1192857"/>
              <a:gd name="connsiteY0" fmla="*/ 0 h 373646"/>
              <a:gd name="connsiteX1" fmla="*/ 998204 w 1192857"/>
              <a:gd name="connsiteY1" fmla="*/ 0 h 373646"/>
              <a:gd name="connsiteX2" fmla="*/ 1039083 w 1192857"/>
              <a:gd name="connsiteY2" fmla="*/ 16382 h 373646"/>
              <a:gd name="connsiteX3" fmla="*/ 1177090 w 1192857"/>
              <a:gd name="connsiteY3" fmla="*/ 149886 h 373646"/>
              <a:gd name="connsiteX4" fmla="*/ 1177090 w 1192857"/>
              <a:gd name="connsiteY4" fmla="*/ 223538 h 373646"/>
              <a:gd name="connsiteX5" fmla="*/ 1039083 w 1192857"/>
              <a:gd name="connsiteY5" fmla="*/ 357041 h 373646"/>
              <a:gd name="connsiteX6" fmla="*/ 998204 w 1192857"/>
              <a:gd name="connsiteY6" fmla="*/ 373424 h 373646"/>
              <a:gd name="connsiteX7" fmla="*/ 493056 w 1192857"/>
              <a:gd name="connsiteY7" fmla="*/ 373424 h 373646"/>
              <a:gd name="connsiteX8" fmla="*/ 492520 w 1192857"/>
              <a:gd name="connsiteY8" fmla="*/ 373646 h 373646"/>
              <a:gd name="connsiteX9" fmla="*/ 43190 w 1192857"/>
              <a:gd name="connsiteY9" fmla="*/ 373646 h 373646"/>
              <a:gd name="connsiteX10" fmla="*/ 0 w 1192857"/>
              <a:gd name="connsiteY10" fmla="*/ 330456 h 373646"/>
              <a:gd name="connsiteX11" fmla="*/ 0 w 1192857"/>
              <a:gd name="connsiteY11" fmla="*/ 43412 h 373646"/>
              <a:gd name="connsiteX12" fmla="*/ 43190 w 1192857"/>
              <a:gd name="connsiteY12" fmla="*/ 222 h 373646"/>
              <a:gd name="connsiteX13" fmla="*/ 349961 w 1192857"/>
              <a:gd name="connsiteY13" fmla="*/ 222 h 37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2857" h="373646">
                <a:moveTo>
                  <a:pt x="349961" y="0"/>
                </a:moveTo>
                <a:lnTo>
                  <a:pt x="998204" y="0"/>
                </a:lnTo>
                <a:cubicBezTo>
                  <a:pt x="1013536" y="0"/>
                  <a:pt x="1028234" y="5889"/>
                  <a:pt x="1039083" y="16382"/>
                </a:cubicBezTo>
                <a:lnTo>
                  <a:pt x="1177090" y="149886"/>
                </a:lnTo>
                <a:cubicBezTo>
                  <a:pt x="1198113" y="170223"/>
                  <a:pt x="1198113" y="203201"/>
                  <a:pt x="1177090" y="223538"/>
                </a:cubicBezTo>
                <a:lnTo>
                  <a:pt x="1039083" y="357041"/>
                </a:lnTo>
                <a:cubicBezTo>
                  <a:pt x="1028234" y="367535"/>
                  <a:pt x="1013536" y="373424"/>
                  <a:pt x="998204" y="373424"/>
                </a:cubicBezTo>
                <a:lnTo>
                  <a:pt x="493056" y="373424"/>
                </a:lnTo>
                <a:lnTo>
                  <a:pt x="492520" y="373646"/>
                </a:lnTo>
                <a:lnTo>
                  <a:pt x="43190" y="373646"/>
                </a:lnTo>
                <a:cubicBezTo>
                  <a:pt x="19337" y="373646"/>
                  <a:pt x="0" y="354309"/>
                  <a:pt x="0" y="330456"/>
                </a:cubicBezTo>
                <a:lnTo>
                  <a:pt x="0" y="43412"/>
                </a:lnTo>
                <a:cubicBezTo>
                  <a:pt x="0" y="19559"/>
                  <a:pt x="19337" y="222"/>
                  <a:pt x="43190" y="222"/>
                </a:cubicBezTo>
                <a:lnTo>
                  <a:pt x="349961" y="222"/>
                </a:lnTo>
                <a:close/>
              </a:path>
            </a:pathLst>
          </a:custGeom>
          <a:solidFill>
            <a:srgbClr val="2A446F"/>
          </a:solidFill>
          <a:ln w="9525" cap="flat">
            <a:noFill/>
            <a:prstDash val="solid"/>
            <a:miter/>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mn-cs"/>
              </a:rPr>
              <a:t>Apr</a:t>
            </a:r>
          </a:p>
        </p:txBody>
      </p:sp>
      <p:sp>
        <p:nvSpPr>
          <p:cNvPr id="3" name="Rectangle 2">
            <a:extLst>
              <a:ext uri="{FF2B5EF4-FFF2-40B4-BE49-F238E27FC236}">
                <a16:creationId xmlns:a16="http://schemas.microsoft.com/office/drawing/2014/main" id="{A971194E-F1ED-FA5C-97BB-200DB062E42A}"/>
              </a:ext>
            </a:extLst>
          </p:cNvPr>
          <p:cNvSpPr/>
          <p:nvPr/>
        </p:nvSpPr>
        <p:spPr bwMode="auto">
          <a:xfrm>
            <a:off x="5426698" y="2770146"/>
            <a:ext cx="2000984" cy="3630654"/>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7DC64B76-5F3D-DB7B-D5D5-9379A7781C77}"/>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5" name="Table 2 Cell 1, 1 to Text">
              <a:extLst>
                <a:ext uri="{FF2B5EF4-FFF2-40B4-BE49-F238E27FC236}">
                  <a16:creationId xmlns:a16="http://schemas.microsoft.com/office/drawing/2014/main" id="{A4F3E858-A53F-AEBC-9E53-C56643F7DCA7}"/>
                </a:ext>
              </a:extLst>
            </p:cNvPr>
            <p:cNvSpPr txBox="1"/>
            <p:nvPr/>
          </p:nvSpPr>
          <p:spPr>
            <a:xfrm>
              <a:off x="59315" y="1786404"/>
              <a:ext cx="1709244" cy="167926"/>
            </a:xfrm>
            <a:prstGeom prst="round2SameRect">
              <a:avLst>
                <a:gd name="adj1" fmla="val 0"/>
                <a:gd name="adj2" fmla="val 15599"/>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Sans Text Semibold"/>
                  <a:ea typeface="+mj-ea"/>
                  <a:cs typeface="+mj-cs"/>
                </a:rPr>
                <a:t>1. Welcome</a:t>
              </a:r>
            </a:p>
          </p:txBody>
        </p:sp>
        <p:sp>
          <p:nvSpPr>
            <p:cNvPr id="16" name="Table 2 Cell 2, 1 to Text">
              <a:extLst>
                <a:ext uri="{FF2B5EF4-FFF2-40B4-BE49-F238E27FC236}">
                  <a16:creationId xmlns:a16="http://schemas.microsoft.com/office/drawing/2014/main" id="{6F162DB5-A146-EF01-2798-BED3AC8BD86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2. What’s New</a:t>
              </a:r>
            </a:p>
          </p:txBody>
        </p:sp>
        <p:sp>
          <p:nvSpPr>
            <p:cNvPr id="21" name="Table 2 Cell 3, 1 to Text">
              <a:extLst>
                <a:ext uri="{FF2B5EF4-FFF2-40B4-BE49-F238E27FC236}">
                  <a16:creationId xmlns:a16="http://schemas.microsoft.com/office/drawing/2014/main" id="{3A5E3270-4C65-C5B1-C159-B3706A3AFCF0}"/>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22" name="Table 2 Cell 4, 1 to Text">
              <a:extLst>
                <a:ext uri="{FF2B5EF4-FFF2-40B4-BE49-F238E27FC236}">
                  <a16:creationId xmlns:a16="http://schemas.microsoft.com/office/drawing/2014/main" id="{7ED5C012-92FB-97D6-05A2-AD5C8B0912F4}"/>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3" name="Table 2 Cell 5, 1 to Text">
              <a:extLst>
                <a:ext uri="{FF2B5EF4-FFF2-40B4-BE49-F238E27FC236}">
                  <a16:creationId xmlns:a16="http://schemas.microsoft.com/office/drawing/2014/main" id="{6A49CF4D-FE51-5946-640C-E927D53B27C8}"/>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4" name="Table 2 Cell 6, 1 to Text">
              <a:extLst>
                <a:ext uri="{FF2B5EF4-FFF2-40B4-BE49-F238E27FC236}">
                  <a16:creationId xmlns:a16="http://schemas.microsoft.com/office/drawing/2014/main" id="{9A619A8F-1D33-5076-1A7D-44DEBD8D03A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6. Cloud &amp; AI CSA</a:t>
              </a:r>
            </a:p>
          </p:txBody>
        </p:sp>
        <p:sp>
          <p:nvSpPr>
            <p:cNvPr id="25" name="Table 2 Cell 7, 1 to Text">
              <a:extLst>
                <a:ext uri="{FF2B5EF4-FFF2-40B4-BE49-F238E27FC236}">
                  <a16:creationId xmlns:a16="http://schemas.microsoft.com/office/drawing/2014/main" id="{07316C43-DDEC-8C54-57D4-AF1B6CC67AA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6" name="Table 2 Cell 1, 2 to Text">
              <a:extLst>
                <a:ext uri="{FF2B5EF4-FFF2-40B4-BE49-F238E27FC236}">
                  <a16:creationId xmlns:a16="http://schemas.microsoft.com/office/drawing/2014/main" id="{C180FE3B-8CD8-B449-5A58-8908E21782B0}"/>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1.1. Table of Contents</a:t>
              </a:r>
            </a:p>
          </p:txBody>
        </p:sp>
        <p:sp>
          <p:nvSpPr>
            <p:cNvPr id="27" name="Table 2 Cell 1, 3 to Text">
              <a:extLst>
                <a:ext uri="{FF2B5EF4-FFF2-40B4-BE49-F238E27FC236}">
                  <a16:creationId xmlns:a16="http://schemas.microsoft.com/office/drawing/2014/main" id="{A578EFB8-986B-8CF2-DCC5-A21CEC14931D}"/>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ea typeface="+mj-ea"/>
                  <a:cs typeface="+mj-cs"/>
                </a:rPr>
                <a:t>1.2. Skilling Journey</a:t>
              </a:r>
            </a:p>
          </p:txBody>
        </p:sp>
      </p:grpSp>
    </p:spTree>
    <p:extLst>
      <p:ext uri="{BB962C8B-B14F-4D97-AF65-F5344CB8AC3E}">
        <p14:creationId xmlns:p14="http://schemas.microsoft.com/office/powerpoint/2010/main" val="54922203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A053E5-7002-F99B-4861-0D0AF7240F6E}"/>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788C8895-6DD0-1C8C-32C7-A5E88F8D2188}"/>
              </a:ext>
            </a:extLst>
          </p:cNvPr>
          <p:cNvSpPr/>
          <p:nvPr/>
        </p:nvSpPr>
        <p:spPr bwMode="auto">
          <a:xfrm>
            <a:off x="161579" y="1264920"/>
            <a:ext cx="11868839" cy="3651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endParaRPr lang="en-US" b="1"/>
          </a:p>
        </p:txBody>
      </p:sp>
      <p:graphicFrame>
        <p:nvGraphicFramePr>
          <p:cNvPr id="5" name="Object 4" hidden="1">
            <a:extLst>
              <a:ext uri="{FF2B5EF4-FFF2-40B4-BE49-F238E27FC236}">
                <a16:creationId xmlns:a16="http://schemas.microsoft.com/office/drawing/2014/main" id="{09ECE72F-6953-1A98-A1C7-9692771D1387}"/>
              </a:ext>
            </a:extLst>
          </p:cNvPr>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5" name="Object 4" hidden="1">
                        <a:extLst>
                          <a:ext uri="{FF2B5EF4-FFF2-40B4-BE49-F238E27FC236}">
                            <a16:creationId xmlns:a16="http://schemas.microsoft.com/office/drawing/2014/main" id="{09ECE72F-6953-1A98-A1C7-9692771D1387}"/>
                          </a:ext>
                        </a:extLst>
                      </p:cNvPr>
                      <p:cNvPicPr/>
                      <p:nvPr/>
                    </p:nvPicPr>
                    <p:blipFill>
                      <a:blip r:embed="rId5"/>
                      <a:stretch>
                        <a:fillRect/>
                      </a:stretch>
                    </p:blipFill>
                    <p:spPr>
                      <a:xfrm>
                        <a:off x="3177" y="1589"/>
                        <a:ext cx="1587" cy="1587"/>
                      </a:xfrm>
                      <a:prstGeom prst="rect">
                        <a:avLst/>
                      </a:prstGeom>
                    </p:spPr>
                  </p:pic>
                </p:oleObj>
              </mc:Fallback>
            </mc:AlternateContent>
          </a:graphicData>
        </a:graphic>
      </p:graphicFrame>
      <p:graphicFrame>
        <p:nvGraphicFramePr>
          <p:cNvPr id="18" name="Table 17">
            <a:extLst>
              <a:ext uri="{FF2B5EF4-FFF2-40B4-BE49-F238E27FC236}">
                <a16:creationId xmlns:a16="http://schemas.microsoft.com/office/drawing/2014/main" id="{E8F01BBC-0A44-B760-1FF6-0C1BAD654A9E}"/>
              </a:ext>
            </a:extLst>
          </p:cNvPr>
          <p:cNvGraphicFramePr>
            <a:graphicFrameLocks noGrp="1"/>
          </p:cNvGraphicFramePr>
          <p:nvPr>
            <p:extLst>
              <p:ext uri="{D42A27DB-BD31-4B8C-83A1-F6EECF244321}">
                <p14:modId xmlns:p14="http://schemas.microsoft.com/office/powerpoint/2010/main" val="2391696100"/>
              </p:ext>
            </p:extLst>
          </p:nvPr>
        </p:nvGraphicFramePr>
        <p:xfrm>
          <a:off x="161579" y="1244832"/>
          <a:ext cx="11868839" cy="5446936"/>
        </p:xfrm>
        <a:graphic>
          <a:graphicData uri="http://schemas.openxmlformats.org/drawingml/2006/table">
            <a:tbl>
              <a:tblPr firstRow="1" bandRow="1">
                <a:tableStyleId>{1FECB4D8-DB02-4DC6-A0A2-4F2EBAE1DC90}</a:tableStyleId>
              </a:tblPr>
              <a:tblGrid>
                <a:gridCol w="307150">
                  <a:extLst>
                    <a:ext uri="{9D8B030D-6E8A-4147-A177-3AD203B41FA5}">
                      <a16:colId xmlns:a16="http://schemas.microsoft.com/office/drawing/2014/main" val="4195672858"/>
                    </a:ext>
                  </a:extLst>
                </a:gridCol>
                <a:gridCol w="1239389">
                  <a:extLst>
                    <a:ext uri="{9D8B030D-6E8A-4147-A177-3AD203B41FA5}">
                      <a16:colId xmlns:a16="http://schemas.microsoft.com/office/drawing/2014/main" val="2870045406"/>
                    </a:ext>
                  </a:extLst>
                </a:gridCol>
                <a:gridCol w="2527722">
                  <a:extLst>
                    <a:ext uri="{9D8B030D-6E8A-4147-A177-3AD203B41FA5}">
                      <a16:colId xmlns:a16="http://schemas.microsoft.com/office/drawing/2014/main" val="913734882"/>
                    </a:ext>
                  </a:extLst>
                </a:gridCol>
                <a:gridCol w="7794578">
                  <a:extLst>
                    <a:ext uri="{9D8B030D-6E8A-4147-A177-3AD203B41FA5}">
                      <a16:colId xmlns:a16="http://schemas.microsoft.com/office/drawing/2014/main" val="3900489793"/>
                    </a:ext>
                  </a:extLst>
                </a:gridCol>
              </a:tblGrid>
              <a:tr h="383450">
                <a:tc>
                  <a:txBody>
                    <a:bodyPr/>
                    <a:lstStyle/>
                    <a:p>
                      <a:pPr algn="ctr"/>
                      <a:r>
                        <a:rPr lang="en-US" sz="1000">
                          <a:solidFill>
                            <a:schemeClr val="bg1"/>
                          </a:solidFill>
                          <a:latin typeface="+mj-lt"/>
                        </a:rPr>
                        <a:t>#</a:t>
                      </a:r>
                    </a:p>
                  </a:txBody>
                  <a:tcPr anchor="ctr">
                    <a:lnL w="571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a:r>
                        <a:rPr lang="en-US" sz="1000">
                          <a:solidFill>
                            <a:schemeClr val="bg1"/>
                          </a:solidFill>
                          <a:latin typeface="+mj-lt"/>
                        </a:rPr>
                        <a:t>Core Priority Titl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a:r>
                        <a:rPr lang="en-US" sz="1000">
                          <a:solidFill>
                            <a:schemeClr val="bg1"/>
                          </a:solidFill>
                          <a:latin typeface="+mj-lt"/>
                        </a:rPr>
                        <a:t>Core Priority</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a:r>
                        <a:rPr lang="en-US" sz="1000">
                          <a:solidFill>
                            <a:schemeClr val="bg1"/>
                          </a:solidFill>
                          <a:latin typeface="+mj-lt"/>
                        </a:rPr>
                        <a:t>CSA Critical Indicators of Success  (How will you measure success?)</a:t>
                      </a:r>
                    </a:p>
                  </a:txBody>
                  <a:tcPr anchor="ctr">
                    <a:lnL w="9525"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117565343"/>
                  </a:ext>
                </a:extLst>
              </a:tr>
              <a:tr h="932933">
                <a:tc>
                  <a:txBody>
                    <a:bodyPr/>
                    <a:lstStyle/>
                    <a:p>
                      <a:r>
                        <a:rPr lang="en-US" sz="900">
                          <a:solidFill>
                            <a:schemeClr val="tx2"/>
                          </a:solidFill>
                        </a:rPr>
                        <a:t>1</a:t>
                      </a:r>
                    </a:p>
                  </a:txBody>
                  <a:tcP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900" b="1" i="0" u="none" strike="noStrike" baseline="0" noProof="0">
                          <a:solidFill>
                            <a:srgbClr val="000000"/>
                          </a:solidFill>
                          <a:latin typeface="Segoe UI"/>
                        </a:rPr>
                        <a:t>Unleash our talent to unlock customer/partner value </a:t>
                      </a:r>
                      <a:endParaRPr lang="en-US" sz="900" b="1">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a:lnSpc>
                          <a:spcPct val="100000"/>
                        </a:lnSpc>
                        <a:spcBef>
                          <a:spcPts val="0"/>
                        </a:spcBef>
                        <a:spcAft>
                          <a:spcPts val="0"/>
                        </a:spcAft>
                        <a:buNone/>
                      </a:pPr>
                      <a:r>
                        <a:rPr lang="en-GB" sz="900" b="0" i="0" u="none" strike="noStrike" baseline="0" noProof="0">
                          <a:solidFill>
                            <a:srgbClr val="000000"/>
                          </a:solidFill>
                          <a:effectLst/>
                          <a:latin typeface="Segoe UI"/>
                        </a:rPr>
                        <a:t>Bring deep customer/partner and domain understanding—product, technical, business, and industry—enabling us to drive customer/partner value</a:t>
                      </a:r>
                      <a:endParaRPr lang="en-GB" sz="900" b="0"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1 AI Trusted Advisor: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plete AI Fundamentals or equivalent training and leverage AI Ready architecture best practices to accelerate AI adoption. </a:t>
                      </a: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2 Technical Intensity</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plete Required quarterly Cloud &amp; AI Secure Migrate &amp; Modernize training, achieve certifications, accreditations, and skills to deliver with Advanced (L300) and Expert (L400) level proficiency in priority workloads in Azure: Application, Infra and Database migration and modernization, SAP, security, WAF/CAF, resiliency, AI ready. Maintain skills inventory.</a:t>
                      </a:r>
                    </a:p>
                    <a:p>
                      <a:pPr marL="0" marR="0">
                        <a:lnSpc>
                          <a:spcPct val="100000"/>
                        </a:lnSpc>
                        <a:spcAft>
                          <a:spcPts val="60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3 </a:t>
                      </a: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munity Engagement &amp; IP</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Actively contribute to Cloud &amp; AI Infrastructure communities and IP development with engineering. Participate in Shadow program. Share customer scenarios, best practices and outcome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L w="952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92993">
                <a:tc>
                  <a:txBody>
                    <a:bodyPr/>
                    <a:lstStyle/>
                    <a:p>
                      <a:r>
                        <a:rPr lang="en-US" sz="900">
                          <a:solidFill>
                            <a:schemeClr val="tx2"/>
                          </a:solidFill>
                        </a:rPr>
                        <a:t>2</a:t>
                      </a:r>
                    </a:p>
                  </a:txBody>
                  <a:tcP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US" sz="900" b="1" i="0" u="none" strike="noStrike" baseline="0" noProof="0">
                          <a:solidFill>
                            <a:srgbClr val="000000"/>
                          </a:solidFill>
                          <a:latin typeface="Segoe UI"/>
                        </a:rPr>
                        <a:t>Build trust through product excellence </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i="0" u="none" strike="noStrike" baseline="0" noProof="0">
                          <a:solidFill>
                            <a:srgbClr val="000000"/>
                          </a:solidFill>
                          <a:effectLst/>
                          <a:latin typeface="Segoe UI"/>
                        </a:rPr>
                        <a:t>Build foundational trust through reliable, resilient, and secure solutions and champion customer/partner feedback to continuously improve the products and solutions we deliver. </a:t>
                      </a:r>
                      <a:endParaRPr lang="en-US" sz="900" b="1">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1 Security #1 Priority</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Deliver Secure Migration &amp; Modernization architectures, prioritizing Defender for Cloud and Network Security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60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2 Reliable, resilient, optimized solutions</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ddress “Priority Zero” resiliency vulnerabilities (identified via telemetry and/or WARA) in customers’ mission critical workloads, including networking/ExpressRoute and multi-zone/multi-region architecture</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3 Voice of the Customer/Partner: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hampion customer/partner feedback to influence Engineering’s product/services roadmap.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L w="952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139600"/>
                  </a:ext>
                </a:extLst>
              </a:tr>
              <a:tr h="932933">
                <a:tc>
                  <a:txBody>
                    <a:bodyPr/>
                    <a:lstStyle/>
                    <a:p>
                      <a:r>
                        <a:rPr lang="en-US" sz="900">
                          <a:solidFill>
                            <a:schemeClr val="tx2"/>
                          </a:solidFill>
                        </a:rPr>
                        <a:t>3</a:t>
                      </a:r>
                    </a:p>
                  </a:txBody>
                  <a:tcP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1" i="0" u="none" strike="noStrike" baseline="0" noProof="0">
                          <a:solidFill>
                            <a:srgbClr val="000000"/>
                          </a:solidFill>
                          <a:effectLst/>
                          <a:latin typeface="Segoe UI"/>
                        </a:rPr>
                        <a:t>Differentiate through world class  Customer Experience </a:t>
                      </a:r>
                    </a:p>
                    <a:p>
                      <a:pPr marL="0" lvl="0" indent="0" algn="l">
                        <a:spcBef>
                          <a:spcPts val="0"/>
                        </a:spcBef>
                        <a:spcAft>
                          <a:spcPts val="0"/>
                        </a:spcAft>
                        <a:buNone/>
                      </a:pPr>
                      <a:endParaRPr lang="en-GB" sz="900" b="1" u="none" strike="noStrike">
                        <a:solidFill>
                          <a:schemeClr val="tx1"/>
                        </a:solidFill>
                        <a:effectLst/>
                      </a:endParaRPr>
                    </a:p>
                    <a:p>
                      <a:pPr marL="0" indent="0" algn="l" rtl="0" fontAlgn="ctr">
                        <a:spcBef>
                          <a:spcPts val="0"/>
                        </a:spcBef>
                        <a:spcAft>
                          <a:spcPts val="0"/>
                        </a:spcAft>
                        <a:buNone/>
                      </a:pPr>
                      <a:endParaRPr lang="en-IE" sz="900" b="1" u="none" strike="noStrike">
                        <a:solidFill>
                          <a:schemeClr val="tx1"/>
                        </a:solidFill>
                        <a:effectLst/>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i="0" u="none" strike="noStrike" baseline="0" noProof="0">
                          <a:solidFill>
                            <a:srgbClr val="000000"/>
                          </a:solidFill>
                          <a:effectLst/>
                          <a:latin typeface="Segoe UI"/>
                        </a:rPr>
                        <a:t>Relentlessly pursue a simple, consistent, and connected customer experience that delights customers/partners and grows our business.  </a:t>
                      </a:r>
                    </a:p>
                    <a:p>
                      <a:pPr marL="0" lvl="0" indent="0" algn="l">
                        <a:spcBef>
                          <a:spcPts val="0"/>
                        </a:spcBef>
                        <a:spcAft>
                          <a:spcPts val="0"/>
                        </a:spcAft>
                        <a:buNone/>
                      </a:pPr>
                      <a:endParaRPr lang="en-GB" sz="900" b="1" u="none" strike="noStrike">
                        <a:solidFill>
                          <a:schemeClr val="tx1"/>
                        </a:solidFill>
                        <a:effectLst/>
                      </a:endParaRPr>
                    </a:p>
                    <a:p>
                      <a:endParaRPr lang="en-US" sz="900" b="1">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1 Customer Experience</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Together with the CSAM/ATU/STU, during delivery, ensure completeness and accuracy of the entire Azure consumption plan and customer success plan</a:t>
                      </a: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2 Customer/Partner Outcomes</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Consistently engage as One Microsoft following MCEM orchestration and</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proactively manage risks to drive on-time, on-revenue closure of CSU/STU/Partner committed milestone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3 Customer Zero</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Share AI Ready best practices with your customers/partners to inspire them to accelerate AI adoption. Tell the Microsoft AI sto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L w="952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32933">
                <a:tc>
                  <a:txBody>
                    <a:bodyPr/>
                    <a:lstStyle/>
                    <a:p>
                      <a:pPr lvl="0">
                        <a:buNone/>
                      </a:pPr>
                      <a:r>
                        <a:rPr lang="en-US" sz="900">
                          <a:solidFill>
                            <a:schemeClr val="tx2"/>
                          </a:solidFill>
                        </a:rPr>
                        <a:t>4</a:t>
                      </a:r>
                    </a:p>
                  </a:txBody>
                  <a:tcPr>
                    <a:lnL w="38099">
                      <a:solidFill>
                        <a:schemeClr val="bg1"/>
                      </a:solidFill>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900" b="1" i="0" u="none" strike="noStrike" baseline="0" noProof="0">
                          <a:solidFill>
                            <a:srgbClr val="000000"/>
                          </a:solidFill>
                          <a:latin typeface="Segoe UI"/>
                        </a:rPr>
                        <a:t>Drive operational excellence through AI </a:t>
                      </a:r>
                      <a:endParaRPr lang="en-US" i="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i="0" u="none" strike="noStrike" baseline="0" noProof="0">
                          <a:solidFill>
                            <a:srgbClr val="000000"/>
                          </a:solidFill>
                          <a:effectLst/>
                          <a:latin typeface="Segoe UI"/>
                        </a:rPr>
                        <a:t>As Customer Zero, leverage AI to accelerate our digital transformation and model the productivity and efficiency gains through our products, platforms, and solutions.</a:t>
                      </a:r>
                      <a:endParaRPr lang="en-US" i="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1 Business Insights: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verage AI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to analyze situations, make informed decisions, &amp; drive strategies that align with your customer’s goals &amp; objectives. Do this in conjunction with your manager.</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2 Operational excellence</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dhere to Guidelines for MCEM, Consumption &amp; Usage Excellence, Customer Contactability. Comply with 100% Labor Logging (defined by area guidelines), as required by company policy, CE&amp;S business rules, and legal requirements. </a:t>
                      </a: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3 Maximize MS/CSU-Invested ROI: </a:t>
                      </a:r>
                      <a:r>
                        <a:rPr lang="en-GB" sz="900" b="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everage scale execution engines (e.g. Cloud Accelerate Factory) as a priority. Through Unified provide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Factory Delivery oversight and escalation support to ensure a successful customer delivery with high customer satisfaction.</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L w="9525" cap="flat" cmpd="sng" algn="ctr">
                      <a:noFill/>
                      <a:prstDash val="solid"/>
                      <a:round/>
                      <a:headEnd type="none" w="med" len="med"/>
                      <a:tailEnd type="none" w="med" len="med"/>
                    </a:lnL>
                    <a:lnR w="38099">
                      <a:solidFill>
                        <a:schemeClr val="bg1"/>
                      </a:solid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779708"/>
                  </a:ext>
                </a:extLst>
              </a:tr>
              <a:tr h="1072873">
                <a:tc>
                  <a:txBody>
                    <a:bodyPr/>
                    <a:lstStyle/>
                    <a:p>
                      <a:r>
                        <a:rPr lang="en-US" sz="900">
                          <a:solidFill>
                            <a:schemeClr val="tx2"/>
                          </a:solidFill>
                        </a:rPr>
                        <a:t>5</a:t>
                      </a:r>
                    </a:p>
                  </a:txBody>
                  <a:tcP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0" lvl="0" indent="0" algn="l">
                        <a:lnSpc>
                          <a:spcPct val="100000"/>
                        </a:lnSpc>
                        <a:buNone/>
                      </a:pPr>
                      <a:r>
                        <a:rPr lang="en-US" sz="900" b="1" i="0" u="none" strike="noStrike" baseline="0" noProof="0">
                          <a:solidFill>
                            <a:srgbClr val="000000"/>
                          </a:solidFill>
                          <a:latin typeface="Segoe UI"/>
                        </a:rPr>
                        <a:t>Accelerate customer/partner outcomes through delivery excellence </a:t>
                      </a:r>
                    </a:p>
                    <a:p>
                      <a:pPr lvl="0">
                        <a:buNone/>
                      </a:pPr>
                      <a:endParaRPr lang="en-US" sz="900" b="1" i="1">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i="0" u="none" strike="noStrike" baseline="0" noProof="0">
                          <a:solidFill>
                            <a:srgbClr val="000000"/>
                          </a:solidFill>
                          <a:effectLst/>
                          <a:latin typeface="Segoe UI"/>
                        </a:rPr>
                        <a:t>Obsess over driving value for our customers/partners through shaping the right offers, delivering through our integrated services portfolio</a:t>
                      </a:r>
                      <a:endParaRPr lang="en-GB" sz="900" b="0" i="1" u="none" strike="noStrike" baseline="0" noProof="0">
                        <a:solidFill>
                          <a:srgbClr val="000000"/>
                        </a:solidFill>
                        <a:effectLst/>
                        <a:latin typeface="Segoe UI"/>
                      </a:endParaRPr>
                    </a:p>
                    <a:p>
                      <a:pPr marL="0" marR="0" lvl="0" indent="0" algn="l" defTabSz="1110447">
                        <a:lnSpc>
                          <a:spcPct val="100000"/>
                        </a:lnSpc>
                        <a:spcBef>
                          <a:spcPts val="0"/>
                        </a:spcBef>
                        <a:spcAft>
                          <a:spcPts val="0"/>
                        </a:spcAft>
                        <a:buClrTx/>
                        <a:buSzTx/>
                        <a:buFontTx/>
                        <a:buNone/>
                        <a:tabLst/>
                        <a:defRPr/>
                      </a:pPr>
                      <a:endParaRPr lang="en-GB" sz="900" b="1" i="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1 Delivery Excellence &amp; Continuous Improvement</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Own (contribute, if SME&amp;C) committed production milestones, achieving 95%+ commit-to-close rate (Job 1) each quarter for Unified customers in Classic and Accelerate territories. Use repeatable IP/artifacts in delivery to drive efficiency and scale.</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60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2 Consumption/Usage Impact</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pply a consultative approach to Job 2 to drive next best action execution and generate incremental pipeline (Job 2) from every delivery engagement. </a:t>
                      </a:r>
                    </a:p>
                    <a:p>
                      <a:pPr marL="0" marR="0">
                        <a:lnSpc>
                          <a:spcPct val="100000"/>
                        </a:lnSpc>
                        <a:spcAft>
                          <a:spcPts val="60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3 Unified &amp; Enhanced Solutions</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Drive repeatable deliveries, leveraging Unified IP, to achieve targeted outcomes at each stage of the MCEM cycle to accelerate consumption. Prompt customer feedback and earn a VSAT score with each delive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L w="952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870294767"/>
                  </a:ext>
                </a:extLst>
              </a:tr>
            </a:tbl>
          </a:graphicData>
        </a:graphic>
      </p:graphicFrame>
      <p:sp>
        <p:nvSpPr>
          <p:cNvPr id="10" name="Title 1">
            <a:extLst>
              <a:ext uri="{FF2B5EF4-FFF2-40B4-BE49-F238E27FC236}">
                <a16:creationId xmlns:a16="http://schemas.microsoft.com/office/drawing/2014/main" id="{B53B6FA7-D778-A342-CB76-14AD5EDC2D53}"/>
              </a:ext>
            </a:extLst>
          </p:cNvPr>
          <p:cNvSpPr>
            <a:spLocks noGrp="1"/>
          </p:cNvSpPr>
          <p:nvPr>
            <p:ph type="title"/>
          </p:nvPr>
        </p:nvSpPr>
        <p:spPr>
          <a:xfrm>
            <a:off x="824888" y="1083249"/>
            <a:ext cx="11049000" cy="1615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r" defTabSz="932563" fontAlgn="auto">
              <a:spcBef>
                <a:spcPts val="0"/>
              </a:spcBef>
              <a:spcAft>
                <a:spcPts val="0"/>
              </a:spcAft>
              <a:tabLst/>
              <a:defRPr/>
            </a:pPr>
            <a:r>
              <a:rPr lang="en-US" sz="1050">
                <a:solidFill>
                  <a:schemeClr val="tx2"/>
                </a:solidFill>
                <a:latin typeface="+mn-lt"/>
                <a:ea typeface="Arial Unicode MS"/>
                <a:cs typeface="Arial Unicode MS"/>
              </a:rPr>
              <a:t>FY26 Core Priorities Final– CSA IC – RSG Name: </a:t>
            </a:r>
            <a:r>
              <a:rPr kumimoji="0" lang="en-US" sz="1050" u="none" strike="noStrike" kern="1200" cap="none" spc="0" normalizeH="0" baseline="0" noProof="0">
                <a:ln>
                  <a:noFill/>
                </a:ln>
                <a:solidFill>
                  <a:schemeClr val="tx2"/>
                </a:solidFill>
                <a:effectLst/>
                <a:uLnTx/>
                <a:uFillTx/>
                <a:latin typeface="+mn-lt"/>
                <a:cs typeface="+mn-cs"/>
              </a:rPr>
              <a:t>Cloud Solution Architecture </a:t>
            </a:r>
            <a:r>
              <a:rPr lang="en-US" sz="1050" kern="1200">
                <a:solidFill>
                  <a:schemeClr val="tx2"/>
                </a:solidFill>
                <a:latin typeface="+mn-lt"/>
                <a:cs typeface="+mn-cs"/>
              </a:rPr>
              <a:t>IC – Qual 1: </a:t>
            </a:r>
            <a:r>
              <a:rPr lang="en-US" sz="1050" kern="1200">
                <a:solidFill>
                  <a:schemeClr val="tx2"/>
                </a:solidFill>
                <a:highlight>
                  <a:srgbClr val="FFFF00"/>
                </a:highlight>
                <a:latin typeface="+mn-lt"/>
                <a:cs typeface="+mn-cs"/>
              </a:rPr>
              <a:t>All</a:t>
            </a:r>
            <a:r>
              <a:rPr lang="en-US" sz="1050" kern="1200">
                <a:solidFill>
                  <a:schemeClr val="tx2"/>
                </a:solidFill>
                <a:latin typeface="+mn-lt"/>
                <a:cs typeface="+mn-cs"/>
              </a:rPr>
              <a:t>; </a:t>
            </a:r>
            <a:r>
              <a:rPr kumimoji="0" lang="en-US" sz="1050" u="none" strike="noStrike" kern="1200" cap="none" spc="0" normalizeH="0" baseline="0" noProof="0">
                <a:ln>
                  <a:noFill/>
                </a:ln>
                <a:solidFill>
                  <a:schemeClr val="tx2"/>
                </a:solidFill>
                <a:effectLst/>
                <a:uLnTx/>
                <a:uFillTx/>
                <a:latin typeface="+mn-lt"/>
                <a:cs typeface="+mn-cs"/>
              </a:rPr>
              <a:t>Qual 2: Cloud &amp; AI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Infrastructure</a:t>
            </a:r>
            <a:r>
              <a:rPr kumimoji="0" lang="en-US" sz="1050" u="none" strike="noStrike" kern="1200" cap="none" spc="0" normalizeH="0" baseline="0" noProof="0">
                <a:ln>
                  <a:noFill/>
                </a:ln>
                <a:solidFill>
                  <a:schemeClr val="tx2"/>
                </a:solidFill>
                <a:effectLst/>
                <a:uLnTx/>
                <a:uFillTx/>
                <a:latin typeface="+mn-lt"/>
                <a:cs typeface="+mn-cs"/>
              </a:rPr>
              <a:t> | Role Owner: Samantha Wilder</a:t>
            </a:r>
            <a:endParaRPr lang="en-CA" sz="1050">
              <a:solidFill>
                <a:schemeClr val="tx2"/>
              </a:solidFill>
              <a:latin typeface="+mn-lt"/>
            </a:endParaRPr>
          </a:p>
        </p:txBody>
      </p:sp>
      <p:sp>
        <p:nvSpPr>
          <p:cNvPr id="3" name="Slide Number Placeholder 2">
            <a:extLst>
              <a:ext uri="{FF2B5EF4-FFF2-40B4-BE49-F238E27FC236}">
                <a16:creationId xmlns:a16="http://schemas.microsoft.com/office/drawing/2014/main" id="{82B54225-34AE-BB37-39FC-07D0863CD0E3}"/>
              </a:ext>
            </a:extLst>
          </p:cNvPr>
          <p:cNvSpPr>
            <a:spLocks noGrp="1"/>
          </p:cNvSpPr>
          <p:nvPr>
            <p:ph type="sldNum" sz="quarter" idx="4294967295"/>
          </p:nvPr>
        </p:nvSpPr>
        <p:spPr>
          <a:xfrm>
            <a:off x="9448800" y="635635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E21873-6379-4175-8B06-DD5F57EC3DFD}" type="slidenum">
              <a:rPr kumimoji="0" lang="en-US" sz="1200" b="0" i="0" u="none" strike="noStrike" kern="1200" cap="none" spc="0" normalizeH="0" baseline="0" noProof="0" smtClean="0">
                <a:ln>
                  <a:noFill/>
                </a:ln>
                <a:solidFill>
                  <a:srgbClr val="000000">
                    <a:tint val="75000"/>
                  </a:srgbClr>
                </a:solidFill>
                <a:effectLst/>
                <a:uLnTx/>
                <a:uFillTx/>
                <a:latin typeface="Segoe UI"/>
                <a:ea typeface="ＭＳ Ｐ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tint val="75000"/>
                </a:srgbClr>
              </a:solidFill>
              <a:effectLst/>
              <a:uLnTx/>
              <a:uFillTx/>
              <a:latin typeface="Segoe UI"/>
              <a:ea typeface="ＭＳ Ｐゴシック"/>
              <a:cs typeface="+mn-cs"/>
            </a:endParaRPr>
          </a:p>
        </p:txBody>
      </p:sp>
      <p:grpSp>
        <p:nvGrpSpPr>
          <p:cNvPr id="6" name="Group 5">
            <a:extLst>
              <a:ext uri="{FF2B5EF4-FFF2-40B4-BE49-F238E27FC236}">
                <a16:creationId xmlns:a16="http://schemas.microsoft.com/office/drawing/2014/main" id="{06DC73C4-73B3-B5A0-9459-02A266D72B59}"/>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F53EC137-B85E-30C2-1530-F3CB8068F43E}"/>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8" name="Table 2 Cell 2, 1 to Text">
              <a:extLst>
                <a:ext uri="{FF2B5EF4-FFF2-40B4-BE49-F238E27FC236}">
                  <a16:creationId xmlns:a16="http://schemas.microsoft.com/office/drawing/2014/main" id="{21D344A3-91AC-1E05-1B24-8BF679DA616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9" name="Table 2 Cell 3, 1 to Text">
              <a:extLst>
                <a:ext uri="{FF2B5EF4-FFF2-40B4-BE49-F238E27FC236}">
                  <a16:creationId xmlns:a16="http://schemas.microsoft.com/office/drawing/2014/main" id="{7C07F9BA-70B9-AC21-7BF3-03829A37688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11" name="Table 2 Cell 4, 1 to Text">
              <a:extLst>
                <a:ext uri="{FF2B5EF4-FFF2-40B4-BE49-F238E27FC236}">
                  <a16:creationId xmlns:a16="http://schemas.microsoft.com/office/drawing/2014/main" id="{16251C5D-5027-912D-A97D-8D661EA2E142}"/>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2" name="Table 2 Cell 5, 1 to Text">
              <a:extLst>
                <a:ext uri="{FF2B5EF4-FFF2-40B4-BE49-F238E27FC236}">
                  <a16:creationId xmlns:a16="http://schemas.microsoft.com/office/drawing/2014/main" id="{846CDF79-C4D0-6ED2-B68B-8E54D55420A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3" name="Table 2 Cell 6, 1 to Text">
              <a:extLst>
                <a:ext uri="{FF2B5EF4-FFF2-40B4-BE49-F238E27FC236}">
                  <a16:creationId xmlns:a16="http://schemas.microsoft.com/office/drawing/2014/main" id="{E30802F2-6BD4-6A53-0B23-B42901F543CB}"/>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4" name="Table 2 Cell 7, 1 to Text">
              <a:extLst>
                <a:ext uri="{FF2B5EF4-FFF2-40B4-BE49-F238E27FC236}">
                  <a16:creationId xmlns:a16="http://schemas.microsoft.com/office/drawing/2014/main" id="{04166266-12F1-0884-14C3-63939CA842D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5" name="Table 2 Cell 1, 2 to Text">
              <a:extLst>
                <a:ext uri="{FF2B5EF4-FFF2-40B4-BE49-F238E27FC236}">
                  <a16:creationId xmlns:a16="http://schemas.microsoft.com/office/drawing/2014/main" id="{B398379C-A6AF-8C5C-CD46-A958AB38EF03}"/>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6" name="Table 2 Cell 1, 3 to Text">
              <a:extLst>
                <a:ext uri="{FF2B5EF4-FFF2-40B4-BE49-F238E27FC236}">
                  <a16:creationId xmlns:a16="http://schemas.microsoft.com/office/drawing/2014/main" id="{2B58D725-7CE9-F1C1-E514-0D1F6FA57EE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17" name="Table 2 Cell 1, 4 to Text">
              <a:extLst>
                <a:ext uri="{FF2B5EF4-FFF2-40B4-BE49-F238E27FC236}">
                  <a16:creationId xmlns:a16="http://schemas.microsoft.com/office/drawing/2014/main" id="{D2BB7E45-1841-23D0-7904-247FC5F5FFB4}"/>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3.3 Core Priorities &amp; Key Habits</a:t>
              </a:r>
            </a:p>
          </p:txBody>
        </p:sp>
        <p:sp>
          <p:nvSpPr>
            <p:cNvPr id="19" name="Table 2 Cell 1, 5 to Text">
              <a:extLst>
                <a:ext uri="{FF2B5EF4-FFF2-40B4-BE49-F238E27FC236}">
                  <a16:creationId xmlns:a16="http://schemas.microsoft.com/office/drawing/2014/main" id="{02410CC3-23A5-2594-1A83-F9415452208B}"/>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20" name="Table 2 Cell 1, 6 to Text">
              <a:extLst>
                <a:ext uri="{FF2B5EF4-FFF2-40B4-BE49-F238E27FC236}">
                  <a16:creationId xmlns:a16="http://schemas.microsoft.com/office/drawing/2014/main" id="{74D98634-2DCA-4F95-DC0D-AF3F6D6F8EBE}"/>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21" name="Table 2 Cell 1, 7 to Text">
              <a:extLst>
                <a:ext uri="{FF2B5EF4-FFF2-40B4-BE49-F238E27FC236}">
                  <a16:creationId xmlns:a16="http://schemas.microsoft.com/office/drawing/2014/main" id="{A80FA7D9-F292-8478-BD9B-6A19A0A28EF1}"/>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22" name="Table 2 Cell 1, 8 to Text">
              <a:extLst>
                <a:ext uri="{FF2B5EF4-FFF2-40B4-BE49-F238E27FC236}">
                  <a16:creationId xmlns:a16="http://schemas.microsoft.com/office/drawing/2014/main" id="{318E4B66-16D8-3871-714E-89EB3557DD75}"/>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
        <p:nvSpPr>
          <p:cNvPr id="25" name="Title 1">
            <a:extLst>
              <a:ext uri="{FF2B5EF4-FFF2-40B4-BE49-F238E27FC236}">
                <a16:creationId xmlns:a16="http://schemas.microsoft.com/office/drawing/2014/main" id="{C51BF006-E02C-8EBA-FEA1-928C3A07F000}"/>
              </a:ext>
            </a:extLst>
          </p:cNvPr>
          <p:cNvSpPr txBox="1">
            <a:spLocks/>
          </p:cNvSpPr>
          <p:nvPr/>
        </p:nvSpPr>
        <p:spPr>
          <a:xfrm>
            <a:off x="161580" y="696141"/>
            <a:ext cx="11315702"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lang="en-US" sz="3600" b="0" i="0" u="none" kern="1200" cap="none" spc="0" baseline="0">
                <a:ln w="3175">
                  <a:noFill/>
                </a:ln>
                <a:solidFill>
                  <a:srgbClr val="000000"/>
                </a:solidFill>
                <a:effectLst/>
                <a:latin typeface="+mj-lt"/>
                <a:ea typeface="+mj-ea"/>
                <a:cs typeface="+mj-cs"/>
                <a:sym typeface="Trebuchet MS" panose="020B0603020202020204" pitchFamily="34" charset="0"/>
              </a:defRPr>
            </a:lvl1pPr>
          </a:lstStyle>
          <a:p>
            <a:r>
              <a:rPr lang="en-US" sz="2400"/>
              <a:t>Core Priorities: Cloud &amp; AI Infra - Cloud Solution Architect</a:t>
            </a:r>
          </a:p>
        </p:txBody>
      </p:sp>
    </p:spTree>
    <p:extLst>
      <p:ext uri="{BB962C8B-B14F-4D97-AF65-F5344CB8AC3E}">
        <p14:creationId xmlns:p14="http://schemas.microsoft.com/office/powerpoint/2010/main" val="182245656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52522-F592-944D-81F5-915C62AE15C6}"/>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6AE9542A-5056-3898-0D9A-B81E388AA558}"/>
              </a:ext>
              <a:ext uri="{C183D7F6-B498-43B3-948B-1728B52AA6E4}">
                <adec:decorative xmlns:adec="http://schemas.microsoft.com/office/drawing/2017/decorative" val="1"/>
              </a:ext>
            </a:extLst>
          </p:cNvPr>
          <p:cNvSpPr>
            <a:spLocks/>
          </p:cNvSpPr>
          <p:nvPr/>
        </p:nvSpPr>
        <p:spPr bwMode="auto">
          <a:xfrm>
            <a:off x="256478" y="1277769"/>
            <a:ext cx="11686478"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4" name="Rectangle: Rounded Corners 13">
            <a:extLst>
              <a:ext uri="{FF2B5EF4-FFF2-40B4-BE49-F238E27FC236}">
                <a16:creationId xmlns:a16="http://schemas.microsoft.com/office/drawing/2014/main" id="{A05CC4DA-86EB-EFCF-7CF6-180662AE4231}"/>
              </a:ext>
            </a:extLst>
          </p:cNvPr>
          <p:cNvSpPr/>
          <p:nvPr/>
        </p:nvSpPr>
        <p:spPr bwMode="auto">
          <a:xfrm>
            <a:off x="390294" y="1377621"/>
            <a:ext cx="11385394" cy="4177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r>
              <a:rPr lang="en-US" b="1"/>
              <a:t>Successful CSAs Achieve results by:​</a:t>
            </a:r>
          </a:p>
        </p:txBody>
      </p:sp>
      <p:sp>
        <p:nvSpPr>
          <p:cNvPr id="17" name="Title 16">
            <a:extLst>
              <a:ext uri="{FF2B5EF4-FFF2-40B4-BE49-F238E27FC236}">
                <a16:creationId xmlns:a16="http://schemas.microsoft.com/office/drawing/2014/main" id="{491434E4-F940-3BC0-1E2C-8171E12E8DF8}"/>
              </a:ext>
            </a:extLst>
          </p:cNvPr>
          <p:cNvSpPr>
            <a:spLocks noGrp="1"/>
          </p:cNvSpPr>
          <p:nvPr>
            <p:ph type="title"/>
          </p:nvPr>
        </p:nvSpPr>
        <p:spPr>
          <a:xfrm>
            <a:off x="390294" y="710096"/>
            <a:ext cx="11049000" cy="492443"/>
          </a:xfrm>
        </p:spPr>
        <p:txBody>
          <a:bodyPr/>
          <a:lstStyle/>
          <a:p>
            <a:pPr lvl="0"/>
            <a:r>
              <a:rPr lang="en-US" noProof="0"/>
              <a:t>Your key habits for success</a:t>
            </a:r>
          </a:p>
        </p:txBody>
      </p:sp>
      <p:sp>
        <p:nvSpPr>
          <p:cNvPr id="28" name="Rectangle: Rounded Corners 27">
            <a:extLst>
              <a:ext uri="{FF2B5EF4-FFF2-40B4-BE49-F238E27FC236}">
                <a16:creationId xmlns:a16="http://schemas.microsoft.com/office/drawing/2014/main" id="{646AAACA-AD98-BBE0-8ED1-36EFBF8056BA}"/>
              </a:ext>
            </a:extLst>
          </p:cNvPr>
          <p:cNvSpPr/>
          <p:nvPr/>
        </p:nvSpPr>
        <p:spPr bwMode="auto">
          <a:xfrm>
            <a:off x="4537283" y="6256545"/>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rgbClr val="FFFFFF"/>
                </a:solidFill>
                <a:latin typeface="Segoe Sans Display Semibold"/>
                <a:cs typeface="Segoe UI" pitchFamily="34" charset="0"/>
              </a:rPr>
              <a:t>See your role success guide at </a:t>
            </a:r>
            <a:r>
              <a:rPr lang="en-US" sz="1200">
                <a:solidFill>
                  <a:srgbClr val="FFFFFF"/>
                </a:solidFill>
                <a:latin typeface="Segoe Sans Display Semibold"/>
                <a:cs typeface="Segoe UI" pitchFamily="34" charset="0"/>
                <a:hlinkClick r:id="rId3">
                  <a:extLst>
                    <a:ext uri="{A12FA001-AC4F-418D-AE19-62706E023703}">
                      <ahyp:hlinkClr xmlns:ahyp="http://schemas.microsoft.com/office/drawing/2018/hyperlinkcolor" val="tx"/>
                    </a:ext>
                  </a:extLst>
                </a:hlinkClick>
              </a:rPr>
              <a:t>aka.ms/rain</a:t>
            </a:r>
            <a:endParaRPr lang="en-US" sz="1200">
              <a:solidFill>
                <a:srgbClr val="FFFFFF"/>
              </a:solidFill>
              <a:latin typeface="Segoe Sans Display Semibold"/>
              <a:cs typeface="Segoe UI" pitchFamily="34" charset="0"/>
            </a:endParaRPr>
          </a:p>
        </p:txBody>
      </p:sp>
      <p:grpSp>
        <p:nvGrpSpPr>
          <p:cNvPr id="56" name="Group 55">
            <a:extLst>
              <a:ext uri="{FF2B5EF4-FFF2-40B4-BE49-F238E27FC236}">
                <a16:creationId xmlns:a16="http://schemas.microsoft.com/office/drawing/2014/main" id="{2404D7BC-4765-951D-39DC-A5C18226150E}"/>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57" name="Table 2 Cell 1, 1 to Text">
              <a:extLst>
                <a:ext uri="{FF2B5EF4-FFF2-40B4-BE49-F238E27FC236}">
                  <a16:creationId xmlns:a16="http://schemas.microsoft.com/office/drawing/2014/main" id="{0B05D9EE-1313-00D4-8A47-FDA0F20C07E7}"/>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8" name="Table 2 Cell 2, 1 to Text">
              <a:extLst>
                <a:ext uri="{FF2B5EF4-FFF2-40B4-BE49-F238E27FC236}">
                  <a16:creationId xmlns:a16="http://schemas.microsoft.com/office/drawing/2014/main" id="{A508C32A-4751-2AB3-865D-D2E2FEF82A7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59" name="Table 2 Cell 3, 1 to Text">
              <a:extLst>
                <a:ext uri="{FF2B5EF4-FFF2-40B4-BE49-F238E27FC236}">
                  <a16:creationId xmlns:a16="http://schemas.microsoft.com/office/drawing/2014/main" id="{F68D31E2-FD10-7E49-253B-D82819B40B25}"/>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60" name="Table 2 Cell 4, 1 to Text">
              <a:extLst>
                <a:ext uri="{FF2B5EF4-FFF2-40B4-BE49-F238E27FC236}">
                  <a16:creationId xmlns:a16="http://schemas.microsoft.com/office/drawing/2014/main" id="{CE0C1EAC-291A-5BA2-FC47-198E2275A14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1" name="Table 2 Cell 5, 1 to Text">
              <a:extLst>
                <a:ext uri="{FF2B5EF4-FFF2-40B4-BE49-F238E27FC236}">
                  <a16:creationId xmlns:a16="http://schemas.microsoft.com/office/drawing/2014/main" id="{A4BEDB4C-6E47-D043-9A81-28A4B7B64056}"/>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62" name="Table 2 Cell 6, 1 to Text">
              <a:extLst>
                <a:ext uri="{FF2B5EF4-FFF2-40B4-BE49-F238E27FC236}">
                  <a16:creationId xmlns:a16="http://schemas.microsoft.com/office/drawing/2014/main" id="{2B28C95B-FB2F-8F67-4876-B32A24D862C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3" name="Table 2 Cell 7, 1 to Text">
              <a:extLst>
                <a:ext uri="{FF2B5EF4-FFF2-40B4-BE49-F238E27FC236}">
                  <a16:creationId xmlns:a16="http://schemas.microsoft.com/office/drawing/2014/main" id="{F7977D63-65BE-C007-CC21-F34C90843E45}"/>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4" name="Table 2 Cell 1, 2 to Text">
              <a:extLst>
                <a:ext uri="{FF2B5EF4-FFF2-40B4-BE49-F238E27FC236}">
                  <a16:creationId xmlns:a16="http://schemas.microsoft.com/office/drawing/2014/main" id="{B01E390C-A6BE-BFF8-1392-B50B0CD8B182}"/>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65" name="Table 2 Cell 1, 3 to Text">
              <a:extLst>
                <a:ext uri="{FF2B5EF4-FFF2-40B4-BE49-F238E27FC236}">
                  <a16:creationId xmlns:a16="http://schemas.microsoft.com/office/drawing/2014/main" id="{673FECF8-58F4-AF02-7F56-20B2676C7AC7}"/>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66" name="Table 2 Cell 1, 4 to Text">
              <a:extLst>
                <a:ext uri="{FF2B5EF4-FFF2-40B4-BE49-F238E27FC236}">
                  <a16:creationId xmlns:a16="http://schemas.microsoft.com/office/drawing/2014/main" id="{034964FF-3E10-C0CE-36C1-9C4C9E000BED}"/>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3.3 Core Priorities &amp; Key Habits</a:t>
              </a:r>
            </a:p>
          </p:txBody>
        </p:sp>
        <p:sp>
          <p:nvSpPr>
            <p:cNvPr id="67" name="Table 2 Cell 1, 5 to Text">
              <a:extLst>
                <a:ext uri="{FF2B5EF4-FFF2-40B4-BE49-F238E27FC236}">
                  <a16:creationId xmlns:a16="http://schemas.microsoft.com/office/drawing/2014/main" id="{24DF7592-2E4B-D706-8D21-D22E7E948EF5}"/>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68" name="Table 2 Cell 1, 6 to Text">
              <a:extLst>
                <a:ext uri="{FF2B5EF4-FFF2-40B4-BE49-F238E27FC236}">
                  <a16:creationId xmlns:a16="http://schemas.microsoft.com/office/drawing/2014/main" id="{00EF866C-D41E-CF3A-9E25-2675F4E2E987}"/>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69" name="Table 2 Cell 1, 7 to Text">
              <a:extLst>
                <a:ext uri="{FF2B5EF4-FFF2-40B4-BE49-F238E27FC236}">
                  <a16:creationId xmlns:a16="http://schemas.microsoft.com/office/drawing/2014/main" id="{02483F6C-5D40-78E6-E637-E8FBE70CC4E5}"/>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70" name="Table 2 Cell 1, 8 to Text">
              <a:extLst>
                <a:ext uri="{FF2B5EF4-FFF2-40B4-BE49-F238E27FC236}">
                  <a16:creationId xmlns:a16="http://schemas.microsoft.com/office/drawing/2014/main" id="{2F36B6DD-CA4E-063B-EB8F-7039D5A6EB2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
        <p:nvSpPr>
          <p:cNvPr id="71" name="Rectangle: Rounded Corners 70">
            <a:extLst>
              <a:ext uri="{FF2B5EF4-FFF2-40B4-BE49-F238E27FC236}">
                <a16:creationId xmlns:a16="http://schemas.microsoft.com/office/drawing/2014/main" id="{7F687EE4-2960-9D21-2946-A85B383F2273}"/>
              </a:ext>
              <a:ext uri="{C183D7F6-B498-43B3-948B-1728B52AA6E4}">
                <adec:decorative xmlns:adec="http://schemas.microsoft.com/office/drawing/2017/decorative" val="1"/>
              </a:ext>
            </a:extLst>
          </p:cNvPr>
          <p:cNvSpPr/>
          <p:nvPr/>
        </p:nvSpPr>
        <p:spPr bwMode="auto">
          <a:xfrm>
            <a:off x="349407"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72" name="Rectangle: Rounded Corners 71">
            <a:extLst>
              <a:ext uri="{FF2B5EF4-FFF2-40B4-BE49-F238E27FC236}">
                <a16:creationId xmlns:a16="http://schemas.microsoft.com/office/drawing/2014/main" id="{83AF5AB0-8DA7-64A1-E505-3620C2F4B4DC}"/>
              </a:ext>
              <a:ext uri="{C183D7F6-B498-43B3-948B-1728B52AA6E4}">
                <adec:decorative xmlns:adec="http://schemas.microsoft.com/office/drawing/2017/decorative" val="1"/>
              </a:ext>
            </a:extLst>
          </p:cNvPr>
          <p:cNvSpPr/>
          <p:nvPr/>
        </p:nvSpPr>
        <p:spPr>
          <a:xfrm>
            <a:off x="349407"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 name="Graphic 73">
            <a:extLst>
              <a:ext uri="{FF2B5EF4-FFF2-40B4-BE49-F238E27FC236}">
                <a16:creationId xmlns:a16="http://schemas.microsoft.com/office/drawing/2014/main" id="{5FD544B6-24F6-09DD-9840-E422243A4A41}"/>
              </a:ext>
              <a:ext uri="{C183D7F6-B498-43B3-948B-1728B52AA6E4}">
                <adec:decorative xmlns:adec="http://schemas.microsoft.com/office/drawing/2017/decorative" val="1"/>
              </a:ext>
            </a:extLst>
          </p:cNvPr>
          <p:cNvSpPr/>
          <p:nvPr/>
        </p:nvSpPr>
        <p:spPr>
          <a:xfrm>
            <a:off x="470052"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 name="TextBox 73">
            <a:extLst>
              <a:ext uri="{FF2B5EF4-FFF2-40B4-BE49-F238E27FC236}">
                <a16:creationId xmlns:a16="http://schemas.microsoft.com/office/drawing/2014/main" id="{C735897C-6221-B31A-208D-5E79B88E73FE}"/>
              </a:ext>
            </a:extLst>
          </p:cNvPr>
          <p:cNvSpPr txBox="1"/>
          <p:nvPr/>
        </p:nvSpPr>
        <p:spPr>
          <a:xfrm>
            <a:off x="470052" y="2452003"/>
            <a:ext cx="2065343" cy="3359894"/>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1. </a:t>
            </a:r>
            <a:r>
              <a:rPr lang="en-US" sz="1400">
                <a:solidFill>
                  <a:srgbClr val="2A446F"/>
                </a:solidFill>
                <a:latin typeface="Segoe Sans Text Semibold"/>
              </a:rPr>
              <a:t>Embracing a Learn-It-All mindset</a:t>
            </a:r>
            <a:endParaRPr lang="en-US" sz="1200">
              <a:solidFill>
                <a:srgbClr val="2A446F"/>
              </a:solidFill>
              <a:latin typeface="Segoe Sans Text Semibold"/>
            </a:endParaRPr>
          </a:p>
          <a:p>
            <a:pPr>
              <a:spcBef>
                <a:spcPts val="300"/>
              </a:spcBef>
              <a:spcAft>
                <a:spcPts val="200"/>
              </a:spcAft>
              <a:defRPr/>
            </a:pPr>
            <a:r>
              <a:rPr lang="en-US" sz="1200">
                <a:solidFill>
                  <a:srgbClr val="2A446F"/>
                </a:solidFill>
                <a:latin typeface="Segoe Sans Text Semibold"/>
              </a:rPr>
              <a:t>S</a:t>
            </a:r>
            <a:r>
              <a:rPr lang="en-US" sz="1200"/>
              <a:t>tepping beyond your comfort zone to deepen technical mastery across Azure and their Solution Play, actively engaging in community-driven programs like </a:t>
            </a:r>
            <a:r>
              <a:rPr lang="en-US" sz="1200" err="1"/>
              <a:t>OpenHacks</a:t>
            </a:r>
            <a:r>
              <a:rPr lang="en-US" sz="1200"/>
              <a:t> and LevelUps, and partnering with your manager to align on a focused development plan that accelerates growth, sharpens impact, and positions you as a trusted advisor in the age of AI.</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75" name="Rectangle: Rounded Corners 74">
            <a:extLst>
              <a:ext uri="{FF2B5EF4-FFF2-40B4-BE49-F238E27FC236}">
                <a16:creationId xmlns:a16="http://schemas.microsoft.com/office/drawing/2014/main" id="{35E336F2-110B-7EE8-A4E1-9D18BD914BAF}"/>
              </a:ext>
              <a:ext uri="{C183D7F6-B498-43B3-948B-1728B52AA6E4}">
                <adec:decorative xmlns:adec="http://schemas.microsoft.com/office/drawing/2017/decorative" val="1"/>
              </a:ext>
            </a:extLst>
          </p:cNvPr>
          <p:cNvSpPr/>
          <p:nvPr/>
        </p:nvSpPr>
        <p:spPr bwMode="auto">
          <a:xfrm>
            <a:off x="2654984"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76" name="Rectangle: Rounded Corners 75">
            <a:extLst>
              <a:ext uri="{FF2B5EF4-FFF2-40B4-BE49-F238E27FC236}">
                <a16:creationId xmlns:a16="http://schemas.microsoft.com/office/drawing/2014/main" id="{536DF831-8B85-F945-0B6E-55367090509D}"/>
              </a:ext>
              <a:ext uri="{C183D7F6-B498-43B3-948B-1728B52AA6E4}">
                <adec:decorative xmlns:adec="http://schemas.microsoft.com/office/drawing/2017/decorative" val="1"/>
              </a:ext>
            </a:extLst>
          </p:cNvPr>
          <p:cNvSpPr/>
          <p:nvPr/>
        </p:nvSpPr>
        <p:spPr>
          <a:xfrm>
            <a:off x="2654984"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 name="Graphic 73">
            <a:extLst>
              <a:ext uri="{FF2B5EF4-FFF2-40B4-BE49-F238E27FC236}">
                <a16:creationId xmlns:a16="http://schemas.microsoft.com/office/drawing/2014/main" id="{5F3259BE-026C-5B85-6836-FD1449B04155}"/>
              </a:ext>
              <a:ext uri="{C183D7F6-B498-43B3-948B-1728B52AA6E4}">
                <adec:decorative xmlns:adec="http://schemas.microsoft.com/office/drawing/2017/decorative" val="1"/>
              </a:ext>
            </a:extLst>
          </p:cNvPr>
          <p:cNvSpPr/>
          <p:nvPr/>
        </p:nvSpPr>
        <p:spPr>
          <a:xfrm>
            <a:off x="2775629"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TextBox 77">
            <a:extLst>
              <a:ext uri="{FF2B5EF4-FFF2-40B4-BE49-F238E27FC236}">
                <a16:creationId xmlns:a16="http://schemas.microsoft.com/office/drawing/2014/main" id="{583865BB-6B69-781A-90D8-CB1F6FF798D1}"/>
              </a:ext>
            </a:extLst>
          </p:cNvPr>
          <p:cNvSpPr txBox="1"/>
          <p:nvPr/>
        </p:nvSpPr>
        <p:spPr>
          <a:xfrm>
            <a:off x="2775629" y="2452003"/>
            <a:ext cx="2065343" cy="2067233"/>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2. </a:t>
            </a:r>
            <a:r>
              <a:rPr lang="en-US" sz="1400">
                <a:solidFill>
                  <a:srgbClr val="2A446F"/>
                </a:solidFill>
                <a:latin typeface="Segoe Sans Text Semibold"/>
              </a:rPr>
              <a:t>Owning their technical and professional growth</a:t>
            </a:r>
          </a:p>
          <a:p>
            <a:pPr>
              <a:spcBef>
                <a:spcPts val="300"/>
              </a:spcBef>
              <a:spcAft>
                <a:spcPts val="200"/>
              </a:spcAft>
              <a:defRPr/>
            </a:pPr>
            <a:r>
              <a:rPr lang="en-US" sz="1200"/>
              <a:t>Proactively using tools like the https://aka.ms/rolelibrary and Skills Inventory to plan and update skilling, certifications, and accreditations aligned to Microsoft and customer priorities.</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79" name="Rectangle: Rounded Corners 78">
            <a:extLst>
              <a:ext uri="{FF2B5EF4-FFF2-40B4-BE49-F238E27FC236}">
                <a16:creationId xmlns:a16="http://schemas.microsoft.com/office/drawing/2014/main" id="{F6371A87-15D7-E24F-D842-C423AD8117EB}"/>
              </a:ext>
              <a:ext uri="{C183D7F6-B498-43B3-948B-1728B52AA6E4}">
                <adec:decorative xmlns:adec="http://schemas.microsoft.com/office/drawing/2017/decorative" val="1"/>
              </a:ext>
            </a:extLst>
          </p:cNvPr>
          <p:cNvSpPr/>
          <p:nvPr/>
        </p:nvSpPr>
        <p:spPr bwMode="auto">
          <a:xfrm>
            <a:off x="4960561" y="2120064"/>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80" name="Rectangle: Rounded Corners 79">
            <a:extLst>
              <a:ext uri="{FF2B5EF4-FFF2-40B4-BE49-F238E27FC236}">
                <a16:creationId xmlns:a16="http://schemas.microsoft.com/office/drawing/2014/main" id="{F294443C-30BD-36C0-5496-AD61935457FD}"/>
              </a:ext>
              <a:ext uri="{C183D7F6-B498-43B3-948B-1728B52AA6E4}">
                <adec:decorative xmlns:adec="http://schemas.microsoft.com/office/drawing/2017/decorative" val="1"/>
              </a:ext>
            </a:extLst>
          </p:cNvPr>
          <p:cNvSpPr/>
          <p:nvPr/>
        </p:nvSpPr>
        <p:spPr>
          <a:xfrm>
            <a:off x="4960561" y="2156976"/>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Graphic 73">
            <a:extLst>
              <a:ext uri="{FF2B5EF4-FFF2-40B4-BE49-F238E27FC236}">
                <a16:creationId xmlns:a16="http://schemas.microsoft.com/office/drawing/2014/main" id="{4A40A41A-41C6-6F8A-B927-441366E54D37}"/>
              </a:ext>
              <a:ext uri="{C183D7F6-B498-43B3-948B-1728B52AA6E4}">
                <adec:decorative xmlns:adec="http://schemas.microsoft.com/office/drawing/2017/decorative" val="1"/>
              </a:ext>
            </a:extLst>
          </p:cNvPr>
          <p:cNvSpPr/>
          <p:nvPr/>
        </p:nvSpPr>
        <p:spPr>
          <a:xfrm>
            <a:off x="5081206" y="2235810"/>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TextBox 81">
            <a:extLst>
              <a:ext uri="{FF2B5EF4-FFF2-40B4-BE49-F238E27FC236}">
                <a16:creationId xmlns:a16="http://schemas.microsoft.com/office/drawing/2014/main" id="{87AF5E65-C756-7FE6-2328-9F0F1D275E62}"/>
              </a:ext>
            </a:extLst>
          </p:cNvPr>
          <p:cNvSpPr txBox="1"/>
          <p:nvPr/>
        </p:nvSpPr>
        <p:spPr>
          <a:xfrm>
            <a:off x="5081206" y="2462091"/>
            <a:ext cx="2065343" cy="3454792"/>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3. </a:t>
            </a:r>
            <a:r>
              <a:rPr lang="en-US" sz="1400">
                <a:solidFill>
                  <a:srgbClr val="2A446F"/>
                </a:solidFill>
                <a:latin typeface="Segoe Sans Text Semibold"/>
              </a:rPr>
              <a:t>Driving customer outcomes through value-based delivery</a:t>
            </a:r>
            <a:endParaRPr lang="en-US" sz="1200">
              <a:solidFill>
                <a:srgbClr val="2A446F"/>
              </a:solidFill>
              <a:latin typeface="Segoe Sans Text Semibold"/>
            </a:endParaRPr>
          </a:p>
          <a:p>
            <a:pPr>
              <a:spcBef>
                <a:spcPts val="300"/>
              </a:spcBef>
              <a:spcAft>
                <a:spcPts val="200"/>
              </a:spcAft>
              <a:defRPr/>
            </a:pPr>
            <a:r>
              <a:rPr lang="en-US" sz="1200"/>
              <a:t>Demonstrating customer obsession by aligning Microsoft resources and repeatable IP to customer needs, identifying the key levers that impact business objectives and proactively mitigating risks that could hinder success</a:t>
            </a:r>
            <a:r>
              <a:rPr lang="en-US" sz="1200">
                <a:solidFill>
                  <a:schemeClr val="tx2"/>
                </a:solidFill>
              </a:rPr>
              <a:t>, </a:t>
            </a:r>
            <a:r>
              <a:rPr lang="en-US" sz="1200"/>
              <a:t>building confidence in our ability to help them achieve their business goals, including AI readiness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83" name="Rectangle: Rounded Corners 82">
            <a:extLst>
              <a:ext uri="{FF2B5EF4-FFF2-40B4-BE49-F238E27FC236}">
                <a16:creationId xmlns:a16="http://schemas.microsoft.com/office/drawing/2014/main" id="{CC1D1725-7420-2E3E-CB8A-31ECD00B30DD}"/>
              </a:ext>
              <a:ext uri="{C183D7F6-B498-43B3-948B-1728B52AA6E4}">
                <adec:decorative xmlns:adec="http://schemas.microsoft.com/office/drawing/2017/decorative" val="1"/>
              </a:ext>
            </a:extLst>
          </p:cNvPr>
          <p:cNvSpPr/>
          <p:nvPr/>
        </p:nvSpPr>
        <p:spPr bwMode="auto">
          <a:xfrm>
            <a:off x="7275903"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84" name="Rectangle: Rounded Corners 83">
            <a:extLst>
              <a:ext uri="{FF2B5EF4-FFF2-40B4-BE49-F238E27FC236}">
                <a16:creationId xmlns:a16="http://schemas.microsoft.com/office/drawing/2014/main" id="{FD61367A-A03A-636A-69D4-51256709DDE1}"/>
              </a:ext>
              <a:ext uri="{C183D7F6-B498-43B3-948B-1728B52AA6E4}">
                <adec:decorative xmlns:adec="http://schemas.microsoft.com/office/drawing/2017/decorative" val="1"/>
              </a:ext>
            </a:extLst>
          </p:cNvPr>
          <p:cNvSpPr/>
          <p:nvPr/>
        </p:nvSpPr>
        <p:spPr>
          <a:xfrm>
            <a:off x="7275903"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Graphic 73">
            <a:extLst>
              <a:ext uri="{FF2B5EF4-FFF2-40B4-BE49-F238E27FC236}">
                <a16:creationId xmlns:a16="http://schemas.microsoft.com/office/drawing/2014/main" id="{A73CB39A-E7A4-E55D-2265-64AB62D33D3C}"/>
              </a:ext>
              <a:ext uri="{C183D7F6-B498-43B3-948B-1728B52AA6E4}">
                <adec:decorative xmlns:adec="http://schemas.microsoft.com/office/drawing/2017/decorative" val="1"/>
              </a:ext>
            </a:extLst>
          </p:cNvPr>
          <p:cNvSpPr/>
          <p:nvPr/>
        </p:nvSpPr>
        <p:spPr>
          <a:xfrm>
            <a:off x="7396548"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TextBox 85">
            <a:extLst>
              <a:ext uri="{FF2B5EF4-FFF2-40B4-BE49-F238E27FC236}">
                <a16:creationId xmlns:a16="http://schemas.microsoft.com/office/drawing/2014/main" id="{938ED3C3-B4C0-AF8F-A2A2-73FB6EB92D32}"/>
              </a:ext>
            </a:extLst>
          </p:cNvPr>
          <p:cNvSpPr txBox="1"/>
          <p:nvPr/>
        </p:nvSpPr>
        <p:spPr>
          <a:xfrm>
            <a:off x="7396548" y="2452003"/>
            <a:ext cx="2065343" cy="2003112"/>
          </a:xfrm>
          <a:prstGeom prst="rect">
            <a:avLst/>
          </a:prstGeom>
          <a:noFill/>
        </p:spPr>
        <p:txBody>
          <a:bodyPr wrap="square" lIns="0" tIns="0" rIns="0" bIns="0">
            <a:spAutoFit/>
          </a:bodyPr>
          <a:lstStyle/>
          <a:p>
            <a:pPr>
              <a:spcBef>
                <a:spcPts val="300"/>
              </a:spcBef>
              <a:spcAft>
                <a:spcPts val="200"/>
              </a:spcAft>
              <a:defRPr/>
            </a:pPr>
            <a:r>
              <a:rPr lang="en-US" sz="1400">
                <a:solidFill>
                  <a:schemeClr val="tx2"/>
                </a:solidFill>
                <a:latin typeface="+mj-lt"/>
              </a:rPr>
              <a:t>4. Mastering the Dual Focus: Execution and Expansion</a:t>
            </a:r>
          </a:p>
          <a:p>
            <a:pPr>
              <a:spcBef>
                <a:spcPts val="300"/>
              </a:spcBef>
              <a:spcAft>
                <a:spcPts val="200"/>
              </a:spcAft>
              <a:defRPr/>
            </a:pPr>
            <a:r>
              <a:rPr lang="en-US" sz="1200" b="0" i="0">
                <a:solidFill>
                  <a:srgbClr val="424242"/>
                </a:solidFill>
                <a:effectLst/>
                <a:latin typeface="Segoe Sans"/>
              </a:rPr>
              <a:t>Driving milestone delivery on core commitments with excellence (Job 1), while actively identifying and advancing opportunities to expand impact (Job 2), all with a customer-first mindset.</a:t>
            </a:r>
            <a:endParaRPr lang="en-US" sz="1400">
              <a:solidFill>
                <a:schemeClr val="tx2"/>
              </a:solidFill>
              <a:latin typeface="+mj-lt"/>
            </a:endParaRPr>
          </a:p>
        </p:txBody>
      </p:sp>
      <p:sp>
        <p:nvSpPr>
          <p:cNvPr id="87" name="Rectangle: Rounded Corners 86">
            <a:extLst>
              <a:ext uri="{FF2B5EF4-FFF2-40B4-BE49-F238E27FC236}">
                <a16:creationId xmlns:a16="http://schemas.microsoft.com/office/drawing/2014/main" id="{4DCB2629-D036-CB6D-5A7D-86C4ACA0B9AE}"/>
              </a:ext>
              <a:ext uri="{C183D7F6-B498-43B3-948B-1728B52AA6E4}">
                <adec:decorative xmlns:adec="http://schemas.microsoft.com/office/drawing/2017/decorative" val="1"/>
              </a:ext>
            </a:extLst>
          </p:cNvPr>
          <p:cNvSpPr/>
          <p:nvPr/>
        </p:nvSpPr>
        <p:spPr bwMode="auto">
          <a:xfrm>
            <a:off x="9591245" y="2100700"/>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88" name="Rectangle: Rounded Corners 87">
            <a:extLst>
              <a:ext uri="{FF2B5EF4-FFF2-40B4-BE49-F238E27FC236}">
                <a16:creationId xmlns:a16="http://schemas.microsoft.com/office/drawing/2014/main" id="{28C6C74F-D644-A69F-66CC-CA2124274FC9}"/>
              </a:ext>
              <a:ext uri="{C183D7F6-B498-43B3-948B-1728B52AA6E4}">
                <adec:decorative xmlns:adec="http://schemas.microsoft.com/office/drawing/2017/decorative" val="1"/>
              </a:ext>
            </a:extLst>
          </p:cNvPr>
          <p:cNvSpPr/>
          <p:nvPr/>
        </p:nvSpPr>
        <p:spPr>
          <a:xfrm>
            <a:off x="9591245" y="2137612"/>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 name="Graphic 73">
            <a:extLst>
              <a:ext uri="{FF2B5EF4-FFF2-40B4-BE49-F238E27FC236}">
                <a16:creationId xmlns:a16="http://schemas.microsoft.com/office/drawing/2014/main" id="{315B2F4E-26AC-9E7C-EE9A-F2827DD7F994}"/>
              </a:ext>
              <a:ext uri="{C183D7F6-B498-43B3-948B-1728B52AA6E4}">
                <adec:decorative xmlns:adec="http://schemas.microsoft.com/office/drawing/2017/decorative" val="1"/>
              </a:ext>
            </a:extLst>
          </p:cNvPr>
          <p:cNvSpPr/>
          <p:nvPr/>
        </p:nvSpPr>
        <p:spPr>
          <a:xfrm>
            <a:off x="9711890" y="2216446"/>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TextBox 89">
            <a:extLst>
              <a:ext uri="{FF2B5EF4-FFF2-40B4-BE49-F238E27FC236}">
                <a16:creationId xmlns:a16="http://schemas.microsoft.com/office/drawing/2014/main" id="{08009F44-2A3A-CE68-84C9-0DAF0008A0D7}"/>
              </a:ext>
            </a:extLst>
          </p:cNvPr>
          <p:cNvSpPr txBox="1"/>
          <p:nvPr/>
        </p:nvSpPr>
        <p:spPr>
          <a:xfrm>
            <a:off x="9711890" y="2442727"/>
            <a:ext cx="2065343" cy="1913344"/>
          </a:xfrm>
          <a:prstGeom prst="rect">
            <a:avLst/>
          </a:prstGeom>
          <a:noFill/>
        </p:spPr>
        <p:txBody>
          <a:bodyPr wrap="square" lIns="0" tIns="0" rIns="0" bIns="0">
            <a:spAutoFit/>
          </a:bodyPr>
          <a:lstStyle/>
          <a:p>
            <a:pPr>
              <a:spcBef>
                <a:spcPts val="300"/>
              </a:spcBef>
              <a:spcAft>
                <a:spcPts val="200"/>
              </a:spcAft>
              <a:defRPr/>
            </a:pPr>
            <a:r>
              <a:rPr lang="en-US" sz="1400">
                <a:solidFill>
                  <a:srgbClr val="2A446F"/>
                </a:solidFill>
                <a:latin typeface="Segoe Sans Text Semibold"/>
              </a:rPr>
              <a:t>5. Leading AI transformation for customers</a:t>
            </a:r>
            <a:endParaRPr lang="en-US" sz="1200">
              <a:solidFill>
                <a:srgbClr val="2A446F"/>
              </a:solidFill>
              <a:latin typeface="Segoe Sans Text Semibold"/>
            </a:endParaRPr>
          </a:p>
          <a:p>
            <a:pPr>
              <a:spcBef>
                <a:spcPts val="300"/>
              </a:spcBef>
              <a:spcAft>
                <a:spcPts val="200"/>
              </a:spcAft>
              <a:defRPr/>
            </a:pPr>
            <a:r>
              <a:rPr lang="en-US" sz="1200"/>
              <a:t>Upskilling in relevant workloads and scenarios to serve as trusted advisors who guide innovation with AI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Tree>
    <p:extLst>
      <p:ext uri="{BB962C8B-B14F-4D97-AF65-F5344CB8AC3E}">
        <p14:creationId xmlns:p14="http://schemas.microsoft.com/office/powerpoint/2010/main" val="1536980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D9491-D0B2-3E14-0EAE-F9A2D7DEA7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B43A9F0-99F3-AD6C-E0EE-63F6BF0A653E}"/>
              </a:ext>
            </a:extLst>
          </p:cNvPr>
          <p:cNvSpPr>
            <a:spLocks noGrp="1"/>
          </p:cNvSpPr>
          <p:nvPr>
            <p:ph type="title"/>
          </p:nvPr>
        </p:nvSpPr>
        <p:spPr>
          <a:xfrm>
            <a:off x="571500" y="457200"/>
            <a:ext cx="11049000" cy="492443"/>
          </a:xfrm>
        </p:spPr>
        <p:txBody>
          <a:bodyPr>
            <a:normAutofit/>
          </a:bodyPr>
          <a:lstStyle/>
          <a:p>
            <a:r>
              <a:rPr lang="en-US" sz="2800">
                <a:solidFill>
                  <a:schemeClr val="accent1"/>
                </a:solidFill>
              </a:rPr>
              <a:t>FY26 Cloud &amp; AI CSU </a:t>
            </a:r>
            <a:r>
              <a:rPr lang="en-US" sz="2800"/>
              <a:t>| Technical Expectations</a:t>
            </a:r>
          </a:p>
        </p:txBody>
      </p:sp>
      <p:sp>
        <p:nvSpPr>
          <p:cNvPr id="6" name="TextBox 5">
            <a:extLst>
              <a:ext uri="{FF2B5EF4-FFF2-40B4-BE49-F238E27FC236}">
                <a16:creationId xmlns:a16="http://schemas.microsoft.com/office/drawing/2014/main" id="{EFE5CF4F-2702-A491-BA96-B20DE58A1D65}"/>
              </a:ext>
            </a:extLst>
          </p:cNvPr>
          <p:cNvSpPr txBox="1"/>
          <p:nvPr/>
        </p:nvSpPr>
        <p:spPr>
          <a:xfrm>
            <a:off x="571500" y="6443671"/>
            <a:ext cx="280365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zure AI Foundry encapsulates AI Services, AOAI, Azure ML</a:t>
            </a:r>
          </a:p>
        </p:txBody>
      </p:sp>
      <p:sp>
        <p:nvSpPr>
          <p:cNvPr id="20" name="Rectangle: Rounded Corners 19">
            <a:extLst>
              <a:ext uri="{FF2B5EF4-FFF2-40B4-BE49-F238E27FC236}">
                <a16:creationId xmlns:a16="http://schemas.microsoft.com/office/drawing/2014/main" id="{7D3660C5-DA64-C9F2-906A-28AFEF02730B}"/>
              </a:ext>
              <a:ext uri="{C183D7F6-B498-43B3-948B-1728B52AA6E4}">
                <adec:decorative xmlns:adec="http://schemas.microsoft.com/office/drawing/2017/decorative" val="1"/>
              </a:ext>
            </a:extLst>
          </p:cNvPr>
          <p:cNvSpPr>
            <a:spLocks/>
          </p:cNvSpPr>
          <p:nvPr/>
        </p:nvSpPr>
        <p:spPr bwMode="auto">
          <a:xfrm>
            <a:off x="573880" y="1048994"/>
            <a:ext cx="3630168" cy="5363232"/>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1" name="Rectangle: Rounded Corners 20">
            <a:extLst>
              <a:ext uri="{FF2B5EF4-FFF2-40B4-BE49-F238E27FC236}">
                <a16:creationId xmlns:a16="http://schemas.microsoft.com/office/drawing/2014/main" id="{06656707-49DB-9598-9E0B-E868577674ED}"/>
              </a:ext>
              <a:ext uri="{C183D7F6-B498-43B3-948B-1728B52AA6E4}">
                <adec:decorative xmlns:adec="http://schemas.microsoft.com/office/drawing/2017/decorative" val="1"/>
              </a:ext>
            </a:extLst>
          </p:cNvPr>
          <p:cNvSpPr>
            <a:spLocks/>
          </p:cNvSpPr>
          <p:nvPr/>
        </p:nvSpPr>
        <p:spPr bwMode="auto">
          <a:xfrm>
            <a:off x="4281342"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2" name="Rectangle: Rounded Corners 21">
            <a:extLst>
              <a:ext uri="{FF2B5EF4-FFF2-40B4-BE49-F238E27FC236}">
                <a16:creationId xmlns:a16="http://schemas.microsoft.com/office/drawing/2014/main" id="{556EA71C-20C7-8A99-605E-D7D339023729}"/>
              </a:ext>
              <a:ext uri="{C183D7F6-B498-43B3-948B-1728B52AA6E4}">
                <adec:decorative xmlns:adec="http://schemas.microsoft.com/office/drawing/2017/decorative" val="1"/>
              </a:ext>
            </a:extLst>
          </p:cNvPr>
          <p:cNvSpPr>
            <a:spLocks/>
          </p:cNvSpPr>
          <p:nvPr/>
        </p:nvSpPr>
        <p:spPr bwMode="auto">
          <a:xfrm>
            <a:off x="7988804"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3" name="Rectangle: Rounded Corners 22">
            <a:extLst>
              <a:ext uri="{FF2B5EF4-FFF2-40B4-BE49-F238E27FC236}">
                <a16:creationId xmlns:a16="http://schemas.microsoft.com/office/drawing/2014/main" id="{9C49C29B-2DF6-C5DA-528B-E963B779598A}"/>
              </a:ext>
            </a:extLst>
          </p:cNvPr>
          <p:cNvSpPr/>
          <p:nvPr/>
        </p:nvSpPr>
        <p:spPr bwMode="auto">
          <a:xfrm>
            <a:off x="662937" y="1140434"/>
            <a:ext cx="3456814" cy="330677"/>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Infra CSA</a:t>
            </a:r>
          </a:p>
        </p:txBody>
      </p:sp>
      <p:sp>
        <p:nvSpPr>
          <p:cNvPr id="24" name="Rectangle: Rounded Corners 23">
            <a:extLst>
              <a:ext uri="{FF2B5EF4-FFF2-40B4-BE49-F238E27FC236}">
                <a16:creationId xmlns:a16="http://schemas.microsoft.com/office/drawing/2014/main" id="{D4AD8C0E-D9E4-44E5-040B-308FE55B0991}"/>
              </a:ext>
            </a:extLst>
          </p:cNvPr>
          <p:cNvSpPr/>
          <p:nvPr/>
        </p:nvSpPr>
        <p:spPr bwMode="auto">
          <a:xfrm>
            <a:off x="4368019"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Data CSA</a:t>
            </a:r>
          </a:p>
        </p:txBody>
      </p:sp>
      <p:sp>
        <p:nvSpPr>
          <p:cNvPr id="25" name="Rectangle: Rounded Corners 24">
            <a:extLst>
              <a:ext uri="{FF2B5EF4-FFF2-40B4-BE49-F238E27FC236}">
                <a16:creationId xmlns:a16="http://schemas.microsoft.com/office/drawing/2014/main" id="{0E9C2450-3D5D-AEEC-18A0-B6C6BA7F3E63}"/>
              </a:ext>
            </a:extLst>
          </p:cNvPr>
          <p:cNvSpPr/>
          <p:nvPr/>
        </p:nvSpPr>
        <p:spPr bwMode="auto">
          <a:xfrm>
            <a:off x="8075481"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Apps CSA</a:t>
            </a:r>
          </a:p>
        </p:txBody>
      </p:sp>
      <p:sp>
        <p:nvSpPr>
          <p:cNvPr id="35" name="Rectangle: Top Corners Rounded 34">
            <a:extLst>
              <a:ext uri="{FF2B5EF4-FFF2-40B4-BE49-F238E27FC236}">
                <a16:creationId xmlns:a16="http://schemas.microsoft.com/office/drawing/2014/main" id="{8F8FE102-C54A-F2B2-18A9-16E7D5DA8B59}"/>
              </a:ext>
              <a:ext uri="{C183D7F6-B498-43B3-948B-1728B52AA6E4}">
                <adec:decorative xmlns:adec="http://schemas.microsoft.com/office/drawing/2017/decorative" val="1"/>
              </a:ext>
            </a:extLst>
          </p:cNvPr>
          <p:cNvSpPr/>
          <p:nvPr/>
        </p:nvSpPr>
        <p:spPr bwMode="auto">
          <a:xfrm rot="16200000">
            <a:off x="-252730" y="5048700"/>
            <a:ext cx="1381758" cy="266698"/>
          </a:xfrm>
          <a:prstGeom prst="round2SameRect">
            <a:avLst>
              <a:gd name="adj1" fmla="val 21111"/>
              <a:gd name="adj2" fmla="val 0"/>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40" name="TextBox 39">
            <a:extLst>
              <a:ext uri="{FF2B5EF4-FFF2-40B4-BE49-F238E27FC236}">
                <a16:creationId xmlns:a16="http://schemas.microsoft.com/office/drawing/2014/main" id="{9BE0E09B-F14E-DE17-E4B1-02EEB97731A7}"/>
              </a:ext>
            </a:extLst>
          </p:cNvPr>
          <p:cNvSpPr txBox="1"/>
          <p:nvPr/>
        </p:nvSpPr>
        <p:spPr>
          <a:xfrm>
            <a:off x="765076"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Z-305</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 Engineer Associate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700</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 Foundation Certified System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LFC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rPr>
              <a:t>CKA</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ecurity Engineer Associate</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1" name="TextBox 40">
            <a:extLst>
              <a:ext uri="{FF2B5EF4-FFF2-40B4-BE49-F238E27FC236}">
                <a16:creationId xmlns:a16="http://schemas.microsoft.com/office/drawing/2014/main" id="{2815CC61-1A11-D73D-2938-9712F1B1E230}"/>
              </a:ext>
            </a:extLst>
          </p:cNvPr>
          <p:cNvSpPr txBox="1"/>
          <p:nvPr/>
        </p:nvSpPr>
        <p:spPr>
          <a:xfrm>
            <a:off x="765076"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42" name="TextBox 41">
            <a:extLst>
              <a:ext uri="{FF2B5EF4-FFF2-40B4-BE49-F238E27FC236}">
                <a16:creationId xmlns:a16="http://schemas.microsoft.com/office/drawing/2014/main" id="{F12AB8E5-70A4-7C5D-8BD4-FB01A582E96F}"/>
              </a:ext>
            </a:extLst>
          </p:cNvPr>
          <p:cNvSpPr txBox="1"/>
          <p:nvPr/>
        </p:nvSpPr>
        <p:spPr>
          <a:xfrm>
            <a:off x="765076" y="3865374"/>
            <a:ext cx="3251684" cy="23314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Infra Migr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Windows Server VMs, Linux VMs, Azure Arc, Azure VMware Solution (AVS), Azure Arc, RISE with SAP, </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M-Series Azure VMs, HP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 Migration &am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SQL (SQL Server on Azure VMs, Azure SQL Managed Instance, Azure SQL Database), Azure Database for PostgreSQL, Azure Database for MySQL</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p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Kubernetes Service (AKS), ACA, App Service, Azure Red Hat OpenShift (ARO)</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Security</a:t>
            </a:r>
            <a:r>
              <a:rPr kumimoji="0" lang="en-US" sz="900" b="0" i="0" u="none" strike="noStrike" kern="1200" cap="none" spc="0" normalizeH="0" baseline="0" noProof="0">
                <a:ln>
                  <a:noFill/>
                </a:ln>
                <a:solidFill>
                  <a:srgbClr val="000000"/>
                </a:solidFill>
                <a:effectLst/>
                <a:uLnTx/>
                <a:uFillTx/>
                <a:latin typeface="Segoe Sans Text"/>
                <a:ea typeface="+mn-ea"/>
                <a:cs typeface="+mn-cs"/>
              </a:rPr>
              <a:t>: Defender for Cloud, Network Securit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AF + WAF </a:t>
            </a:r>
            <a:r>
              <a:rPr kumimoji="0" lang="en-US" sz="900" b="0" i="0" u="none" strike="noStrike" kern="1200" cap="none" spc="0" normalizeH="0" baseline="0" noProof="0">
                <a:ln>
                  <a:noFill/>
                </a:ln>
                <a:solidFill>
                  <a:srgbClr val="000000"/>
                </a:solidFill>
                <a:effectLst/>
                <a:uLnTx/>
                <a:uFillTx/>
                <a:latin typeface="Segoe Sans Text"/>
                <a:ea typeface="+mn-ea"/>
                <a:cs typeface="+mn-cs"/>
              </a:rPr>
              <a:t>(e.g. landing zones, WARA, networking, storage, monitor, backup/DR, resiliency etc.)</a:t>
            </a:r>
            <a:endParaRPr kumimoji="0" lang="en-US" sz="10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45" name="Straight Connector 44">
            <a:extLst>
              <a:ext uri="{FF2B5EF4-FFF2-40B4-BE49-F238E27FC236}">
                <a16:creationId xmlns:a16="http://schemas.microsoft.com/office/drawing/2014/main" id="{16FAD900-DA9B-DB5C-C29B-3FDA642A95DA}"/>
              </a:ext>
              <a:ext uri="{C183D7F6-B498-43B3-948B-1728B52AA6E4}">
                <adec:decorative xmlns:adec="http://schemas.microsoft.com/office/drawing/2017/decorative" val="1"/>
              </a:ext>
            </a:extLst>
          </p:cNvPr>
          <p:cNvCxnSpPr>
            <a:cxnSpLocks/>
          </p:cNvCxnSpPr>
          <p:nvPr/>
        </p:nvCxnSpPr>
        <p:spPr>
          <a:xfrm>
            <a:off x="813904"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18ACBF6-2EB1-96C7-B053-E6AA36D48299}"/>
              </a:ext>
              <a:ext uri="{C183D7F6-B498-43B3-948B-1728B52AA6E4}">
                <adec:decorative xmlns:adec="http://schemas.microsoft.com/office/drawing/2017/decorative" val="1"/>
              </a:ext>
            </a:extLst>
          </p:cNvPr>
          <p:cNvCxnSpPr>
            <a:cxnSpLocks/>
          </p:cNvCxnSpPr>
          <p:nvPr/>
        </p:nvCxnSpPr>
        <p:spPr>
          <a:xfrm>
            <a:off x="813904"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7932E99-B977-2F8E-C3E9-2843C7A0F6B4}"/>
              </a:ext>
            </a:extLst>
          </p:cNvPr>
          <p:cNvSpPr txBox="1"/>
          <p:nvPr/>
        </p:nvSpPr>
        <p:spPr>
          <a:xfrm>
            <a:off x="4470158"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Analytics Engineer Associate (DP-6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Data Engineer Associate (DP-7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ower BI Data Analyst Associate (PL-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Cosmos DB Developer Specialty (DP-42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9" name="TextBox 48">
            <a:extLst>
              <a:ext uri="{FF2B5EF4-FFF2-40B4-BE49-F238E27FC236}">
                <a16:creationId xmlns:a16="http://schemas.microsoft.com/office/drawing/2014/main" id="{425BFC57-0ED6-D2E9-A692-A265DC73D064}"/>
              </a:ext>
            </a:extLst>
          </p:cNvPr>
          <p:cNvSpPr txBox="1"/>
          <p:nvPr/>
        </p:nvSpPr>
        <p:spPr>
          <a:xfrm>
            <a:off x="4470158"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50" name="TextBox 49">
            <a:extLst>
              <a:ext uri="{FF2B5EF4-FFF2-40B4-BE49-F238E27FC236}">
                <a16:creationId xmlns:a16="http://schemas.microsoft.com/office/drawing/2014/main" id="{F71380BF-4183-2E85-56E4-3FC7CFFFFB75}"/>
              </a:ext>
            </a:extLst>
          </p:cNvPr>
          <p:cNvSpPr txBox="1"/>
          <p:nvPr/>
        </p:nvSpPr>
        <p:spPr>
          <a:xfrm>
            <a:off x="4470158" y="3865374"/>
            <a:ext cx="3251684" cy="15465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lvl="0" indent="-131763">
              <a:spcAft>
                <a:spcPts val="600"/>
              </a:spcAft>
              <a:buClr>
                <a:srgbClr val="000000"/>
              </a:buClr>
              <a:buFont typeface="Arial" panose="020B0604020202020204" pitchFamily="34" charset="0"/>
              <a:buChar char="•"/>
              <a:defRPr/>
            </a:pPr>
            <a:r>
              <a:rPr lang="en-US" sz="900">
                <a:solidFill>
                  <a:srgbClr val="000000"/>
                </a:solidFill>
              </a:rPr>
              <a:t>Microsoft Fabric (Fabric DW, Real-Time Intelligence), </a:t>
            </a:r>
            <a:r>
              <a:rPr lang="en-US" sz="900" err="1">
                <a:solidFill>
                  <a:srgbClr val="000000"/>
                </a:solidFill>
              </a:rPr>
              <a:t>OneLake</a:t>
            </a:r>
            <a:r>
              <a:rPr lang="en-US" sz="900">
                <a:solidFill>
                  <a:srgbClr val="000000"/>
                </a:solidFill>
              </a:rPr>
              <a:t>, Data Integration, Data Engineering, Copilot, Data Science)</a:t>
            </a:r>
          </a:p>
          <a:p>
            <a:pPr marL="188913" lvl="0" indent="-131763">
              <a:spcAft>
                <a:spcPts val="600"/>
              </a:spcAft>
              <a:buClr>
                <a:srgbClr val="000000"/>
              </a:buClr>
              <a:buFont typeface="Arial" panose="020B0604020202020204" pitchFamily="34" charset="0"/>
              <a:buChar char="•"/>
              <a:defRPr/>
            </a:pPr>
            <a:r>
              <a:rPr lang="en-US" sz="900">
                <a:solidFill>
                  <a:srgbClr val="000000"/>
                </a:solidFill>
              </a:rPr>
              <a:t>Azure Databricks</a:t>
            </a:r>
          </a:p>
          <a:p>
            <a:pPr marL="188913" indent="-131763">
              <a:spcAft>
                <a:spcPts val="600"/>
              </a:spcAft>
              <a:buClr>
                <a:srgbClr val="000000"/>
              </a:buClr>
              <a:buFont typeface="Arial" panose="020B0604020202020204" pitchFamily="34" charset="0"/>
              <a:buChar char="•"/>
              <a:defRPr/>
            </a:pPr>
            <a:r>
              <a:rPr lang="en-US" sz="900">
                <a:solidFill>
                  <a:srgbClr val="000000"/>
                </a:solidFill>
              </a:rPr>
              <a:t>Microsoft Purview</a:t>
            </a:r>
          </a:p>
          <a:p>
            <a:pPr marL="188913" indent="-131763">
              <a:spcAft>
                <a:spcPts val="600"/>
              </a:spcAft>
              <a:buClr>
                <a:srgbClr val="000000"/>
              </a:buClr>
              <a:buFont typeface="Arial" panose="020B0604020202020204" pitchFamily="34" charset="0"/>
              <a:buChar char="•"/>
              <a:defRPr/>
            </a:pPr>
            <a:r>
              <a:rPr lang="en-US" sz="900">
                <a:solidFill>
                  <a:srgbClr val="000000"/>
                </a:solidFill>
              </a:rPr>
              <a:t>Azure Databases (Azure SQL, Azure Postgres SQL, Azure MySQL, Cosmos DB)</a:t>
            </a:r>
          </a:p>
        </p:txBody>
      </p:sp>
      <p:cxnSp>
        <p:nvCxnSpPr>
          <p:cNvPr id="51" name="Straight Connector 50">
            <a:extLst>
              <a:ext uri="{FF2B5EF4-FFF2-40B4-BE49-F238E27FC236}">
                <a16:creationId xmlns:a16="http://schemas.microsoft.com/office/drawing/2014/main" id="{A082EA1D-7A0D-3794-F8B7-28F8FBB57F28}"/>
              </a:ext>
              <a:ext uri="{C183D7F6-B498-43B3-948B-1728B52AA6E4}">
                <adec:decorative xmlns:adec="http://schemas.microsoft.com/office/drawing/2017/decorative" val="1"/>
              </a:ext>
            </a:extLst>
          </p:cNvPr>
          <p:cNvCxnSpPr>
            <a:cxnSpLocks/>
          </p:cNvCxnSpPr>
          <p:nvPr/>
        </p:nvCxnSpPr>
        <p:spPr>
          <a:xfrm>
            <a:off x="4470158"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1718CAE-D06A-BC90-C74A-EC3B63837C48}"/>
              </a:ext>
              <a:ext uri="{C183D7F6-B498-43B3-948B-1728B52AA6E4}">
                <adec:decorative xmlns:adec="http://schemas.microsoft.com/office/drawing/2017/decorative" val="1"/>
              </a:ext>
            </a:extLst>
          </p:cNvPr>
          <p:cNvCxnSpPr>
            <a:cxnSpLocks/>
          </p:cNvCxnSpPr>
          <p:nvPr/>
        </p:nvCxnSpPr>
        <p:spPr>
          <a:xfrm>
            <a:off x="4470158"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494095F-6968-CBDB-475D-6CC8D9B68C17}"/>
              </a:ext>
              <a:ext uri="{C183D7F6-B498-43B3-948B-1728B52AA6E4}">
                <adec:decorative xmlns:adec="http://schemas.microsoft.com/office/drawing/2017/decorative" val="1"/>
              </a:ext>
            </a:extLst>
          </p:cNvPr>
          <p:cNvCxnSpPr>
            <a:cxnSpLocks/>
          </p:cNvCxnSpPr>
          <p:nvPr/>
        </p:nvCxnSpPr>
        <p:spPr>
          <a:xfrm>
            <a:off x="8165658" y="3699350"/>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A93B6E4-6D0D-F6DE-B7DC-E8B20A690C67}"/>
              </a:ext>
              <a:ext uri="{C183D7F6-B498-43B3-948B-1728B52AA6E4}">
                <adec:decorative xmlns:adec="http://schemas.microsoft.com/office/drawing/2017/decorative" val="1"/>
              </a:ext>
            </a:extLst>
          </p:cNvPr>
          <p:cNvCxnSpPr>
            <a:cxnSpLocks/>
          </p:cNvCxnSpPr>
          <p:nvPr/>
        </p:nvCxnSpPr>
        <p:spPr>
          <a:xfrm>
            <a:off x="8165658" y="3238354"/>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D8916D1-E94F-E479-5A63-E6D918B18B53}"/>
              </a:ext>
            </a:extLst>
          </p:cNvPr>
          <p:cNvSpPr txBox="1"/>
          <p:nvPr/>
        </p:nvSpPr>
        <p:spPr>
          <a:xfrm>
            <a:off x="8165658"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eveloper Associate (AZ-204)</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AI Engineer Associate (AI-102)</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 Copilot Certifications</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vOps Engineer Expert (AZ-4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CKA)</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59" name="TextBox 58">
            <a:extLst>
              <a:ext uri="{FF2B5EF4-FFF2-40B4-BE49-F238E27FC236}">
                <a16:creationId xmlns:a16="http://schemas.microsoft.com/office/drawing/2014/main" id="{9D179BA5-A411-32E5-A29D-265C6302C69E}"/>
              </a:ext>
            </a:extLst>
          </p:cNvPr>
          <p:cNvSpPr txBox="1"/>
          <p:nvPr/>
        </p:nvSpPr>
        <p:spPr>
          <a:xfrm>
            <a:off x="8165658" y="3303422"/>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zure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Exam (AZ-305)</a:t>
            </a:r>
          </a:p>
        </p:txBody>
      </p:sp>
      <p:sp>
        <p:nvSpPr>
          <p:cNvPr id="60" name="TextBox 59">
            <a:extLst>
              <a:ext uri="{FF2B5EF4-FFF2-40B4-BE49-F238E27FC236}">
                <a16:creationId xmlns:a16="http://schemas.microsoft.com/office/drawing/2014/main" id="{1ADE0B24-8BF2-3DAB-3519-7F6536969418}"/>
              </a:ext>
            </a:extLst>
          </p:cNvPr>
          <p:cNvSpPr txBox="1"/>
          <p:nvPr/>
        </p:nvSpPr>
        <p:spPr>
          <a:xfrm>
            <a:off x="8165658" y="3764418"/>
            <a:ext cx="3251684" cy="25468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AI Foundry*​ </a:t>
            </a:r>
            <a:r>
              <a:rPr kumimoji="0" lang="en-US" sz="900" b="0" i="0" u="none" strike="noStrike" kern="1200" cap="none" spc="0" normalizeH="0" baseline="0" noProof="0">
                <a:ln>
                  <a:noFill/>
                </a:ln>
                <a:solidFill>
                  <a:srgbClr val="000000"/>
                </a:solidFill>
                <a:effectLst/>
                <a:uLnTx/>
                <a:uFillTx/>
                <a:latin typeface="Segoe Sans Text"/>
                <a:ea typeface="+mn-ea"/>
                <a:cs typeface="+mn-cs"/>
              </a:rPr>
              <a:t>(Models, Agent Service, Semantic Kernel, Search, ML, SDK)</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pilot Studio​</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err="1">
                <a:ln>
                  <a:noFill/>
                </a:ln>
                <a:solidFill>
                  <a:srgbClr val="000000"/>
                </a:solidFill>
                <a:effectLst/>
                <a:uLnTx/>
                <a:uFillTx/>
                <a:latin typeface="Segoe Sans Text Semibold"/>
                <a:ea typeface="+mn-ea"/>
                <a:cs typeface="+mn-cs"/>
              </a:rPr>
              <a:t>AppPlat</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ontainers/Serverless </a:t>
            </a:r>
            <a:r>
              <a:rPr kumimoji="0" lang="en-US" sz="900" b="1" i="0" u="none" strike="noStrike" kern="1200" cap="none" spc="0" normalizeH="0" baseline="0" noProof="0">
                <a:ln>
                  <a:noFill/>
                </a:ln>
                <a:solidFill>
                  <a:srgbClr val="000000"/>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App Service, AKS, ACA, ARO, Function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Integration Service </a:t>
            </a:r>
            <a:r>
              <a:rPr kumimoji="0" lang="en-US" sz="900" b="0" i="0" u="none" strike="noStrike" kern="1200" cap="none" spc="0" normalizeH="0" baseline="0" noProof="0">
                <a:ln>
                  <a:noFill/>
                </a:ln>
                <a:solidFill>
                  <a:srgbClr val="000000"/>
                </a:solidFill>
                <a:effectLst/>
                <a:uLnTx/>
                <a:uFillTx/>
                <a:latin typeface="Segoe Sans Text"/>
                <a:ea typeface="+mn-ea"/>
                <a:cs typeface="+mn-cs"/>
              </a:rPr>
              <a:t>(APIM, Logic App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evOps</a:t>
            </a:r>
            <a:r>
              <a:rPr kumimoji="0" lang="en-US" sz="900" b="0" i="0" u="none" strike="noStrike" kern="1200" cap="none" spc="0" normalizeH="0" baseline="0" noProof="0">
                <a:ln>
                  <a:noFill/>
                </a:ln>
                <a:solidFill>
                  <a:srgbClr val="000000"/>
                </a:solidFill>
                <a:effectLst/>
                <a:uLnTx/>
                <a:uFillTx/>
                <a:latin typeface="Segoe Sans Text"/>
                <a:ea typeface="+mn-ea"/>
                <a:cs typeface="+mn-cs"/>
              </a:rPr>
              <a:t> (CI/CD, Azure DevOp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DevSecOp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GitHub</a:t>
            </a:r>
            <a:r>
              <a:rPr kumimoji="0" lang="en-US" sz="900" b="0" i="0" u="none" strike="noStrike" kern="1200" cap="none" spc="0" normalizeH="0" baseline="0" noProof="0">
                <a:ln>
                  <a:noFill/>
                </a:ln>
                <a:solidFill>
                  <a:srgbClr val="000000"/>
                </a:solidFill>
                <a:effectLst/>
                <a:uLnTx/>
                <a:uFillTx/>
                <a:latin typeface="Segoe Sans Text"/>
                <a:ea typeface="+mn-ea"/>
                <a:cs typeface="+mn-cs"/>
              </a:rPr>
              <a:t> (Copilot, Enterprise, Adv Security, Action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Codespace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3P GPU/AI Infra/BYOAIM</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a:t>
            </a:r>
            <a:r>
              <a:rPr kumimoji="0" lang="en-US" sz="900" b="0" i="0" u="none" strike="noStrike" kern="1200" cap="none" spc="0" normalizeH="0" baseline="0" noProof="0">
                <a:ln>
                  <a:noFill/>
                </a:ln>
                <a:solidFill>
                  <a:srgbClr val="000000"/>
                </a:solidFill>
                <a:effectLst/>
                <a:uLnTx/>
                <a:uFillTx/>
                <a:latin typeface="Segoe Sans Text"/>
                <a:ea typeface="+mn-ea"/>
                <a:cs typeface="+mn-cs"/>
              </a:rPr>
              <a:t> (Cosmos DB, Azure SQL, Azure Database for PostgreSQL)</a:t>
            </a:r>
          </a:p>
        </p:txBody>
      </p:sp>
      <p:sp>
        <p:nvSpPr>
          <p:cNvPr id="9" name="TextBox 8">
            <a:extLst>
              <a:ext uri="{FF2B5EF4-FFF2-40B4-BE49-F238E27FC236}">
                <a16:creationId xmlns:a16="http://schemas.microsoft.com/office/drawing/2014/main" id="{B0BFBBC6-3F74-219D-A73C-108305ADFEEC}"/>
              </a:ext>
            </a:extLst>
          </p:cNvPr>
          <p:cNvSpPr txBox="1"/>
          <p:nvPr/>
        </p:nvSpPr>
        <p:spPr>
          <a:xfrm rot="16200000">
            <a:off x="-81226" y="5105105"/>
            <a:ext cx="1038746" cy="153888"/>
          </a:xfrm>
          <a:prstGeom prst="rect">
            <a:avLst/>
          </a:prstGeom>
          <a:noFill/>
        </p:spPr>
        <p:txBody>
          <a:bodyPr wrap="non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Advanced/ Expert</a:t>
            </a:r>
          </a:p>
        </p:txBody>
      </p:sp>
      <p:sp>
        <p:nvSpPr>
          <p:cNvPr id="4" name="Rectangle 3">
            <a:extLst>
              <a:ext uri="{FF2B5EF4-FFF2-40B4-BE49-F238E27FC236}">
                <a16:creationId xmlns:a16="http://schemas.microsoft.com/office/drawing/2014/main" id="{7CD8A71E-0032-D027-FD91-38E249486E6D}"/>
              </a:ext>
            </a:extLst>
          </p:cNvPr>
          <p:cNvSpPr/>
          <p:nvPr/>
        </p:nvSpPr>
        <p:spPr bwMode="auto">
          <a:xfrm>
            <a:off x="592385" y="1048994"/>
            <a:ext cx="3610812" cy="5262275"/>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3" name="Group 42">
            <a:extLst>
              <a:ext uri="{FF2B5EF4-FFF2-40B4-BE49-F238E27FC236}">
                <a16:creationId xmlns:a16="http://schemas.microsoft.com/office/drawing/2014/main" id="{BB45B91C-AD50-97F0-3350-CA7C6843CC4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4" name="Table 2 Cell 1, 1 to Text">
              <a:extLst>
                <a:ext uri="{FF2B5EF4-FFF2-40B4-BE49-F238E27FC236}">
                  <a16:creationId xmlns:a16="http://schemas.microsoft.com/office/drawing/2014/main" id="{F95447CF-E974-F1FC-C08B-675A4081DE43}"/>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7" name="Table 2 Cell 2, 1 to Text">
              <a:extLst>
                <a:ext uri="{FF2B5EF4-FFF2-40B4-BE49-F238E27FC236}">
                  <a16:creationId xmlns:a16="http://schemas.microsoft.com/office/drawing/2014/main" id="{3F79F108-C7F0-B2BA-A3FF-2BDC3F018EA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53" name="Table 2 Cell 3, 1 to Text">
              <a:extLst>
                <a:ext uri="{FF2B5EF4-FFF2-40B4-BE49-F238E27FC236}">
                  <a16:creationId xmlns:a16="http://schemas.microsoft.com/office/drawing/2014/main" id="{009EE4B3-9E96-8F0A-9369-41FA17D8BF12}"/>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54" name="Table 2 Cell 4, 1 to Text">
              <a:extLst>
                <a:ext uri="{FF2B5EF4-FFF2-40B4-BE49-F238E27FC236}">
                  <a16:creationId xmlns:a16="http://schemas.microsoft.com/office/drawing/2014/main" id="{B9719201-66E5-4C4D-ECD5-C330146D0633}"/>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5" name="Table 2 Cell 5, 1 to Text">
              <a:extLst>
                <a:ext uri="{FF2B5EF4-FFF2-40B4-BE49-F238E27FC236}">
                  <a16:creationId xmlns:a16="http://schemas.microsoft.com/office/drawing/2014/main" id="{438DC9FC-C49C-CFE3-645E-0CCE9AA80F3A}"/>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61" name="Table 2 Cell 6, 1 to Text">
              <a:extLst>
                <a:ext uri="{FF2B5EF4-FFF2-40B4-BE49-F238E27FC236}">
                  <a16:creationId xmlns:a16="http://schemas.microsoft.com/office/drawing/2014/main" id="{053CEA69-4C9D-423E-6CEB-EB3C6DDFAB6D}"/>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2" name="Table 2 Cell 7, 1 to Text">
              <a:extLst>
                <a:ext uri="{FF2B5EF4-FFF2-40B4-BE49-F238E27FC236}">
                  <a16:creationId xmlns:a16="http://schemas.microsoft.com/office/drawing/2014/main" id="{7162FFF1-7BFC-AD25-0683-B08CF505524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3" name="Table 2 Cell 1, 2 to Text">
              <a:extLst>
                <a:ext uri="{FF2B5EF4-FFF2-40B4-BE49-F238E27FC236}">
                  <a16:creationId xmlns:a16="http://schemas.microsoft.com/office/drawing/2014/main" id="{08276C29-DA46-BB89-1CB7-D2CAF7978388}"/>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64" name="Table 2 Cell 1, 3 to Text">
              <a:extLst>
                <a:ext uri="{FF2B5EF4-FFF2-40B4-BE49-F238E27FC236}">
                  <a16:creationId xmlns:a16="http://schemas.microsoft.com/office/drawing/2014/main" id="{80259D3A-EFD8-1619-52ED-C697F1842FB8}"/>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65" name="Table 2 Cell 1, 4 to Text">
              <a:extLst>
                <a:ext uri="{FF2B5EF4-FFF2-40B4-BE49-F238E27FC236}">
                  <a16:creationId xmlns:a16="http://schemas.microsoft.com/office/drawing/2014/main" id="{E7600DFA-3868-3B2C-76C2-9A73F182B1F4}"/>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66" name="Table 2 Cell 1, 5 to Text">
              <a:extLst>
                <a:ext uri="{FF2B5EF4-FFF2-40B4-BE49-F238E27FC236}">
                  <a16:creationId xmlns:a16="http://schemas.microsoft.com/office/drawing/2014/main" id="{BD9F068E-F8E8-F572-ADCA-A18253582FD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3.4 Technical Expectations</a:t>
              </a:r>
            </a:p>
          </p:txBody>
        </p:sp>
        <p:sp>
          <p:nvSpPr>
            <p:cNvPr id="67" name="Table 2 Cell 1, 6 to Text">
              <a:extLst>
                <a:ext uri="{FF2B5EF4-FFF2-40B4-BE49-F238E27FC236}">
                  <a16:creationId xmlns:a16="http://schemas.microsoft.com/office/drawing/2014/main" id="{3EBE9504-321E-3DCF-C4EC-281298B0F582}"/>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68" name="Table 2 Cell 1, 7 to Text">
              <a:extLst>
                <a:ext uri="{FF2B5EF4-FFF2-40B4-BE49-F238E27FC236}">
                  <a16:creationId xmlns:a16="http://schemas.microsoft.com/office/drawing/2014/main" id="{1A3D4CC0-48EE-1677-E242-E15A1DCFF5F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69" name="Table 2 Cell 1, 8 to Text">
              <a:extLst>
                <a:ext uri="{FF2B5EF4-FFF2-40B4-BE49-F238E27FC236}">
                  <a16:creationId xmlns:a16="http://schemas.microsoft.com/office/drawing/2014/main" id="{E1945F7A-E381-8AE0-1DF2-3EA1F4CE6255}"/>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27967460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5B82F-FDD8-6C9A-643F-7964F67C7E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477721-9992-240B-4587-73A1C72E1442}"/>
              </a:ext>
            </a:extLst>
          </p:cNvPr>
          <p:cNvSpPr>
            <a:spLocks noGrp="1"/>
          </p:cNvSpPr>
          <p:nvPr>
            <p:ph type="title"/>
          </p:nvPr>
        </p:nvSpPr>
        <p:spPr>
          <a:xfrm>
            <a:off x="467691" y="668510"/>
            <a:ext cx="11018520" cy="430887"/>
          </a:xfrm>
        </p:spPr>
        <p:txBody>
          <a:bodyPr/>
          <a:lstStyle/>
          <a:p>
            <a:r>
              <a:rPr lang="en-US" sz="2800" b="0">
                <a:solidFill>
                  <a:schemeClr val="accent1"/>
                </a:solidFill>
              </a:rPr>
              <a:t>Cloud &amp; AI Infra CSA</a:t>
            </a:r>
            <a:r>
              <a:rPr lang="en-US" sz="2800" b="0"/>
              <a:t> | Impact Assessment</a:t>
            </a:r>
          </a:p>
        </p:txBody>
      </p:sp>
      <p:sp>
        <p:nvSpPr>
          <p:cNvPr id="13" name="Content Placeholder 12">
            <a:extLst>
              <a:ext uri="{FF2B5EF4-FFF2-40B4-BE49-F238E27FC236}">
                <a16:creationId xmlns:a16="http://schemas.microsoft.com/office/drawing/2014/main" id="{281DE0AF-9E93-05CD-DEC1-C6B387586E7D}"/>
              </a:ext>
            </a:extLst>
          </p:cNvPr>
          <p:cNvSpPr>
            <a:spLocks noGrp="1"/>
          </p:cNvSpPr>
          <p:nvPr>
            <p:ph sz="quarter" idx="11"/>
          </p:nvPr>
        </p:nvSpPr>
        <p:spPr/>
        <p:txBody>
          <a:bodyPr/>
          <a:lstStyle/>
          <a:p>
            <a:r>
              <a:rPr lang="en-US"/>
              <a:t>Cloud &amp; AI Infra Cloud Solution Architects will need to…</a:t>
            </a:r>
          </a:p>
        </p:txBody>
      </p:sp>
      <p:sp>
        <p:nvSpPr>
          <p:cNvPr id="27" name="Content Placeholder 26">
            <a:extLst>
              <a:ext uri="{FF2B5EF4-FFF2-40B4-BE49-F238E27FC236}">
                <a16:creationId xmlns:a16="http://schemas.microsoft.com/office/drawing/2014/main" id="{8AFD3591-7726-184C-376D-B673247DA401}"/>
              </a:ext>
            </a:extLst>
          </p:cNvPr>
          <p:cNvSpPr>
            <a:spLocks noGrp="1"/>
          </p:cNvSpPr>
          <p:nvPr>
            <p:ph sz="quarter" idx="17"/>
          </p:nvPr>
        </p:nvSpPr>
        <p:spPr/>
        <p:txBody>
          <a:bodyPr/>
          <a:lstStyle/>
          <a:p>
            <a:pPr marL="115888" indent="-115888" defTabSz="914102" fontAlgn="base">
              <a:spcBef>
                <a:spcPts val="600"/>
              </a:spcBef>
              <a:spcAft>
                <a:spcPct val="0"/>
              </a:spcAft>
              <a:buSzTx/>
              <a:buFont typeface="Arial" panose="020B0604020202020204" pitchFamily="34" charset="0"/>
              <a:buChar char="•"/>
              <a:defRPr/>
            </a:pPr>
            <a:r>
              <a:rPr lang="en-US"/>
              <a:t>Thinking across “Cloud &amp; AI” </a:t>
            </a:r>
            <a:r>
              <a:rPr lang="en-US" i="1"/>
              <a:t>not “Azure Infrastructure”</a:t>
            </a:r>
            <a:endParaRPr lang="en-US"/>
          </a:p>
          <a:p>
            <a:pPr marL="115888" lvl="0" indent="-115888" defTabSz="914102" fontAlgn="base">
              <a:spcBef>
                <a:spcPts val="600"/>
              </a:spcBef>
              <a:spcAft>
                <a:spcPct val="0"/>
              </a:spcAft>
              <a:buSzTx/>
              <a:buFont typeface="Arial" panose="020B0604020202020204" pitchFamily="34" charset="0"/>
              <a:buChar char="•"/>
              <a:defRPr/>
            </a:pPr>
            <a:r>
              <a:rPr lang="en-US"/>
              <a:t>Skilling on delivery for Defender for Cloud, App &amp; Data Modernization workloads</a:t>
            </a:r>
          </a:p>
          <a:p>
            <a:pPr marL="115888" lvl="0" indent="-115888" defTabSz="914102" fontAlgn="base">
              <a:spcBef>
                <a:spcPts val="600"/>
              </a:spcBef>
              <a:spcAft>
                <a:spcPct val="0"/>
              </a:spcAft>
              <a:buSzTx/>
              <a:buFont typeface="Arial" panose="020B0604020202020204" pitchFamily="34" charset="0"/>
              <a:buChar char="•"/>
              <a:defRPr/>
            </a:pPr>
            <a:r>
              <a:rPr lang="en-US"/>
              <a:t>By Q3, delivering in your “new focus” workloads, inclusive of App and Data modernization workloads</a:t>
            </a:r>
          </a:p>
          <a:p>
            <a:pPr marL="115888" indent="-115888" defTabSz="914102" fontAlgn="base">
              <a:spcBef>
                <a:spcPts val="600"/>
              </a:spcBef>
              <a:spcAft>
                <a:spcPct val="0"/>
              </a:spcAft>
              <a:buSzTx/>
              <a:buFont typeface="Arial" panose="020B0604020202020204" pitchFamily="34" charset="0"/>
              <a:buChar char="•"/>
              <a:defRPr/>
            </a:pPr>
            <a:r>
              <a:rPr lang="en-US"/>
              <a:t>Feeling responsible for the </a:t>
            </a:r>
            <a:r>
              <a:rPr lang="en-US" i="1"/>
              <a:t>entire</a:t>
            </a:r>
            <a:r>
              <a:rPr lang="en-US"/>
              <a:t> Azure Consumption plan, ensuring the completeness &amp; accuracy of the </a:t>
            </a:r>
            <a:r>
              <a:rPr lang="en-US" i="1"/>
              <a:t>entire</a:t>
            </a:r>
            <a:r>
              <a:rPr lang="en-US"/>
              <a:t> Azure consumption plan, not just the deliveries you are assigned</a:t>
            </a:r>
          </a:p>
          <a:p>
            <a:pPr marL="190500" marR="0" lvl="0" indent="-190500"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pt-BR" sz="1400" b="0" i="0" u="none" strike="noStrike" kern="1200" cap="none" spc="0" normalizeH="0" baseline="0" noProof="0">
              <a:ln>
                <a:noFill/>
              </a:ln>
              <a:solidFill>
                <a:schemeClr val="tx1"/>
              </a:solidFill>
              <a:effectLst/>
              <a:uLnTx/>
              <a:uFillTx/>
              <a:ea typeface="+mn-ea"/>
              <a:cs typeface="Segoe UI" pitchFamily="34" charset="0"/>
            </a:endParaRPr>
          </a:p>
        </p:txBody>
      </p:sp>
      <p:sp>
        <p:nvSpPr>
          <p:cNvPr id="29" name="Content Placeholder 28">
            <a:extLst>
              <a:ext uri="{FF2B5EF4-FFF2-40B4-BE49-F238E27FC236}">
                <a16:creationId xmlns:a16="http://schemas.microsoft.com/office/drawing/2014/main" id="{7FAC8AAC-40C8-3EE0-3632-E2D7ABE17F93}"/>
              </a:ext>
            </a:extLst>
          </p:cNvPr>
          <p:cNvSpPr>
            <a:spLocks noGrp="1"/>
          </p:cNvSpPr>
          <p:nvPr>
            <p:ph sz="quarter" idx="18"/>
          </p:nvPr>
        </p:nvSpPr>
        <p:spPr/>
        <p:txBody>
          <a:bodyPr/>
          <a:lstStyle/>
          <a:p>
            <a:pPr marL="115888" lvl="0" indent="-115888" defTabSz="914102" fontAlgn="base">
              <a:spcBef>
                <a:spcPts val="600"/>
              </a:spcBef>
              <a:spcAft>
                <a:spcPct val="0"/>
              </a:spcAft>
              <a:buSzTx/>
              <a:buFont typeface="Arial" panose="020B0604020202020204" pitchFamily="34" charset="0"/>
              <a:buChar char="•"/>
              <a:defRPr/>
            </a:pPr>
            <a:r>
              <a:rPr lang="en-US"/>
              <a:t>Work directly with your manager to define your skilling plan aligned to the new solution pla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Developer engagements and shift-left with app modernization design and dev leveraging agentic DevOps, w/ resiliency &amp; securit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Keep skills profile updated</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Position Unified Add-ons/ Unified Job 2; VAS for every opportunit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Drive Job 2 creation </a:t>
            </a:r>
            <a:r>
              <a:rPr lang="en-US" i="1">
                <a:solidFill>
                  <a:srgbClr val="000000"/>
                </a:solidFill>
              </a:rPr>
              <a:t>to completion</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Contribute towards champs &amp; VBD IP Development</a:t>
            </a:r>
          </a:p>
        </p:txBody>
      </p:sp>
      <p:sp>
        <p:nvSpPr>
          <p:cNvPr id="30" name="Content Placeholder 29">
            <a:extLst>
              <a:ext uri="{FF2B5EF4-FFF2-40B4-BE49-F238E27FC236}">
                <a16:creationId xmlns:a16="http://schemas.microsoft.com/office/drawing/2014/main" id="{6985069C-A699-B3E5-4861-124F5074F3BE}"/>
              </a:ext>
            </a:extLst>
          </p:cNvPr>
          <p:cNvSpPr>
            <a:spLocks noGrp="1"/>
          </p:cNvSpPr>
          <p:nvPr>
            <p:ph sz="quarter" idx="19"/>
          </p:nvPr>
        </p:nvSpPr>
        <p:spPr/>
        <p:txBody>
          <a:bodyPr/>
          <a:lstStyle/>
          <a:p>
            <a:pPr marL="115888" indent="-115888" defTabSz="914102" fontAlgn="base">
              <a:spcBef>
                <a:spcPts val="600"/>
              </a:spcBef>
              <a:spcAft>
                <a:spcPct val="0"/>
              </a:spcAft>
              <a:buSzTx/>
              <a:buFont typeface="Arial" panose="020B0604020202020204" pitchFamily="34" charset="0"/>
              <a:buChar char="•"/>
              <a:defRPr/>
            </a:pPr>
            <a:r>
              <a:rPr lang="pt-BR"/>
              <a:t>By Q3 3P GPU/AI Infra/BYOAIM </a:t>
            </a:r>
            <a:r>
              <a:rPr lang="en-US"/>
              <a:t>will be led by Cloud &amp; AI Apps CSAs. Only support these workloads to extend capacity </a:t>
            </a:r>
            <a:r>
              <a:rPr lang="en-US" i="1"/>
              <a:t>as needed</a:t>
            </a:r>
          </a:p>
          <a:p>
            <a:pPr marL="115888" indent="-115888" defTabSz="914102" fontAlgn="base">
              <a:spcBef>
                <a:spcPts val="600"/>
              </a:spcBef>
              <a:spcAft>
                <a:spcPct val="0"/>
              </a:spcAft>
              <a:buSzTx/>
              <a:buFont typeface="Arial" panose="020B0604020202020204" pitchFamily="34" charset="0"/>
              <a:buChar char="•"/>
              <a:defRPr/>
            </a:pPr>
            <a:r>
              <a:rPr lang="en-US"/>
              <a:t>Transition specific skills to Global Delivery as indicated in the Tech Maturity Model</a:t>
            </a:r>
          </a:p>
        </p:txBody>
      </p:sp>
      <p:sp>
        <p:nvSpPr>
          <p:cNvPr id="25" name="Content Placeholder 24">
            <a:extLst>
              <a:ext uri="{FF2B5EF4-FFF2-40B4-BE49-F238E27FC236}">
                <a16:creationId xmlns:a16="http://schemas.microsoft.com/office/drawing/2014/main" id="{8D99EF3C-57DD-276A-1A69-B4CDEFF09A81}"/>
              </a:ext>
            </a:extLst>
          </p:cNvPr>
          <p:cNvSpPr>
            <a:spLocks noGrp="1"/>
          </p:cNvSpPr>
          <p:nvPr>
            <p:ph sz="quarter" idx="16"/>
          </p:nvPr>
        </p:nvSpPr>
        <p:spPr>
          <a:xfrm>
            <a:off x="8473478" y="2233784"/>
            <a:ext cx="2485036" cy="246221"/>
          </a:xfrm>
        </p:spPr>
        <p:txBody>
          <a:bodyPr/>
          <a:lstStyle/>
          <a:p>
            <a:r>
              <a:rPr lang="en-US">
                <a:latin typeface="+mj-lt"/>
              </a:rPr>
              <a:t>TRANSITION</a:t>
            </a:r>
          </a:p>
        </p:txBody>
      </p:sp>
      <p:sp>
        <p:nvSpPr>
          <p:cNvPr id="21" name="Content Placeholder 20">
            <a:extLst>
              <a:ext uri="{FF2B5EF4-FFF2-40B4-BE49-F238E27FC236}">
                <a16:creationId xmlns:a16="http://schemas.microsoft.com/office/drawing/2014/main" id="{16215C88-86FC-B82B-770C-D7DAA63218C5}"/>
              </a:ext>
            </a:extLst>
          </p:cNvPr>
          <p:cNvSpPr>
            <a:spLocks noGrp="1"/>
          </p:cNvSpPr>
          <p:nvPr>
            <p:ph sz="quarter" idx="15"/>
          </p:nvPr>
        </p:nvSpPr>
        <p:spPr>
          <a:xfrm>
            <a:off x="4853481" y="2250727"/>
            <a:ext cx="2485036" cy="246221"/>
          </a:xfrm>
        </p:spPr>
        <p:txBody>
          <a:bodyPr/>
          <a:lstStyle/>
          <a:p>
            <a:r>
              <a:rPr lang="en-US">
                <a:latin typeface="+mj-lt"/>
              </a:rPr>
              <a:t>PRIORITIZE</a:t>
            </a:r>
          </a:p>
        </p:txBody>
      </p:sp>
      <p:sp>
        <p:nvSpPr>
          <p:cNvPr id="14" name="Content Placeholder 13">
            <a:extLst>
              <a:ext uri="{FF2B5EF4-FFF2-40B4-BE49-F238E27FC236}">
                <a16:creationId xmlns:a16="http://schemas.microsoft.com/office/drawing/2014/main" id="{F97EA1E7-D946-93A5-53E8-F0E0E22FBF57}"/>
              </a:ext>
            </a:extLst>
          </p:cNvPr>
          <p:cNvSpPr>
            <a:spLocks noGrp="1"/>
          </p:cNvSpPr>
          <p:nvPr>
            <p:ph sz="quarter" idx="14"/>
          </p:nvPr>
        </p:nvSpPr>
        <p:spPr>
          <a:xfrm>
            <a:off x="1233486" y="2250727"/>
            <a:ext cx="2485036" cy="246221"/>
          </a:xfrm>
        </p:spPr>
        <p:txBody>
          <a:bodyPr/>
          <a:lstStyle/>
          <a:p>
            <a:r>
              <a:rPr lang="en-US">
                <a:latin typeface="+mj-lt"/>
              </a:rPr>
              <a:t>START</a:t>
            </a:r>
          </a:p>
        </p:txBody>
      </p:sp>
      <p:grpSp>
        <p:nvGrpSpPr>
          <p:cNvPr id="20" name="Group 19">
            <a:extLst>
              <a:ext uri="{FF2B5EF4-FFF2-40B4-BE49-F238E27FC236}">
                <a16:creationId xmlns:a16="http://schemas.microsoft.com/office/drawing/2014/main" id="{1C92EE75-E912-EF8E-680A-866F8034464E}"/>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2" name="Table 2 Cell 1, 1 to Text">
              <a:extLst>
                <a:ext uri="{FF2B5EF4-FFF2-40B4-BE49-F238E27FC236}">
                  <a16:creationId xmlns:a16="http://schemas.microsoft.com/office/drawing/2014/main" id="{DD0B0EDB-EB7B-76DA-44A4-2837304B0B39}"/>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3" name="Table 2 Cell 2, 1 to Text">
              <a:extLst>
                <a:ext uri="{FF2B5EF4-FFF2-40B4-BE49-F238E27FC236}">
                  <a16:creationId xmlns:a16="http://schemas.microsoft.com/office/drawing/2014/main" id="{4C43ED62-B82C-0248-E66B-FFB3D3205C70}"/>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4" name="Table 2 Cell 3, 1 to Text">
              <a:extLst>
                <a:ext uri="{FF2B5EF4-FFF2-40B4-BE49-F238E27FC236}">
                  <a16:creationId xmlns:a16="http://schemas.microsoft.com/office/drawing/2014/main" id="{6250C39F-AD68-A29A-DE56-C9CB87B4560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26" name="Table 2 Cell 4, 1 to Text">
              <a:extLst>
                <a:ext uri="{FF2B5EF4-FFF2-40B4-BE49-F238E27FC236}">
                  <a16:creationId xmlns:a16="http://schemas.microsoft.com/office/drawing/2014/main" id="{FBEB4F6C-84AC-3432-EF59-79284B110B13}"/>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8" name="Table 2 Cell 5, 1 to Text">
              <a:extLst>
                <a:ext uri="{FF2B5EF4-FFF2-40B4-BE49-F238E27FC236}">
                  <a16:creationId xmlns:a16="http://schemas.microsoft.com/office/drawing/2014/main" id="{96C01F25-122F-74D9-0F79-F597975D878E}"/>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1" name="Table 2 Cell 6, 1 to Text">
              <a:extLst>
                <a:ext uri="{FF2B5EF4-FFF2-40B4-BE49-F238E27FC236}">
                  <a16:creationId xmlns:a16="http://schemas.microsoft.com/office/drawing/2014/main" id="{65158F92-06D5-1BA0-2ED1-BCC0E102A163}"/>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2" name="Table 2 Cell 7, 1 to Text">
              <a:extLst>
                <a:ext uri="{FF2B5EF4-FFF2-40B4-BE49-F238E27FC236}">
                  <a16:creationId xmlns:a16="http://schemas.microsoft.com/office/drawing/2014/main" id="{688E6CBB-9884-C50A-6AE7-A9CEDDA27A23}"/>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3" name="Table 2 Cell 1, 2 to Text">
              <a:extLst>
                <a:ext uri="{FF2B5EF4-FFF2-40B4-BE49-F238E27FC236}">
                  <a16:creationId xmlns:a16="http://schemas.microsoft.com/office/drawing/2014/main" id="{0E2FC8D6-8360-9F1B-7648-7E27E69CFA63}"/>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34" name="Table 2 Cell 1, 3 to Text">
              <a:extLst>
                <a:ext uri="{FF2B5EF4-FFF2-40B4-BE49-F238E27FC236}">
                  <a16:creationId xmlns:a16="http://schemas.microsoft.com/office/drawing/2014/main" id="{CA5FBE7F-7AC4-5F6D-A90C-98D51153A4DC}"/>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35" name="Table 2 Cell 1, 4 to Text">
              <a:extLst>
                <a:ext uri="{FF2B5EF4-FFF2-40B4-BE49-F238E27FC236}">
                  <a16:creationId xmlns:a16="http://schemas.microsoft.com/office/drawing/2014/main" id="{D58D88E1-835B-BB93-5133-0E6D7613D400}"/>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36" name="Table 2 Cell 1, 5 to Text">
              <a:extLst>
                <a:ext uri="{FF2B5EF4-FFF2-40B4-BE49-F238E27FC236}">
                  <a16:creationId xmlns:a16="http://schemas.microsoft.com/office/drawing/2014/main" id="{930113EE-4D6A-22C1-9BE5-B5915036C6FC}"/>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37" name="Table 2 Cell 1, 6 to Text">
              <a:extLst>
                <a:ext uri="{FF2B5EF4-FFF2-40B4-BE49-F238E27FC236}">
                  <a16:creationId xmlns:a16="http://schemas.microsoft.com/office/drawing/2014/main" id="{F4425FFE-D735-6F18-CFBE-2BDC0BFF4574}"/>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5 Stop/Start/Do Differently</a:t>
              </a:r>
            </a:p>
          </p:txBody>
        </p:sp>
        <p:sp>
          <p:nvSpPr>
            <p:cNvPr id="38" name="Table 2 Cell 1, 7 to Text">
              <a:extLst>
                <a:ext uri="{FF2B5EF4-FFF2-40B4-BE49-F238E27FC236}">
                  <a16:creationId xmlns:a16="http://schemas.microsoft.com/office/drawing/2014/main" id="{555C78F9-4AF7-BE34-D1D9-A7574BA168CB}"/>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40" name="Table 2 Cell 1, 8 to Text">
              <a:extLst>
                <a:ext uri="{FF2B5EF4-FFF2-40B4-BE49-F238E27FC236}">
                  <a16:creationId xmlns:a16="http://schemas.microsoft.com/office/drawing/2014/main" id="{59FCD085-B9C9-1974-C418-8AB890A978E0}"/>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33086887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0B093-AEDB-63D1-848B-5C4D6D895BC0}"/>
            </a:ext>
          </a:extLst>
        </p:cNvPr>
        <p:cNvGrpSpPr/>
        <p:nvPr/>
      </p:nvGrpSpPr>
      <p:grpSpPr>
        <a:xfrm>
          <a:off x="0" y="0"/>
          <a:ext cx="0" cy="0"/>
          <a:chOff x="0" y="0"/>
          <a:chExt cx="0" cy="0"/>
        </a:xfrm>
      </p:grpSpPr>
      <p:sp>
        <p:nvSpPr>
          <p:cNvPr id="48" name="Title 47">
            <a:extLst>
              <a:ext uri="{FF2B5EF4-FFF2-40B4-BE49-F238E27FC236}">
                <a16:creationId xmlns:a16="http://schemas.microsoft.com/office/drawing/2014/main" id="{56AC02B7-373A-1DCA-0465-FE3D3BAFBF38}"/>
              </a:ext>
            </a:extLst>
          </p:cNvPr>
          <p:cNvSpPr>
            <a:spLocks noGrp="1"/>
          </p:cNvSpPr>
          <p:nvPr>
            <p:ph type="title"/>
          </p:nvPr>
        </p:nvSpPr>
        <p:spPr/>
        <p:txBody>
          <a:bodyPr/>
          <a:lstStyle/>
          <a:p>
            <a:r>
              <a:rPr lang="en-US"/>
              <a:t>Solution Play Overview – </a:t>
            </a:r>
            <a:r>
              <a:rPr lang="en-US">
                <a:solidFill>
                  <a:schemeClr val="accent1"/>
                </a:solidFill>
              </a:rPr>
              <a:t>Migrate &amp; Modernize Your Estate</a:t>
            </a:r>
          </a:p>
        </p:txBody>
      </p:sp>
      <p:sp>
        <p:nvSpPr>
          <p:cNvPr id="49" name="Rectangle: Rounded Corners 48">
            <a:extLst>
              <a:ext uri="{FF2B5EF4-FFF2-40B4-BE49-F238E27FC236}">
                <a16:creationId xmlns:a16="http://schemas.microsoft.com/office/drawing/2014/main" id="{73F72F03-37CD-7722-3C52-49AF4DC0C95C}"/>
              </a:ext>
              <a:ext uri="{C183D7F6-B498-43B3-948B-1728B52AA6E4}">
                <adec:decorative xmlns:adec="http://schemas.microsoft.com/office/drawing/2017/decorative" val="1"/>
              </a:ext>
            </a:extLst>
          </p:cNvPr>
          <p:cNvSpPr/>
          <p:nvPr/>
        </p:nvSpPr>
        <p:spPr bwMode="auto">
          <a:xfrm>
            <a:off x="571500" y="1103087"/>
            <a:ext cx="11049000" cy="5143500"/>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56" name="Freeform 52">
            <a:extLst>
              <a:ext uri="{FF2B5EF4-FFF2-40B4-BE49-F238E27FC236}">
                <a16:creationId xmlns:a16="http://schemas.microsoft.com/office/drawing/2014/main" id="{ECFE8466-35FE-713F-BE04-9F726F5DA310}"/>
              </a:ext>
              <a:ext uri="{C183D7F6-B498-43B3-948B-1728B52AA6E4}">
                <adec:decorative xmlns:adec="http://schemas.microsoft.com/office/drawing/2017/decorative" val="1"/>
              </a:ext>
            </a:extLst>
          </p:cNvPr>
          <p:cNvSpPr/>
          <p:nvPr/>
        </p:nvSpPr>
        <p:spPr bwMode="auto">
          <a:xfrm>
            <a:off x="718142" y="1199536"/>
            <a:ext cx="2926758"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57" name="Freeform 52">
            <a:extLst>
              <a:ext uri="{FF2B5EF4-FFF2-40B4-BE49-F238E27FC236}">
                <a16:creationId xmlns:a16="http://schemas.microsoft.com/office/drawing/2014/main" id="{78BF5FC1-CB70-BDA2-9723-A22B47BFFA3F}"/>
              </a:ext>
              <a:ext uri="{C183D7F6-B498-43B3-948B-1728B52AA6E4}">
                <adec:decorative xmlns:adec="http://schemas.microsoft.com/office/drawing/2017/decorative" val="1"/>
              </a:ext>
            </a:extLst>
          </p:cNvPr>
          <p:cNvSpPr/>
          <p:nvPr/>
        </p:nvSpPr>
        <p:spPr bwMode="auto">
          <a:xfrm>
            <a:off x="3730176" y="1199536"/>
            <a:ext cx="582027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58" name="Text Placeholder 35">
            <a:extLst>
              <a:ext uri="{FF2B5EF4-FFF2-40B4-BE49-F238E27FC236}">
                <a16:creationId xmlns:a16="http://schemas.microsoft.com/office/drawing/2014/main" id="{6344F599-7365-BC58-41B6-ABAE9167B369}"/>
              </a:ext>
            </a:extLst>
          </p:cNvPr>
          <p:cNvSpPr txBox="1">
            <a:spLocks/>
          </p:cNvSpPr>
          <p:nvPr/>
        </p:nvSpPr>
        <p:spPr>
          <a:xfrm>
            <a:off x="1742375" y="1261981"/>
            <a:ext cx="878292"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Priorities</a:t>
            </a:r>
          </a:p>
        </p:txBody>
      </p:sp>
      <p:sp>
        <p:nvSpPr>
          <p:cNvPr id="62" name="Text Placeholder 35">
            <a:extLst>
              <a:ext uri="{FF2B5EF4-FFF2-40B4-BE49-F238E27FC236}">
                <a16:creationId xmlns:a16="http://schemas.microsoft.com/office/drawing/2014/main" id="{FA6F9038-2500-E516-2B8F-B692B7708F8D}"/>
              </a:ext>
            </a:extLst>
          </p:cNvPr>
          <p:cNvSpPr txBox="1">
            <a:spLocks/>
          </p:cNvSpPr>
          <p:nvPr/>
        </p:nvSpPr>
        <p:spPr>
          <a:xfrm>
            <a:off x="691703" y="1641388"/>
            <a:ext cx="2882043" cy="1193470"/>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Drive Migration and Modernization of Windows Server, SQL Server, .NET &amp; Linux, PGSQL, Java</a:t>
            </a:r>
          </a:p>
        </p:txBody>
      </p:sp>
      <p:sp>
        <p:nvSpPr>
          <p:cNvPr id="5" name="Star: 5 Points 4" descr="star">
            <a:extLst>
              <a:ext uri="{FF2B5EF4-FFF2-40B4-BE49-F238E27FC236}">
                <a16:creationId xmlns:a16="http://schemas.microsoft.com/office/drawing/2014/main" id="{532AE9EA-4481-83DC-6A11-E80D418EBF65}"/>
              </a:ext>
            </a:extLst>
          </p:cNvPr>
          <p:cNvSpPr/>
          <p:nvPr/>
        </p:nvSpPr>
        <p:spPr bwMode="auto">
          <a:xfrm>
            <a:off x="3289763" y="2523712"/>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63" name="Text Placeholder 35">
            <a:extLst>
              <a:ext uri="{FF2B5EF4-FFF2-40B4-BE49-F238E27FC236}">
                <a16:creationId xmlns:a16="http://schemas.microsoft.com/office/drawing/2014/main" id="{463F0035-FEBD-0BC4-7F52-94FA3057777B}"/>
              </a:ext>
            </a:extLst>
          </p:cNvPr>
          <p:cNvSpPr txBox="1">
            <a:spLocks/>
          </p:cNvSpPr>
          <p:nvPr/>
        </p:nvSpPr>
        <p:spPr>
          <a:xfrm>
            <a:off x="691703" y="2948716"/>
            <a:ext cx="2882043" cy="1193470"/>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Capture VMware opportunity with migration/modernization to AVS and Azure IaaS/PaaS</a:t>
            </a:r>
          </a:p>
        </p:txBody>
      </p:sp>
      <p:sp>
        <p:nvSpPr>
          <p:cNvPr id="6" name="Star: 5 Points 5" descr="star">
            <a:extLst>
              <a:ext uri="{FF2B5EF4-FFF2-40B4-BE49-F238E27FC236}">
                <a16:creationId xmlns:a16="http://schemas.microsoft.com/office/drawing/2014/main" id="{289E3DD0-BB9A-1587-FD58-8C140B1C1E56}"/>
              </a:ext>
            </a:extLst>
          </p:cNvPr>
          <p:cNvSpPr/>
          <p:nvPr/>
        </p:nvSpPr>
        <p:spPr bwMode="auto">
          <a:xfrm>
            <a:off x="3289763" y="3824192"/>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60" name="Freeform 52">
            <a:extLst>
              <a:ext uri="{FF2B5EF4-FFF2-40B4-BE49-F238E27FC236}">
                <a16:creationId xmlns:a16="http://schemas.microsoft.com/office/drawing/2014/main" id="{FD0BF13B-06C3-F210-8AE6-D1894F6A68F4}"/>
              </a:ext>
              <a:ext uri="{C183D7F6-B498-43B3-948B-1728B52AA6E4}">
                <adec:decorative xmlns:adec="http://schemas.microsoft.com/office/drawing/2017/decorative" val="1"/>
              </a:ext>
            </a:extLst>
          </p:cNvPr>
          <p:cNvSpPr/>
          <p:nvPr/>
        </p:nvSpPr>
        <p:spPr bwMode="auto">
          <a:xfrm>
            <a:off x="9630737" y="1199536"/>
            <a:ext cx="189451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128" name="Text Placeholder 35">
            <a:extLst>
              <a:ext uri="{FF2B5EF4-FFF2-40B4-BE49-F238E27FC236}">
                <a16:creationId xmlns:a16="http://schemas.microsoft.com/office/drawing/2014/main" id="{48ADEFDC-1FD9-520C-448F-1C4916E47F51}"/>
              </a:ext>
            </a:extLst>
          </p:cNvPr>
          <p:cNvSpPr txBox="1">
            <a:spLocks/>
          </p:cNvSpPr>
          <p:nvPr/>
        </p:nvSpPr>
        <p:spPr>
          <a:xfrm>
            <a:off x="691703" y="4256044"/>
            <a:ext cx="2882043" cy="1193470"/>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Sans Text" pitchFamily="2" charset="0"/>
              </a:rPr>
              <a:t>Win Enterprise App Workloads</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SAP, Oracle)</a:t>
            </a:r>
          </a:p>
        </p:txBody>
      </p:sp>
      <p:sp>
        <p:nvSpPr>
          <p:cNvPr id="59" name="Text Placeholder 35">
            <a:extLst>
              <a:ext uri="{FF2B5EF4-FFF2-40B4-BE49-F238E27FC236}">
                <a16:creationId xmlns:a16="http://schemas.microsoft.com/office/drawing/2014/main" id="{443A54F9-D36E-E387-86D1-51E6647B3E70}"/>
              </a:ext>
            </a:extLst>
          </p:cNvPr>
          <p:cNvSpPr txBox="1">
            <a:spLocks/>
          </p:cNvSpPr>
          <p:nvPr/>
        </p:nvSpPr>
        <p:spPr>
          <a:xfrm>
            <a:off x="5482629" y="1261981"/>
            <a:ext cx="2315368"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Motions</a:t>
            </a:r>
          </a:p>
        </p:txBody>
      </p:sp>
      <p:sp>
        <p:nvSpPr>
          <p:cNvPr id="50" name="Text Placeholder 35">
            <a:extLst>
              <a:ext uri="{FF2B5EF4-FFF2-40B4-BE49-F238E27FC236}">
                <a16:creationId xmlns:a16="http://schemas.microsoft.com/office/drawing/2014/main" id="{BFD76362-9CF2-0534-DFDF-8C7F7059D133}"/>
              </a:ext>
            </a:extLst>
          </p:cNvPr>
          <p:cNvSpPr txBox="1">
            <a:spLocks/>
          </p:cNvSpPr>
          <p:nvPr/>
        </p:nvSpPr>
        <p:spPr>
          <a:xfrm>
            <a:off x="3730176" y="1641388"/>
            <a:ext cx="5820273" cy="119347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rPr>
              <a:t>Migrate IT estates to Azure across infrastructure, apps, and data​</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rPr>
              <a:t>Modernize apps &amp; legacy systems using AI-powered Agentic DevOps ​</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rPr>
              <a:t>Grow Linux share with OSS value proposition</a:t>
            </a:r>
          </a:p>
        </p:txBody>
      </p:sp>
      <p:sp>
        <p:nvSpPr>
          <p:cNvPr id="51" name="Text Placeholder 35">
            <a:extLst>
              <a:ext uri="{FF2B5EF4-FFF2-40B4-BE49-F238E27FC236}">
                <a16:creationId xmlns:a16="http://schemas.microsoft.com/office/drawing/2014/main" id="{5DB59272-7B4B-F956-E344-B658F4AAE839}"/>
              </a:ext>
            </a:extLst>
          </p:cNvPr>
          <p:cNvSpPr txBox="1">
            <a:spLocks/>
          </p:cNvSpPr>
          <p:nvPr/>
        </p:nvSpPr>
        <p:spPr>
          <a:xfrm>
            <a:off x="3730176" y="2948716"/>
            <a:ext cx="5820273" cy="119347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rPr>
              <a:t>Win VMware estate by leading with AVS + Native or supporting re-platform scenarios to Azure Infra &amp; PaaS to match customer needs​</a:t>
            </a:r>
          </a:p>
        </p:txBody>
      </p:sp>
      <p:sp>
        <p:nvSpPr>
          <p:cNvPr id="52" name="Text Placeholder 35">
            <a:extLst>
              <a:ext uri="{FF2B5EF4-FFF2-40B4-BE49-F238E27FC236}">
                <a16:creationId xmlns:a16="http://schemas.microsoft.com/office/drawing/2014/main" id="{965DD415-6062-783B-D10B-49708F0E534F}"/>
              </a:ext>
            </a:extLst>
          </p:cNvPr>
          <p:cNvSpPr txBox="1">
            <a:spLocks/>
          </p:cNvSpPr>
          <p:nvPr/>
        </p:nvSpPr>
        <p:spPr>
          <a:xfrm>
            <a:off x="3730176" y="4256044"/>
            <a:ext cx="5820273" cy="119347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152400" marR="0" lvl="0" indent="-152400" defTabSz="932742" fontAlgn="base">
              <a:lnSpc>
                <a:spcPct val="100000"/>
              </a:lnSpc>
              <a:spcBef>
                <a:spcPts val="0"/>
              </a:spcBef>
              <a:spcAft>
                <a:spcPts val="600"/>
              </a:spcAft>
              <a:buClr>
                <a:srgbClr val="000000"/>
              </a:buClr>
              <a:buSzTx/>
              <a:buFont typeface="Arial" panose="020B0604020202020204" pitchFamily="34" charset="0"/>
              <a:buChar char="•"/>
              <a:tabLst>
                <a:tab pos="2005013" algn="l"/>
              </a:tabLst>
              <a:defRPr kumimoji="0" sz="1200" b="0" i="0" u="none" strike="noStrike" cap="none" spc="0" normalizeH="0" baseline="0">
                <a:ln>
                  <a:noFill/>
                </a:ln>
                <a:solidFill>
                  <a:srgbClr val="000000"/>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odernize SAP customers by innovating with RISE and deliver SAP on native infrastructure where driven by customer-specific needs​</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Migrate Oracle workloads and modernize with surrounding Azure services​</a:t>
            </a:r>
          </a:p>
        </p:txBody>
      </p:sp>
      <p:sp>
        <p:nvSpPr>
          <p:cNvPr id="61" name="Text Placeholder 35">
            <a:extLst>
              <a:ext uri="{FF2B5EF4-FFF2-40B4-BE49-F238E27FC236}">
                <a16:creationId xmlns:a16="http://schemas.microsoft.com/office/drawing/2014/main" id="{7F426BA9-1395-C978-16F6-1B6267AE80C6}"/>
              </a:ext>
            </a:extLst>
          </p:cNvPr>
          <p:cNvSpPr txBox="1">
            <a:spLocks/>
          </p:cNvSpPr>
          <p:nvPr/>
        </p:nvSpPr>
        <p:spPr>
          <a:xfrm>
            <a:off x="9724262" y="1261981"/>
            <a:ext cx="1707465"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Customer Outcomes </a:t>
            </a:r>
          </a:p>
        </p:txBody>
      </p:sp>
      <p:sp>
        <p:nvSpPr>
          <p:cNvPr id="129" name="TextBox 128">
            <a:extLst>
              <a:ext uri="{FF2B5EF4-FFF2-40B4-BE49-F238E27FC236}">
                <a16:creationId xmlns:a16="http://schemas.microsoft.com/office/drawing/2014/main" id="{F7D4B9CC-5D67-39F1-53DA-8D30D60EAB29}"/>
              </a:ext>
            </a:extLst>
          </p:cNvPr>
          <p:cNvSpPr txBox="1"/>
          <p:nvPr/>
        </p:nvSpPr>
        <p:spPr>
          <a:xfrm>
            <a:off x="9724262" y="1641388"/>
            <a:ext cx="1776035" cy="2708434"/>
          </a:xfrm>
          <a:prstGeom prst="rect">
            <a:avLst/>
          </a:prstGeom>
          <a:solidFill>
            <a:schemeClr val="bg1"/>
          </a:solidFill>
        </p:spPr>
        <p:txBody>
          <a:bodyPr wrap="square" lIns="0" tIns="0" rIns="0" bIns="0">
            <a:spAutoFit/>
          </a:bodyPr>
          <a:lstStyle/>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Help customers to achieve “Cloud on their terms“.</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ligned to customer TCO and ROI.</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Increase customers’ business agility and ability to innovate.</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Prepare customers to be AI Ready.</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Build a Resilient and Secure Solution Architecture.</a:t>
            </a:r>
          </a:p>
        </p:txBody>
      </p:sp>
      <p:sp>
        <p:nvSpPr>
          <p:cNvPr id="130" name="Rectangle: Rounded Corners 129">
            <a:extLst>
              <a:ext uri="{FF2B5EF4-FFF2-40B4-BE49-F238E27FC236}">
                <a16:creationId xmlns:a16="http://schemas.microsoft.com/office/drawing/2014/main" id="{C767131E-AA82-49A8-C989-B4FC78CC30E0}"/>
              </a:ext>
              <a:ext uri="{C183D7F6-B498-43B3-948B-1728B52AA6E4}">
                <adec:decorative xmlns:adec="http://schemas.microsoft.com/office/drawing/2017/decorative" val="1"/>
              </a:ext>
            </a:extLst>
          </p:cNvPr>
          <p:cNvSpPr/>
          <p:nvPr/>
        </p:nvSpPr>
        <p:spPr bwMode="auto">
          <a:xfrm>
            <a:off x="649123" y="1597025"/>
            <a:ext cx="2967202" cy="1282196"/>
          </a:xfrm>
          <a:prstGeom prst="roundRect">
            <a:avLst>
              <a:gd name="adj" fmla="val 9231"/>
            </a:avLst>
          </a:pr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7" name="Freeform: Shape 146">
            <a:extLst>
              <a:ext uri="{FF2B5EF4-FFF2-40B4-BE49-F238E27FC236}">
                <a16:creationId xmlns:a16="http://schemas.microsoft.com/office/drawing/2014/main" id="{6FCF3276-7104-87C3-8087-C6C1A60988E4}"/>
              </a:ext>
              <a:ext uri="{C183D7F6-B498-43B3-948B-1728B52AA6E4}">
                <adec:decorative xmlns:adec="http://schemas.microsoft.com/office/drawing/2017/decorative" val="1"/>
              </a:ext>
            </a:extLst>
          </p:cNvPr>
          <p:cNvSpPr/>
          <p:nvPr/>
        </p:nvSpPr>
        <p:spPr bwMode="auto">
          <a:xfrm>
            <a:off x="679002" y="5506033"/>
            <a:ext cx="8871448" cy="305399"/>
          </a:xfrm>
          <a:custGeom>
            <a:avLst/>
            <a:gdLst>
              <a:gd name="connsiteX0" fmla="*/ 240554 w 8871448"/>
              <a:gd name="connsiteY0" fmla="*/ 0 h 305399"/>
              <a:gd name="connsiteX1" fmla="*/ 8656243 w 8871448"/>
              <a:gd name="connsiteY1" fmla="*/ 0 h 305399"/>
              <a:gd name="connsiteX2" fmla="*/ 8871448 w 8871448"/>
              <a:gd name="connsiteY2" fmla="*/ 273217 h 305399"/>
              <a:gd name="connsiteX3" fmla="*/ 8871448 w 8871448"/>
              <a:gd name="connsiteY3" fmla="*/ 305399 h 305399"/>
              <a:gd name="connsiteX4" fmla="*/ 0 w 8871448"/>
              <a:gd name="connsiteY4" fmla="*/ 305399 h 305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71448" h="305399">
                <a:moveTo>
                  <a:pt x="240554" y="0"/>
                </a:moveTo>
                <a:lnTo>
                  <a:pt x="8656243" y="0"/>
                </a:lnTo>
                <a:lnTo>
                  <a:pt x="8871448" y="273217"/>
                </a:lnTo>
                <a:lnTo>
                  <a:pt x="8871448" y="305399"/>
                </a:lnTo>
                <a:lnTo>
                  <a:pt x="0" y="305399"/>
                </a:lnTo>
                <a:close/>
              </a:path>
            </a:pathLst>
          </a:custGeom>
          <a:gradFill flip="none" rotWithShape="1">
            <a:gsLst>
              <a:gs pos="50000">
                <a:srgbClr val="B2C4E2">
                  <a:alpha val="50000"/>
                </a:srgbClr>
              </a:gs>
              <a:gs pos="100000">
                <a:schemeClr val="tx2">
                  <a:lumMod val="60000"/>
                  <a:lumOff val="40000"/>
                  <a:alpha val="10000"/>
                </a:schemeClr>
              </a:gs>
              <a:gs pos="0">
                <a:schemeClr val="bg1">
                  <a:alpha val="49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35" name="Text Placeholder 35">
            <a:extLst>
              <a:ext uri="{FF2B5EF4-FFF2-40B4-BE49-F238E27FC236}">
                <a16:creationId xmlns:a16="http://schemas.microsoft.com/office/drawing/2014/main" id="{15E4EDE8-A8F2-AC87-D70E-EC6932AA02BC}"/>
              </a:ext>
            </a:extLst>
          </p:cNvPr>
          <p:cNvSpPr txBox="1">
            <a:spLocks/>
          </p:cNvSpPr>
          <p:nvPr/>
        </p:nvSpPr>
        <p:spPr>
          <a:xfrm>
            <a:off x="691704" y="5754913"/>
            <a:ext cx="8858746" cy="393478"/>
          </a:xfrm>
          <a:prstGeom prst="roundRect">
            <a:avLst>
              <a:gd name="adj" fmla="val 113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algn="ctr" defTabSz="564085" fontAlgn="auto">
              <a:lnSpc>
                <a:spcPct val="100000"/>
              </a:lnSpc>
              <a:spcBef>
                <a:spcPts val="0"/>
              </a:spcBef>
              <a:spcAft>
                <a:spcPts val="300"/>
              </a:spcAft>
              <a:buClrTx/>
              <a:buSzTx/>
              <a:buFontTx/>
              <a:buNone/>
              <a:tabLst/>
              <a:defRPr kumimoji="0" sz="1100" b="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mj-ea"/>
                <a:cs typeface="+mj-cs"/>
              </a:rPr>
              <a:t>Secure all workloads with Microsoft Defender for Cloud</a:t>
            </a:r>
          </a:p>
        </p:txBody>
      </p:sp>
      <p:sp>
        <p:nvSpPr>
          <p:cNvPr id="142" name="Arrow: Up 141">
            <a:extLst>
              <a:ext uri="{FF2B5EF4-FFF2-40B4-BE49-F238E27FC236}">
                <a16:creationId xmlns:a16="http://schemas.microsoft.com/office/drawing/2014/main" id="{E2E61030-E62A-10CD-AE37-449DBFBAC6FF}"/>
              </a:ext>
              <a:ext uri="{C183D7F6-B498-43B3-948B-1728B52AA6E4}">
                <adec:decorative xmlns:adec="http://schemas.microsoft.com/office/drawing/2017/decorative" val="1"/>
              </a:ext>
            </a:extLst>
          </p:cNvPr>
          <p:cNvSpPr/>
          <p:nvPr/>
        </p:nvSpPr>
        <p:spPr bwMode="auto">
          <a:xfrm>
            <a:off x="1957372" y="5568952"/>
            <a:ext cx="178932" cy="155532"/>
          </a:xfrm>
          <a:prstGeom prst="upArrow">
            <a:avLst>
              <a:gd name="adj1" fmla="val 50000"/>
              <a:gd name="adj2"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3" name="Arrow: Up 142">
            <a:extLst>
              <a:ext uri="{FF2B5EF4-FFF2-40B4-BE49-F238E27FC236}">
                <a16:creationId xmlns:a16="http://schemas.microsoft.com/office/drawing/2014/main" id="{03834C6D-259B-7DDA-17C5-8BE24C0BB895}"/>
              </a:ext>
              <a:ext uri="{C183D7F6-B498-43B3-948B-1728B52AA6E4}">
                <adec:decorative xmlns:adec="http://schemas.microsoft.com/office/drawing/2017/decorative" val="1"/>
              </a:ext>
            </a:extLst>
          </p:cNvPr>
          <p:cNvSpPr/>
          <p:nvPr/>
        </p:nvSpPr>
        <p:spPr bwMode="auto">
          <a:xfrm>
            <a:off x="5031611" y="5568952"/>
            <a:ext cx="178932" cy="155532"/>
          </a:xfrm>
          <a:prstGeom prst="upArrow">
            <a:avLst>
              <a:gd name="adj1" fmla="val 50000"/>
              <a:gd name="adj2"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44" name="Arrow: Up 143">
            <a:extLst>
              <a:ext uri="{FF2B5EF4-FFF2-40B4-BE49-F238E27FC236}">
                <a16:creationId xmlns:a16="http://schemas.microsoft.com/office/drawing/2014/main" id="{3B0C56A4-0F85-30B4-27F5-4D16EE28E877}"/>
              </a:ext>
              <a:ext uri="{C183D7F6-B498-43B3-948B-1728B52AA6E4}">
                <adec:decorative xmlns:adec="http://schemas.microsoft.com/office/drawing/2017/decorative" val="1"/>
              </a:ext>
            </a:extLst>
          </p:cNvPr>
          <p:cNvSpPr/>
          <p:nvPr/>
        </p:nvSpPr>
        <p:spPr bwMode="auto">
          <a:xfrm>
            <a:off x="8105850" y="5568952"/>
            <a:ext cx="178932" cy="155532"/>
          </a:xfrm>
          <a:prstGeom prst="upArrow">
            <a:avLst>
              <a:gd name="adj1" fmla="val 50000"/>
              <a:gd name="adj2"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4" name="Rectangle: Rounded Corners 3">
            <a:extLst>
              <a:ext uri="{FF2B5EF4-FFF2-40B4-BE49-F238E27FC236}">
                <a16:creationId xmlns:a16="http://schemas.microsoft.com/office/drawing/2014/main" id="{AD7D649D-CBEC-4A03-A016-A31E31B46A00}"/>
              </a:ext>
              <a:ext uri="{C183D7F6-B498-43B3-948B-1728B52AA6E4}">
                <adec:decorative xmlns:adec="http://schemas.microsoft.com/office/drawing/2017/decorative" val="1"/>
              </a:ext>
            </a:extLst>
          </p:cNvPr>
          <p:cNvSpPr/>
          <p:nvPr/>
        </p:nvSpPr>
        <p:spPr bwMode="auto">
          <a:xfrm>
            <a:off x="649123" y="2911475"/>
            <a:ext cx="2967202" cy="1268676"/>
          </a:xfrm>
          <a:prstGeom prst="roundRect">
            <a:avLst>
              <a:gd name="adj" fmla="val 9231"/>
            </a:avLst>
          </a:pr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55" name="Star: 5 Points 54" descr="star">
            <a:extLst>
              <a:ext uri="{FF2B5EF4-FFF2-40B4-BE49-F238E27FC236}">
                <a16:creationId xmlns:a16="http://schemas.microsoft.com/office/drawing/2014/main" id="{D5E73D87-6BEB-E82E-FD67-634C1F1E99BE}"/>
              </a:ext>
            </a:extLst>
          </p:cNvPr>
          <p:cNvSpPr/>
          <p:nvPr/>
        </p:nvSpPr>
        <p:spPr bwMode="auto">
          <a:xfrm>
            <a:off x="571500" y="6362700"/>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54" name="TextBox 53">
            <a:extLst>
              <a:ext uri="{FF2B5EF4-FFF2-40B4-BE49-F238E27FC236}">
                <a16:creationId xmlns:a16="http://schemas.microsoft.com/office/drawing/2014/main" id="{CD0B9234-DA70-F522-E7A7-28ECB39C8A50}"/>
              </a:ext>
            </a:extLst>
          </p:cNvPr>
          <p:cNvSpPr txBox="1"/>
          <p:nvPr/>
        </p:nvSpPr>
        <p:spPr>
          <a:xfrm>
            <a:off x="865515" y="6384984"/>
            <a:ext cx="147623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Semibold"/>
                <a:ea typeface="+mn-ea"/>
                <a:cs typeface="+mn-cs"/>
              </a:rPr>
              <a:t>SME&amp;C</a:t>
            </a:r>
          </a:p>
        </p:txBody>
      </p:sp>
      <p:grpSp>
        <p:nvGrpSpPr>
          <p:cNvPr id="131" name="Group 130">
            <a:extLst>
              <a:ext uri="{FF2B5EF4-FFF2-40B4-BE49-F238E27FC236}">
                <a16:creationId xmlns:a16="http://schemas.microsoft.com/office/drawing/2014/main" id="{3AFE7830-EB85-4F22-C97C-B0A0BFE79742}"/>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32" name="Table 2 Cell 1, 1 to Text">
              <a:extLst>
                <a:ext uri="{FF2B5EF4-FFF2-40B4-BE49-F238E27FC236}">
                  <a16:creationId xmlns:a16="http://schemas.microsoft.com/office/drawing/2014/main" id="{C3EC428B-336C-9128-66C9-D6E2CF234621}"/>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33" name="Table 2 Cell 2, 1 to Text">
              <a:extLst>
                <a:ext uri="{FF2B5EF4-FFF2-40B4-BE49-F238E27FC236}">
                  <a16:creationId xmlns:a16="http://schemas.microsoft.com/office/drawing/2014/main" id="{0FC8FAD7-C5E9-5622-52B8-D8A567156CB3}"/>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34" name="Table 2 Cell 3, 1 to Text">
              <a:extLst>
                <a:ext uri="{FF2B5EF4-FFF2-40B4-BE49-F238E27FC236}">
                  <a16:creationId xmlns:a16="http://schemas.microsoft.com/office/drawing/2014/main" id="{AD0D8287-D119-43D2-A5A3-49DC5979CAC4}"/>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136" name="Table 2 Cell 4, 1 to Text">
              <a:extLst>
                <a:ext uri="{FF2B5EF4-FFF2-40B4-BE49-F238E27FC236}">
                  <a16:creationId xmlns:a16="http://schemas.microsoft.com/office/drawing/2014/main" id="{9B3DB4AD-87B2-2915-F086-B29DEF79136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37" name="Table 2 Cell 5, 1 to Text">
              <a:extLst>
                <a:ext uri="{FF2B5EF4-FFF2-40B4-BE49-F238E27FC236}">
                  <a16:creationId xmlns:a16="http://schemas.microsoft.com/office/drawing/2014/main" id="{944D5F7A-B14F-9004-4E5B-F80B95BF13A3}"/>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38" name="Table 2 Cell 6, 1 to Text">
              <a:extLst>
                <a:ext uri="{FF2B5EF4-FFF2-40B4-BE49-F238E27FC236}">
                  <a16:creationId xmlns:a16="http://schemas.microsoft.com/office/drawing/2014/main" id="{F5DDA921-6A7C-8A4A-EA29-557193D360D2}"/>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39" name="Table 2 Cell 7, 1 to Text">
              <a:extLst>
                <a:ext uri="{FF2B5EF4-FFF2-40B4-BE49-F238E27FC236}">
                  <a16:creationId xmlns:a16="http://schemas.microsoft.com/office/drawing/2014/main" id="{E541E0D6-1A1A-BEF7-AAC7-7FF10DFBE4DC}"/>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40" name="Table 2 Cell 1, 2 to Text">
              <a:extLst>
                <a:ext uri="{FF2B5EF4-FFF2-40B4-BE49-F238E27FC236}">
                  <a16:creationId xmlns:a16="http://schemas.microsoft.com/office/drawing/2014/main" id="{9A4A1E63-D7EE-4257-4140-D79EAF7E0866}"/>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41" name="Table 2 Cell 1, 3 to Text">
              <a:extLst>
                <a:ext uri="{FF2B5EF4-FFF2-40B4-BE49-F238E27FC236}">
                  <a16:creationId xmlns:a16="http://schemas.microsoft.com/office/drawing/2014/main" id="{B088837C-5C0A-6099-6595-E936CFF5ABB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145" name="Table 2 Cell 1, 4 to Text">
              <a:extLst>
                <a:ext uri="{FF2B5EF4-FFF2-40B4-BE49-F238E27FC236}">
                  <a16:creationId xmlns:a16="http://schemas.microsoft.com/office/drawing/2014/main" id="{441033B7-28E5-FFE0-B1A3-05D4F33AFCFE}"/>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146" name="Table 2 Cell 1, 5 to Text">
              <a:extLst>
                <a:ext uri="{FF2B5EF4-FFF2-40B4-BE49-F238E27FC236}">
                  <a16:creationId xmlns:a16="http://schemas.microsoft.com/office/drawing/2014/main" id="{2D4070F8-CB72-3379-2D7D-C3B4F180FC3B}"/>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148" name="Table 2 Cell 1, 6 to Text">
              <a:extLst>
                <a:ext uri="{FF2B5EF4-FFF2-40B4-BE49-F238E27FC236}">
                  <a16:creationId xmlns:a16="http://schemas.microsoft.com/office/drawing/2014/main" id="{64811EB3-38BF-EAA4-9530-7F6D39B07D9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149" name="Table 2 Cell 1, 7 to Text">
              <a:extLst>
                <a:ext uri="{FF2B5EF4-FFF2-40B4-BE49-F238E27FC236}">
                  <a16:creationId xmlns:a16="http://schemas.microsoft.com/office/drawing/2014/main" id="{63781FEE-F17C-9DEF-864D-56C9E821CFC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0"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rPr>
                <a:t>3.6 Migrate &amp; Modernize Overview</a:t>
              </a:r>
            </a:p>
          </p:txBody>
        </p:sp>
        <p:sp>
          <p:nvSpPr>
            <p:cNvPr id="150" name="Table 2 Cell 1, 8 to Text">
              <a:extLst>
                <a:ext uri="{FF2B5EF4-FFF2-40B4-BE49-F238E27FC236}">
                  <a16:creationId xmlns:a16="http://schemas.microsoft.com/office/drawing/2014/main" id="{0FFA859C-2DCE-AA73-897B-00B382BD55ED}"/>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57731043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6F6399B8-64AC-1D7B-6D69-032EB97F7B74}"/>
              </a:ext>
            </a:extLst>
          </p:cNvPr>
          <p:cNvSpPr>
            <a:spLocks noGrp="1"/>
          </p:cNvSpPr>
          <p:nvPr>
            <p:ph type="title"/>
          </p:nvPr>
        </p:nvSpPr>
        <p:spPr>
          <a:xfrm>
            <a:off x="571500" y="457200"/>
            <a:ext cx="11049000" cy="430887"/>
          </a:xfrm>
        </p:spPr>
        <p:txBody>
          <a:bodyPr/>
          <a:lstStyle/>
          <a:p>
            <a:r>
              <a:rPr lang="en-US" sz="2800"/>
              <a:t>Delivery &amp; Success | </a:t>
            </a:r>
            <a:r>
              <a:rPr lang="en-US" sz="2800">
                <a:solidFill>
                  <a:schemeClr val="accent1"/>
                </a:solidFill>
              </a:rPr>
              <a:t>Migrate &amp; Modernize Your Estate</a:t>
            </a:r>
          </a:p>
        </p:txBody>
      </p:sp>
      <p:sp>
        <p:nvSpPr>
          <p:cNvPr id="46" name="Rectangle: Rounded Corners 45">
            <a:extLst>
              <a:ext uri="{FF2B5EF4-FFF2-40B4-BE49-F238E27FC236}">
                <a16:creationId xmlns:a16="http://schemas.microsoft.com/office/drawing/2014/main" id="{D441A481-8819-60F8-E666-0903909C3CC7}"/>
              </a:ext>
              <a:ext uri="{C183D7F6-B498-43B3-948B-1728B52AA6E4}">
                <adec:decorative xmlns:adec="http://schemas.microsoft.com/office/drawing/2017/decorative" val="1"/>
              </a:ext>
            </a:extLst>
          </p:cNvPr>
          <p:cNvSpPr/>
          <p:nvPr/>
        </p:nvSpPr>
        <p:spPr bwMode="auto">
          <a:xfrm>
            <a:off x="571500" y="1087120"/>
            <a:ext cx="9772650" cy="5468101"/>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7" name="Text Placeholder 35">
            <a:extLst>
              <a:ext uri="{FF2B5EF4-FFF2-40B4-BE49-F238E27FC236}">
                <a16:creationId xmlns:a16="http://schemas.microsoft.com/office/drawing/2014/main" id="{F7C7C18C-30D4-266B-7F47-5E92138DE69B}"/>
              </a:ext>
            </a:extLst>
          </p:cNvPr>
          <p:cNvSpPr txBox="1">
            <a:spLocks/>
          </p:cNvSpPr>
          <p:nvPr/>
        </p:nvSpPr>
        <p:spPr>
          <a:xfrm>
            <a:off x="657914" y="1170070"/>
            <a:ext cx="1238262" cy="2212125"/>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All Customers</a:t>
            </a:r>
          </a:p>
        </p:txBody>
      </p:sp>
      <p:sp>
        <p:nvSpPr>
          <p:cNvPr id="48" name="TextBox 47">
            <a:extLst>
              <a:ext uri="{FF2B5EF4-FFF2-40B4-BE49-F238E27FC236}">
                <a16:creationId xmlns:a16="http://schemas.microsoft.com/office/drawing/2014/main" id="{7F736F13-7F4B-8CC6-3553-8AE30EFA19A2}"/>
              </a:ext>
            </a:extLst>
          </p:cNvPr>
          <p:cNvSpPr txBox="1"/>
          <p:nvPr/>
        </p:nvSpPr>
        <p:spPr>
          <a:xfrm>
            <a:off x="2003153" y="1170071"/>
            <a:ext cx="269717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FACTORY 101</a:t>
            </a:r>
          </a:p>
        </p:txBody>
      </p:sp>
      <p:sp>
        <p:nvSpPr>
          <p:cNvPr id="49" name="TextBox 48">
            <a:extLst>
              <a:ext uri="{FF2B5EF4-FFF2-40B4-BE49-F238E27FC236}">
                <a16:creationId xmlns:a16="http://schemas.microsoft.com/office/drawing/2014/main" id="{CD4324FB-593D-A8B4-2CA0-3D287910F0DD}"/>
              </a:ext>
            </a:extLst>
          </p:cNvPr>
          <p:cNvSpPr txBox="1"/>
          <p:nvPr/>
        </p:nvSpPr>
        <p:spPr>
          <a:xfrm>
            <a:off x="2003153" y="1417557"/>
            <a:ext cx="2697175" cy="18004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Leverage Factory to jumpstart Azure projects with zero-cost delivery of these scenarios:</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e Infrastructure and Databases</a:t>
            </a:r>
          </a:p>
          <a:p>
            <a:pPr marL="376238" marR="0" lvl="0" indent="-112713" algn="l" defTabSz="932742" rtl="0" eaLnBrk="1" fontAlgn="t" latinLnBrk="0" hangingPunct="1">
              <a:lnSpc>
                <a:spcPct val="100000"/>
              </a:lnSpc>
              <a:spcBef>
                <a:spcPts val="0"/>
              </a:spcBef>
              <a:spcAft>
                <a:spcPts val="400"/>
              </a:spcAft>
              <a:buClrTx/>
              <a:buSzTx/>
              <a:buFont typeface="Segoe Sans Text" pitchFamily="2" charset="0"/>
              <a:buChar char="•"/>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ing Windows/Linux/SQL Servers</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odernize SQL, OSS &amp; NoSQL DB to PaaS</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e &amp; Modernize Apps on PaaS</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ing On-prem VMware to AVS</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ing RDS/Citrix VDI to AVD</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igrating Windows to W365</a:t>
            </a:r>
          </a:p>
          <a:p>
            <a:pPr marL="212725" marR="0" lvl="0" indent="-161925" algn="l" defTabSz="932742" rtl="0" eaLnBrk="1" fontAlgn="t" latinLnBrk="0" hangingPunct="1">
              <a:lnSpc>
                <a:spcPct val="100000"/>
              </a:lnSpc>
              <a:spcBef>
                <a:spcPts val="200"/>
              </a:spcBef>
              <a:spcAft>
                <a:spcPts val="200"/>
              </a:spcAft>
              <a:buClrTx/>
              <a:buSzTx/>
              <a:buFont typeface="+mj-lt"/>
              <a:buAutoNum type="arabicPeriod" startAt="2"/>
              <a:tabLst>
                <a:tab pos="174625" algn="l"/>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Deploying Windows/SQL Arc</a:t>
            </a:r>
          </a:p>
        </p:txBody>
      </p:sp>
      <p:sp>
        <p:nvSpPr>
          <p:cNvPr id="50" name="TextBox 49">
            <a:extLst>
              <a:ext uri="{FF2B5EF4-FFF2-40B4-BE49-F238E27FC236}">
                <a16:creationId xmlns:a16="http://schemas.microsoft.com/office/drawing/2014/main" id="{842BBB6F-BE7C-47D7-BE3E-A0F59EB3E436}"/>
              </a:ext>
            </a:extLst>
          </p:cNvPr>
          <p:cNvSpPr txBox="1"/>
          <p:nvPr/>
        </p:nvSpPr>
        <p:spPr>
          <a:xfrm>
            <a:off x="5246995" y="1185459"/>
            <a:ext cx="225809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RESILIENCY &amp; SECURITY</a:t>
            </a:r>
          </a:p>
        </p:txBody>
      </p:sp>
      <p:sp>
        <p:nvSpPr>
          <p:cNvPr id="51" name="TextBox 50">
            <a:extLst>
              <a:ext uri="{FF2B5EF4-FFF2-40B4-BE49-F238E27FC236}">
                <a16:creationId xmlns:a16="http://schemas.microsoft.com/office/drawing/2014/main" id="{E9703F65-8E4A-86A8-04C6-69C1E2FEB9DE}"/>
              </a:ext>
            </a:extLst>
          </p:cNvPr>
          <p:cNvSpPr txBox="1"/>
          <p:nvPr/>
        </p:nvSpPr>
        <p:spPr>
          <a:xfrm>
            <a:off x="5246995" y="1417557"/>
            <a:ext cx="2258093" cy="146193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Follow the principles of Well-Architected Framework (WAF) and Cloud Adoption Framework (CAF):</a:t>
            </a:r>
          </a:p>
          <a:p>
            <a:pPr marL="212725" marR="0" lvl="0" indent="-161925"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Azure Landing Zone (ALZ): Assess, design, and deploy an enterprise AI ready landing zone.</a:t>
            </a:r>
          </a:p>
          <a:p>
            <a:pPr marL="212725" marR="0" lvl="0" indent="-161925"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WAF: Ensure a secure, reliable, resilient and optimized solution through assessments and remediation of priority zero issues and vulnerabilities.</a:t>
            </a:r>
          </a:p>
        </p:txBody>
      </p:sp>
      <p:sp>
        <p:nvSpPr>
          <p:cNvPr id="57" name="TextBox 56">
            <a:extLst>
              <a:ext uri="{FF2B5EF4-FFF2-40B4-BE49-F238E27FC236}">
                <a16:creationId xmlns:a16="http://schemas.microsoft.com/office/drawing/2014/main" id="{7AE6E6ED-7B4D-8744-FCD4-CA3CE35FAF7F}"/>
              </a:ext>
            </a:extLst>
          </p:cNvPr>
          <p:cNvSpPr txBox="1"/>
          <p:nvPr/>
        </p:nvSpPr>
        <p:spPr>
          <a:xfrm>
            <a:off x="7962231" y="1177361"/>
            <a:ext cx="19368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NEXT WORKLOAD</a:t>
            </a:r>
          </a:p>
        </p:txBody>
      </p:sp>
      <p:sp>
        <p:nvSpPr>
          <p:cNvPr id="58" name="TextBox 57">
            <a:extLst>
              <a:ext uri="{FF2B5EF4-FFF2-40B4-BE49-F238E27FC236}">
                <a16:creationId xmlns:a16="http://schemas.microsoft.com/office/drawing/2014/main" id="{2748747F-9E98-7B64-A428-7AC479EE7106}"/>
              </a:ext>
            </a:extLst>
          </p:cNvPr>
          <p:cNvSpPr txBox="1"/>
          <p:nvPr/>
        </p:nvSpPr>
        <p:spPr>
          <a:xfrm>
            <a:off x="7981963" y="1417557"/>
            <a:ext cx="2285987" cy="117211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rive “next best workload” conversations with Expansion motions. Examples include Well-Architected Framework, Resiliency + BCDR, App Health, Azure Managed Redis, Defender for Cloud, AIOps with Azure Monitor, AI Ready &amp; others.</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1" u="none" strike="noStrike" kern="1200" cap="none" spc="0" normalizeH="0" baseline="0" noProof="0">
                <a:ln>
                  <a:noFill/>
                </a:ln>
                <a:solidFill>
                  <a:prstClr val="black"/>
                </a:solidFill>
                <a:effectLst/>
                <a:uLnTx/>
                <a:uFillTx/>
                <a:latin typeface="Segoe Sans Text"/>
                <a:ea typeface="+mn-ea"/>
                <a:cs typeface="+mn-cs"/>
              </a:rPr>
              <a:t>View </a:t>
            </a:r>
            <a:r>
              <a:rPr kumimoji="0" lang="en-US" sz="900" b="0" i="1" u="none" strike="noStrike" kern="1200" cap="none" spc="0" normalizeH="0" baseline="0" noProof="0">
                <a:ln>
                  <a:noFill/>
                </a:ln>
                <a:solidFill>
                  <a:prstClr val="black"/>
                </a:solidFill>
                <a:effectLst/>
                <a:uLnTx/>
                <a:uFillTx/>
                <a:latin typeface="Segoe Sans Text"/>
                <a:ea typeface="+mn-ea"/>
                <a:cs typeface="+mn-cs"/>
                <a:hlinkClick r:id="rId3"/>
              </a:rPr>
              <a:t>aka.ms/caiJob2</a:t>
            </a:r>
            <a:r>
              <a:rPr kumimoji="0" lang="en-US" sz="900" b="0" i="1" u="none" strike="noStrike" kern="1200" cap="none" spc="0" normalizeH="0" baseline="0" noProof="0">
                <a:ln>
                  <a:noFill/>
                </a:ln>
                <a:solidFill>
                  <a:prstClr val="black"/>
                </a:solidFill>
                <a:effectLst/>
                <a:uLnTx/>
                <a:uFillTx/>
                <a:latin typeface="Segoe Sans Text"/>
                <a:ea typeface="+mn-ea"/>
                <a:cs typeface="+mn-cs"/>
              </a:rPr>
              <a:t> for the full details on Expansion motions</a:t>
            </a:r>
          </a:p>
        </p:txBody>
      </p:sp>
      <p:sp>
        <p:nvSpPr>
          <p:cNvPr id="52" name="Text Placeholder 35">
            <a:extLst>
              <a:ext uri="{FF2B5EF4-FFF2-40B4-BE49-F238E27FC236}">
                <a16:creationId xmlns:a16="http://schemas.microsoft.com/office/drawing/2014/main" id="{91575D75-94E2-0506-8D1E-07F6C3C65A18}"/>
              </a:ext>
            </a:extLst>
          </p:cNvPr>
          <p:cNvSpPr txBox="1">
            <a:spLocks/>
          </p:cNvSpPr>
          <p:nvPr/>
        </p:nvSpPr>
        <p:spPr>
          <a:xfrm>
            <a:off x="657914" y="3523897"/>
            <a:ext cx="1238262" cy="1739523"/>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Unified</a:t>
            </a:r>
          </a:p>
        </p:txBody>
      </p:sp>
      <p:sp>
        <p:nvSpPr>
          <p:cNvPr id="53" name="TextBox 52">
            <a:extLst>
              <a:ext uri="{FF2B5EF4-FFF2-40B4-BE49-F238E27FC236}">
                <a16:creationId xmlns:a16="http://schemas.microsoft.com/office/drawing/2014/main" id="{58D09678-780F-6E29-A797-90B020388195}"/>
              </a:ext>
            </a:extLst>
          </p:cNvPr>
          <p:cNvSpPr txBox="1"/>
          <p:nvPr/>
        </p:nvSpPr>
        <p:spPr>
          <a:xfrm>
            <a:off x="2003153" y="3572027"/>
            <a:ext cx="26331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ENHANCED SOLUTIONS</a:t>
            </a:r>
          </a:p>
        </p:txBody>
      </p:sp>
      <p:sp>
        <p:nvSpPr>
          <p:cNvPr id="54" name="TextBox 53">
            <a:extLst>
              <a:ext uri="{FF2B5EF4-FFF2-40B4-BE49-F238E27FC236}">
                <a16:creationId xmlns:a16="http://schemas.microsoft.com/office/drawing/2014/main" id="{BFAE9465-895D-4F7A-CAB0-E1FCCB097DAC}"/>
              </a:ext>
            </a:extLst>
          </p:cNvPr>
          <p:cNvSpPr txBox="1"/>
          <p:nvPr/>
        </p:nvSpPr>
        <p:spPr>
          <a:xfrm>
            <a:off x="2003153" y="3822761"/>
            <a:ext cx="4337506" cy="139012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Position and deliver our Value Acceleration Services (VAS) portfolio to ensure we are accelerating our customer’s migration and modernization journey through Unified. </a:t>
            </a:r>
            <a:endParaRPr kumimoji="0" lang="en-US" sz="900" b="0" i="0" u="none" strike="noStrike" kern="1200" cap="none" spc="0" normalizeH="0" baseline="0" noProof="0">
              <a:ln>
                <a:noFill/>
              </a:ln>
              <a:solidFill>
                <a:srgbClr val="000000"/>
              </a:solidFill>
              <a:effectLst/>
              <a:uLnTx/>
              <a:uFillTx/>
              <a:latin typeface="Segoe Sans Text Semibold"/>
              <a:ea typeface="+mn-ea"/>
              <a:cs typeface="+mn-cs"/>
            </a:endParaRPr>
          </a:p>
          <a:p>
            <a:pPr marL="212725" marR="0" lvl="0" indent="-161925" algn="l" defTabSz="932742" rtl="0" eaLnBrk="1" fontAlgn="t" latinLnBrk="0" hangingPunct="1">
              <a:lnSpc>
                <a:spcPct val="100000"/>
              </a:lnSpc>
              <a:spcBef>
                <a:spcPts val="200"/>
              </a:spcBef>
              <a:spcAft>
                <a:spcPts val="3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Platform (Hero)</a:t>
            </a:r>
          </a:p>
          <a:p>
            <a:pPr marL="212725" marR="0" lvl="0" indent="-161925" algn="l" defTabSz="932742" rtl="0" eaLnBrk="1" fontAlgn="t" latinLnBrk="0" hangingPunct="1">
              <a:lnSpc>
                <a:spcPct val="100000"/>
              </a:lnSpc>
              <a:spcBef>
                <a:spcPts val="200"/>
              </a:spcBef>
              <a:spcAft>
                <a:spcPts val="3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odernize Apps for AI</a:t>
            </a:r>
          </a:p>
          <a:p>
            <a:pPr marL="212725" marR="0" lvl="0" indent="-161925" algn="l" defTabSz="932742" rtl="0" eaLnBrk="1" fontAlgn="t" latinLnBrk="0" hangingPunct="1">
              <a:lnSpc>
                <a:spcPct val="100000"/>
              </a:lnSpc>
              <a:spcBef>
                <a:spcPts val="200"/>
              </a:spcBef>
              <a:spcAft>
                <a:spcPts val="3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grate and Modernize Infra &amp; Workloads</a:t>
            </a:r>
          </a:p>
          <a:p>
            <a:pPr marL="212725" marR="0" lvl="0" indent="-161925" algn="l" defTabSz="932742" rtl="0" eaLnBrk="1" fontAlgn="t" latinLnBrk="0" hangingPunct="1">
              <a:lnSpc>
                <a:spcPct val="100000"/>
              </a:lnSpc>
              <a:spcBef>
                <a:spcPts val="200"/>
              </a:spcBef>
              <a:spcAft>
                <a:spcPts val="3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grate &amp; Modernize Data Workloads on Azure</a:t>
            </a:r>
          </a:p>
          <a:p>
            <a:pPr marL="212725" marR="0" lvl="0" indent="-161925" algn="l" defTabSz="932742" rtl="0" eaLnBrk="1" fontAlgn="t" latinLnBrk="0" hangingPunct="1">
              <a:lnSpc>
                <a:spcPct val="100000"/>
              </a:lnSpc>
              <a:spcBef>
                <a:spcPts val="200"/>
              </a:spcBef>
              <a:spcAft>
                <a:spcPts val="1000"/>
              </a:spcAft>
              <a:buClr>
                <a:srgbClr val="000000"/>
              </a:buClr>
              <a:buSzTx/>
              <a:buFont typeface="+mj-lt"/>
              <a:buAutoNum type="arabicPeriod"/>
              <a:tabLst>
                <a:tab pos="228600"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Well-Architected Framework</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1" u="none" strike="noStrike" kern="1200" cap="none" spc="0" normalizeH="0" baseline="0" noProof="0">
                <a:ln>
                  <a:noFill/>
                </a:ln>
                <a:solidFill>
                  <a:srgbClr val="000000"/>
                </a:solidFill>
                <a:effectLst/>
                <a:uLnTx/>
                <a:uFillTx/>
                <a:latin typeface="Segoe Sans Text"/>
                <a:ea typeface="+mn-ea"/>
                <a:cs typeface="+mn-cs"/>
              </a:rPr>
              <a:t>Go to </a:t>
            </a:r>
            <a:r>
              <a:rPr kumimoji="0" lang="en-US" sz="900" b="0" i="1" u="none" strike="noStrike" kern="1200" cap="none" spc="0" normalizeH="0" baseline="0" noProof="0">
                <a:ln>
                  <a:noFill/>
                </a:ln>
                <a:solidFill>
                  <a:srgbClr val="000000"/>
                </a:solidFill>
                <a:effectLst/>
                <a:uLnTx/>
                <a:uFillTx/>
                <a:latin typeface="Segoe Sans Text"/>
                <a:ea typeface="+mn-ea"/>
                <a:cs typeface="+mn-cs"/>
                <a:hlinkClick r:id="rId4"/>
              </a:rPr>
              <a:t>aka.ms/</a:t>
            </a:r>
            <a:r>
              <a:rPr kumimoji="0" lang="en-US" sz="900" b="0" i="1" u="none" strike="noStrike" kern="1200" cap="none" spc="0" normalizeH="0" baseline="0" noProof="0" err="1">
                <a:ln>
                  <a:noFill/>
                </a:ln>
                <a:solidFill>
                  <a:srgbClr val="000000"/>
                </a:solidFill>
                <a:effectLst/>
                <a:uLnTx/>
                <a:uFillTx/>
                <a:latin typeface="Segoe Sans Text"/>
                <a:ea typeface="+mn-ea"/>
                <a:cs typeface="+mn-cs"/>
                <a:hlinkClick r:id="rId4"/>
              </a:rPr>
              <a:t>UnifiedSolutionsGuide</a:t>
            </a:r>
            <a:r>
              <a:rPr kumimoji="0" lang="en-US" sz="900" b="0" i="1" u="none" strike="noStrike" kern="1200" cap="none" spc="0" normalizeH="0" baseline="0" noProof="0">
                <a:ln>
                  <a:noFill/>
                </a:ln>
                <a:solidFill>
                  <a:srgbClr val="000000"/>
                </a:solidFill>
                <a:effectLst/>
                <a:uLnTx/>
                <a:uFillTx/>
                <a:latin typeface="Segoe Sans Text"/>
                <a:ea typeface="+mn-ea"/>
                <a:cs typeface="+mn-cs"/>
              </a:rPr>
              <a:t> for full list of VAS offers.</a:t>
            </a:r>
            <a:endParaRPr kumimoji="0" lang="en-US" sz="900" b="0" i="1"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55" name="TextBox 54">
            <a:extLst>
              <a:ext uri="{FF2B5EF4-FFF2-40B4-BE49-F238E27FC236}">
                <a16:creationId xmlns:a16="http://schemas.microsoft.com/office/drawing/2014/main" id="{A95C3069-C19C-756A-DF21-9A11F5CC03C1}"/>
              </a:ext>
            </a:extLst>
          </p:cNvPr>
          <p:cNvSpPr txBox="1"/>
          <p:nvPr/>
        </p:nvSpPr>
        <p:spPr>
          <a:xfrm>
            <a:off x="6503962" y="3572027"/>
            <a:ext cx="327366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VBD PATHWAYS &amp; REPEATABLE IP</a:t>
            </a:r>
          </a:p>
        </p:txBody>
      </p:sp>
      <p:sp>
        <p:nvSpPr>
          <p:cNvPr id="56" name="TextBox 55">
            <a:extLst>
              <a:ext uri="{FF2B5EF4-FFF2-40B4-BE49-F238E27FC236}">
                <a16:creationId xmlns:a16="http://schemas.microsoft.com/office/drawing/2014/main" id="{BAB4CC5D-508D-81F0-85A4-B2EE4D668B78}"/>
              </a:ext>
            </a:extLst>
          </p:cNvPr>
          <p:cNvSpPr txBox="1"/>
          <p:nvPr/>
        </p:nvSpPr>
        <p:spPr>
          <a:xfrm>
            <a:off x="6523653" y="3822761"/>
            <a:ext cx="3744297" cy="9105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Leverage our VBD Pathways and Repeatable IP (Delivery Guides &amp; Learning Paths) to assist you in delivering Job 1 and Job 2. </a:t>
            </a:r>
          </a:p>
          <a:p>
            <a:pPr marL="212725" marR="0" lvl="0" indent="-161925" algn="l" defTabSz="914400" rtl="0" eaLnBrk="1" fontAlgn="auto" latinLnBrk="0" hangingPunct="1">
              <a:lnSpc>
                <a:spcPct val="100000"/>
              </a:lnSpc>
              <a:spcBef>
                <a:spcPts val="200"/>
              </a:spcBef>
              <a:spcAft>
                <a:spcPts val="300"/>
              </a:spcAft>
              <a:buClrTx/>
              <a:buSzTx/>
              <a:buFont typeface="+mj-lt"/>
              <a:buAutoNum type="arabicPeriod"/>
              <a:tabLst>
                <a:tab pos="174625"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grating and Modernizing Virtual Machines to Azure</a:t>
            </a:r>
          </a:p>
          <a:p>
            <a:pPr marL="212725" marR="0" lvl="0" indent="-161925" algn="l" defTabSz="932742" rtl="0" eaLnBrk="1" fontAlgn="t" latinLnBrk="0" hangingPunct="1">
              <a:lnSpc>
                <a:spcPct val="100000"/>
              </a:lnSpc>
              <a:spcBef>
                <a:spcPts val="200"/>
              </a:spcBef>
              <a:spcAft>
                <a:spcPts val="1000"/>
              </a:spcAft>
              <a:buClr>
                <a:srgbClr val="000000"/>
              </a:buClr>
              <a:buSzTx/>
              <a:buFont typeface="+mj-lt"/>
              <a:buAutoNum type="arabicPeriod"/>
              <a:tabLst>
                <a:tab pos="228600"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grate and Modernize Databases</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1" u="none" strike="noStrike" kern="1200" cap="none" spc="0" normalizeH="0" baseline="0" noProof="0">
                <a:ln>
                  <a:noFill/>
                </a:ln>
                <a:solidFill>
                  <a:prstClr val="black"/>
                </a:solidFill>
                <a:effectLst/>
                <a:uLnTx/>
                <a:uFillTx/>
                <a:latin typeface="Segoe Sans Text"/>
                <a:ea typeface="+mn-ea"/>
                <a:cs typeface="+mn-cs"/>
              </a:rPr>
              <a:t>Go to </a:t>
            </a:r>
            <a:r>
              <a:rPr kumimoji="0" lang="en-US" sz="900" b="0" i="1" u="none" strike="noStrike" kern="1200" cap="none" spc="0" normalizeH="0" baseline="0" noProof="0">
                <a:ln>
                  <a:noFill/>
                </a:ln>
                <a:solidFill>
                  <a:prstClr val="black"/>
                </a:solidFill>
                <a:effectLst/>
                <a:uLnTx/>
                <a:uFillTx/>
                <a:latin typeface="Segoe Sans Text"/>
                <a:ea typeface="+mn-ea"/>
                <a:cs typeface="+mn-cs"/>
                <a:hlinkClick r:id="rId5"/>
              </a:rPr>
              <a:t>aka.ms/</a:t>
            </a:r>
            <a:r>
              <a:rPr kumimoji="0" lang="en-US" sz="900" b="0" i="1" u="none" strike="noStrike" kern="1200" cap="none" spc="0" normalizeH="0" baseline="0" noProof="0" err="1">
                <a:ln>
                  <a:noFill/>
                </a:ln>
                <a:solidFill>
                  <a:prstClr val="black"/>
                </a:solidFill>
                <a:effectLst/>
                <a:uLnTx/>
                <a:uFillTx/>
                <a:latin typeface="Segoe Sans Text"/>
                <a:ea typeface="+mn-ea"/>
                <a:cs typeface="+mn-cs"/>
                <a:hlinkClick r:id="rId5"/>
              </a:rPr>
              <a:t>csudocs</a:t>
            </a:r>
            <a:r>
              <a:rPr kumimoji="0" lang="en-US" sz="900" b="0" i="1" u="none" strike="noStrike" kern="1200" cap="none" spc="0" normalizeH="0" baseline="0" noProof="0">
                <a:ln>
                  <a:noFill/>
                </a:ln>
                <a:solidFill>
                  <a:prstClr val="black"/>
                </a:solidFill>
                <a:effectLst/>
                <a:uLnTx/>
                <a:uFillTx/>
                <a:latin typeface="Segoe Sans Text"/>
                <a:ea typeface="+mn-ea"/>
                <a:cs typeface="+mn-cs"/>
                <a:hlinkClick r:id="rId5"/>
              </a:rPr>
              <a:t>/</a:t>
            </a:r>
            <a:r>
              <a:rPr kumimoji="0" lang="en-US" sz="900" b="0" i="1" u="none" strike="noStrike" kern="1200" cap="none" spc="0" normalizeH="0" baseline="0" noProof="0" err="1">
                <a:ln>
                  <a:noFill/>
                </a:ln>
                <a:solidFill>
                  <a:prstClr val="black"/>
                </a:solidFill>
                <a:effectLst/>
                <a:uLnTx/>
                <a:uFillTx/>
                <a:latin typeface="Segoe Sans Text"/>
                <a:ea typeface="+mn-ea"/>
                <a:cs typeface="+mn-cs"/>
                <a:hlinkClick r:id="rId5"/>
              </a:rPr>
              <a:t>AzureCloudAI</a:t>
            </a:r>
            <a:r>
              <a:rPr kumimoji="0" lang="en-US" sz="900" b="0" i="1" u="none" strike="noStrike" kern="1200" cap="none" spc="0" normalizeH="0" baseline="0" noProof="0">
                <a:ln>
                  <a:noFill/>
                </a:ln>
                <a:solidFill>
                  <a:prstClr val="black"/>
                </a:solidFill>
                <a:effectLst/>
                <a:uLnTx/>
                <a:uFillTx/>
                <a:latin typeface="Segoe Sans Text"/>
                <a:ea typeface="+mn-ea"/>
                <a:cs typeface="+mn-cs"/>
              </a:rPr>
              <a:t> to view all VBD Delivery Guides.</a:t>
            </a:r>
          </a:p>
        </p:txBody>
      </p:sp>
      <p:sp>
        <p:nvSpPr>
          <p:cNvPr id="59" name="Text Placeholder 35">
            <a:extLst>
              <a:ext uri="{FF2B5EF4-FFF2-40B4-BE49-F238E27FC236}">
                <a16:creationId xmlns:a16="http://schemas.microsoft.com/office/drawing/2014/main" id="{FC84BD2E-652E-9CEC-6CFA-C1CB8B114A14}"/>
              </a:ext>
            </a:extLst>
          </p:cNvPr>
          <p:cNvSpPr txBox="1">
            <a:spLocks/>
          </p:cNvSpPr>
          <p:nvPr/>
        </p:nvSpPr>
        <p:spPr>
          <a:xfrm>
            <a:off x="657914" y="5405120"/>
            <a:ext cx="1238262" cy="1073796"/>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Non-Unified</a:t>
            </a:r>
          </a:p>
        </p:txBody>
      </p:sp>
      <p:sp>
        <p:nvSpPr>
          <p:cNvPr id="60" name="TextBox 59">
            <a:extLst>
              <a:ext uri="{FF2B5EF4-FFF2-40B4-BE49-F238E27FC236}">
                <a16:creationId xmlns:a16="http://schemas.microsoft.com/office/drawing/2014/main" id="{305AF3A6-859A-DD57-AF8F-CE3B353D3D5A}"/>
              </a:ext>
            </a:extLst>
          </p:cNvPr>
          <p:cNvSpPr txBox="1"/>
          <p:nvPr/>
        </p:nvSpPr>
        <p:spPr>
          <a:xfrm>
            <a:off x="2003153" y="5405120"/>
            <a:ext cx="409022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PARTNER, CUSTOMER IN-HOUSE, OR ISD</a:t>
            </a:r>
          </a:p>
        </p:txBody>
      </p:sp>
      <p:sp>
        <p:nvSpPr>
          <p:cNvPr id="70" name="TextBox 69">
            <a:extLst>
              <a:ext uri="{FF2B5EF4-FFF2-40B4-BE49-F238E27FC236}">
                <a16:creationId xmlns:a16="http://schemas.microsoft.com/office/drawing/2014/main" id="{66CDD445-1B25-4F39-2B06-E07E76F0A078}"/>
              </a:ext>
            </a:extLst>
          </p:cNvPr>
          <p:cNvSpPr txBox="1"/>
          <p:nvPr/>
        </p:nvSpPr>
        <p:spPr>
          <a:xfrm>
            <a:off x="2003153" y="5636938"/>
            <a:ext cx="8182248" cy="492443"/>
          </a:xfrm>
          <a:prstGeom prst="rect">
            <a:avLst/>
          </a:prstGeom>
          <a:noFill/>
        </p:spPr>
        <p:txBody>
          <a:bodyPr wrap="square" lIns="0" tIns="0" rIns="0" bIns="0" rtlCol="0" anchor="t">
            <a:spAutoFit/>
          </a:bodyPr>
          <a:lstStyle/>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Request CSU Investe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csuinvested</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 </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GPS – How to find and engage partner (SIs/GSIs, SDCs and Channel)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Y26CAIPCosellPlaybook</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ISD – How to engage IS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ISDServicesAssistance</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srgbClr val="1A1A1A"/>
                </a:solidFill>
                <a:effectLst/>
                <a:uLnTx/>
                <a:uFillTx/>
                <a:latin typeface="Segoe Sans Text"/>
                <a:ea typeface="+mn-ea"/>
                <a:cs typeface="+mn-cs"/>
              </a:rPr>
              <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offers in Catalog</a:t>
            </a:r>
          </a:p>
        </p:txBody>
      </p:sp>
      <p:cxnSp>
        <p:nvCxnSpPr>
          <p:cNvPr id="62" name="Straight Connector 61">
            <a:extLst>
              <a:ext uri="{FF2B5EF4-FFF2-40B4-BE49-F238E27FC236}">
                <a16:creationId xmlns:a16="http://schemas.microsoft.com/office/drawing/2014/main" id="{8A149555-06AE-4ECC-0533-3FBCBEE337F9}"/>
              </a:ext>
              <a:ext uri="{C183D7F6-B498-43B3-948B-1728B52AA6E4}">
                <adec:decorative xmlns:adec="http://schemas.microsoft.com/office/drawing/2017/decorative" val="1"/>
              </a:ext>
            </a:extLst>
          </p:cNvPr>
          <p:cNvCxnSpPr>
            <a:cxnSpLocks/>
          </p:cNvCxnSpPr>
          <p:nvPr/>
        </p:nvCxnSpPr>
        <p:spPr>
          <a:xfrm>
            <a:off x="657913" y="3453047"/>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102B7DC-8B41-2581-D540-E54461AF722E}"/>
              </a:ext>
              <a:ext uri="{C183D7F6-B498-43B3-948B-1728B52AA6E4}">
                <adec:decorative xmlns:adec="http://schemas.microsoft.com/office/drawing/2017/decorative" val="1"/>
              </a:ext>
            </a:extLst>
          </p:cNvPr>
          <p:cNvCxnSpPr>
            <a:cxnSpLocks/>
          </p:cNvCxnSpPr>
          <p:nvPr/>
        </p:nvCxnSpPr>
        <p:spPr>
          <a:xfrm>
            <a:off x="657913" y="5334270"/>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Rectangle: Top Corners Rounded 63">
            <a:extLst>
              <a:ext uri="{FF2B5EF4-FFF2-40B4-BE49-F238E27FC236}">
                <a16:creationId xmlns:a16="http://schemas.microsoft.com/office/drawing/2014/main" id="{0A01825F-0528-75E8-B1F6-D76C4384A827}"/>
              </a:ext>
              <a:ext uri="{C183D7F6-B498-43B3-948B-1728B52AA6E4}">
                <adec:decorative xmlns:adec="http://schemas.microsoft.com/office/drawing/2017/decorative" val="1"/>
              </a:ext>
            </a:extLst>
          </p:cNvPr>
          <p:cNvSpPr/>
          <p:nvPr/>
        </p:nvSpPr>
        <p:spPr bwMode="auto">
          <a:xfrm rot="5400000">
            <a:off x="8254163" y="2626479"/>
            <a:ext cx="6107115" cy="1768558"/>
          </a:xfrm>
          <a:prstGeom prst="round2SameRect">
            <a:avLst>
              <a:gd name="adj1" fmla="val 0"/>
              <a:gd name="adj2" fmla="val 340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67" name="TextBox 66">
            <a:extLst>
              <a:ext uri="{FF2B5EF4-FFF2-40B4-BE49-F238E27FC236}">
                <a16:creationId xmlns:a16="http://schemas.microsoft.com/office/drawing/2014/main" id="{30589AE9-520C-B00A-2268-1B6CF7361890}"/>
              </a:ext>
            </a:extLst>
          </p:cNvPr>
          <p:cNvSpPr txBox="1"/>
          <p:nvPr/>
        </p:nvSpPr>
        <p:spPr>
          <a:xfrm>
            <a:off x="10542962" y="575310"/>
            <a:ext cx="1351857" cy="121571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AZURE CONSUMPTION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Review the Azure consumption plan and validate the completeness and accuracy across all Azure workloads.</a:t>
            </a:r>
          </a:p>
        </p:txBody>
      </p:sp>
      <p:sp>
        <p:nvSpPr>
          <p:cNvPr id="65" name="TextBox 64">
            <a:extLst>
              <a:ext uri="{FF2B5EF4-FFF2-40B4-BE49-F238E27FC236}">
                <a16:creationId xmlns:a16="http://schemas.microsoft.com/office/drawing/2014/main" id="{4DE27CB6-1EC4-5D67-961E-B28F07B38020}"/>
              </a:ext>
            </a:extLst>
          </p:cNvPr>
          <p:cNvSpPr txBox="1"/>
          <p:nvPr/>
        </p:nvSpPr>
        <p:spPr>
          <a:xfrm>
            <a:off x="10542962" y="1934432"/>
            <a:ext cx="1351857" cy="36240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PRODUCTS</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Windows</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QL</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for PostgreSQL</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for MySQL</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KS</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CA</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pp Service</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MR</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VS</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AP</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Oracle</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HPC</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ing</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torage</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Monitor</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BCDR</a:t>
            </a:r>
          </a:p>
          <a:p>
            <a:pPr marL="168275" marR="0" lvl="0" indent="-1190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VD</a:t>
            </a:r>
          </a:p>
        </p:txBody>
      </p:sp>
      <p:sp>
        <p:nvSpPr>
          <p:cNvPr id="66" name="TextBox 65">
            <a:extLst>
              <a:ext uri="{FF2B5EF4-FFF2-40B4-BE49-F238E27FC236}">
                <a16:creationId xmlns:a16="http://schemas.microsoft.com/office/drawing/2014/main" id="{84C24DB8-FF2C-0B21-F40A-EF7E927F40E5}"/>
              </a:ext>
            </a:extLst>
          </p:cNvPr>
          <p:cNvSpPr txBox="1"/>
          <p:nvPr/>
        </p:nvSpPr>
        <p:spPr>
          <a:xfrm>
            <a:off x="10542962" y="5701906"/>
            <a:ext cx="1351857" cy="64120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SKILLING</a:t>
            </a:r>
          </a:p>
          <a:p>
            <a:pPr marL="168275" marR="0" lvl="0" indent="-119063" algn="l" defTabSz="914400"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tab pos="114300" algn="l"/>
              </a:tabLst>
              <a:defRPr/>
            </a:pP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FY26 Skilling Strategy </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168275" marR="0" lvl="0" indent="-119063" algn="l" defTabSz="914400"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tab pos="114300" algn="l"/>
              </a:tabLst>
              <a:defRPr/>
            </a:pP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Copilot Agent L100–L400 by Workload</a:t>
            </a:r>
            <a:endParaRPr kumimoji="0" lang="en-US" sz="1000" b="0" i="0" u="none" strike="noStrike" kern="1200" cap="none" spc="0" normalizeH="0" baseline="0" noProof="0">
              <a:ln>
                <a:noFill/>
              </a:ln>
              <a:solidFill>
                <a:srgbClr val="0078D4"/>
              </a:solidFill>
              <a:effectLst/>
              <a:uLnTx/>
              <a:uFillTx/>
              <a:latin typeface="Segoe Sans Text"/>
              <a:ea typeface="+mn-ea"/>
              <a:cs typeface="+mn-cs"/>
            </a:endParaRPr>
          </a:p>
        </p:txBody>
      </p:sp>
      <p:grpSp>
        <p:nvGrpSpPr>
          <p:cNvPr id="68" name="Group 67">
            <a:extLst>
              <a:ext uri="{FF2B5EF4-FFF2-40B4-BE49-F238E27FC236}">
                <a16:creationId xmlns:a16="http://schemas.microsoft.com/office/drawing/2014/main" id="{FC1FDDFB-0996-2797-E3BD-B51BA4CBEE6C}"/>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69" name="Table 2 Cell 1, 1 to Text">
              <a:extLst>
                <a:ext uri="{FF2B5EF4-FFF2-40B4-BE49-F238E27FC236}">
                  <a16:creationId xmlns:a16="http://schemas.microsoft.com/office/drawing/2014/main" id="{8201C661-BF85-E2B7-521F-FB4FAC06381A}"/>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71" name="Table 2 Cell 2, 1 to Text">
              <a:extLst>
                <a:ext uri="{FF2B5EF4-FFF2-40B4-BE49-F238E27FC236}">
                  <a16:creationId xmlns:a16="http://schemas.microsoft.com/office/drawing/2014/main" id="{59119CB3-CC5B-DC93-92A2-9819A261345B}"/>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72" name="Table 2 Cell 3, 1 to Text">
              <a:extLst>
                <a:ext uri="{FF2B5EF4-FFF2-40B4-BE49-F238E27FC236}">
                  <a16:creationId xmlns:a16="http://schemas.microsoft.com/office/drawing/2014/main" id="{B8968707-E83A-1C7F-4F52-E655A2B76379}"/>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73" name="Table 2 Cell 4, 1 to Text">
              <a:extLst>
                <a:ext uri="{FF2B5EF4-FFF2-40B4-BE49-F238E27FC236}">
                  <a16:creationId xmlns:a16="http://schemas.microsoft.com/office/drawing/2014/main" id="{3A836DE2-F273-D5B4-331A-D6C9AFFAB5DE}"/>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74" name="Table 2 Cell 5, 1 to Text">
              <a:extLst>
                <a:ext uri="{FF2B5EF4-FFF2-40B4-BE49-F238E27FC236}">
                  <a16:creationId xmlns:a16="http://schemas.microsoft.com/office/drawing/2014/main" id="{F7B5F3CC-4818-3D37-3B76-A868D296D7D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75" name="Table 2 Cell 6, 1 to Text">
              <a:extLst>
                <a:ext uri="{FF2B5EF4-FFF2-40B4-BE49-F238E27FC236}">
                  <a16:creationId xmlns:a16="http://schemas.microsoft.com/office/drawing/2014/main" id="{37D79196-D58D-0359-A07C-44806B04F86D}"/>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76" name="Table 2 Cell 7, 1 to Text">
              <a:extLst>
                <a:ext uri="{FF2B5EF4-FFF2-40B4-BE49-F238E27FC236}">
                  <a16:creationId xmlns:a16="http://schemas.microsoft.com/office/drawing/2014/main" id="{0717314F-5BFB-3AFA-6ABC-A07120330F07}"/>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77" name="Table 2 Cell 1, 2 to Text">
              <a:extLst>
                <a:ext uri="{FF2B5EF4-FFF2-40B4-BE49-F238E27FC236}">
                  <a16:creationId xmlns:a16="http://schemas.microsoft.com/office/drawing/2014/main" id="{54185BF5-557F-5A39-18D2-279B8669AF45}"/>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78" name="Table 2 Cell 1, 3 to Text">
              <a:extLst>
                <a:ext uri="{FF2B5EF4-FFF2-40B4-BE49-F238E27FC236}">
                  <a16:creationId xmlns:a16="http://schemas.microsoft.com/office/drawing/2014/main" id="{95B588F2-6486-A1AA-389E-AC40F4D33E0D}"/>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79" name="Table 2 Cell 1, 4 to Text">
              <a:extLst>
                <a:ext uri="{FF2B5EF4-FFF2-40B4-BE49-F238E27FC236}">
                  <a16:creationId xmlns:a16="http://schemas.microsoft.com/office/drawing/2014/main" id="{89D77F3D-04E9-B0CB-1CFB-1579BAFE48EF}"/>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80" name="Table 2 Cell 1, 5 to Text">
              <a:extLst>
                <a:ext uri="{FF2B5EF4-FFF2-40B4-BE49-F238E27FC236}">
                  <a16:creationId xmlns:a16="http://schemas.microsoft.com/office/drawing/2014/main" id="{6A2B188A-721E-A942-7455-F5C601BF91C3}"/>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81" name="Table 2 Cell 1, 6 to Text">
              <a:extLst>
                <a:ext uri="{FF2B5EF4-FFF2-40B4-BE49-F238E27FC236}">
                  <a16:creationId xmlns:a16="http://schemas.microsoft.com/office/drawing/2014/main" id="{94B3623F-4AA7-4268-5B06-160B190A73B3}"/>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82" name="Table 2 Cell 1, 7 to Text">
              <a:extLst>
                <a:ext uri="{FF2B5EF4-FFF2-40B4-BE49-F238E27FC236}">
                  <a16:creationId xmlns:a16="http://schemas.microsoft.com/office/drawing/2014/main" id="{94CCACDF-5D8D-D958-476A-A09489507FAA}"/>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83" name="Table 2 Cell 1, 8 to Text">
              <a:extLst>
                <a:ext uri="{FF2B5EF4-FFF2-40B4-BE49-F238E27FC236}">
                  <a16:creationId xmlns:a16="http://schemas.microsoft.com/office/drawing/2014/main" id="{3A3FE9C6-E3BA-146D-1D8F-F3C107F3E02B}"/>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7 Delivery &amp; Success</a:t>
              </a:r>
            </a:p>
          </p:txBody>
        </p:sp>
      </p:grpSp>
    </p:spTree>
    <p:extLst>
      <p:ext uri="{BB962C8B-B14F-4D97-AF65-F5344CB8AC3E}">
        <p14:creationId xmlns:p14="http://schemas.microsoft.com/office/powerpoint/2010/main" val="2262544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a:extLst>
              <a:ext uri="{FF2B5EF4-FFF2-40B4-BE49-F238E27FC236}">
                <a16:creationId xmlns:a16="http://schemas.microsoft.com/office/drawing/2014/main" id="{55B65427-767B-FA59-DE32-70379A19B154}"/>
              </a:ext>
            </a:extLst>
          </p:cNvPr>
          <p:cNvGraphicFramePr>
            <a:graphicFrameLocks/>
          </p:cNvGraphicFramePr>
          <p:nvPr>
            <p:extLst>
              <p:ext uri="{D42A27DB-BD31-4B8C-83A1-F6EECF244321}">
                <p14:modId xmlns:p14="http://schemas.microsoft.com/office/powerpoint/2010/main" val="3841330412"/>
              </p:ext>
            </p:extLst>
          </p:nvPr>
        </p:nvGraphicFramePr>
        <p:xfrm>
          <a:off x="28544" y="834460"/>
          <a:ext cx="12128327" cy="5781302"/>
        </p:xfrm>
        <a:graphic>
          <a:graphicData uri="http://schemas.openxmlformats.org/drawingml/2006/table">
            <a:tbl>
              <a:tblPr firstRow="1" bandRow="1">
                <a:tableStyleId>{5940675A-B579-460E-94D1-54222C63F5DA}</a:tableStyleId>
              </a:tblPr>
              <a:tblGrid>
                <a:gridCol w="700405">
                  <a:extLst>
                    <a:ext uri="{9D8B030D-6E8A-4147-A177-3AD203B41FA5}">
                      <a16:colId xmlns:a16="http://schemas.microsoft.com/office/drawing/2014/main" val="508227146"/>
                    </a:ext>
                  </a:extLst>
                </a:gridCol>
                <a:gridCol w="1317873">
                  <a:extLst>
                    <a:ext uri="{9D8B030D-6E8A-4147-A177-3AD203B41FA5}">
                      <a16:colId xmlns:a16="http://schemas.microsoft.com/office/drawing/2014/main" val="1970924299"/>
                    </a:ext>
                  </a:extLst>
                </a:gridCol>
                <a:gridCol w="1089263">
                  <a:extLst>
                    <a:ext uri="{9D8B030D-6E8A-4147-A177-3AD203B41FA5}">
                      <a16:colId xmlns:a16="http://schemas.microsoft.com/office/drawing/2014/main" val="1484795938"/>
                    </a:ext>
                  </a:extLst>
                </a:gridCol>
                <a:gridCol w="2991558">
                  <a:extLst>
                    <a:ext uri="{9D8B030D-6E8A-4147-A177-3AD203B41FA5}">
                      <a16:colId xmlns:a16="http://schemas.microsoft.com/office/drawing/2014/main" val="2593303890"/>
                    </a:ext>
                  </a:extLst>
                </a:gridCol>
                <a:gridCol w="3166293">
                  <a:extLst>
                    <a:ext uri="{9D8B030D-6E8A-4147-A177-3AD203B41FA5}">
                      <a16:colId xmlns:a16="http://schemas.microsoft.com/office/drawing/2014/main" val="2077117303"/>
                    </a:ext>
                  </a:extLst>
                </a:gridCol>
                <a:gridCol w="1921640">
                  <a:extLst>
                    <a:ext uri="{9D8B030D-6E8A-4147-A177-3AD203B41FA5}">
                      <a16:colId xmlns:a16="http://schemas.microsoft.com/office/drawing/2014/main" val="2910321918"/>
                    </a:ext>
                  </a:extLst>
                </a:gridCol>
                <a:gridCol w="941295">
                  <a:extLst>
                    <a:ext uri="{9D8B030D-6E8A-4147-A177-3AD203B41FA5}">
                      <a16:colId xmlns:a16="http://schemas.microsoft.com/office/drawing/2014/main" val="2554320039"/>
                    </a:ext>
                  </a:extLst>
                </a:gridCol>
              </a:tblGrid>
              <a:tr h="5364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mj-lt"/>
                          <a:ea typeface="+mn-ea"/>
                          <a:cs typeface="Segoe UI"/>
                        </a:rPr>
                        <a:t>FY26 SP</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n-ea"/>
                          <a:cs typeface="Segoe UI"/>
                        </a:rPr>
                        <a:t>PRIORITIE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0" lang="en-US" sz="1200" b="0" i="0" u="none" strike="noStrike" kern="1200" cap="none" spc="0" normalizeH="0" baseline="0">
                          <a:ln>
                            <a:noFill/>
                          </a:ln>
                          <a:solidFill>
                            <a:schemeClr val="bg1"/>
                          </a:solidFill>
                          <a:effectLst/>
                          <a:uLnTx/>
                          <a:uFillTx/>
                          <a:latin typeface="+mj-lt"/>
                          <a:ea typeface="+mn-ea"/>
                          <a:cs typeface="Segoe UI"/>
                        </a:rPr>
                        <a:t>FY26 JOB 2 MOTION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0" lang="en-US" sz="1200" b="0" i="0" u="none" strike="noStrike" kern="1200" cap="none" spc="0" normalizeH="0" baseline="0">
                          <a:ln>
                            <a:noFill/>
                          </a:ln>
                          <a:solidFill>
                            <a:schemeClr val="bg1"/>
                          </a:solidFill>
                          <a:effectLst/>
                          <a:uLnTx/>
                          <a:uFillTx/>
                          <a:latin typeface="+mj-lt"/>
                          <a:ea typeface="+mn-ea"/>
                          <a:cs typeface="Segoe UI"/>
                        </a:rPr>
                        <a:t>SUB MOTIONS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7724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mj-lt"/>
                          <a:ea typeface="+mn-ea"/>
                          <a:cs typeface="Segoe UI"/>
                        </a:rPr>
                        <a:t>VALUE PROP | CUSTOMER BENEFI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0" lang="en-US" sz="1200" b="0" i="0" u="none" strike="noStrike" kern="1200" cap="none" spc="0" normalizeH="0" baseline="0">
                          <a:ln>
                            <a:noFill/>
                          </a:ln>
                          <a:solidFill>
                            <a:schemeClr val="bg1"/>
                          </a:solidFill>
                          <a:effectLst/>
                          <a:uLnTx/>
                          <a:uFillTx/>
                          <a:latin typeface="+mj-lt"/>
                          <a:ea typeface="+mn-ea"/>
                          <a:cs typeface="Segoe UI"/>
                        </a:rPr>
                        <a:t>HOW TO EXECUTE /TIMELINE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0" lang="en-US" sz="1200" b="0" i="0" u="none" strike="noStrike" kern="1200" cap="none" spc="0" normalizeH="0" baseline="0">
                          <a:ln>
                            <a:noFill/>
                          </a:ln>
                          <a:solidFill>
                            <a:schemeClr val="bg1"/>
                          </a:solidFill>
                          <a:effectLst/>
                          <a:uLnTx/>
                          <a:uFillTx/>
                          <a:latin typeface="+mj-lt"/>
                          <a:ea typeface="+mn-ea"/>
                          <a:cs typeface="Segoe UI"/>
                        </a:rPr>
                        <a:t>METRICS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54869616"/>
                  </a:ext>
                </a:extLst>
              </a:tr>
              <a:tr h="1388361">
                <a:tc rowSpan="7">
                  <a:txBody>
                    <a:bodyPr/>
                    <a:lstStyle/>
                    <a:p>
                      <a:pPr marL="0" marR="0" lvl="0" indent="0" algn="ctr" rtl="0" eaLnBrk="1" fontAlgn="auto" latinLnBrk="0" hangingPunct="1">
                        <a:lnSpc>
                          <a:spcPct val="100000"/>
                        </a:lnSpc>
                        <a:spcBef>
                          <a:spcPts val="0"/>
                        </a:spcBef>
                        <a:spcAft>
                          <a:spcPts val="0"/>
                        </a:spcAft>
                        <a:buClrTx/>
                        <a:buSzTx/>
                        <a:buNone/>
                      </a:pPr>
                      <a:r>
                        <a:rPr kumimoji="0" lang="en-US" sz="1200" b="0" i="0" u="none" strike="noStrike" kern="1200" cap="none" spc="0" normalizeH="0" baseline="0" noProof="0">
                          <a:ln>
                            <a:noFill/>
                          </a:ln>
                          <a:solidFill>
                            <a:schemeClr val="bg1"/>
                          </a:solidFill>
                          <a:effectLst/>
                          <a:uLnTx/>
                          <a:uFillTx/>
                          <a:latin typeface="+mj-lt"/>
                          <a:ea typeface="+mn-ea"/>
                          <a:cs typeface="Segoe UI"/>
                        </a:rPr>
                        <a:t>MIGRATE AND MODERNIZE YOUR ESTATE</a:t>
                      </a:r>
                    </a:p>
                  </a:txBody>
                  <a:tcPr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4">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b="1" i="0" kern="1200">
                          <a:solidFill>
                            <a:schemeClr val="bg2">
                              <a:lumMod val="10000"/>
                            </a:schemeClr>
                          </a:solidFill>
                          <a:latin typeface="+mn-lt"/>
                          <a:ea typeface="+mn-ea"/>
                          <a:cs typeface="Segoe UI"/>
                        </a:rPr>
                        <a:t>Drive Migration and Modernization of Windows Server, SQL Server, Linux, PGSQL, and </a:t>
                      </a:r>
                      <a:r>
                        <a:rPr lang="en-US" sz="800" b="1">
                          <a:latin typeface="+mn-lt"/>
                        </a:rPr>
                        <a:t>.NET/Java Apps</a:t>
                      </a: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b="1" i="0" kern="1200">
                        <a:solidFill>
                          <a:schemeClr val="bg2">
                            <a:lumMod val="10000"/>
                          </a:schemeClr>
                        </a:solidFill>
                        <a:latin typeface="+mn-lt"/>
                        <a:ea typeface="+mn-ea"/>
                        <a:cs typeface="Segoe UI"/>
                      </a:endParaRP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b="1" i="0" kern="1200">
                        <a:solidFill>
                          <a:schemeClr val="bg2">
                            <a:lumMod val="10000"/>
                          </a:schemeClr>
                        </a:solidFill>
                        <a:latin typeface="+mn-lt"/>
                        <a:ea typeface="+mn-ea"/>
                        <a:cs typeface="Segoe UI"/>
                      </a:endParaRP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b="1" i="0" kern="1200">
                        <a:solidFill>
                          <a:schemeClr val="bg2">
                            <a:lumMod val="10000"/>
                          </a:schemeClr>
                        </a:solidFill>
                        <a:latin typeface="+mn-lt"/>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mn-lt"/>
                        </a:rPr>
                        <a:t>Capture VMware opportunity with migration/modernization to AVS and Azure IaaS</a:t>
                      </a:r>
                      <a:endParaRPr lang="en-US" sz="800"/>
                    </a:p>
                    <a:p>
                      <a:endParaRPr lang="en-US" sz="800"/>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b="1" i="0" kern="1200">
                        <a:solidFill>
                          <a:schemeClr val="bg2">
                            <a:lumMod val="10000"/>
                          </a:schemeClr>
                        </a:solidFill>
                        <a:latin typeface="+mn-lt"/>
                        <a:ea typeface="+mn-ea"/>
                        <a:cs typeface="Segoe UI"/>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800" b="1" i="0" u="none" strike="noStrike" kern="1200" cap="none" spc="0" normalizeH="0" baseline="0" noProof="0">
                          <a:ln>
                            <a:noFill/>
                          </a:ln>
                          <a:solidFill>
                            <a:schemeClr val="tx1"/>
                          </a:solidFill>
                          <a:effectLst/>
                          <a:uLnTx/>
                          <a:uFillTx/>
                          <a:latin typeface="+mn-lt"/>
                          <a:ea typeface="+mn-ea"/>
                          <a:cs typeface="Segoe UI"/>
                        </a:rPr>
                        <a:t>Priority: </a:t>
                      </a:r>
                      <a:r>
                        <a:rPr lang="en-US" sz="800" b="0" i="0" u="none" strike="noStrike" kern="1200" cap="none" spc="0" normalizeH="0" baseline="0" noProof="0">
                          <a:ln>
                            <a:noFill/>
                          </a:ln>
                          <a:solidFill>
                            <a:schemeClr val="tx1"/>
                          </a:solidFill>
                          <a:effectLst/>
                          <a:uLnTx/>
                          <a:uFillTx/>
                          <a:latin typeface="+mn-lt"/>
                          <a:ea typeface="+mn-ea"/>
                          <a:cs typeface="Segoe UI"/>
                        </a:rPr>
                        <a:t>Next</a:t>
                      </a:r>
                      <a:r>
                        <a:rPr kumimoji="0" lang="en-US" sz="800" b="0" i="0" u="none" strike="noStrike" kern="1200" cap="none" spc="0" normalizeH="0" baseline="0" noProof="0">
                          <a:ln>
                            <a:noFill/>
                          </a:ln>
                          <a:solidFill>
                            <a:schemeClr val="tx1"/>
                          </a:solidFill>
                          <a:effectLst/>
                          <a:uLnTx/>
                          <a:uFillTx/>
                          <a:latin typeface="+mn-lt"/>
                          <a:ea typeface="+mn-ea"/>
                          <a:cs typeface="Segoe UI"/>
                        </a:rPr>
                        <a:t> Migrati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600"/>
                        </a:spcBef>
                        <a:spcAft>
                          <a:spcPts val="300"/>
                        </a:spcAft>
                        <a:buClrTx/>
                        <a:buSzTx/>
                        <a:buFont typeface="+mj-lt"/>
                        <a:buNone/>
                      </a:pPr>
                      <a:r>
                        <a:rPr lang="en-US" sz="800" b="1" kern="1200">
                          <a:solidFill>
                            <a:schemeClr val="tx1"/>
                          </a:solidFill>
                          <a:effectLst/>
                          <a:latin typeface="+mn-lt"/>
                          <a:ea typeface="Times New Roman" panose="02020603050405020304" pitchFamily="18" charset="0"/>
                          <a:cs typeface="Times New Roman"/>
                        </a:rPr>
                        <a:t>Identify Next Migration via Unified / Factory after completing current migration: </a:t>
                      </a:r>
                    </a:p>
                    <a:p>
                      <a:pPr marL="137160" marR="0" lvl="0" indent="-137160" algn="l" rtl="0" eaLnBrk="1" fontAlgn="auto" latinLnBrk="0" hangingPunct="1">
                        <a:lnSpc>
                          <a:spcPct val="100000"/>
                        </a:lnSpc>
                        <a:spcBef>
                          <a:spcPts val="0"/>
                        </a:spcBef>
                        <a:spcAft>
                          <a:spcPts val="0"/>
                        </a:spcAft>
                        <a:buClrTx/>
                        <a:buSzTx/>
                        <a:buFont typeface="Arial"/>
                        <a:buChar char="•"/>
                      </a:pPr>
                      <a:r>
                        <a:rPr lang="en-US" sz="800" b="1" kern="1200">
                          <a:solidFill>
                            <a:schemeClr val="tx1"/>
                          </a:solidFill>
                          <a:effectLst/>
                          <a:latin typeface="+mn-lt"/>
                          <a:ea typeface="Times New Roman" panose="02020603050405020304" pitchFamily="18" charset="0"/>
                          <a:cs typeface="Times New Roman"/>
                        </a:rPr>
                        <a:t>Migrate Infrastructure and Databases</a:t>
                      </a:r>
                    </a:p>
                    <a:p>
                      <a:pPr marL="137160" marR="0" lvl="0" indent="-137160" algn="l">
                        <a:lnSpc>
                          <a:spcPct val="100000"/>
                        </a:lnSpc>
                        <a:spcBef>
                          <a:spcPts val="0"/>
                        </a:spcBef>
                        <a:spcAft>
                          <a:spcPts val="0"/>
                        </a:spcAft>
                        <a:buClrTx/>
                        <a:buSzTx/>
                        <a:buFont typeface="Arial"/>
                        <a:buChar char="•"/>
                      </a:pPr>
                      <a:r>
                        <a:rPr lang="en-US" sz="800" b="1" i="0" u="none" strike="noStrike" kern="1200" cap="none" spc="0" normalizeH="0" baseline="0" noProof="0">
                          <a:ln>
                            <a:noFill/>
                          </a:ln>
                          <a:solidFill>
                            <a:schemeClr val="tx1"/>
                          </a:solidFill>
                          <a:effectLst/>
                          <a:uLnTx/>
                          <a:uFillTx/>
                          <a:latin typeface="Segoe UI"/>
                        </a:rPr>
                        <a:t>Targeted </a:t>
                      </a:r>
                      <a:r>
                        <a:rPr lang="en-US" sz="800" b="1" i="0" u="none" strike="noStrike" kern="1200" cap="none" spc="0" normalizeH="0" baseline="0" noProof="0" err="1">
                          <a:ln>
                            <a:noFill/>
                          </a:ln>
                          <a:solidFill>
                            <a:schemeClr val="tx1"/>
                          </a:solidFill>
                          <a:effectLst/>
                          <a:uLnTx/>
                          <a:uFillTx/>
                          <a:latin typeface="Segoe UI"/>
                        </a:rPr>
                        <a:t>EoL</a:t>
                      </a:r>
                      <a:r>
                        <a:rPr lang="en-US" sz="800" b="1" i="0" u="none" strike="noStrike" kern="1200" cap="none" spc="0" normalizeH="0" baseline="0" noProof="0">
                          <a:ln>
                            <a:noFill/>
                          </a:ln>
                          <a:solidFill>
                            <a:schemeClr val="tx1"/>
                          </a:solidFill>
                          <a:effectLst/>
                          <a:uLnTx/>
                          <a:uFillTx/>
                          <a:latin typeface="Segoe UI"/>
                        </a:rPr>
                        <a:t> Migrations </a:t>
                      </a:r>
                    </a:p>
                    <a:p>
                      <a:pPr marL="137160" marR="0" lvl="0" indent="-137160" algn="l">
                        <a:lnSpc>
                          <a:spcPct val="100000"/>
                        </a:lnSpc>
                        <a:spcBef>
                          <a:spcPts val="0"/>
                        </a:spcBef>
                        <a:spcAft>
                          <a:spcPts val="0"/>
                        </a:spcAft>
                        <a:buClrTx/>
                        <a:buSzTx/>
                        <a:buFont typeface="Arial"/>
                        <a:buChar char="•"/>
                      </a:pPr>
                      <a:r>
                        <a:rPr lang="en-US" sz="800" b="1" i="0" u="none" strike="noStrike" kern="1200" cap="none" spc="0" normalizeH="0" baseline="0" noProof="0">
                          <a:ln>
                            <a:noFill/>
                          </a:ln>
                          <a:solidFill>
                            <a:schemeClr val="tx1"/>
                          </a:solidFill>
                          <a:effectLst/>
                          <a:uLnTx/>
                          <a:uFillTx/>
                          <a:latin typeface="Segoe UI"/>
                        </a:rPr>
                        <a:t>Rehost/ replat application portfolio</a:t>
                      </a:r>
                      <a:endParaRPr lang="en-US" sz="800" b="0" i="0" u="none" strike="noStrike" kern="1200" cap="none" spc="0" normalizeH="0" baseline="0" noProof="0">
                        <a:ln>
                          <a:noFill/>
                        </a:ln>
                        <a:solidFill>
                          <a:schemeClr val="tx1"/>
                        </a:solidFill>
                        <a:effectLst/>
                        <a:uLnTx/>
                        <a:uFillTx/>
                        <a:latin typeface="Segoe UI"/>
                      </a:endParaRPr>
                    </a:p>
                    <a:p>
                      <a:pPr marL="0" marR="0" lvl="0" indent="0" algn="l">
                        <a:lnSpc>
                          <a:spcPct val="100000"/>
                        </a:lnSpc>
                        <a:spcBef>
                          <a:spcPts val="600"/>
                        </a:spcBef>
                        <a:spcAft>
                          <a:spcPts val="600"/>
                        </a:spcAft>
                        <a:buClrTx/>
                        <a:buSzTx/>
                        <a:buNone/>
                      </a:pPr>
                      <a:r>
                        <a:rPr lang="en-US" sz="800" b="0" i="0" u="none" strike="noStrike" kern="1200" cap="none" spc="0" normalizeH="0" baseline="0" noProof="0">
                          <a:ln>
                            <a:noFill/>
                          </a:ln>
                          <a:solidFill>
                            <a:schemeClr val="tx1"/>
                          </a:solidFill>
                          <a:effectLst/>
                          <a:uLnTx/>
                          <a:uFillTx/>
                          <a:latin typeface="Segoe UI"/>
                        </a:rPr>
                        <a:t>Across </a:t>
                      </a:r>
                      <a:r>
                        <a:rPr lang="en-US" sz="800" b="0" i="0" u="none" strike="noStrike" kern="1200" cap="none" spc="0" normalizeH="0" baseline="0" noProof="0">
                          <a:ln>
                            <a:noFill/>
                          </a:ln>
                          <a:solidFill>
                            <a:schemeClr val="bg2">
                              <a:lumMod val="10000"/>
                            </a:schemeClr>
                          </a:solidFill>
                          <a:effectLst/>
                          <a:uLnTx/>
                          <a:uFillTx/>
                          <a:latin typeface="Segoe UI"/>
                        </a:rPr>
                        <a:t>Windows, Linux, AVS, AVD, SAP RISE, </a:t>
                      </a:r>
                      <a:r>
                        <a:rPr lang="en-US" sz="800" b="0" i="0" u="none" strike="noStrike" kern="1200" cap="none" spc="0" normalizeH="0" baseline="0" noProof="0">
                          <a:ln>
                            <a:noFill/>
                          </a:ln>
                          <a:solidFill>
                            <a:schemeClr val="tx1"/>
                          </a:solidFill>
                          <a:effectLst/>
                          <a:uLnTx/>
                          <a:uFillTx/>
                          <a:latin typeface="Segoe UI"/>
                        </a:rPr>
                        <a:t>Azure SQL, Cosmos, OSS, Database for PostgreSQL, MySQL, ODAA, AKS, App Service</a:t>
                      </a:r>
                      <a:endParaRPr lang="en-US" sz="800" b="0" i="0" u="none" strike="noStrike" kern="1200" cap="none" spc="0" normalizeH="0" baseline="0" noProof="0">
                        <a:ln>
                          <a:noFill/>
                        </a:ln>
                        <a:solidFill>
                          <a:srgbClr val="1A1A1A"/>
                        </a:solidFill>
                        <a:effectLst/>
                        <a:uLnTx/>
                        <a:uFillTx/>
                        <a:latin typeface="Segoe UI"/>
                      </a:endParaRPr>
                    </a:p>
                    <a:p>
                      <a:pPr marL="171450" marR="0" lvl="0" indent="-171450" algn="l">
                        <a:lnSpc>
                          <a:spcPct val="100000"/>
                        </a:lnSpc>
                        <a:spcBef>
                          <a:spcPts val="0"/>
                        </a:spcBef>
                        <a:spcAft>
                          <a:spcPts val="0"/>
                        </a:spcAft>
                        <a:buClr>
                          <a:srgbClr val="1A1A1A"/>
                        </a:buClr>
                        <a:buSzTx/>
                        <a:buFont typeface="Arial"/>
                        <a:buChar char="•"/>
                      </a:pPr>
                      <a:r>
                        <a:rPr lang="en-US" sz="800" b="1" i="0" u="none" strike="noStrike" kern="1200" cap="none" spc="0" normalizeH="0" baseline="0" noProof="0">
                          <a:ln>
                            <a:noFill/>
                          </a:ln>
                          <a:solidFill>
                            <a:schemeClr val="tx1"/>
                          </a:solidFill>
                          <a:effectLst/>
                          <a:uLnTx/>
                          <a:uFillTx/>
                          <a:latin typeface="Segoe UI"/>
                        </a:rPr>
                        <a:t>Arc: </a:t>
                      </a:r>
                      <a:r>
                        <a:rPr lang="en-US" sz="800" b="0" i="0" u="none" strike="noStrike" kern="1200" cap="none" spc="0" normalizeH="0" baseline="0" noProof="0">
                          <a:ln>
                            <a:noFill/>
                          </a:ln>
                          <a:solidFill>
                            <a:schemeClr val="tx1"/>
                          </a:solidFill>
                          <a:effectLst/>
                          <a:uLnTx/>
                          <a:uFillTx/>
                          <a:latin typeface="Segoe UI"/>
                        </a:rPr>
                        <a:t>enable and leverage Arc insight for J2</a:t>
                      </a:r>
                      <a:endParaRPr lang="en-US" sz="800" b="0" i="0" u="none" strike="noStrike" kern="1200" cap="none" spc="0" normalizeH="0" baseline="0" noProof="0">
                        <a:ln>
                          <a:noFill/>
                        </a:ln>
                        <a:solidFill>
                          <a:srgbClr val="1A1A1A"/>
                        </a:solidFill>
                        <a:effectLst/>
                        <a:uLnTx/>
                        <a:uFillTx/>
                        <a:latin typeface="Segoe UI"/>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marR="0" lvl="0" indent="-137160" algn="l" defTabSz="772442" rtl="0" eaLnBrk="1" fontAlgn="auto" latinLnBrk="0" hangingPunct="1">
                        <a:lnSpc>
                          <a:spcPct val="100000"/>
                        </a:lnSpc>
                        <a:buClrTx/>
                        <a:buSzTx/>
                        <a:buFont typeface="Arial" panose="020B0604020202020204" pitchFamily="34" charset="0"/>
                        <a:buChar char="•"/>
                      </a:pPr>
                      <a:endParaRPr lang="en-US" sz="800" kern="1200">
                        <a:solidFill>
                          <a:schemeClr val="tx1"/>
                        </a:solidFill>
                        <a:latin typeface="+mn-lt"/>
                        <a:ea typeface="+mn-ea"/>
                        <a:cs typeface="+mn-cs"/>
                      </a:endParaRPr>
                    </a:p>
                    <a:p>
                      <a:pPr marL="137160" marR="0" lvl="0" indent="-137160" algn="l" defTabSz="772442" rtl="0" eaLnBrk="1" fontAlgn="auto" latinLnBrk="0" hangingPunct="1">
                        <a:lnSpc>
                          <a:spcPct val="100000"/>
                        </a:lnSpc>
                        <a:spcAft>
                          <a:spcPts val="300"/>
                        </a:spcAft>
                        <a:buClrTx/>
                        <a:buSzTx/>
                        <a:buFont typeface="Arial" panose="020B0604020202020204" pitchFamily="34" charset="0"/>
                        <a:buChar char="•"/>
                      </a:pPr>
                      <a:r>
                        <a:rPr lang="en-US" sz="800" kern="1200">
                          <a:solidFill>
                            <a:schemeClr val="tx1"/>
                          </a:solidFill>
                          <a:latin typeface="+mn-lt"/>
                          <a:ea typeface="+mn-ea"/>
                          <a:cs typeface="+mn-cs"/>
                        </a:rPr>
                        <a:t>Simplified modernization path from on-prem to Azure</a:t>
                      </a:r>
                      <a:endParaRPr lang="en-US" sz="800" kern="1200" noProof="0">
                        <a:solidFill>
                          <a:schemeClr val="tx1"/>
                        </a:solidFill>
                        <a:latin typeface="+mn-lt"/>
                        <a:ea typeface="+mn-ea"/>
                        <a:cs typeface="+mn-cs"/>
                      </a:endParaRPr>
                    </a:p>
                    <a:p>
                      <a:pPr marL="137160" marR="0" lvl="0" indent="-137160" algn="l" defTabSz="772442" rtl="0" eaLnBrk="1" latinLnBrk="0" hangingPunct="1">
                        <a:lnSpc>
                          <a:spcPct val="100000"/>
                        </a:lnSpc>
                        <a:spcBef>
                          <a:spcPts val="0"/>
                        </a:spcBef>
                        <a:spcAft>
                          <a:spcPts val="300"/>
                        </a:spcAft>
                        <a:buClrTx/>
                        <a:buSzTx/>
                        <a:buFont typeface="Arial" panose="020B0604020202020204" pitchFamily="34" charset="0"/>
                        <a:buChar char="•"/>
                      </a:pPr>
                      <a:r>
                        <a:rPr lang="en-US" sz="800" kern="1200">
                          <a:solidFill>
                            <a:schemeClr val="tx1"/>
                          </a:solidFill>
                          <a:latin typeface="+mn-lt"/>
                          <a:ea typeface="+mn-ea"/>
                          <a:cs typeface="+mn-cs"/>
                        </a:rPr>
                        <a:t>Leverage Azure for predictable performance and cost control</a:t>
                      </a:r>
                    </a:p>
                    <a:p>
                      <a:pPr marL="137160" marR="0" lvl="0" indent="-137160" algn="l" rtl="0" eaLnBrk="1" fontAlgn="auto" latinLnBrk="0" hangingPunct="1">
                        <a:lnSpc>
                          <a:spcPct val="100000"/>
                        </a:lnSpc>
                        <a:spcBef>
                          <a:spcPts val="0"/>
                        </a:spcBef>
                        <a:spcAft>
                          <a:spcPts val="300"/>
                        </a:spcAft>
                        <a:buClrTx/>
                        <a:buSzTx/>
                        <a:buFont typeface="Arial" panose="020B0604020202020204" pitchFamily="34" charset="0"/>
                        <a:buChar char="•"/>
                      </a:pPr>
                      <a:r>
                        <a:rPr lang="en-US" sz="800" kern="1200">
                          <a:solidFill>
                            <a:schemeClr val="tx1"/>
                          </a:solidFill>
                          <a:latin typeface="+mn-lt"/>
                          <a:ea typeface="+mn-ea"/>
                          <a:cs typeface="+mn-cs"/>
                        </a:rPr>
                        <a:t>Lower maintenance overhead with Azure AKS, Azure Apps and Azure SQL and Postgres Database services</a:t>
                      </a:r>
                    </a:p>
                    <a:p>
                      <a:pPr marL="137160" marR="0" lvl="0" indent="-137160" algn="l" defTabSz="772442" rtl="0" eaLnBrk="1" fontAlgn="auto" latinLnBrk="0" hangingPunct="1">
                        <a:lnSpc>
                          <a:spcPct val="100000"/>
                        </a:lnSpc>
                        <a:spcBef>
                          <a:spcPts val="0"/>
                        </a:spcBef>
                        <a:spcAft>
                          <a:spcPts val="300"/>
                        </a:spcAft>
                        <a:buClrTx/>
                        <a:buSzTx/>
                        <a:buFont typeface="Arial" panose="020B0604020202020204" pitchFamily="34" charset="0"/>
                        <a:buChar char="•"/>
                      </a:pPr>
                      <a:r>
                        <a:rPr lang="en-US" sz="800" kern="1200">
                          <a:solidFill>
                            <a:schemeClr val="tx1"/>
                          </a:solidFill>
                          <a:latin typeface="+mn-lt"/>
                          <a:ea typeface="+mn-ea"/>
                          <a:cs typeface="+mn-cs"/>
                        </a:rPr>
                        <a:t>Re-platform .NET/Java apps on Azure PaaS &amp; Containers with minimal code change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lvl="0" indent="-91440" algn="l">
                        <a:lnSpc>
                          <a:spcPct val="100000"/>
                        </a:lnSpc>
                        <a:spcBef>
                          <a:spcPts val="0"/>
                        </a:spcBef>
                        <a:spcAft>
                          <a:spcPts val="0"/>
                        </a:spcAft>
                        <a:buFont typeface="Arial" panose="020B0604020202020204" pitchFamily="34" charset="0"/>
                        <a:buChar char="•"/>
                      </a:pPr>
                      <a:r>
                        <a:rPr lang="en-US" sz="800" b="0" i="0" u="none" strike="noStrike" kern="1200" noProof="0">
                          <a:solidFill>
                            <a:srgbClr val="000000"/>
                          </a:solidFill>
                          <a:effectLst/>
                        </a:rPr>
                        <a:t>Drive </a:t>
                      </a:r>
                      <a:r>
                        <a:rPr lang="en-US" sz="800" b="0" i="0" u="none" strike="noStrike" kern="1200" noProof="0">
                          <a:solidFill>
                            <a:srgbClr val="000000"/>
                          </a:solidFill>
                          <a:effectLst/>
                          <a:hlinkClick r:id="rId2"/>
                        </a:rPr>
                        <a:t>Factory</a:t>
                      </a:r>
                      <a:r>
                        <a:rPr lang="en-US" sz="800" b="0" i="0" u="none" strike="noStrike" kern="1200" noProof="0">
                          <a:solidFill>
                            <a:srgbClr val="000000"/>
                          </a:solidFill>
                          <a:effectLst/>
                        </a:rPr>
                        <a:t> proactively </a:t>
                      </a:r>
                    </a:p>
                    <a:p>
                      <a:pPr marL="91440" lvl="0" indent="-91440" algn="l">
                        <a:lnSpc>
                          <a:spcPct val="100000"/>
                        </a:lnSpc>
                        <a:spcBef>
                          <a:spcPts val="0"/>
                        </a:spcBef>
                        <a:spcAft>
                          <a:spcPts val="0"/>
                        </a:spcAft>
                        <a:buFont typeface="Arial" panose="020B0604020202020204" pitchFamily="34" charset="0"/>
                        <a:buChar char="•"/>
                      </a:pPr>
                      <a:r>
                        <a:rPr lang="en-US" sz="800" b="0" i="0" u="none" strike="noStrike" kern="1200" noProof="0">
                          <a:solidFill>
                            <a:srgbClr val="000000"/>
                          </a:solidFill>
                          <a:effectLst/>
                        </a:rPr>
                        <a:t>Submit nomination at </a:t>
                      </a:r>
                      <a:r>
                        <a:rPr lang="en-US" sz="800" b="0" i="0" u="sng" strike="noStrike" kern="1200" noProof="0">
                          <a:solidFill>
                            <a:srgbClr val="000000"/>
                          </a:solidFill>
                          <a:effectLst/>
                        </a:rPr>
                        <a:t>aka.ms/</a:t>
                      </a:r>
                      <a:r>
                        <a:rPr lang="en-US" sz="800" b="0" i="0" u="sng" strike="noStrike" kern="1200" noProof="0" err="1">
                          <a:solidFill>
                            <a:srgbClr val="000000"/>
                          </a:solidFill>
                          <a:effectLst/>
                        </a:rPr>
                        <a:t>FactoryNom</a:t>
                      </a:r>
                      <a:endParaRPr lang="en-US" sz="800" b="0" i="0" u="sng" strike="noStrike" kern="1200" noProof="0">
                        <a:solidFill>
                          <a:srgbClr val="000000"/>
                        </a:solidFill>
                        <a:effectLst/>
                      </a:endParaRPr>
                    </a:p>
                    <a:p>
                      <a:pPr marL="91440" marR="0" lvl="0" indent="-9144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noProof="0">
                          <a:solidFill>
                            <a:schemeClr val="tx1"/>
                          </a:solidFill>
                          <a:latin typeface="+mn-lt"/>
                          <a:ea typeface="+mn-ea"/>
                          <a:cs typeface="+mn-cs"/>
                        </a:rPr>
                        <a:t>Compelling </a:t>
                      </a:r>
                      <a:r>
                        <a:rPr lang="en-US" sz="800" kern="1200" noProof="0" err="1">
                          <a:solidFill>
                            <a:schemeClr val="tx1"/>
                          </a:solidFill>
                          <a:latin typeface="+mn-lt"/>
                          <a:ea typeface="+mn-ea"/>
                          <a:cs typeface="+mn-cs"/>
                        </a:rPr>
                        <a:t>EoL</a:t>
                      </a:r>
                      <a:r>
                        <a:rPr lang="en-US" sz="800" kern="1200" noProof="0">
                          <a:solidFill>
                            <a:schemeClr val="tx1"/>
                          </a:solidFill>
                          <a:latin typeface="+mn-lt"/>
                          <a:ea typeface="+mn-ea"/>
                          <a:cs typeface="+mn-cs"/>
                        </a:rPr>
                        <a:t> E.g. FY26 Q1 SQL2012, SQL2014</a:t>
                      </a:r>
                    </a:p>
                    <a:p>
                      <a:pPr marL="91440" marR="0" lvl="0" indent="-9144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noProof="0">
                          <a:solidFill>
                            <a:schemeClr val="tx1"/>
                          </a:solidFill>
                          <a:latin typeface="+mn-lt"/>
                          <a:ea typeface="+mn-ea"/>
                          <a:cs typeface="+mn-cs"/>
                        </a:rPr>
                        <a:t>SAP – Rise (FY26-Q2 Factory)</a:t>
                      </a:r>
                    </a:p>
                    <a:p>
                      <a:pPr marL="91440" marR="0" lvl="0" indent="-9144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noProof="0">
                          <a:solidFill>
                            <a:schemeClr val="tx1"/>
                          </a:solidFill>
                          <a:latin typeface="+mn-lt"/>
                          <a:ea typeface="+mn-ea"/>
                          <a:cs typeface="+mn-cs"/>
                        </a:rPr>
                        <a:t>Migrate &amp; Modernize DE</a:t>
                      </a:r>
                    </a:p>
                    <a:p>
                      <a:pPr marL="91440" marR="0" lvl="0" indent="-9144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noProof="0">
                          <a:solidFill>
                            <a:schemeClr val="tx1"/>
                          </a:solidFill>
                          <a:latin typeface="+mn-lt"/>
                          <a:ea typeface="+mn-ea"/>
                          <a:cs typeface="+mn-cs"/>
                        </a:rPr>
                        <a:t>Migrate &amp; Modernize VBD</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7">
                  <a:txBody>
                    <a:bodyPr/>
                    <a:lstStyle/>
                    <a:p>
                      <a:pPr marL="0" lvl="0" indent="0" algn="l" defTabSz="772442" rtl="0" eaLnBrk="1" latinLnBrk="0" hangingPunct="1">
                        <a:lnSpc>
                          <a:spcPct val="100000"/>
                        </a:lnSpc>
                        <a:spcBef>
                          <a:spcPts val="0"/>
                        </a:spcBef>
                        <a:spcAft>
                          <a:spcPts val="0"/>
                        </a:spcAft>
                        <a:buFont typeface="Arial" panose="020B0604020202020204" pitchFamily="34" charset="0"/>
                        <a:buNone/>
                      </a:pPr>
                      <a:r>
                        <a:rPr lang="en-SG" sz="800">
                          <a:solidFill>
                            <a:schemeClr val="bg1"/>
                          </a:solidFill>
                          <a:hlinkClick r:id="rId3">
                            <a:extLst>
                              <a:ext uri="{A12FA001-AC4F-418D-AE19-62706E023703}">
                                <ahyp:hlinkClr xmlns:ahyp="http://schemas.microsoft.com/office/drawing/2018/hyperlinkcolor" val="tx"/>
                              </a:ext>
                            </a:extLst>
                          </a:hlinkClick>
                        </a:rPr>
                        <a:t>FY26_AzureJob2.pptx</a:t>
                      </a:r>
                      <a:endParaRPr lang="en-US" sz="800" kern="1200">
                        <a:solidFill>
                          <a:schemeClr val="bg1"/>
                        </a:solidFill>
                        <a:latin typeface="+mn-lt"/>
                        <a:ea typeface="+mn-ea"/>
                        <a:cs typeface="+mn-cs"/>
                        <a:hlinkClick r:id="rId3">
                          <a:extLst>
                            <a:ext uri="{A12FA001-AC4F-418D-AE19-62706E023703}">
                              <ahyp:hlinkClr xmlns:ahyp="http://schemas.microsoft.com/office/drawing/2018/hyperlinkcolor" val="tx"/>
                            </a:ext>
                          </a:extLst>
                        </a:hlinkClick>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9277436"/>
                  </a:ext>
                </a:extLst>
              </a:tr>
              <a:tr h="963764">
                <a:tc vMerge="1">
                  <a:txBody>
                    <a:bodyPr/>
                    <a:lstStyle/>
                    <a:p>
                      <a:endParaRPr lang="en-US"/>
                    </a:p>
                  </a:txBody>
                  <a:tcPr>
                    <a:lnT w="12700" cap="flat" cmpd="sng" algn="ctr">
                      <a:solidFill>
                        <a:schemeClr val="bg2"/>
                      </a:solidFill>
                      <a:prstDash val="solid"/>
                      <a:round/>
                      <a:headEnd type="none" w="med" len="med"/>
                      <a:tailEnd type="none" w="med" len="med"/>
                    </a:lnT>
                  </a:tcPr>
                </a:tc>
                <a:tc vMerge="1">
                  <a:txBody>
                    <a:bodyPr/>
                    <a:lstStyle/>
                    <a:p>
                      <a:endParaRPr lang="en-US"/>
                    </a:p>
                  </a:txBody>
                  <a:tcPr>
                    <a:lnT w="12700" cap="flat" cmpd="sng" algn="ctr">
                      <a:solidFill>
                        <a:schemeClr val="bg2"/>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Apps Mod</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spcBef>
                          <a:spcPts val="0"/>
                        </a:spcBef>
                        <a:spcAft>
                          <a:spcPts val="0"/>
                        </a:spcAft>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Proactive App Modernization (refactor/rearchitect) </a:t>
                      </a:r>
                    </a:p>
                    <a:p>
                      <a:pPr marL="171450" marR="0" lvl="0" indent="-171450">
                        <a:spcBef>
                          <a:spcPts val="0"/>
                        </a:spcBef>
                        <a:spcAft>
                          <a:spcPts val="0"/>
                        </a:spcAft>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App Service + Azure Managed Redis Expansion</a:t>
                      </a:r>
                    </a:p>
                    <a:p>
                      <a:pPr marL="171450" marR="0" lvl="0" indent="-171450">
                        <a:spcBef>
                          <a:spcPts val="0"/>
                        </a:spcBef>
                        <a:spcAft>
                          <a:spcPts val="0"/>
                        </a:spcAft>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Self hosted Redis on AKS to AMR Customers</a:t>
                      </a:r>
                    </a:p>
                    <a:p>
                      <a:pPr marL="171450" marR="0" lvl="0" indent="-171450">
                        <a:spcBef>
                          <a:spcPts val="0"/>
                        </a:spcBef>
                        <a:spcAft>
                          <a:spcPts val="0"/>
                        </a:spcAft>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Observability for App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indent="-137160">
                        <a:buFont typeface="Arial" panose="020B0604020202020204" pitchFamily="34" charset="0"/>
                        <a:buChar char="•"/>
                      </a:pPr>
                      <a:r>
                        <a:rPr lang="en-US" sz="800"/>
                        <a:t>Modernize apps with AI-assisted tools to increase speed.</a:t>
                      </a:r>
                    </a:p>
                    <a:p>
                      <a:pPr marL="137160" indent="-137160">
                        <a:buFont typeface="Arial" panose="020B0604020202020204" pitchFamily="34" charset="0"/>
                        <a:buChar char="•"/>
                      </a:pPr>
                      <a:r>
                        <a:rPr lang="en-US" sz="800"/>
                        <a:t>Web apps w/o Redis, especially on ASE V3, can boost performance and scalability</a:t>
                      </a:r>
                    </a:p>
                    <a:p>
                      <a:pPr marL="137160" indent="-137160">
                        <a:buFont typeface="Arial" panose="020B0604020202020204" pitchFamily="34" charset="0"/>
                        <a:buChar char="•"/>
                      </a:pPr>
                      <a:r>
                        <a:rPr lang="en-US" sz="800"/>
                        <a:t>Self-hosted Redis users gain efficiency and cost savings with a fully managed, AMR-backed service.</a:t>
                      </a:r>
                    </a:p>
                    <a:p>
                      <a:pPr marL="137160" indent="-137160">
                        <a:buFont typeface="Arial" panose="020B0604020202020204" pitchFamily="34" charset="0"/>
                        <a:buChar char="•"/>
                      </a:pPr>
                      <a:r>
                        <a:rPr lang="en-US" sz="800"/>
                        <a:t>Use App Insights, Container Insights, and Prometheus for end-to-end app observability.</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Modernize with Containers PoC VBD (Jul)</a:t>
                      </a:r>
                    </a:p>
                    <a:p>
                      <a:r>
                        <a:rPr lang="en-US" sz="800"/>
                        <a:t>Modernize with App Plat PoC VBD (Jul)</a:t>
                      </a:r>
                    </a:p>
                    <a:p>
                      <a:r>
                        <a:rPr lang="en-US" sz="800"/>
                        <a:t>Azure Managed Redis VBD (FY26Q1)</a:t>
                      </a:r>
                    </a:p>
                    <a:p>
                      <a:r>
                        <a:rPr lang="en-US" sz="800"/>
                        <a:t>Optimization with App Health VBD (FY26Q2)</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91440" lvl="0" indent="-91440" algn="l" defTabSz="772442" rtl="0" eaLnBrk="1" latinLnBrk="0" hangingPunct="1">
                        <a:lnSpc>
                          <a:spcPct val="100000"/>
                        </a:lnSpc>
                        <a:spcBef>
                          <a:spcPts val="0"/>
                        </a:spcBef>
                        <a:spcAft>
                          <a:spcPts val="0"/>
                        </a:spcAft>
                        <a:buFont typeface="Arial" panose="020B0604020202020204" pitchFamily="34" charset="0"/>
                        <a:buChar char="•"/>
                      </a:pPr>
                      <a:endParaRPr lang="en-US" sz="8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1594544"/>
                  </a:ext>
                </a:extLst>
              </a:tr>
              <a:tr h="344532">
                <a:tc vMerge="1">
                  <a:txBody>
                    <a:bodyPr/>
                    <a:lstStyle/>
                    <a:p>
                      <a:endParaRPr lang="en-US"/>
                    </a:p>
                  </a:txBody>
                  <a:tcPr/>
                </a:tc>
                <a:tc vMerge="1">
                  <a:txBody>
                    <a:bodyPr/>
                    <a:lstStyle/>
                    <a:p>
                      <a:endParaRPr lang="en-US"/>
                    </a:p>
                  </a:txBody>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800" b="1" i="0" u="none" strike="noStrike" kern="1200" cap="none" spc="0" normalizeH="0" baseline="0" noProof="0">
                          <a:ln>
                            <a:noFill/>
                          </a:ln>
                          <a:solidFill>
                            <a:schemeClr val="tx1"/>
                          </a:solidFill>
                          <a:effectLst/>
                          <a:uLnTx/>
                          <a:uFillTx/>
                          <a:latin typeface="+mn-lt"/>
                          <a:ea typeface="+mn-ea"/>
                          <a:cs typeface="Segoe UI"/>
                        </a:rPr>
                        <a:t>Priority: </a:t>
                      </a:r>
                      <a:r>
                        <a:rPr lang="en-US" sz="800" b="0" i="0" u="none" strike="noStrike" kern="1200" cap="none" spc="0" normalizeH="0" baseline="0" noProof="0">
                          <a:ln>
                            <a:noFill/>
                          </a:ln>
                          <a:solidFill>
                            <a:schemeClr val="tx1"/>
                          </a:solidFill>
                          <a:effectLst/>
                          <a:uLnTx/>
                          <a:uFillTx/>
                          <a:latin typeface="+mn-lt"/>
                          <a:ea typeface="+mn-ea"/>
                          <a:cs typeface="Segoe UI"/>
                        </a:rPr>
                        <a:t>Resiliency</a:t>
                      </a:r>
                      <a:r>
                        <a:rPr kumimoji="0" lang="en-US" sz="800" b="0" i="0" u="none" strike="noStrike" kern="1200" cap="none" spc="0" normalizeH="0" baseline="0" noProof="0">
                          <a:ln>
                            <a:noFill/>
                          </a:ln>
                          <a:solidFill>
                            <a:schemeClr val="tx1"/>
                          </a:solidFill>
                          <a:effectLst/>
                          <a:uLnTx/>
                          <a:uFillTx/>
                          <a:latin typeface="+mn-lt"/>
                          <a:ea typeface="+mn-ea"/>
                          <a:cs typeface="Segoe UI"/>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800" b="1" kern="1200">
                          <a:solidFill>
                            <a:schemeClr val="bg1"/>
                          </a:solidFill>
                          <a:effectLst/>
                          <a:latin typeface="+mn-lt"/>
                          <a:ea typeface="Times New Roman" panose="02020603050405020304" pitchFamily="18" charset="0"/>
                          <a:cs typeface="Times New Roman"/>
                        </a:rPr>
                        <a:t>See </a:t>
                      </a:r>
                      <a:r>
                        <a:rPr lang="en-US" sz="800" b="1" kern="1200">
                          <a:solidFill>
                            <a:schemeClr val="bg1"/>
                          </a:solidFill>
                          <a:effectLst/>
                          <a:latin typeface="+mn-lt"/>
                          <a:ea typeface="Times New Roman" panose="02020603050405020304" pitchFamily="18" charset="0"/>
                          <a:cs typeface="Times New Roman"/>
                          <a:hlinkClick r:id="rId4" action="ppaction://hlinksldjump">
                            <a:extLst>
                              <a:ext uri="{A12FA001-AC4F-418D-AE19-62706E023703}">
                                <ahyp:hlinkClr xmlns:ahyp="http://schemas.microsoft.com/office/drawing/2018/hyperlinkcolor" val="tx"/>
                              </a:ext>
                            </a:extLst>
                          </a:hlinkClick>
                        </a:rPr>
                        <a:t>Resiliency (Cross-CAIP Motion)</a:t>
                      </a:r>
                      <a:endParaRPr lang="en-US" sz="800" b="0" kern="1200">
                        <a:solidFill>
                          <a:schemeClr val="bg1"/>
                        </a:solidFill>
                        <a:effectLst/>
                        <a:latin typeface="+mn-lt"/>
                        <a:ea typeface="Times New Roman" panose="02020603050405020304" pitchFamily="18" charset="0"/>
                        <a:cs typeface="Times New Roman"/>
                        <a:hlinkClick r:id="rId4" action="ppaction://hlinksldjump">
                          <a:extLst>
                            <a:ext uri="{A12FA001-AC4F-418D-AE19-62706E023703}">
                              <ahyp:hlinkClr xmlns:ahyp="http://schemas.microsoft.com/office/drawing/2018/hyperlinkcolor" val="tx"/>
                            </a:ext>
                          </a:extLst>
                        </a:hlinkClick>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endParaRPr lang="en-US" sz="800" b="1" i="0" u="none" strike="noStrike" kern="1200" noProof="0">
                        <a:solidFill>
                          <a:schemeClr val="bg1"/>
                        </a:solidFill>
                        <a:effectLst/>
                        <a:latin typeface="Segoe Sans Text"/>
                        <a:hlinkClick r:id="" action="ppaction://noaction">
                          <a:extLst>
                            <a:ext uri="{A12FA001-AC4F-418D-AE19-62706E023703}">
                              <ahyp:hlinkClr xmlns:ahyp="http://schemas.microsoft.com/office/drawing/2018/hyperlinkcolor" val="tx"/>
                            </a:ext>
                          </a:extLst>
                        </a:hlinkClick>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a:solidFill>
                            <a:schemeClr val="tx1"/>
                          </a:solidFill>
                          <a:effectLst/>
                          <a:latin typeface="+mn-lt"/>
                          <a:ea typeface="Times New Roman" panose="02020603050405020304" pitchFamily="18" charset="0"/>
                          <a:cs typeface="Times New Roman"/>
                        </a:rPr>
                        <a:t>See </a:t>
                      </a:r>
                      <a:r>
                        <a:rPr lang="en-US" sz="800" b="1" kern="1200">
                          <a:solidFill>
                            <a:srgbClr val="0070C0"/>
                          </a:solidFill>
                          <a:effectLst/>
                          <a:latin typeface="+mn-lt"/>
                          <a:ea typeface="Times New Roman" panose="02020603050405020304" pitchFamily="18" charset="0"/>
                          <a:cs typeface="Times New Roman"/>
                          <a:hlinkClick r:id="" action="ppaction://noaction">
                            <a:extLst>
                              <a:ext uri="{A12FA001-AC4F-418D-AE19-62706E023703}">
                                <ahyp:hlinkClr xmlns:ahyp="http://schemas.microsoft.com/office/drawing/2018/hyperlinkcolor" val="tx"/>
                              </a:ext>
                            </a:extLst>
                          </a:hlinkClick>
                        </a:rPr>
                        <a:t>Resiliency</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7724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1" kern="1200">
                        <a:solidFill>
                          <a:srgbClr val="0070C0"/>
                        </a:solidFill>
                        <a:effectLst/>
                        <a:latin typeface="+mn-lt"/>
                        <a:ea typeface="Times New Roman" panose="02020603050405020304" pitchFamily="18" charset="0"/>
                        <a:cs typeface="Times New Roman"/>
                        <a:hlinkClick r:id="" action="ppaction://noaction">
                          <a:extLst>
                            <a:ext uri="{A12FA001-AC4F-418D-AE19-62706E023703}">
                              <ahyp:hlinkClr xmlns:ahyp="http://schemas.microsoft.com/office/drawing/2018/hyperlinkcolor" val="tx"/>
                            </a:ext>
                          </a:extLst>
                        </a:hlinkClick>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2057511"/>
                  </a:ext>
                </a:extLst>
              </a:tr>
              <a:tr h="606919">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spcBef>
                          <a:spcPts val="0"/>
                        </a:spcBef>
                        <a:spcAft>
                          <a:spcPts val="0"/>
                        </a:spcAft>
                        <a:buFont typeface="+mj-lt"/>
                        <a:buNone/>
                      </a:pPr>
                      <a:r>
                        <a:rPr lang="en-US" sz="800" b="0" kern="1200">
                          <a:solidFill>
                            <a:schemeClr val="tx1"/>
                          </a:solidFill>
                          <a:effectLst/>
                          <a:latin typeface="+mn-lt"/>
                          <a:ea typeface="Times New Roman" panose="02020603050405020304" pitchFamily="18" charset="0"/>
                          <a:cs typeface="Times New Roman"/>
                        </a:rPr>
                        <a:t>Monitor</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spcBef>
                          <a:spcPts val="0"/>
                        </a:spcBef>
                        <a:spcAft>
                          <a:spcPts val="0"/>
                        </a:spcAft>
                        <a:buFont typeface="Arial" panose="020B0604020202020204" pitchFamily="34" charset="0"/>
                        <a:buChar char="•"/>
                      </a:pPr>
                      <a:r>
                        <a:rPr lang="en-US" sz="800" b="1" kern="1200">
                          <a:solidFill>
                            <a:schemeClr val="tx1"/>
                          </a:solidFill>
                          <a:effectLst/>
                          <a:latin typeface="+mn-lt"/>
                          <a:ea typeface="Times New Roman" panose="02020603050405020304" pitchFamily="18" charset="0"/>
                          <a:cs typeface="Times New Roman"/>
                        </a:rPr>
                        <a:t>Monitoring</a:t>
                      </a:r>
                      <a:r>
                        <a:rPr lang="en-US" sz="800" b="0" kern="1200">
                          <a:solidFill>
                            <a:schemeClr val="tx1"/>
                          </a:solidFill>
                          <a:effectLst/>
                          <a:latin typeface="+mn-lt"/>
                          <a:ea typeface="Times New Roman" panose="02020603050405020304" pitchFamily="18" charset="0"/>
                          <a:cs typeface="Times New Roman"/>
                        </a:rPr>
                        <a:t>: Azure Monitor, Log Analytics, Azure Monitor Health Model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indent="-137160" algn="l" defTabSz="772442" rtl="0" eaLnBrk="1" latinLnBrk="0" hangingPunct="1">
                        <a:buFont typeface="Arial" panose="020B0604020202020204" pitchFamily="34" charset="0"/>
                        <a:buChar char="•"/>
                      </a:pPr>
                      <a:r>
                        <a:rPr lang="en-US" sz="800" kern="1200">
                          <a:solidFill>
                            <a:schemeClr val="tx1"/>
                          </a:solidFill>
                          <a:latin typeface="+mn-lt"/>
                          <a:ea typeface="+mn-ea"/>
                          <a:cs typeface="+mn-cs"/>
                        </a:rPr>
                        <a:t>Real-time operational visibility and proactive issue detection to optimize performance and reliability</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772442" rtl="0" eaLnBrk="1" latinLnBrk="0" hangingPunct="1">
                        <a:buFont typeface="Arial" panose="020B0604020202020204" pitchFamily="34" charset="0"/>
                        <a:buNone/>
                      </a:pPr>
                      <a:r>
                        <a:rPr lang="en-US" sz="800" kern="1200">
                          <a:solidFill>
                            <a:schemeClr val="tx1"/>
                          </a:solidFill>
                          <a:latin typeface="+mn-lt"/>
                          <a:ea typeface="+mn-ea"/>
                          <a:cs typeface="+mn-cs"/>
                          <a:hlinkClick r:id="rId5"/>
                        </a:rPr>
                        <a:t>Monitoring Workloads VBD</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8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0756362"/>
                  </a:ext>
                </a:extLst>
              </a:tr>
              <a:tr h="863199">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b="1">
                          <a:latin typeface="+mn-lt"/>
                        </a:rPr>
                        <a:t>Secure all workloads with Microsoft Defender for Cloud</a:t>
                      </a:r>
                      <a:endParaRPr lang="en-US" sz="800" b="1" i="0" kern="1200">
                        <a:solidFill>
                          <a:schemeClr val="bg2">
                            <a:lumMod val="10000"/>
                          </a:schemeClr>
                        </a:solidFill>
                        <a:latin typeface="+mn-lt"/>
                        <a:ea typeface="+mn-ea"/>
                        <a:cs typeface="Segoe UI"/>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800" b="1" i="0" u="none" strike="noStrike" kern="1200" cap="none" spc="0" normalizeH="0" baseline="0">
                          <a:ln>
                            <a:noFill/>
                          </a:ln>
                          <a:solidFill>
                            <a:schemeClr val="tx1"/>
                          </a:solidFill>
                          <a:effectLst/>
                          <a:uLnTx/>
                          <a:uFillTx/>
                          <a:latin typeface="+mn-lt"/>
                          <a:ea typeface="+mn-ea"/>
                          <a:cs typeface="Segoe UI"/>
                        </a:rPr>
                        <a:t>Priority: </a:t>
                      </a:r>
                      <a:r>
                        <a:rPr lang="en-US" sz="800" b="0" i="0" u="none" strike="noStrike" kern="1200" cap="none" spc="0" normalizeH="0" baseline="0">
                          <a:ln>
                            <a:noFill/>
                          </a:ln>
                          <a:solidFill>
                            <a:schemeClr val="tx1"/>
                          </a:solidFill>
                          <a:effectLst/>
                          <a:uLnTx/>
                          <a:uFillTx/>
                          <a:latin typeface="+mn-lt"/>
                          <a:ea typeface="+mn-ea"/>
                          <a:cs typeface="Segoe UI"/>
                        </a:rPr>
                        <a:t>Security</a:t>
                      </a:r>
                      <a:r>
                        <a:rPr kumimoji="0" lang="en-US" sz="800" b="0" i="0" u="none" strike="noStrike" kern="1200" cap="none" spc="0" normalizeH="0" baseline="0">
                          <a:ln>
                            <a:noFill/>
                          </a:ln>
                          <a:solidFill>
                            <a:schemeClr val="tx1"/>
                          </a:solidFill>
                          <a:effectLst/>
                          <a:uLnTx/>
                          <a:uFillTx/>
                          <a:latin typeface="+mn-lt"/>
                          <a:ea typeface="+mn-ea"/>
                          <a:cs typeface="Segoe UI"/>
                        </a:rPr>
                        <a:t> for Cloud</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a:solidFill>
                            <a:schemeClr val="tx1"/>
                          </a:solidFill>
                          <a:effectLst/>
                          <a:latin typeface="+mn-lt"/>
                          <a:ea typeface="Times New Roman" panose="02020603050405020304" pitchFamily="18" charset="0"/>
                          <a:cs typeface="Times New Roman"/>
                        </a:rPr>
                        <a:t>Attach Defender to every Migration (Arc, Database, VM, Apps, Storag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800" b="0" kern="1200">
                          <a:solidFill>
                            <a:schemeClr val="tx1"/>
                          </a:solidFill>
                          <a:effectLst/>
                          <a:latin typeface="+mn-lt"/>
                          <a:ea typeface="Times New Roman" panose="02020603050405020304" pitchFamily="18" charset="0"/>
                          <a:cs typeface="Times New Roman"/>
                        </a:rPr>
                        <a:t>Attach Sentinel, Purview where applicable</a:t>
                      </a:r>
                      <a:endParaRPr lang="en-US" sz="800" b="1" kern="1200">
                        <a:solidFill>
                          <a:schemeClr val="tx1"/>
                        </a:solidFill>
                        <a:effectLst/>
                        <a:latin typeface="+mn-lt"/>
                        <a:ea typeface="Times New Roman" panose="02020603050405020304" pitchFamily="18" charset="0"/>
                        <a:cs typeface="Times New Roman"/>
                      </a:endParaRP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800" b="0" kern="1200">
                          <a:solidFill>
                            <a:schemeClr val="tx1"/>
                          </a:solidFill>
                          <a:effectLst/>
                          <a:latin typeface="+mn-lt"/>
                          <a:ea typeface="Times New Roman" panose="02020603050405020304" pitchFamily="18" charset="0"/>
                          <a:cs typeface="Times New Roman"/>
                        </a:rPr>
                        <a:t>Attach DDoS to every Public IP</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800" b="0" kern="1200">
                          <a:solidFill>
                            <a:schemeClr val="tx1"/>
                          </a:solidFill>
                          <a:effectLst/>
                          <a:latin typeface="+mn-lt"/>
                          <a:ea typeface="Times New Roman" panose="02020603050405020304" pitchFamily="18" charset="0"/>
                          <a:cs typeface="Times New Roman"/>
                        </a:rPr>
                        <a:t>Network Security: Key vault, Private endpoints, Front Door, Azure Firewall</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indent="-137160" algn="l" defTabSz="772442" rtl="0" eaLnBrk="1" latinLnBrk="0" hangingPunct="1">
                        <a:buFont typeface="Arial" panose="020B0604020202020204" pitchFamily="34" charset="0"/>
                        <a:buChar char="•"/>
                      </a:pPr>
                      <a:r>
                        <a:rPr lang="en-US" sz="800" kern="1200">
                          <a:solidFill>
                            <a:schemeClr val="tx1"/>
                          </a:solidFill>
                          <a:latin typeface="+mn-lt"/>
                          <a:ea typeface="+mn-ea"/>
                          <a:cs typeface="+mn-cs"/>
                        </a:rPr>
                        <a:t>Protect migrations with built-in, multi-layer security using Defender, Sentinel, Purview, DDoS, and Network controls</a:t>
                      </a:r>
                    </a:p>
                    <a:p>
                      <a:pPr marL="137160" indent="-137160" algn="l" defTabSz="772442" rtl="0" eaLnBrk="1" latinLnBrk="0" hangingPunct="1">
                        <a:buFont typeface="Arial" panose="020B0604020202020204" pitchFamily="34" charset="0"/>
                        <a:buChar char="•"/>
                      </a:pPr>
                      <a:r>
                        <a:rPr lang="en-US" sz="800" kern="1200">
                          <a:solidFill>
                            <a:schemeClr val="tx1"/>
                          </a:solidFill>
                          <a:latin typeface="+mn-lt"/>
                          <a:ea typeface="+mn-ea"/>
                          <a:cs typeface="+mn-cs"/>
                        </a:rPr>
                        <a:t>Ensure data privacy, threat detection, and compliance from day one with end-to-end security integrati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800" b="0" i="0" u="none" strike="noStrike" noProof="0">
                          <a:solidFill>
                            <a:srgbClr val="1A1A1A"/>
                          </a:solidFill>
                          <a:latin typeface="Segoe UI"/>
                          <a:hlinkClick r:id="rId6"/>
                        </a:rPr>
                        <a:t>Microsoft Defender for Endpoint</a:t>
                      </a:r>
                      <a:r>
                        <a:rPr lang="en-US" sz="800" b="0" i="0" u="none" strike="noStrike" noProof="0">
                          <a:solidFill>
                            <a:srgbClr val="1A1A1A"/>
                          </a:solidFill>
                          <a:latin typeface="Segoe UI"/>
                        </a:rPr>
                        <a:t>; </a:t>
                      </a:r>
                      <a:r>
                        <a:rPr lang="en-US" sz="800" b="0" i="0" u="none" strike="noStrike" noProof="0">
                          <a:solidFill>
                            <a:srgbClr val="1A1A1A"/>
                          </a:solidFill>
                          <a:latin typeface="Segoe UI"/>
                          <a:hlinkClick r:id="rId7"/>
                        </a:rPr>
                        <a:t>Microsoft Defender for CloudApps; Microsoft Defender for Identity</a:t>
                      </a:r>
                      <a:endParaRPr lang="en-SG" sz="14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32742" rtl="0" eaLnBrk="1" fontAlgn="t" latinLnBrk="0" hangingPunct="1">
                        <a:lnSpc>
                          <a:spcPct val="100000"/>
                        </a:lnSpc>
                        <a:spcBef>
                          <a:spcPts val="0"/>
                        </a:spcBef>
                        <a:spcAft>
                          <a:spcPts val="0"/>
                        </a:spcAft>
                        <a:buClrTx/>
                        <a:buSzTx/>
                        <a:buFont typeface="+mj-lt"/>
                        <a:buNone/>
                        <a:tabLst/>
                        <a:defRPr/>
                      </a:pPr>
                      <a:endParaRPr lang="en-US" sz="800" b="0" kern="1200" baseline="0">
                        <a:solidFill>
                          <a:schemeClr val="tx1"/>
                        </a:solidFill>
                        <a:effectLst/>
                        <a:latin typeface="+mn-lt"/>
                        <a:cs typeface="Times New Roman"/>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6905499"/>
                  </a:ext>
                </a:extLst>
              </a:tr>
              <a:tr h="693254">
                <a:tc vMerge="1">
                  <a:txBody>
                    <a:bodyPr/>
                    <a:lstStyle/>
                    <a:p>
                      <a:pPr marL="0" marR="0" lvl="0" indent="0" algn="l" rtl="0" eaLnBrk="1" fontAlgn="auto" latinLnBrk="0" hangingPunct="1">
                        <a:lnSpc>
                          <a:spcPct val="100000"/>
                        </a:lnSpc>
                        <a:spcBef>
                          <a:spcPts val="0"/>
                        </a:spcBef>
                        <a:spcAft>
                          <a:spcPts val="0"/>
                        </a:spcAft>
                        <a:buClrTx/>
                        <a:buSzTx/>
                        <a:buNone/>
                      </a:pPr>
                      <a:endParaRPr kumimoji="0" lang="en-US" sz="12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rowSpan="2">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b="1" i="0" kern="1200">
                          <a:solidFill>
                            <a:schemeClr val="bg2">
                              <a:lumMod val="10000"/>
                            </a:schemeClr>
                          </a:solidFill>
                          <a:latin typeface="+mn-lt"/>
                          <a:ea typeface="+mn-ea"/>
                          <a:cs typeface="Segoe UI"/>
                        </a:rPr>
                        <a:t>Win Enterprise App Workloads (SAP, Oracl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n-lt"/>
                          <a:ea typeface="+mn-ea"/>
                          <a:cs typeface="Segoe UI"/>
                        </a:rPr>
                        <a:t>SAP E&amp;I</a:t>
                      </a:r>
                    </a:p>
                  </a:txBody>
                  <a:tcPr marL="67232" marR="67232"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SAP + Security (Sentinel)</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b="0" kern="1200">
                          <a:solidFill>
                            <a:schemeClr val="tx1"/>
                          </a:solidFill>
                          <a:effectLst/>
                          <a:latin typeface="+mn-lt"/>
                          <a:ea typeface="Times New Roman" panose="02020603050405020304" pitchFamily="18" charset="0"/>
                          <a:cs typeface="Times New Roman"/>
                        </a:rPr>
                        <a:t>SAP + </a:t>
                      </a:r>
                      <a:r>
                        <a:rPr lang="en-US" sz="800"/>
                        <a:t>AI</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a:t>SAP + Power Platform</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a:t>SAP + Fabric</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7160" indent="-137160">
                        <a:buFont typeface="Arial" panose="020B0604020202020204" pitchFamily="34" charset="0"/>
                        <a:buChar char="•"/>
                      </a:pPr>
                      <a:r>
                        <a:rPr lang="en-US" sz="800"/>
                        <a:t>Accelerate innovation and AI-readiness with a secure, scalable SAP foundation on Azure</a:t>
                      </a:r>
                    </a:p>
                    <a:p>
                      <a:pPr marL="137160" indent="-137160">
                        <a:buFont typeface="Arial" panose="020B0604020202020204" pitchFamily="34" charset="0"/>
                        <a:buChar char="•"/>
                      </a:pPr>
                      <a:r>
                        <a:rPr lang="en-US" sz="800"/>
                        <a:t>Increase business agility and drive long-term value with a reliable, future-ready platform</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a:hlinkClick r:id="" action="ppaction://noaction"/>
                        </a:rPr>
                        <a:t>Sentinel for SAP/RISE PoC VBD</a:t>
                      </a:r>
                      <a:r>
                        <a:rPr lang="en-US" sz="800" u="none">
                          <a:latin typeface="+mn-lt"/>
                        </a:rPr>
                        <a:t>; SAP + AI VBD (Q2FY26); SAP + Power Platform VBD</a:t>
                      </a:r>
                      <a:r>
                        <a:rPr lang="en-US" sz="800" u="none">
                          <a:latin typeface="+mn-lt"/>
                          <a:hlinkClick r:id="" action="ppaction://noaction"/>
                        </a:rPr>
                        <a:t>; PoC for SAP + Data Integration VBD</a:t>
                      </a:r>
                    </a:p>
                    <a:p>
                      <a:pPr marL="0" marR="0" lvl="0" indent="0" algn="l" defTabSz="7724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772442" rtl="0" eaLnBrk="1" fontAlgn="auto" latinLnBrk="0" hangingPunct="1">
                        <a:lnSpc>
                          <a:spcPct val="100000"/>
                        </a:lnSpc>
                        <a:spcBef>
                          <a:spcPts val="0"/>
                        </a:spcBef>
                        <a:spcAft>
                          <a:spcPts val="0"/>
                        </a:spcAft>
                        <a:buClrTx/>
                        <a:buSzTx/>
                        <a:buFontTx/>
                        <a:buNone/>
                        <a:tabLst/>
                        <a:defRPr/>
                      </a:pPr>
                      <a:endParaRPr lang="en-US" sz="8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4133163"/>
                  </a:ext>
                </a:extLst>
              </a:tr>
              <a:tr h="377074">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2"/>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n-lt"/>
                          <a:ea typeface="+mn-ea"/>
                          <a:cs typeface="Segoe UI"/>
                        </a:rPr>
                        <a:t>ODAA + Fabric </a:t>
                      </a:r>
                    </a:p>
                  </a:txBody>
                  <a:tcPr marL="67232" marR="67232"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800" b="0" kern="1200">
                          <a:solidFill>
                            <a:schemeClr val="tx1"/>
                          </a:solidFill>
                          <a:effectLst/>
                          <a:latin typeface="+mn-lt"/>
                          <a:ea typeface="Times New Roman" panose="02020603050405020304" pitchFamily="18" charset="0"/>
                          <a:cs typeface="Times New Roman"/>
                        </a:rPr>
                        <a:t>ODAA post-production integration with Fabric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800"/>
                        <a:t>Unlock unified analysis &amp; real-time insight</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772442" rtl="0" eaLnBrk="1" latinLnBrk="0" hangingPunct="1">
                        <a:buFont typeface="Arial" panose="020B0604020202020204" pitchFamily="34" charset="0"/>
                        <a:buNone/>
                      </a:pPr>
                      <a:r>
                        <a:rPr lang="en-US" sz="800" kern="1200">
                          <a:solidFill>
                            <a:schemeClr val="tx1"/>
                          </a:solidFill>
                          <a:latin typeface="+mn-lt"/>
                          <a:ea typeface="+mn-ea"/>
                          <a:cs typeface="+mn-cs"/>
                        </a:rPr>
                        <a:t>EDE; Fabric VBD</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80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6884463"/>
                  </a:ext>
                </a:extLst>
              </a:tr>
            </a:tbl>
          </a:graphicData>
        </a:graphic>
      </p:graphicFrame>
      <p:sp>
        <p:nvSpPr>
          <p:cNvPr id="2" name="Title 1">
            <a:extLst>
              <a:ext uri="{FF2B5EF4-FFF2-40B4-BE49-F238E27FC236}">
                <a16:creationId xmlns:a16="http://schemas.microsoft.com/office/drawing/2014/main" id="{7A5EAB29-447B-1B35-5C8C-12E77E46ADB5}"/>
              </a:ext>
            </a:extLst>
          </p:cNvPr>
          <p:cNvSpPr>
            <a:spLocks noGrp="1"/>
          </p:cNvSpPr>
          <p:nvPr>
            <p:ph type="title"/>
          </p:nvPr>
        </p:nvSpPr>
        <p:spPr>
          <a:xfrm>
            <a:off x="127935" y="441129"/>
            <a:ext cx="11049000" cy="307777"/>
          </a:xfrm>
        </p:spPr>
        <p:txBody>
          <a:bodyPr/>
          <a:lstStyle/>
          <a:p>
            <a:pPr lvl="0" defTabSz="772442">
              <a:defRPr/>
            </a:pPr>
            <a:r>
              <a:rPr lang="en-US" sz="2000" spc="-51">
                <a:solidFill>
                  <a:srgbClr val="0070C0"/>
                </a:solidFill>
                <a:latin typeface="Segoe UI Semibold"/>
              </a:rPr>
              <a:t>FY26 J2 Cloud + AI: </a:t>
            </a:r>
            <a:r>
              <a:rPr lang="en-US" sz="2000" spc="-51">
                <a:solidFill>
                  <a:srgbClr val="0070C0"/>
                </a:solidFill>
                <a:latin typeface="Segoe UI Semibold"/>
                <a:cs typeface="Segoe UI" pitchFamily="34" charset="0"/>
              </a:rPr>
              <a:t>Migrate and Modernize Your Estate </a:t>
            </a:r>
            <a:endParaRPr lang="en-US" sz="2000" spc="-42">
              <a:solidFill>
                <a:srgbClr val="0070C0"/>
              </a:solidFill>
              <a:latin typeface="Segoe UI Semibold"/>
              <a:cs typeface="Segoe UI" pitchFamily="34" charset="0"/>
            </a:endParaRPr>
          </a:p>
        </p:txBody>
      </p:sp>
      <p:grpSp>
        <p:nvGrpSpPr>
          <p:cNvPr id="3" name="Group 2">
            <a:extLst>
              <a:ext uri="{FF2B5EF4-FFF2-40B4-BE49-F238E27FC236}">
                <a16:creationId xmlns:a16="http://schemas.microsoft.com/office/drawing/2014/main" id="{8CD8A99A-14A1-9E17-CC41-B51FF7C93EFB}"/>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 name="Table 2 Cell 1, 1 to Text">
              <a:extLst>
                <a:ext uri="{FF2B5EF4-FFF2-40B4-BE49-F238E27FC236}">
                  <a16:creationId xmlns:a16="http://schemas.microsoft.com/office/drawing/2014/main" id="{2671A25F-4D44-DC2B-235A-7DD666052518}"/>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6" name="Table 2 Cell 2, 1 to Text">
              <a:extLst>
                <a:ext uri="{FF2B5EF4-FFF2-40B4-BE49-F238E27FC236}">
                  <a16:creationId xmlns:a16="http://schemas.microsoft.com/office/drawing/2014/main" id="{3CDA6580-0A5D-0DFC-C66F-1E64ABCD0695}"/>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7" name="Table 2 Cell 3, 1 to Text">
              <a:extLst>
                <a:ext uri="{FF2B5EF4-FFF2-40B4-BE49-F238E27FC236}">
                  <a16:creationId xmlns:a16="http://schemas.microsoft.com/office/drawing/2014/main" id="{1D50A654-2B77-3043-00A9-CDDACE21E326}"/>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4. Cloud &amp; AI Infra CSA</a:t>
              </a:r>
            </a:p>
          </p:txBody>
        </p:sp>
        <p:sp>
          <p:nvSpPr>
            <p:cNvPr id="8" name="Table 2 Cell 4, 1 to Text">
              <a:extLst>
                <a:ext uri="{FF2B5EF4-FFF2-40B4-BE49-F238E27FC236}">
                  <a16:creationId xmlns:a16="http://schemas.microsoft.com/office/drawing/2014/main" id="{DB01FA87-D66F-3408-81E8-0737FD109619}"/>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9" name="Table 2 Cell 5, 1 to Text">
              <a:extLst>
                <a:ext uri="{FF2B5EF4-FFF2-40B4-BE49-F238E27FC236}">
                  <a16:creationId xmlns:a16="http://schemas.microsoft.com/office/drawing/2014/main" id="{674F2A03-F523-D982-D5A5-6D3FB0420C4F}"/>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0" name="Table 2 Cell 6, 1 to Text">
              <a:extLst>
                <a:ext uri="{FF2B5EF4-FFF2-40B4-BE49-F238E27FC236}">
                  <a16:creationId xmlns:a16="http://schemas.microsoft.com/office/drawing/2014/main" id="{B3610678-C28E-A9A2-D318-D7C708966B95}"/>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1" name="Table 2 Cell 7, 1 to Text">
              <a:extLst>
                <a:ext uri="{FF2B5EF4-FFF2-40B4-BE49-F238E27FC236}">
                  <a16:creationId xmlns:a16="http://schemas.microsoft.com/office/drawing/2014/main" id="{1ED3739C-EBB9-0BDE-593D-1705FDC660CA}"/>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2" name="Table 2 Cell 1, 2 to Text">
              <a:extLst>
                <a:ext uri="{FF2B5EF4-FFF2-40B4-BE49-F238E27FC236}">
                  <a16:creationId xmlns:a16="http://schemas.microsoft.com/office/drawing/2014/main" id="{7E8D6A6C-1C46-2192-D103-54FF1F6C2571}"/>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3" name="Table 2 Cell 1, 3 to Text">
              <a:extLst>
                <a:ext uri="{FF2B5EF4-FFF2-40B4-BE49-F238E27FC236}">
                  <a16:creationId xmlns:a16="http://schemas.microsoft.com/office/drawing/2014/main" id="{41C13A1E-8F71-9CB1-5E02-D4D11BE01018}"/>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14" name="Table 2 Cell 1, 4 to Text">
              <a:extLst>
                <a:ext uri="{FF2B5EF4-FFF2-40B4-BE49-F238E27FC236}">
                  <a16:creationId xmlns:a16="http://schemas.microsoft.com/office/drawing/2014/main" id="{B3F69BC4-71D0-D152-2592-D9A7BDF3B47F}"/>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15" name="Table 2 Cell 1, 5 to Text">
              <a:extLst>
                <a:ext uri="{FF2B5EF4-FFF2-40B4-BE49-F238E27FC236}">
                  <a16:creationId xmlns:a16="http://schemas.microsoft.com/office/drawing/2014/main" id="{DDAB2B22-D35D-1A7E-E0E1-429965BA8CC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16" name="Table 2 Cell 1, 6 to Text">
              <a:extLst>
                <a:ext uri="{FF2B5EF4-FFF2-40B4-BE49-F238E27FC236}">
                  <a16:creationId xmlns:a16="http://schemas.microsoft.com/office/drawing/2014/main" id="{D9B762BD-9B7C-4F91-C9C3-C02D9A9E807F}"/>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17" name="Table 2 Cell 1, 7 to Text">
              <a:extLst>
                <a:ext uri="{FF2B5EF4-FFF2-40B4-BE49-F238E27FC236}">
                  <a16:creationId xmlns:a16="http://schemas.microsoft.com/office/drawing/2014/main" id="{804B61BD-74A5-2290-B2B2-969B7197E984}"/>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Migrate &amp; Modernize Overview</a:t>
              </a:r>
            </a:p>
          </p:txBody>
        </p:sp>
        <p:sp>
          <p:nvSpPr>
            <p:cNvPr id="18" name="Table 2 Cell 1, 8 to Text">
              <a:extLst>
                <a:ext uri="{FF2B5EF4-FFF2-40B4-BE49-F238E27FC236}">
                  <a16:creationId xmlns:a16="http://schemas.microsoft.com/office/drawing/2014/main" id="{18E37B71-2E13-B4E4-893C-268A573AD5B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7 Delivery &amp; Success</a:t>
              </a:r>
            </a:p>
          </p:txBody>
        </p:sp>
      </p:grpSp>
      <p:sp>
        <p:nvSpPr>
          <p:cNvPr id="19" name="TextBox 18">
            <a:extLst>
              <a:ext uri="{FF2B5EF4-FFF2-40B4-BE49-F238E27FC236}">
                <a16:creationId xmlns:a16="http://schemas.microsoft.com/office/drawing/2014/main" id="{9BAD6230-79FD-59FA-66BD-EE91CCBA36B0}"/>
              </a:ext>
            </a:extLst>
          </p:cNvPr>
          <p:cNvSpPr txBox="1"/>
          <p:nvPr/>
        </p:nvSpPr>
        <p:spPr>
          <a:xfrm>
            <a:off x="11282650" y="3916104"/>
            <a:ext cx="78183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SG" sz="800">
                <a:cs typeface="Segoe Sans Text"/>
                <a:hlinkClick r:id="rId3"/>
              </a:rPr>
              <a:t>FY26_AzureJob2.pptx</a:t>
            </a:r>
            <a:endParaRPr lang="en-US"/>
          </a:p>
        </p:txBody>
      </p:sp>
      <p:sp>
        <p:nvSpPr>
          <p:cNvPr id="20" name="TextBox 19">
            <a:extLst>
              <a:ext uri="{FF2B5EF4-FFF2-40B4-BE49-F238E27FC236}">
                <a16:creationId xmlns:a16="http://schemas.microsoft.com/office/drawing/2014/main" id="{C1C12D0C-1912-D2DB-AD57-C200ABC6DED8}"/>
              </a:ext>
            </a:extLst>
          </p:cNvPr>
          <p:cNvSpPr txBox="1"/>
          <p:nvPr/>
        </p:nvSpPr>
        <p:spPr>
          <a:xfrm>
            <a:off x="3257917" y="3854471"/>
            <a:ext cx="1750632"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800" b="1">
                <a:cs typeface="Segoe Sans Text"/>
              </a:rPr>
              <a:t>See </a:t>
            </a:r>
            <a:r>
              <a:rPr lang="en-US" sz="800" b="1">
                <a:cs typeface="Segoe Sans Text"/>
                <a:hlinkClick r:id="rId4" action="ppaction://hlinksldjump"/>
              </a:rPr>
              <a:t>Resiliency (Cross-CAIP Motion)</a:t>
            </a:r>
            <a:endParaRPr lang="en-US">
              <a:cs typeface="Segoe Sans Text"/>
              <a:hlinkClick r:id="rId4" action="ppaction://hlinksldjump"/>
            </a:endParaRPr>
          </a:p>
        </p:txBody>
      </p:sp>
      <p:sp>
        <p:nvSpPr>
          <p:cNvPr id="21" name="TextBox 20">
            <a:extLst>
              <a:ext uri="{FF2B5EF4-FFF2-40B4-BE49-F238E27FC236}">
                <a16:creationId xmlns:a16="http://schemas.microsoft.com/office/drawing/2014/main" id="{15B52D45-2DAE-BF50-16CE-F01CC47BB1AD}"/>
              </a:ext>
            </a:extLst>
          </p:cNvPr>
          <p:cNvSpPr txBox="1"/>
          <p:nvPr/>
        </p:nvSpPr>
        <p:spPr>
          <a:xfrm>
            <a:off x="6303617" y="3854471"/>
            <a:ext cx="2392470" cy="307777"/>
          </a:xfrm>
          <a:prstGeom prst="rect">
            <a:avLst/>
          </a:prstGeom>
          <a:noFill/>
        </p:spPr>
        <p:txBody>
          <a:bodyPr wrap="square" lIns="0" tIns="0" rIns="0" bIns="0" rtlCol="0">
            <a:spAutoFit/>
          </a:bodyPr>
          <a:lstStyle/>
          <a:p>
            <a:pPr algn="l"/>
            <a:endParaRPr lang="en-US" sz="2000" err="1"/>
          </a:p>
        </p:txBody>
      </p:sp>
      <p:sp>
        <p:nvSpPr>
          <p:cNvPr id="23" name="TextBox 22">
            <a:extLst>
              <a:ext uri="{FF2B5EF4-FFF2-40B4-BE49-F238E27FC236}">
                <a16:creationId xmlns:a16="http://schemas.microsoft.com/office/drawing/2014/main" id="{E8969DBB-3E4D-C196-47E1-CC59AE60B347}"/>
              </a:ext>
            </a:extLst>
          </p:cNvPr>
          <p:cNvSpPr txBox="1"/>
          <p:nvPr/>
        </p:nvSpPr>
        <p:spPr>
          <a:xfrm>
            <a:off x="6329349" y="3850351"/>
            <a:ext cx="1750632"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800" b="1">
                <a:cs typeface="Segoe Sans Text"/>
              </a:rPr>
              <a:t>See </a:t>
            </a:r>
            <a:r>
              <a:rPr lang="en-US" sz="800" b="1">
                <a:cs typeface="Segoe Sans Text"/>
                <a:hlinkClick r:id="rId4" action="ppaction://hlinksldjump"/>
              </a:rPr>
              <a:t>Resiliency (Cross-CAIP Motion)</a:t>
            </a:r>
            <a:endParaRPr lang="en-US">
              <a:cs typeface="Segoe Sans Text"/>
              <a:hlinkClick r:id="rId4" action="ppaction://hlinksldjump"/>
            </a:endParaRPr>
          </a:p>
        </p:txBody>
      </p:sp>
    </p:spTree>
    <p:extLst>
      <p:ext uri="{BB962C8B-B14F-4D97-AF65-F5344CB8AC3E}">
        <p14:creationId xmlns:p14="http://schemas.microsoft.com/office/powerpoint/2010/main" val="166891189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46938-FAE5-1065-B331-C192A72C7B9A}"/>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45961DF1-291B-C1E1-EA00-6F3DCBF7F4BA}"/>
              </a:ext>
            </a:extLst>
          </p:cNvPr>
          <p:cNvSpPr txBox="1">
            <a:spLocks noGrp="1"/>
          </p:cNvSpPr>
          <p:nvPr>
            <p:ph type="title"/>
          </p:nvPr>
        </p:nvSpPr>
        <p:spPr>
          <a:xfrm>
            <a:off x="304798" y="457200"/>
            <a:ext cx="11315702"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a:t>
            </a:r>
            <a:r>
              <a:rPr lang="en-US" sz="2400"/>
              <a:t>Cloud &amp; AI Apps</a:t>
            </a:r>
            <a:br>
              <a:rPr lang="en-US" sz="2400"/>
            </a:br>
            <a:r>
              <a:rPr lang="en-US" sz="2400" noProof="0">
                <a:sym typeface="Trebuchet MS" panose="020B0603020202020204" pitchFamily="34" charset="0"/>
              </a:rPr>
              <a:t>Cloud Solution Architect</a:t>
            </a:r>
          </a:p>
        </p:txBody>
      </p:sp>
      <p:sp>
        <p:nvSpPr>
          <p:cNvPr id="63" name="Rectangle: Rounded Corners 62">
            <a:extLst>
              <a:ext uri="{FF2B5EF4-FFF2-40B4-BE49-F238E27FC236}">
                <a16:creationId xmlns:a16="http://schemas.microsoft.com/office/drawing/2014/main" id="{B1FDD57C-8AF2-1B6A-4D7B-4447214BA04B}"/>
              </a:ext>
              <a:ext uri="{C183D7F6-B498-43B3-948B-1728B52AA6E4}">
                <adec:decorative xmlns:adec="http://schemas.microsoft.com/office/drawing/2017/decorative" val="0"/>
              </a:ext>
            </a:extLst>
          </p:cNvPr>
          <p:cNvSpPr/>
          <p:nvPr/>
        </p:nvSpPr>
        <p:spPr>
          <a:xfrm>
            <a:off x="9066882" y="442913"/>
            <a:ext cx="2828604"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Y25 </a:t>
            </a:r>
            <a:r>
              <a:rPr kumimoji="0" lang="en-US" sz="900" b="0" i="0" u="none" strike="noStrike" kern="1200" cap="none" spc="0" normalizeH="0" baseline="0" noProof="0">
                <a:ln>
                  <a:noFill/>
                </a:ln>
                <a:solidFill>
                  <a:srgbClr val="0078D4"/>
                </a:solidFill>
                <a:effectLst/>
                <a:uLnTx/>
                <a:uFillTx/>
                <a:latin typeface="Segoe Sans Text Semibold"/>
                <a:ea typeface="+mn-ea"/>
                <a:cs typeface="+mn-cs"/>
              </a:rPr>
              <a:t>Apps/AI/Dev Advocate Solution Architect</a:t>
            </a:r>
            <a:br>
              <a:rPr kumimoji="0" lang="en-US" sz="900" b="0" i="0" u="none" strike="noStrike" kern="1200" cap="none" spc="0" normalizeH="0" baseline="0" noProof="0">
                <a:ln>
                  <a:noFill/>
                </a:ln>
                <a:solidFill>
                  <a:srgbClr val="0078D4"/>
                </a:solidFill>
                <a:effectLst/>
                <a:uLnTx/>
                <a:uFillTx/>
                <a:latin typeface="Segoe Sans Text Semibold"/>
                <a:ea typeface="+mn-ea"/>
                <a:cs typeface="+mn-cs"/>
              </a:rPr>
            </a:b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900" b="0" i="0" u="none" strike="noStrike" kern="1200" cap="none" spc="0" normalizeH="0" baseline="0" noProof="0">
                <a:ln>
                  <a:noFill/>
                </a:ln>
                <a:solidFill>
                  <a:srgbClr val="0078D4"/>
                </a:solidFill>
                <a:effectLst/>
                <a:uLnTx/>
                <a:uFillTx/>
                <a:latin typeface="Segoe Sans Text Semibold"/>
                <a:ea typeface="+mn-ea"/>
                <a:cs typeface="+mn-cs"/>
              </a:rPr>
              <a:t>Cloud &amp; AI Apps Solution Architect </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900" b="0" i="0" u="none" strike="noStrike" kern="1200" cap="none" spc="0" normalizeH="0" baseline="0" noProof="0">
                <a:ln>
                  <a:noFill/>
                </a:ln>
                <a:solidFill>
                  <a:srgbClr val="0078D4"/>
                </a:solidFill>
                <a:effectLst/>
                <a:uLnTx/>
                <a:uFillTx/>
                <a:latin typeface="Segoe Sans Text Semibold"/>
                <a:ea typeface="+mn-ea"/>
                <a:cs typeface="+mn-cs"/>
              </a:rPr>
              <a:t>Applicable Segments:</a:t>
            </a: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 ENT</a:t>
            </a:r>
          </a:p>
        </p:txBody>
      </p:sp>
      <p:sp>
        <p:nvSpPr>
          <p:cNvPr id="25" name="Rectangle: Rounded Corners 24">
            <a:extLst>
              <a:ext uri="{FF2B5EF4-FFF2-40B4-BE49-F238E27FC236}">
                <a16:creationId xmlns:a16="http://schemas.microsoft.com/office/drawing/2014/main" id="{4442CB47-5787-40D2-0D2C-B4ABD61BADC6}"/>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86FE5842-EC00-642A-DF48-7CD2FB4CF65A}"/>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6" name="Rectangle: Rounded Corners 35">
            <a:extLst>
              <a:ext uri="{FF2B5EF4-FFF2-40B4-BE49-F238E27FC236}">
                <a16:creationId xmlns:a16="http://schemas.microsoft.com/office/drawing/2014/main" id="{F0FB043A-842C-C70D-E26F-D94611E6EF49}"/>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44291CAA-D0CF-8E5F-7BE1-9B97879C41EC}"/>
              </a:ext>
            </a:extLst>
          </p:cNvPr>
          <p:cNvSpPr/>
          <p:nvPr/>
        </p:nvSpPr>
        <p:spPr>
          <a:xfrm>
            <a:off x="304799" y="1200266"/>
            <a:ext cx="3268982"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9144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Apps CSA is accountable for enabling our customers to bring their AI products to production scale on Azur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I Design Wins and Unified opportunities across all Cloud &amp; AI</a:t>
            </a:r>
          </a:p>
        </p:txBody>
      </p:sp>
      <p:sp>
        <p:nvSpPr>
          <p:cNvPr id="40" name="Rectangle 39">
            <a:extLst>
              <a:ext uri="{FF2B5EF4-FFF2-40B4-BE49-F238E27FC236}">
                <a16:creationId xmlns:a16="http://schemas.microsoft.com/office/drawing/2014/main" id="{3823AE9E-4965-C4A8-A057-7A491B9B5A5B}"/>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8" name="TextBox 37">
            <a:extLst>
              <a:ext uri="{FF2B5EF4-FFF2-40B4-BE49-F238E27FC236}">
                <a16:creationId xmlns:a16="http://schemas.microsoft.com/office/drawing/2014/main" id="{3DEF3047-53F8-38F2-DA0E-21D90DD3C680}"/>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sp>
        <p:nvSpPr>
          <p:cNvPr id="41" name="Graphic 13">
            <a:extLst>
              <a:ext uri="{FF2B5EF4-FFF2-40B4-BE49-F238E27FC236}">
                <a16:creationId xmlns:a16="http://schemas.microsoft.com/office/drawing/2014/main" id="{A42124A4-5A8B-814D-6E9B-C34D17817667}"/>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2" name="Graphic 41">
            <a:extLst>
              <a:ext uri="{FF2B5EF4-FFF2-40B4-BE49-F238E27FC236}">
                <a16:creationId xmlns:a16="http://schemas.microsoft.com/office/drawing/2014/main" id="{ECE1D81F-4285-0F34-2334-307EEEECE01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graphicFrame>
        <p:nvGraphicFramePr>
          <p:cNvPr id="64" name="Table 63">
            <a:extLst>
              <a:ext uri="{FF2B5EF4-FFF2-40B4-BE49-F238E27FC236}">
                <a16:creationId xmlns:a16="http://schemas.microsoft.com/office/drawing/2014/main" id="{E06CEB38-522D-2C84-C9A2-E23DB1A80C7D}"/>
              </a:ext>
            </a:extLst>
          </p:cNvPr>
          <p:cNvGraphicFramePr>
            <a:graphicFrameLocks noGrp="1"/>
          </p:cNvGraphicFramePr>
          <p:nvPr>
            <p:extLst>
              <p:ext uri="{D42A27DB-BD31-4B8C-83A1-F6EECF244321}">
                <p14:modId xmlns:p14="http://schemas.microsoft.com/office/powerpoint/2010/main" val="3088370767"/>
              </p:ext>
            </p:extLst>
          </p:nvPr>
        </p:nvGraphicFramePr>
        <p:xfrm>
          <a:off x="3674366" y="1541398"/>
          <a:ext cx="8247674" cy="2470911"/>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1939290">
                  <a:extLst>
                    <a:ext uri="{9D8B030D-6E8A-4147-A177-3AD203B41FA5}">
                      <a16:colId xmlns:a16="http://schemas.microsoft.com/office/drawing/2014/main" val="88879238"/>
                    </a:ext>
                  </a:extLst>
                </a:gridCol>
                <a:gridCol w="5654590">
                  <a:extLst>
                    <a:ext uri="{9D8B030D-6E8A-4147-A177-3AD203B41FA5}">
                      <a16:colId xmlns:a16="http://schemas.microsoft.com/office/drawing/2014/main" val="707651252"/>
                    </a:ext>
                  </a:extLst>
                </a:gridCol>
              </a:tblGrid>
              <a:tr h="194018">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678551">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2C in 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2C results for Enterprise; drive hands-on engagement in Unified accounts and oversight for risk mitigation in non-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1200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Design Win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Apps, Data &amp; AI</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Apps, Data &amp; AI</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78633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pp Innovation &amp; App Modernizatio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I</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Integration Servic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GitHub</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None/>
                      </a:pPr>
                      <a:r>
                        <a:rPr lang="en-US" sz="700" b="0" i="0" u="none" strike="noStrike" kern="1200" cap="none" spc="0" normalizeH="0" baseline="0">
                          <a:solidFill>
                            <a:schemeClr val="accent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AI</a:t>
                      </a:r>
                      <a:r>
                        <a:rPr lang="en-US" sz="700" b="0" i="0" u="none" strike="noStrike" kern="1200" cap="none" spc="0" normalizeH="0" baseline="0">
                          <a:solidFill>
                            <a:schemeClr val="accent1"/>
                          </a:solidFill>
                          <a:latin typeface="+mn-lt"/>
                          <a:ea typeface="+mn-ea"/>
                          <a:cs typeface="Segoe Sans Text" pitchFamily="2" charset="0"/>
                        </a:rPr>
                        <a:t>: Azure AI Foundry*, 3P GPU </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Apps</a:t>
                      </a:r>
                      <a:r>
                        <a:rPr lang="en-US" sz="700" b="0" i="0" u="none" strike="noStrike" kern="1200" cap="none" spc="0" normalizeH="0" baseline="0">
                          <a:solidFill>
                            <a:schemeClr val="accent1"/>
                          </a:solidFill>
                          <a:latin typeface="+mn-lt"/>
                          <a:ea typeface="+mn-ea"/>
                          <a:cs typeface="Segoe Sans Text" pitchFamily="2" charset="0"/>
                        </a:rPr>
                        <a:t>: AKS, App Service </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Data</a:t>
                      </a:r>
                      <a:r>
                        <a:rPr lang="en-US" sz="700" b="0" i="0" u="none" strike="noStrike" kern="1200" cap="none" spc="0" normalizeH="0" baseline="0">
                          <a:solidFill>
                            <a:schemeClr val="accent1"/>
                          </a:solidFill>
                          <a:latin typeface="+mn-lt"/>
                          <a:ea typeface="+mn-ea"/>
                          <a:cs typeface="Segoe Sans Text" pitchFamily="2" charset="0"/>
                        </a:rPr>
                        <a:t>: Azure Cosmos DB, Azure SQL Databases, Azure Database for PostgreSQL </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Integration Services</a:t>
                      </a:r>
                      <a:r>
                        <a:rPr lang="en-US" sz="700" b="0" i="0" u="none" strike="noStrike" kern="1200" cap="none" spc="0" normalizeH="0" baseline="0">
                          <a:solidFill>
                            <a:schemeClr val="accent1"/>
                          </a:solidFill>
                          <a:latin typeface="+mn-lt"/>
                          <a:ea typeface="+mn-ea"/>
                          <a:cs typeface="Segoe Sans Text" pitchFamily="2" charset="0"/>
                        </a:rPr>
                        <a:t>: APIM</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Developer</a:t>
                      </a:r>
                      <a:r>
                        <a:rPr lang="en-US" sz="700" b="0" i="0" u="none" strike="noStrike" kern="1200" cap="none" spc="0" normalizeH="0" baseline="0">
                          <a:solidFill>
                            <a:schemeClr val="accent1"/>
                          </a:solidFill>
                          <a:latin typeface="+mn-lt"/>
                          <a:ea typeface="+mn-ea"/>
                          <a:cs typeface="Segoe Sans Text" pitchFamily="2" charset="0"/>
                        </a:rPr>
                        <a:t>: GitHub (Copilot, Enterprise, Adv Security, Actions, </a:t>
                      </a:r>
                      <a:r>
                        <a:rPr lang="en-US" sz="700" b="0" i="0" u="none" strike="noStrike" kern="1200" cap="none" spc="0" normalizeH="0" baseline="0" err="1">
                          <a:solidFill>
                            <a:schemeClr val="accent1"/>
                          </a:solidFill>
                          <a:latin typeface="+mn-lt"/>
                          <a:ea typeface="+mn-ea"/>
                          <a:cs typeface="Segoe Sans Text" pitchFamily="2" charset="0"/>
                        </a:rPr>
                        <a:t>Codespaces</a:t>
                      </a:r>
                      <a:r>
                        <a:rPr lang="en-US" sz="700" b="0" i="0" u="none" strike="noStrike" kern="1200" cap="none" spc="0" normalizeH="0" baseline="0">
                          <a:solidFill>
                            <a:schemeClr val="accent1"/>
                          </a:solidFill>
                          <a:latin typeface="+mn-lt"/>
                          <a:ea typeface="+mn-ea"/>
                          <a:cs typeface="Segoe Sans Text" pitchFamily="2" charset="0"/>
                        </a:rPr>
                        <a:t>)</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2" name="Rectangle: Rounded Corners 1">
            <a:extLst>
              <a:ext uri="{FF2B5EF4-FFF2-40B4-BE49-F238E27FC236}">
                <a16:creationId xmlns:a16="http://schemas.microsoft.com/office/drawing/2014/main" id="{F369F85E-95A0-4A27-2DF0-ACF29C55933C}"/>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7" name="Rectangle: Rounded Corners 16">
            <a:extLst>
              <a:ext uri="{FF2B5EF4-FFF2-40B4-BE49-F238E27FC236}">
                <a16:creationId xmlns:a16="http://schemas.microsoft.com/office/drawing/2014/main" id="{5088B691-A683-615A-1219-F21BCBB925AB}"/>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Rectangle 17">
            <a:extLst>
              <a:ext uri="{FF2B5EF4-FFF2-40B4-BE49-F238E27FC236}">
                <a16:creationId xmlns:a16="http://schemas.microsoft.com/office/drawing/2014/main" id="{6AD1CF49-F704-C5E0-2BA6-6CFD454096B8}"/>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45" name="TextBox 44">
            <a:extLst>
              <a:ext uri="{FF2B5EF4-FFF2-40B4-BE49-F238E27FC236}">
                <a16:creationId xmlns:a16="http://schemas.microsoft.com/office/drawing/2014/main" id="{9C546FCC-5A4A-5004-9D34-3048FA8D4290}"/>
              </a:ext>
            </a:extLst>
          </p:cNvPr>
          <p:cNvSpPr txBox="1"/>
          <p:nvPr/>
        </p:nvSpPr>
        <p:spPr>
          <a:xfrm>
            <a:off x="425445" y="4478878"/>
            <a:ext cx="1855793" cy="2616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Innovate with AI Apps &amp; Agents</a:t>
            </a:r>
          </a:p>
        </p:txBody>
      </p:sp>
      <p:sp>
        <p:nvSpPr>
          <p:cNvPr id="62" name="TextBox 61">
            <a:extLst>
              <a:ext uri="{FF2B5EF4-FFF2-40B4-BE49-F238E27FC236}">
                <a16:creationId xmlns:a16="http://schemas.microsoft.com/office/drawing/2014/main" id="{2EA48D34-666A-8155-8D49-FDEFAAC8AAD1}"/>
              </a:ext>
            </a:extLst>
          </p:cNvPr>
          <p:cNvSpPr txBox="1"/>
          <p:nvPr/>
        </p:nvSpPr>
        <p:spPr>
          <a:xfrm>
            <a:off x="425445" y="4794161"/>
            <a:ext cx="1993342"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aka.ms/</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cloudaicsu</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2D07D109-0FC6-D95C-4BA5-3754D1680C51}"/>
              </a:ext>
            </a:extLst>
          </p:cNvPr>
          <p:cNvSpPr txBox="1"/>
          <p:nvPr/>
        </p:nvSpPr>
        <p:spPr>
          <a:xfrm>
            <a:off x="425445" y="5109444"/>
            <a:ext cx="185579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GitHub, Proactive Resiliency Initiative, Azure Essentials</a:t>
            </a:r>
          </a:p>
        </p:txBody>
      </p:sp>
      <p:sp>
        <p:nvSpPr>
          <p:cNvPr id="11" name="TextBox 10">
            <a:extLst>
              <a:ext uri="{FF2B5EF4-FFF2-40B4-BE49-F238E27FC236}">
                <a16:creationId xmlns:a16="http://schemas.microsoft.com/office/drawing/2014/main" id="{2C8116AF-CC3D-941E-807C-ADEF38D6A062}"/>
              </a:ext>
            </a:extLst>
          </p:cNvPr>
          <p:cNvSpPr txBox="1"/>
          <p:nvPr/>
        </p:nvSpPr>
        <p:spPr>
          <a:xfrm>
            <a:off x="425445" y="5547838"/>
            <a:ext cx="1352934" cy="882293"/>
          </a:xfrm>
          <a:prstGeom prst="rect">
            <a:avLst/>
          </a:prstGeom>
          <a:noFill/>
        </p:spPr>
        <p:txBody>
          <a:bodyPr wrap="squar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ols/Repor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20" name="Graphic 73">
            <a:extLst>
              <a:ext uri="{FF2B5EF4-FFF2-40B4-BE49-F238E27FC236}">
                <a16:creationId xmlns:a16="http://schemas.microsoft.com/office/drawing/2014/main" id="{D7F5D7C8-10C3-203E-305B-EA89500832DE}"/>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Rectangle: Rounded Corners 21">
            <a:extLst>
              <a:ext uri="{FF2B5EF4-FFF2-40B4-BE49-F238E27FC236}">
                <a16:creationId xmlns:a16="http://schemas.microsoft.com/office/drawing/2014/main" id="{AA3E9191-6F43-D44D-1686-C50A5F3B1970}"/>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3" name="Rectangle: Rounded Corners 22">
            <a:extLst>
              <a:ext uri="{FF2B5EF4-FFF2-40B4-BE49-F238E27FC236}">
                <a16:creationId xmlns:a16="http://schemas.microsoft.com/office/drawing/2014/main" id="{EDA44BD0-98DF-FD49-CDB7-CDC1B3325B0F}"/>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Rectangle: Rounded Corners 25">
            <a:extLst>
              <a:ext uri="{FF2B5EF4-FFF2-40B4-BE49-F238E27FC236}">
                <a16:creationId xmlns:a16="http://schemas.microsoft.com/office/drawing/2014/main" id="{6E33B413-6240-9215-C796-BFCF25AC6B47}"/>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7" name="Rectangle: Rounded Corners 26">
            <a:extLst>
              <a:ext uri="{FF2B5EF4-FFF2-40B4-BE49-F238E27FC236}">
                <a16:creationId xmlns:a16="http://schemas.microsoft.com/office/drawing/2014/main" id="{2C017700-0770-1A23-83AB-E3F03588A7DD}"/>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Rectangle 28">
            <a:extLst>
              <a:ext uri="{FF2B5EF4-FFF2-40B4-BE49-F238E27FC236}">
                <a16:creationId xmlns:a16="http://schemas.microsoft.com/office/drawing/2014/main" id="{557F877D-D9B3-0607-33E4-5E865AD9D511}"/>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pic>
        <p:nvPicPr>
          <p:cNvPr id="31" name="Graphic 30">
            <a:extLst>
              <a:ext uri="{FF2B5EF4-FFF2-40B4-BE49-F238E27FC236}">
                <a16:creationId xmlns:a16="http://schemas.microsoft.com/office/drawing/2014/main" id="{8C8B34D7-1789-EA61-5A35-699C7A135334}"/>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32" name="Group 31">
            <a:extLst>
              <a:ext uri="{FF2B5EF4-FFF2-40B4-BE49-F238E27FC236}">
                <a16:creationId xmlns:a16="http://schemas.microsoft.com/office/drawing/2014/main" id="{2A45DDE9-6CF3-FA6A-B575-FCF1C5CE5C5E}"/>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33" name="Rectangle 32">
              <a:extLst>
                <a:ext uri="{FF2B5EF4-FFF2-40B4-BE49-F238E27FC236}">
                  <a16:creationId xmlns:a16="http://schemas.microsoft.com/office/drawing/2014/main" id="{66A7B285-6062-5AA5-99AD-AA5830CDB7B9}"/>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34" name="Graphic 33">
              <a:extLst>
                <a:ext uri="{FF2B5EF4-FFF2-40B4-BE49-F238E27FC236}">
                  <a16:creationId xmlns:a16="http://schemas.microsoft.com/office/drawing/2014/main" id="{3E568E27-39C4-26FD-768C-7FD0601ECDDE}"/>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4" name="TextBox 53">
            <a:extLst>
              <a:ext uri="{FF2B5EF4-FFF2-40B4-BE49-F238E27FC236}">
                <a16:creationId xmlns:a16="http://schemas.microsoft.com/office/drawing/2014/main" id="{87E600C8-598F-C79F-4FBC-A63E39D6F0DB}"/>
              </a:ext>
            </a:extLst>
          </p:cNvPr>
          <p:cNvSpPr txBox="1"/>
          <p:nvPr/>
        </p:nvSpPr>
        <p:spPr>
          <a:xfrm>
            <a:off x="2777299" y="4497928"/>
            <a:ext cx="4727648"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55" name="TextBox 54">
            <a:extLst>
              <a:ext uri="{FF2B5EF4-FFF2-40B4-BE49-F238E27FC236}">
                <a16:creationId xmlns:a16="http://schemas.microsoft.com/office/drawing/2014/main" id="{280CD20B-0DE1-4492-CB13-CA6C7C38D6B0}"/>
              </a:ext>
            </a:extLst>
          </p:cNvPr>
          <p:cNvSpPr txBox="1"/>
          <p:nvPr/>
        </p:nvSpPr>
        <p:spPr>
          <a:xfrm>
            <a:off x="2777299" y="4983219"/>
            <a:ext cx="5062604" cy="1413207"/>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Job 1: 95% C2C rate; 95% own of C2C milestone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lvl="1" indent="-90170">
              <a:spcAft>
                <a:spcPts val="200"/>
              </a:spcAft>
              <a:buClr>
                <a:srgbClr val="000000"/>
              </a:buClr>
              <a:buSzPct val="100000"/>
              <a:buFont typeface="Arial" panose="020B0604020202020204" pitchFamily="34" charset="0"/>
              <a:buChar char="•"/>
              <a:defRPr/>
            </a:pPr>
            <a:r>
              <a:rPr lang="en-US" sz="800">
                <a:solidFill>
                  <a:srgbClr val="000000"/>
                </a:solidFill>
                <a:ea typeface="Calibri"/>
                <a:cs typeface="Calibri"/>
              </a:rPr>
              <a:t>Contribute to 20% for total Completed Pipeline created against quarterly Net New Required budget by territory</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ctively engage in pipe scrums to enable attach of Hero VAS offers to every ACR opportunity</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in EOU: Customer Funded delivery Mix VTT &gt; 0; Repeatable Delivery VTT &gt; 0; On Strategy delivery mix VTT &gt; 0</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Factory Oversight: Shared accountability for Factory Target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4D4C173B-2516-5FEC-9DF5-C2EB427E9A1D}"/>
              </a:ext>
            </a:extLst>
          </p:cNvPr>
          <p:cNvSpPr txBox="1"/>
          <p:nvPr/>
        </p:nvSpPr>
        <p:spPr>
          <a:xfrm>
            <a:off x="8100059" y="4497928"/>
            <a:ext cx="3529966" cy="1856919"/>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AI Foundry</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Models, Agent Service, Semantic Kernel, Search, ML, SDK)</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Copilot Studio​</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err="1">
                <a:ln>
                  <a:noFill/>
                </a:ln>
                <a:solidFill>
                  <a:srgbClr val="0078D4"/>
                </a:solidFill>
                <a:effectLst/>
                <a:uLnTx/>
                <a:uFillTx/>
                <a:latin typeface="Segoe Sans Text Semibold"/>
                <a:ea typeface="Calibri" panose="020F0502020204030204" pitchFamily="34" charset="0"/>
                <a:cs typeface="Calibri" panose="020F0502020204030204" pitchFamily="34" charset="0"/>
              </a:rPr>
              <a:t>AppPlat</a:t>
            </a: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Containers/Serverless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pp Service, AKS, ACA, ARO, Function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Integration Servic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PIM, Logic App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evOp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I/CD, Azure DevOps,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DevSecOp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GitHub</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opilot, Enterprise, Adv Security, Actions,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Codespace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3P GPU/AI Infra/BYOAIM</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ata</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osmos DB, Azure SQL, Azure Database for PostgreSQL)</a:t>
            </a:r>
          </a:p>
        </p:txBody>
      </p:sp>
      <p:grpSp>
        <p:nvGrpSpPr>
          <p:cNvPr id="13" name="Group 12">
            <a:extLst>
              <a:ext uri="{FF2B5EF4-FFF2-40B4-BE49-F238E27FC236}">
                <a16:creationId xmlns:a16="http://schemas.microsoft.com/office/drawing/2014/main" id="{B6179692-EB99-1B60-709B-5CEBA64FCC8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6" name="Table 2 Cell 1, 1 to Text">
              <a:extLst>
                <a:ext uri="{FF2B5EF4-FFF2-40B4-BE49-F238E27FC236}">
                  <a16:creationId xmlns:a16="http://schemas.microsoft.com/office/drawing/2014/main" id="{DD04F80F-FCA5-AA36-C463-2B412318A1F2}"/>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1" name="Table 2 Cell 2, 1 to Text">
              <a:extLst>
                <a:ext uri="{FF2B5EF4-FFF2-40B4-BE49-F238E27FC236}">
                  <a16:creationId xmlns:a16="http://schemas.microsoft.com/office/drawing/2014/main" id="{29E806E7-AC0F-B943-157F-5A17106914E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4" name="Table 2 Cell 3, 1 to Text">
              <a:extLst>
                <a:ext uri="{FF2B5EF4-FFF2-40B4-BE49-F238E27FC236}">
                  <a16:creationId xmlns:a16="http://schemas.microsoft.com/office/drawing/2014/main" id="{AF5957C0-D684-BA4E-134D-FBC2D559176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5" name="Table 2 Cell 4, 1 to Text">
              <a:extLst>
                <a:ext uri="{FF2B5EF4-FFF2-40B4-BE49-F238E27FC236}">
                  <a16:creationId xmlns:a16="http://schemas.microsoft.com/office/drawing/2014/main" id="{653EEA40-FE48-6697-14CD-90417785CBC9}"/>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39" name="Table 2 Cell 5, 1 to Text">
              <a:extLst>
                <a:ext uri="{FF2B5EF4-FFF2-40B4-BE49-F238E27FC236}">
                  <a16:creationId xmlns:a16="http://schemas.microsoft.com/office/drawing/2014/main" id="{5674EF35-ABEB-0A85-0DA1-260319F52FE6}"/>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3" name="Table 2 Cell 6, 1 to Text">
              <a:extLst>
                <a:ext uri="{FF2B5EF4-FFF2-40B4-BE49-F238E27FC236}">
                  <a16:creationId xmlns:a16="http://schemas.microsoft.com/office/drawing/2014/main" id="{C8AA67C2-9FEA-6B0B-1C9A-36FF3759A39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4" name="Table 2 Cell 7, 1 to Text">
              <a:extLst>
                <a:ext uri="{FF2B5EF4-FFF2-40B4-BE49-F238E27FC236}">
                  <a16:creationId xmlns:a16="http://schemas.microsoft.com/office/drawing/2014/main" id="{B59B4400-9FC8-AB66-AFFF-320999D8049F}"/>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7" name="Table 2 Cell 1, 2 to Text">
              <a:extLst>
                <a:ext uri="{FF2B5EF4-FFF2-40B4-BE49-F238E27FC236}">
                  <a16:creationId xmlns:a16="http://schemas.microsoft.com/office/drawing/2014/main" id="{45D428E8-4A38-7E7A-9DFC-D9C27C53B913}"/>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3.1 Role Overview - Enterprise</a:t>
              </a:r>
            </a:p>
          </p:txBody>
        </p:sp>
        <p:sp>
          <p:nvSpPr>
            <p:cNvPr id="48" name="Table 2 Cell 1, 3 to Text">
              <a:extLst>
                <a:ext uri="{FF2B5EF4-FFF2-40B4-BE49-F238E27FC236}">
                  <a16:creationId xmlns:a16="http://schemas.microsoft.com/office/drawing/2014/main" id="{75813D2F-DB36-C593-84E3-D022DEF7B40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49" name="Table 2 Cell 1, 4 to Text">
              <a:extLst>
                <a:ext uri="{FF2B5EF4-FFF2-40B4-BE49-F238E27FC236}">
                  <a16:creationId xmlns:a16="http://schemas.microsoft.com/office/drawing/2014/main" id="{B2DE5E1A-7308-ED52-263F-54621DBE8BDF}"/>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51" name="Table 2 Cell 1, 5 to Text">
              <a:extLst>
                <a:ext uri="{FF2B5EF4-FFF2-40B4-BE49-F238E27FC236}">
                  <a16:creationId xmlns:a16="http://schemas.microsoft.com/office/drawing/2014/main" id="{DB07FC3C-FAD5-EF59-1C2F-33A1251C9AAD}"/>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52" name="Table 2 Cell 1, 6 to Text">
              <a:extLst>
                <a:ext uri="{FF2B5EF4-FFF2-40B4-BE49-F238E27FC236}">
                  <a16:creationId xmlns:a16="http://schemas.microsoft.com/office/drawing/2014/main" id="{6B57AE58-58DB-613B-01CC-AE5E11E3A0E0}"/>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53" name="Table 2 Cell 1, 7 to Text">
              <a:extLst>
                <a:ext uri="{FF2B5EF4-FFF2-40B4-BE49-F238E27FC236}">
                  <a16:creationId xmlns:a16="http://schemas.microsoft.com/office/drawing/2014/main" id="{B534B509-2B18-D21B-3C6A-83AE58322DA5}"/>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56" name="Table 2 Cell 1, 8 to Text">
              <a:extLst>
                <a:ext uri="{FF2B5EF4-FFF2-40B4-BE49-F238E27FC236}">
                  <a16:creationId xmlns:a16="http://schemas.microsoft.com/office/drawing/2014/main" id="{7A15BE0E-E8AB-D42A-4F25-53DF5E9DFB2E}"/>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35546136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029BB-3859-38AE-492F-0652D6318CFF}"/>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BCD199E3-9C5B-1E3D-6C37-E53D38E5AE3D}"/>
              </a:ext>
            </a:extLst>
          </p:cNvPr>
          <p:cNvSpPr txBox="1">
            <a:spLocks noGrp="1"/>
          </p:cNvSpPr>
          <p:nvPr>
            <p:ph type="title"/>
          </p:nvPr>
        </p:nvSpPr>
        <p:spPr>
          <a:xfrm>
            <a:off x="304798" y="457200"/>
            <a:ext cx="11315702"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a:t>
            </a:r>
            <a:r>
              <a:rPr lang="en-US" sz="2400"/>
              <a:t>Cloud &amp; AI Apps</a:t>
            </a:r>
            <a:br>
              <a:rPr lang="en-US" sz="2400"/>
            </a:br>
            <a:r>
              <a:rPr lang="en-US" sz="2400" noProof="0">
                <a:sym typeface="Trebuchet MS" panose="020B0603020202020204" pitchFamily="34" charset="0"/>
              </a:rPr>
              <a:t>Cloud Solution Architect</a:t>
            </a:r>
            <a:r>
              <a:rPr lang="en-US" sz="2400"/>
              <a:t> (SME&amp;C)</a:t>
            </a:r>
            <a:endParaRPr lang="en-US" sz="2400" noProof="0">
              <a:sym typeface="Trebuchet MS" panose="020B0603020202020204" pitchFamily="34" charset="0"/>
            </a:endParaRPr>
          </a:p>
        </p:txBody>
      </p:sp>
      <p:sp>
        <p:nvSpPr>
          <p:cNvPr id="63" name="Rectangle: Rounded Corners 62">
            <a:extLst>
              <a:ext uri="{FF2B5EF4-FFF2-40B4-BE49-F238E27FC236}">
                <a16:creationId xmlns:a16="http://schemas.microsoft.com/office/drawing/2014/main" id="{C779340A-B165-9048-A87C-AE80843FE6BC}"/>
              </a:ext>
              <a:ext uri="{C183D7F6-B498-43B3-948B-1728B52AA6E4}">
                <adec:decorative xmlns:adec="http://schemas.microsoft.com/office/drawing/2017/decorative" val="0"/>
              </a:ext>
            </a:extLst>
          </p:cNvPr>
          <p:cNvSpPr/>
          <p:nvPr/>
        </p:nvSpPr>
        <p:spPr>
          <a:xfrm>
            <a:off x="9906970" y="442913"/>
            <a:ext cx="198851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FY25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s/AI/Dev Advocate Solution Architect</a:t>
            </a:r>
            <a:br>
              <a:rPr kumimoji="0" lang="en-US" sz="700" b="0" i="0" u="none" strike="noStrike" kern="1200" cap="none" spc="0" normalizeH="0" baseline="0" noProof="0">
                <a:ln>
                  <a:noFill/>
                </a:ln>
                <a:solidFill>
                  <a:srgbClr val="0078D4"/>
                </a:solidFill>
                <a:effectLst/>
                <a:uLnTx/>
                <a:uFillTx/>
                <a:latin typeface="Segoe Sans Text Semibold"/>
                <a:ea typeface="+mn-ea"/>
                <a:cs typeface="+mn-cs"/>
              </a:rPr>
            </a:b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Apps Solution Architect </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 SME&amp;C</a:t>
            </a:r>
          </a:p>
        </p:txBody>
      </p:sp>
      <p:sp>
        <p:nvSpPr>
          <p:cNvPr id="25" name="Rectangle: Rounded Corners 24">
            <a:extLst>
              <a:ext uri="{FF2B5EF4-FFF2-40B4-BE49-F238E27FC236}">
                <a16:creationId xmlns:a16="http://schemas.microsoft.com/office/drawing/2014/main" id="{D3529CDA-77C4-96F8-41BA-DE7FC722523A}"/>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3F1C6172-004D-C6F7-430A-8109E8109552}"/>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6" name="Rectangle: Rounded Corners 35">
            <a:extLst>
              <a:ext uri="{FF2B5EF4-FFF2-40B4-BE49-F238E27FC236}">
                <a16:creationId xmlns:a16="http://schemas.microsoft.com/office/drawing/2014/main" id="{F3206EA7-23BB-A9BF-DE68-996F94222E06}"/>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39ED1ECA-F1D9-D63A-3E54-19ACCCD876AD}"/>
              </a:ext>
            </a:extLst>
          </p:cNvPr>
          <p:cNvSpPr/>
          <p:nvPr/>
        </p:nvSpPr>
        <p:spPr>
          <a:xfrm>
            <a:off x="304799" y="1200266"/>
            <a:ext cx="3268982"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9144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Apps CSA is accountable for enabling our customers to bring their AI products to production scale on Azur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I Design Wins and Unified opportunities across all Cloud &amp; AI</a:t>
            </a:r>
          </a:p>
        </p:txBody>
      </p:sp>
      <p:sp>
        <p:nvSpPr>
          <p:cNvPr id="40" name="Rectangle 39">
            <a:extLst>
              <a:ext uri="{FF2B5EF4-FFF2-40B4-BE49-F238E27FC236}">
                <a16:creationId xmlns:a16="http://schemas.microsoft.com/office/drawing/2014/main" id="{1CECC38D-3AFB-7348-CB7B-5BBCD0C6BC12}"/>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8" name="TextBox 37">
            <a:extLst>
              <a:ext uri="{FF2B5EF4-FFF2-40B4-BE49-F238E27FC236}">
                <a16:creationId xmlns:a16="http://schemas.microsoft.com/office/drawing/2014/main" id="{0EAB9723-F784-0762-D3AC-06A006686FF8}"/>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sp>
        <p:nvSpPr>
          <p:cNvPr id="41" name="Graphic 13">
            <a:extLst>
              <a:ext uri="{FF2B5EF4-FFF2-40B4-BE49-F238E27FC236}">
                <a16:creationId xmlns:a16="http://schemas.microsoft.com/office/drawing/2014/main" id="{E752D2B5-0382-EEDE-A67D-53F06C5020A8}"/>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2" name="Graphic 41">
            <a:extLst>
              <a:ext uri="{FF2B5EF4-FFF2-40B4-BE49-F238E27FC236}">
                <a16:creationId xmlns:a16="http://schemas.microsoft.com/office/drawing/2014/main" id="{FEB98AD5-3D05-1490-07EE-5DAA08B69D3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graphicFrame>
        <p:nvGraphicFramePr>
          <p:cNvPr id="64" name="Table 63">
            <a:extLst>
              <a:ext uri="{FF2B5EF4-FFF2-40B4-BE49-F238E27FC236}">
                <a16:creationId xmlns:a16="http://schemas.microsoft.com/office/drawing/2014/main" id="{2DDA2B42-2CD7-819D-3AA5-75CFF9134C62}"/>
              </a:ext>
            </a:extLst>
          </p:cNvPr>
          <p:cNvGraphicFramePr>
            <a:graphicFrameLocks noGrp="1"/>
          </p:cNvGraphicFramePr>
          <p:nvPr>
            <p:extLst>
              <p:ext uri="{D42A27DB-BD31-4B8C-83A1-F6EECF244321}">
                <p14:modId xmlns:p14="http://schemas.microsoft.com/office/powerpoint/2010/main" val="588135226"/>
              </p:ext>
            </p:extLst>
          </p:nvPr>
        </p:nvGraphicFramePr>
        <p:xfrm>
          <a:off x="3674473" y="1531355"/>
          <a:ext cx="8247674" cy="2476565"/>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1939290">
                  <a:extLst>
                    <a:ext uri="{9D8B030D-6E8A-4147-A177-3AD203B41FA5}">
                      <a16:colId xmlns:a16="http://schemas.microsoft.com/office/drawing/2014/main" val="88879238"/>
                    </a:ext>
                  </a:extLst>
                </a:gridCol>
                <a:gridCol w="5654590">
                  <a:extLst>
                    <a:ext uri="{9D8B030D-6E8A-4147-A177-3AD203B41FA5}">
                      <a16:colId xmlns:a16="http://schemas.microsoft.com/office/drawing/2014/main" val="707651252"/>
                    </a:ext>
                  </a:extLst>
                </a:gridCol>
              </a:tblGrid>
              <a:tr h="185871">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650057">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Segoe UI"/>
                          <a:ea typeface="+mn-ea"/>
                          <a:cs typeface="Segoe Sans Text" pitchFamily="2" charset="0"/>
                        </a:rPr>
                        <a:t>Drive C2C in Unified account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Segoe UI"/>
                          <a:ea typeface="+mn-ea"/>
                          <a:cs typeface="Segoe Sans Text" pitchFamily="2" charset="0"/>
                        </a:rPr>
                        <a:t>Drive C2C results for SME&amp;C. Drive hands-on engagement in Unified accounts</a:t>
                      </a:r>
                      <a:endParaRPr lang="en-US" sz="700" b="0" i="0" u="none" strike="sngStrike" kern="1200" cap="none" spc="0" normalizeH="0" baseline="0" noProof="0">
                        <a:solidFill>
                          <a:srgbClr val="FF0000"/>
                        </a:solidFill>
                        <a:latin typeface="Segoe UI"/>
                        <a:ea typeface="+mn-ea"/>
                        <a:cs typeface="Segoe Sans Text" pitchFamily="2" charset="0"/>
                      </a:endParaRP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8116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Segoe UI"/>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Design Win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Apps, Data &amp; AI</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Apps, Data &amp; AI</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Segoe UI"/>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75331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pp Innovation &amp; App Modernization</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I</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Integration Services</a:t>
                      </a:r>
                    </a:p>
                    <a:p>
                      <a:pPr marL="133350" marR="0" lvl="0" indent="-133350" algn="l" defTabSz="914400" rtl="0" eaLnBrk="1" fontAlgn="auto" latinLnBrk="0" hangingPunct="1">
                        <a:lnSpc>
                          <a:spcPct val="100000"/>
                        </a:lnSpc>
                        <a:spcBef>
                          <a:spcPts val="0"/>
                        </a:spcBef>
                        <a:spcAft>
                          <a:spcPts val="1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GitHub</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100"/>
                        </a:spcAft>
                        <a:buClr>
                          <a:schemeClr val="tx1"/>
                        </a:buClr>
                        <a:buSzPct val="100000"/>
                        <a:buFont typeface="Arial" panose="020B0604020202020204" pitchFamily="34" charset="0"/>
                        <a:buNone/>
                      </a:pPr>
                      <a:r>
                        <a:rPr lang="en-US" sz="700" b="0" i="0" u="none" strike="noStrike" kern="1200" cap="none" spc="0" normalizeH="0" baseline="0">
                          <a:solidFill>
                            <a:schemeClr val="accent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1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AI</a:t>
                      </a:r>
                      <a:r>
                        <a:rPr lang="en-US" sz="700" b="0" i="0" u="none" strike="noStrike" kern="1200" cap="none" spc="0" normalizeH="0" baseline="0">
                          <a:solidFill>
                            <a:schemeClr val="accent1"/>
                          </a:solidFill>
                          <a:latin typeface="+mn-lt"/>
                          <a:ea typeface="+mn-ea"/>
                          <a:cs typeface="Segoe Sans Text" pitchFamily="2" charset="0"/>
                        </a:rPr>
                        <a:t>: Azure AI Foundry*, 3P GPU </a:t>
                      </a:r>
                    </a:p>
                    <a:p>
                      <a:pPr marL="168275" marR="0" lvl="0" indent="-139700" algn="l" defTabSz="914400" rtl="0" eaLnBrk="1" fontAlgn="auto" latinLnBrk="0" hangingPunct="1">
                        <a:lnSpc>
                          <a:spcPct val="100000"/>
                        </a:lnSpc>
                        <a:spcBef>
                          <a:spcPts val="0"/>
                        </a:spcBef>
                        <a:spcAft>
                          <a:spcPts val="1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Apps</a:t>
                      </a:r>
                      <a:r>
                        <a:rPr lang="en-US" sz="700" b="0" i="0" u="none" strike="noStrike" kern="1200" cap="none" spc="0" normalizeH="0" baseline="0">
                          <a:solidFill>
                            <a:schemeClr val="accent1"/>
                          </a:solidFill>
                          <a:latin typeface="+mn-lt"/>
                          <a:ea typeface="+mn-ea"/>
                          <a:cs typeface="Segoe Sans Text" pitchFamily="2" charset="0"/>
                        </a:rPr>
                        <a:t>: AKS, App Service </a:t>
                      </a:r>
                    </a:p>
                    <a:p>
                      <a:pPr marL="168275" marR="0" lvl="0" indent="-139700" algn="l" defTabSz="914400" rtl="0" eaLnBrk="1" fontAlgn="auto" latinLnBrk="0" hangingPunct="1">
                        <a:lnSpc>
                          <a:spcPct val="100000"/>
                        </a:lnSpc>
                        <a:spcBef>
                          <a:spcPts val="0"/>
                        </a:spcBef>
                        <a:spcAft>
                          <a:spcPts val="1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Data</a:t>
                      </a:r>
                      <a:r>
                        <a:rPr lang="en-US" sz="700" b="0" i="0" u="none" strike="noStrike" kern="1200" cap="none" spc="0" normalizeH="0" baseline="0">
                          <a:solidFill>
                            <a:schemeClr val="accent1"/>
                          </a:solidFill>
                          <a:latin typeface="+mn-lt"/>
                          <a:ea typeface="+mn-ea"/>
                          <a:cs typeface="Segoe Sans Text" pitchFamily="2" charset="0"/>
                        </a:rPr>
                        <a:t>: Azure Cosmos DB, Azure SQL Databases, Azure Database for PostgreSQL </a:t>
                      </a:r>
                    </a:p>
                    <a:p>
                      <a:pPr marL="168275" marR="0" lvl="0" indent="-139700" algn="l" defTabSz="914400" rtl="0" eaLnBrk="1" fontAlgn="auto" latinLnBrk="0" hangingPunct="1">
                        <a:lnSpc>
                          <a:spcPct val="100000"/>
                        </a:lnSpc>
                        <a:spcBef>
                          <a:spcPts val="0"/>
                        </a:spcBef>
                        <a:spcAft>
                          <a:spcPts val="1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Integration Services</a:t>
                      </a:r>
                      <a:r>
                        <a:rPr lang="en-US" sz="700" b="0" i="0" u="none" strike="noStrike" kern="1200" cap="none" spc="0" normalizeH="0" baseline="0">
                          <a:solidFill>
                            <a:schemeClr val="accent1"/>
                          </a:solidFill>
                          <a:latin typeface="+mn-lt"/>
                          <a:ea typeface="+mn-ea"/>
                          <a:cs typeface="Segoe Sans Text" pitchFamily="2" charset="0"/>
                        </a:rPr>
                        <a:t>: APIM</a:t>
                      </a:r>
                    </a:p>
                    <a:p>
                      <a:pPr marL="168275" marR="0" lvl="0" indent="-139700" algn="l" defTabSz="914400" rtl="0" eaLnBrk="1" fontAlgn="auto" latinLnBrk="0" hangingPunct="1">
                        <a:lnSpc>
                          <a:spcPct val="100000"/>
                        </a:lnSpc>
                        <a:spcBef>
                          <a:spcPts val="0"/>
                        </a:spcBef>
                        <a:spcAft>
                          <a:spcPts val="100"/>
                        </a:spcAft>
                        <a:buClr>
                          <a:schemeClr val="tx1"/>
                        </a:buClr>
                        <a:buSzPct val="100000"/>
                        <a:buFont typeface="+mj-lt"/>
                        <a:buAutoNum type="arabicPeriod"/>
                      </a:pPr>
                      <a:r>
                        <a:rPr lang="en-US" sz="700" b="0" i="0" u="none" strike="noStrike" kern="1200" cap="none" spc="0" normalizeH="0" baseline="0">
                          <a:solidFill>
                            <a:schemeClr val="accent1"/>
                          </a:solidFill>
                          <a:latin typeface="+mj-lt"/>
                          <a:ea typeface="+mn-ea"/>
                          <a:cs typeface="Segoe Sans Text" pitchFamily="2" charset="0"/>
                        </a:rPr>
                        <a:t>Developer</a:t>
                      </a:r>
                      <a:r>
                        <a:rPr lang="en-US" sz="700" b="0" i="0" u="none" strike="noStrike" kern="1200" cap="none" spc="0" normalizeH="0" baseline="0">
                          <a:solidFill>
                            <a:schemeClr val="accent1"/>
                          </a:solidFill>
                          <a:latin typeface="+mn-lt"/>
                          <a:ea typeface="+mn-ea"/>
                          <a:cs typeface="Segoe Sans Text" pitchFamily="2" charset="0"/>
                        </a:rPr>
                        <a:t>: GitHub (Copilot, Enterprise, Adv Security, Actions, </a:t>
                      </a:r>
                      <a:r>
                        <a:rPr lang="en-US" sz="700" b="0" i="0" u="none" strike="noStrike" kern="1200" cap="none" spc="0" normalizeH="0" baseline="0" err="1">
                          <a:solidFill>
                            <a:schemeClr val="accent1"/>
                          </a:solidFill>
                          <a:latin typeface="+mn-lt"/>
                          <a:ea typeface="+mn-ea"/>
                          <a:cs typeface="Segoe Sans Text" pitchFamily="2" charset="0"/>
                        </a:rPr>
                        <a:t>Codespaces</a:t>
                      </a:r>
                      <a:r>
                        <a:rPr lang="en-US" sz="700" b="0" i="0" u="none" strike="noStrike" kern="1200" cap="none" spc="0" normalizeH="0" baseline="0">
                          <a:solidFill>
                            <a:schemeClr val="accent1"/>
                          </a:solidFill>
                          <a:latin typeface="+mn-lt"/>
                          <a:ea typeface="+mn-ea"/>
                          <a:cs typeface="Segoe Sans Text" pitchFamily="2" charset="0"/>
                        </a:rPr>
                        <a:t>)</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2" name="Rectangle: Rounded Corners 1">
            <a:extLst>
              <a:ext uri="{FF2B5EF4-FFF2-40B4-BE49-F238E27FC236}">
                <a16:creationId xmlns:a16="http://schemas.microsoft.com/office/drawing/2014/main" id="{025309B1-ABED-091A-AB9C-4C6887AAAF24}"/>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7" name="Rectangle: Rounded Corners 16">
            <a:extLst>
              <a:ext uri="{FF2B5EF4-FFF2-40B4-BE49-F238E27FC236}">
                <a16:creationId xmlns:a16="http://schemas.microsoft.com/office/drawing/2014/main" id="{669ACE36-06A3-7EC6-30EF-4F60906EA794}"/>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Rectangle 17">
            <a:extLst>
              <a:ext uri="{FF2B5EF4-FFF2-40B4-BE49-F238E27FC236}">
                <a16:creationId xmlns:a16="http://schemas.microsoft.com/office/drawing/2014/main" id="{6675FEC8-B086-AB1E-129A-1B81C1B6D0BB}"/>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45" name="TextBox 44">
            <a:extLst>
              <a:ext uri="{FF2B5EF4-FFF2-40B4-BE49-F238E27FC236}">
                <a16:creationId xmlns:a16="http://schemas.microsoft.com/office/drawing/2014/main" id="{15D957BF-85B7-FC30-EB8D-12E7B07DA35C}"/>
              </a:ext>
            </a:extLst>
          </p:cNvPr>
          <p:cNvSpPr txBox="1"/>
          <p:nvPr/>
        </p:nvSpPr>
        <p:spPr>
          <a:xfrm>
            <a:off x="425445" y="4478878"/>
            <a:ext cx="1855793" cy="2616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Innovate with AI Apps &amp; Agents</a:t>
            </a:r>
          </a:p>
        </p:txBody>
      </p:sp>
      <p:sp>
        <p:nvSpPr>
          <p:cNvPr id="62" name="TextBox 61">
            <a:extLst>
              <a:ext uri="{FF2B5EF4-FFF2-40B4-BE49-F238E27FC236}">
                <a16:creationId xmlns:a16="http://schemas.microsoft.com/office/drawing/2014/main" id="{C12B5BB5-C9C1-7611-635A-E9DF012CC8B2}"/>
              </a:ext>
            </a:extLst>
          </p:cNvPr>
          <p:cNvSpPr txBox="1"/>
          <p:nvPr/>
        </p:nvSpPr>
        <p:spPr>
          <a:xfrm>
            <a:off x="425445" y="4794161"/>
            <a:ext cx="1993342"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aka.ms/</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cloudaicsu</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6"/>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C0AE9F22-AABC-C019-D1B9-31DA8AAB1017}"/>
              </a:ext>
            </a:extLst>
          </p:cNvPr>
          <p:cNvSpPr txBox="1"/>
          <p:nvPr/>
        </p:nvSpPr>
        <p:spPr>
          <a:xfrm>
            <a:off x="425445" y="5109444"/>
            <a:ext cx="185579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GitHub, Proactive Resiliency Initiative, Azure Essentials</a:t>
            </a:r>
          </a:p>
        </p:txBody>
      </p:sp>
      <p:sp>
        <p:nvSpPr>
          <p:cNvPr id="11" name="TextBox 10">
            <a:extLst>
              <a:ext uri="{FF2B5EF4-FFF2-40B4-BE49-F238E27FC236}">
                <a16:creationId xmlns:a16="http://schemas.microsoft.com/office/drawing/2014/main" id="{494808CE-811D-2D22-1033-4913267E9705}"/>
              </a:ext>
            </a:extLst>
          </p:cNvPr>
          <p:cNvSpPr txBox="1"/>
          <p:nvPr/>
        </p:nvSpPr>
        <p:spPr>
          <a:xfrm>
            <a:off x="425445" y="5547838"/>
            <a:ext cx="1352934" cy="882293"/>
          </a:xfrm>
          <a:prstGeom prst="rect">
            <a:avLst/>
          </a:prstGeom>
          <a:noFill/>
        </p:spPr>
        <p:txBody>
          <a:bodyPr wrap="squar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ols/Repor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20" name="Graphic 73">
            <a:extLst>
              <a:ext uri="{FF2B5EF4-FFF2-40B4-BE49-F238E27FC236}">
                <a16:creationId xmlns:a16="http://schemas.microsoft.com/office/drawing/2014/main" id="{80C12BD9-B888-C15F-6C85-57414DA86FA3}"/>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Rectangle: Rounded Corners 21">
            <a:extLst>
              <a:ext uri="{FF2B5EF4-FFF2-40B4-BE49-F238E27FC236}">
                <a16:creationId xmlns:a16="http://schemas.microsoft.com/office/drawing/2014/main" id="{80ECA23F-7D08-31E4-ED45-9E990840DD3C}"/>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3" name="Rectangle: Rounded Corners 22">
            <a:extLst>
              <a:ext uri="{FF2B5EF4-FFF2-40B4-BE49-F238E27FC236}">
                <a16:creationId xmlns:a16="http://schemas.microsoft.com/office/drawing/2014/main" id="{FC1990DF-AA62-A232-2796-3D3904C736C8}"/>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Rectangle: Rounded Corners 25">
            <a:extLst>
              <a:ext uri="{FF2B5EF4-FFF2-40B4-BE49-F238E27FC236}">
                <a16:creationId xmlns:a16="http://schemas.microsoft.com/office/drawing/2014/main" id="{13433D26-021C-FE23-1472-31C652768E1C}"/>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7" name="Rectangle: Rounded Corners 26">
            <a:extLst>
              <a:ext uri="{FF2B5EF4-FFF2-40B4-BE49-F238E27FC236}">
                <a16:creationId xmlns:a16="http://schemas.microsoft.com/office/drawing/2014/main" id="{9DB2B5CD-DACC-8EAD-4B3D-DA747A468BC3}"/>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Rectangle 28">
            <a:extLst>
              <a:ext uri="{FF2B5EF4-FFF2-40B4-BE49-F238E27FC236}">
                <a16:creationId xmlns:a16="http://schemas.microsoft.com/office/drawing/2014/main" id="{AC0808FB-1B5C-650F-BC9D-513FDC50ACCF}"/>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pic>
        <p:nvPicPr>
          <p:cNvPr id="31" name="Graphic 30">
            <a:extLst>
              <a:ext uri="{FF2B5EF4-FFF2-40B4-BE49-F238E27FC236}">
                <a16:creationId xmlns:a16="http://schemas.microsoft.com/office/drawing/2014/main" id="{7D9349CF-FA21-ED76-C0E4-3D76AD859FF6}"/>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32" name="Group 31">
            <a:extLst>
              <a:ext uri="{FF2B5EF4-FFF2-40B4-BE49-F238E27FC236}">
                <a16:creationId xmlns:a16="http://schemas.microsoft.com/office/drawing/2014/main" id="{07704C67-C188-F4EE-B7E1-98187D75F0A3}"/>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33" name="Rectangle 32">
              <a:extLst>
                <a:ext uri="{FF2B5EF4-FFF2-40B4-BE49-F238E27FC236}">
                  <a16:creationId xmlns:a16="http://schemas.microsoft.com/office/drawing/2014/main" id="{E9BEB812-888D-7E6A-AF9C-4DD9CA8ABF46}"/>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34" name="Graphic 33">
              <a:extLst>
                <a:ext uri="{FF2B5EF4-FFF2-40B4-BE49-F238E27FC236}">
                  <a16:creationId xmlns:a16="http://schemas.microsoft.com/office/drawing/2014/main" id="{D4CEE52B-F50D-FBF8-3980-31CFC1370AD5}"/>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4" name="TextBox 53">
            <a:extLst>
              <a:ext uri="{FF2B5EF4-FFF2-40B4-BE49-F238E27FC236}">
                <a16:creationId xmlns:a16="http://schemas.microsoft.com/office/drawing/2014/main" id="{15B8967D-B580-FBB8-0033-B6F6AB89476E}"/>
              </a:ext>
            </a:extLst>
          </p:cNvPr>
          <p:cNvSpPr txBox="1"/>
          <p:nvPr/>
        </p:nvSpPr>
        <p:spPr>
          <a:xfrm>
            <a:off x="2777299" y="4497928"/>
            <a:ext cx="4727648"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55" name="TextBox 54">
            <a:extLst>
              <a:ext uri="{FF2B5EF4-FFF2-40B4-BE49-F238E27FC236}">
                <a16:creationId xmlns:a16="http://schemas.microsoft.com/office/drawing/2014/main" id="{E7726387-4BE8-7C77-53DF-EBCC6281D35E}"/>
              </a:ext>
            </a:extLst>
          </p:cNvPr>
          <p:cNvSpPr txBox="1"/>
          <p:nvPr/>
        </p:nvSpPr>
        <p:spPr>
          <a:xfrm>
            <a:off x="2777299" y="4983219"/>
            <a:ext cx="5062604" cy="101822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1 targets defined.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2 targets for total Completed Pipeline created against quarterly Net New Required budget</a:t>
            </a:r>
            <a:endParaRPr kumimoji="0" lang="en-US" sz="800" b="0" i="0" u="none" strike="sngStrike" kern="1200" cap="none" spc="0" normalizeH="0" baseline="0" noProof="0">
              <a:ln>
                <a:noFill/>
              </a:ln>
              <a:solidFill>
                <a:srgbClr val="FF0000"/>
              </a:solidFill>
              <a:effectLst/>
              <a:uLnTx/>
              <a:uFillTx/>
              <a:latin typeface="Segoe Sans Text"/>
              <a:ea typeface="Calibri" panose="020F0502020204030204" pitchFamily="34" charset="0"/>
              <a:cs typeface="Calibri" panose="020F0502020204030204" pitchFamily="34" charset="0"/>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Repeatable Delivery VTT &gt; 0; On Strategy delivery mix VTT &gt; 0</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Drive Factory engagements where applicable. </a:t>
            </a:r>
          </a:p>
        </p:txBody>
      </p:sp>
      <p:sp>
        <p:nvSpPr>
          <p:cNvPr id="50" name="TextBox 49">
            <a:extLst>
              <a:ext uri="{FF2B5EF4-FFF2-40B4-BE49-F238E27FC236}">
                <a16:creationId xmlns:a16="http://schemas.microsoft.com/office/drawing/2014/main" id="{86AB83ED-D431-C682-289A-AD1F19694063}"/>
              </a:ext>
            </a:extLst>
          </p:cNvPr>
          <p:cNvSpPr txBox="1"/>
          <p:nvPr/>
        </p:nvSpPr>
        <p:spPr>
          <a:xfrm>
            <a:off x="8100059" y="4497928"/>
            <a:ext cx="3529966" cy="1856919"/>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AI Foundry</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Models, Agent Service, Semantic Kernel, Search, ML, SDK)</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Copilot Studio​</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err="1">
                <a:ln>
                  <a:noFill/>
                </a:ln>
                <a:solidFill>
                  <a:srgbClr val="0078D4"/>
                </a:solidFill>
                <a:effectLst/>
                <a:uLnTx/>
                <a:uFillTx/>
                <a:latin typeface="Segoe Sans Text Semibold"/>
                <a:ea typeface="Calibri" panose="020F0502020204030204" pitchFamily="34" charset="0"/>
                <a:cs typeface="Calibri" panose="020F0502020204030204" pitchFamily="34" charset="0"/>
              </a:rPr>
              <a:t>AppPlat</a:t>
            </a: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Containers/Serverless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pp Service, AKS, ACA, ARO, Function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Integration Servic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PIM, Logic App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evOp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I/CD, Azure DevOps,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DevSecOp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GitHub</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opilot, Enterprise, Adv Security, Actions,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Codespaces</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3P GPU/AI Infra/BYOAIM</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Data</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Cosmos DB, Azure SQL, Azure Database for PostgreSQL)</a:t>
            </a:r>
          </a:p>
        </p:txBody>
      </p:sp>
      <p:grpSp>
        <p:nvGrpSpPr>
          <p:cNvPr id="16" name="Group 15">
            <a:extLst>
              <a:ext uri="{FF2B5EF4-FFF2-40B4-BE49-F238E27FC236}">
                <a16:creationId xmlns:a16="http://schemas.microsoft.com/office/drawing/2014/main" id="{0CA6A34C-9B60-AA36-1BB0-D06E52BB06CF}"/>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1" name="Table 2 Cell 1, 1 to Text">
              <a:extLst>
                <a:ext uri="{FF2B5EF4-FFF2-40B4-BE49-F238E27FC236}">
                  <a16:creationId xmlns:a16="http://schemas.microsoft.com/office/drawing/2014/main" id="{2DA3267F-3B29-3BC9-1346-FB575610CB9A}"/>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4" name="Table 2 Cell 2, 1 to Text">
              <a:extLst>
                <a:ext uri="{FF2B5EF4-FFF2-40B4-BE49-F238E27FC236}">
                  <a16:creationId xmlns:a16="http://schemas.microsoft.com/office/drawing/2014/main" id="{63F7C11E-92C4-E824-EC10-99EA11C9E7B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35" name="Table 2 Cell 3, 1 to Text">
              <a:extLst>
                <a:ext uri="{FF2B5EF4-FFF2-40B4-BE49-F238E27FC236}">
                  <a16:creationId xmlns:a16="http://schemas.microsoft.com/office/drawing/2014/main" id="{055259ED-FCB6-85B8-B34D-5888EDBC2F8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9" name="Table 2 Cell 4, 1 to Text">
              <a:extLst>
                <a:ext uri="{FF2B5EF4-FFF2-40B4-BE49-F238E27FC236}">
                  <a16:creationId xmlns:a16="http://schemas.microsoft.com/office/drawing/2014/main" id="{C8F7C4AC-7818-8FEC-555B-B0A6CFD0C017}"/>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43" name="Table 2 Cell 5, 1 to Text">
              <a:extLst>
                <a:ext uri="{FF2B5EF4-FFF2-40B4-BE49-F238E27FC236}">
                  <a16:creationId xmlns:a16="http://schemas.microsoft.com/office/drawing/2014/main" id="{DA772787-8DF8-5284-57FC-63958891D9CC}"/>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4" name="Table 2 Cell 6, 1 to Text">
              <a:extLst>
                <a:ext uri="{FF2B5EF4-FFF2-40B4-BE49-F238E27FC236}">
                  <a16:creationId xmlns:a16="http://schemas.microsoft.com/office/drawing/2014/main" id="{0C857868-7256-925C-00EF-63AD728F2FDB}"/>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7" name="Table 2 Cell 7, 1 to Text">
              <a:extLst>
                <a:ext uri="{FF2B5EF4-FFF2-40B4-BE49-F238E27FC236}">
                  <a16:creationId xmlns:a16="http://schemas.microsoft.com/office/drawing/2014/main" id="{7B26E12D-1A13-7508-8AFC-822F58875ABB}"/>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8" name="Table 2 Cell 1, 2 to Text">
              <a:extLst>
                <a:ext uri="{FF2B5EF4-FFF2-40B4-BE49-F238E27FC236}">
                  <a16:creationId xmlns:a16="http://schemas.microsoft.com/office/drawing/2014/main" id="{33432FD5-D677-D8E5-A312-358C248362EB}"/>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49" name="Table 2 Cell 1, 3 to Text">
              <a:extLst>
                <a:ext uri="{FF2B5EF4-FFF2-40B4-BE49-F238E27FC236}">
                  <a16:creationId xmlns:a16="http://schemas.microsoft.com/office/drawing/2014/main" id="{F66A2EC9-44FF-69BC-2750-502CBB58C449}"/>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sz="800">
                  <a:solidFill>
                    <a:schemeClr val="bg1"/>
                  </a:solidFill>
                </a:rPr>
                <a:t>3.2 Role Overview – SME&amp;C</a:t>
              </a:r>
            </a:p>
          </p:txBody>
        </p:sp>
        <p:sp>
          <p:nvSpPr>
            <p:cNvPr id="51" name="Table 2 Cell 1, 4 to Text">
              <a:extLst>
                <a:ext uri="{FF2B5EF4-FFF2-40B4-BE49-F238E27FC236}">
                  <a16:creationId xmlns:a16="http://schemas.microsoft.com/office/drawing/2014/main" id="{56B87961-5829-2BF8-1E9A-E4362C077F7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52" name="Table 2 Cell 1, 5 to Text">
              <a:extLst>
                <a:ext uri="{FF2B5EF4-FFF2-40B4-BE49-F238E27FC236}">
                  <a16:creationId xmlns:a16="http://schemas.microsoft.com/office/drawing/2014/main" id="{B41900A0-C9C9-1CE4-DE3C-424223E4DC54}"/>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53" name="Table 2 Cell 1, 6 to Text">
              <a:extLst>
                <a:ext uri="{FF2B5EF4-FFF2-40B4-BE49-F238E27FC236}">
                  <a16:creationId xmlns:a16="http://schemas.microsoft.com/office/drawing/2014/main" id="{EB62701A-B4AD-1BCF-A50F-BAF63E1AF41F}"/>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56" name="Table 2 Cell 1, 7 to Text">
              <a:extLst>
                <a:ext uri="{FF2B5EF4-FFF2-40B4-BE49-F238E27FC236}">
                  <a16:creationId xmlns:a16="http://schemas.microsoft.com/office/drawing/2014/main" id="{2277A391-C8F9-1024-D059-343F501C38BE}"/>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57" name="Table 2 Cell 1, 8 to Text">
              <a:extLst>
                <a:ext uri="{FF2B5EF4-FFF2-40B4-BE49-F238E27FC236}">
                  <a16:creationId xmlns:a16="http://schemas.microsoft.com/office/drawing/2014/main" id="{86BA1484-0ABC-9601-2D78-922366D8E25E}"/>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24926550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EDAD7-26EA-AFE0-50E0-47D212829684}"/>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3921BF-6AD5-B4DE-CBE4-EA96788F4D6C}"/>
              </a:ext>
            </a:extLst>
          </p:cNvPr>
          <p:cNvSpPr/>
          <p:nvPr/>
        </p:nvSpPr>
        <p:spPr bwMode="auto">
          <a:xfrm>
            <a:off x="161579" y="1121699"/>
            <a:ext cx="11868839" cy="3651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endParaRPr lang="en-US" b="1"/>
          </a:p>
        </p:txBody>
      </p:sp>
      <p:graphicFrame>
        <p:nvGraphicFramePr>
          <p:cNvPr id="5" name="Object 4" hidden="1">
            <a:extLst>
              <a:ext uri="{FF2B5EF4-FFF2-40B4-BE49-F238E27FC236}">
                <a16:creationId xmlns:a16="http://schemas.microsoft.com/office/drawing/2014/main" id="{0CFC6CE3-8F41-FD4C-ABAD-F3961947236A}"/>
              </a:ext>
            </a:extLst>
          </p:cNvPr>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5" name="Object 4" hidden="1">
                        <a:extLst>
                          <a:ext uri="{FF2B5EF4-FFF2-40B4-BE49-F238E27FC236}">
                            <a16:creationId xmlns:a16="http://schemas.microsoft.com/office/drawing/2014/main" id="{0CFC6CE3-8F41-FD4C-ABAD-F3961947236A}"/>
                          </a:ext>
                        </a:extLst>
                      </p:cNvPr>
                      <p:cNvPicPr/>
                      <p:nvPr/>
                    </p:nvPicPr>
                    <p:blipFill>
                      <a:blip r:embed="rId5"/>
                      <a:stretch>
                        <a:fillRect/>
                      </a:stretch>
                    </p:blipFill>
                    <p:spPr>
                      <a:xfrm>
                        <a:off x="3177" y="1589"/>
                        <a:ext cx="1587" cy="1587"/>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6A2E5737-6DA8-D2E3-5CCD-132AB1BA9470}"/>
              </a:ext>
            </a:extLst>
          </p:cNvPr>
          <p:cNvSpPr>
            <a:spLocks noGrp="1"/>
          </p:cNvSpPr>
          <p:nvPr>
            <p:ph type="title"/>
          </p:nvPr>
        </p:nvSpPr>
        <p:spPr>
          <a:xfrm>
            <a:off x="294931" y="931037"/>
            <a:ext cx="11625320" cy="1615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1050">
                <a:solidFill>
                  <a:schemeClr val="tx2"/>
                </a:solidFill>
                <a:latin typeface="+mn-lt"/>
                <a:ea typeface="Arial Unicode MS"/>
                <a:cs typeface="Arial Unicode MS"/>
              </a:rPr>
              <a:t>CSA IC – RSG Name: </a:t>
            </a:r>
            <a:r>
              <a:rPr kumimoji="0" lang="en-US" sz="1050" u="none" strike="noStrike" kern="1200" cap="none" spc="0" normalizeH="0" baseline="0" noProof="0">
                <a:ln>
                  <a:noFill/>
                </a:ln>
                <a:solidFill>
                  <a:schemeClr val="tx2"/>
                </a:solidFill>
                <a:effectLst/>
                <a:uLnTx/>
                <a:uFillTx/>
                <a:latin typeface="+mn-lt"/>
                <a:cs typeface="+mn-cs"/>
              </a:rPr>
              <a:t>Cloud Solution Architecture IC –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Qual 1: All</a:t>
            </a:r>
            <a:r>
              <a:rPr kumimoji="0" lang="en-US" sz="1050" u="none" strike="noStrike" kern="1200" cap="none" spc="0" normalizeH="0" baseline="0" noProof="0">
                <a:ln>
                  <a:noFill/>
                </a:ln>
                <a:solidFill>
                  <a:schemeClr val="tx2"/>
                </a:solidFill>
                <a:effectLst/>
                <a:uLnTx/>
                <a:uFillTx/>
                <a:latin typeface="+mn-lt"/>
                <a:cs typeface="+mn-cs"/>
              </a:rPr>
              <a:t>; Qual 2: Cloud &amp;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AI Apps</a:t>
            </a:r>
            <a:r>
              <a:rPr kumimoji="0" lang="en-US" sz="1050" u="none" strike="noStrike" kern="1200" cap="none" spc="0" normalizeH="0" baseline="0" noProof="0">
                <a:ln>
                  <a:noFill/>
                </a:ln>
                <a:solidFill>
                  <a:schemeClr val="tx2"/>
                </a:solidFill>
                <a:effectLst/>
                <a:uLnTx/>
                <a:uFillTx/>
                <a:latin typeface="+mn-lt"/>
                <a:cs typeface="+mn-cs"/>
              </a:rPr>
              <a:t> | Role Owner: Samantha Wilder, Pradeep Raman</a:t>
            </a:r>
            <a:endParaRPr lang="en-CA" sz="1050">
              <a:solidFill>
                <a:schemeClr val="tx2"/>
              </a:solidFill>
              <a:latin typeface="+mn-lt"/>
            </a:endParaRPr>
          </a:p>
        </p:txBody>
      </p:sp>
      <p:graphicFrame>
        <p:nvGraphicFramePr>
          <p:cNvPr id="12" name="Table 11">
            <a:extLst>
              <a:ext uri="{FF2B5EF4-FFF2-40B4-BE49-F238E27FC236}">
                <a16:creationId xmlns:a16="http://schemas.microsoft.com/office/drawing/2014/main" id="{82A75792-74C4-6973-3048-6C784E6B69F2}"/>
              </a:ext>
            </a:extLst>
          </p:cNvPr>
          <p:cNvGraphicFramePr>
            <a:graphicFrameLocks noGrp="1"/>
          </p:cNvGraphicFramePr>
          <p:nvPr>
            <p:extLst>
              <p:ext uri="{D42A27DB-BD31-4B8C-83A1-F6EECF244321}">
                <p14:modId xmlns:p14="http://schemas.microsoft.com/office/powerpoint/2010/main" val="673530509"/>
              </p:ext>
            </p:extLst>
          </p:nvPr>
        </p:nvGraphicFramePr>
        <p:xfrm>
          <a:off x="161580" y="1121699"/>
          <a:ext cx="11868840" cy="5593080"/>
        </p:xfrm>
        <a:graphic>
          <a:graphicData uri="http://schemas.openxmlformats.org/drawingml/2006/table">
            <a:tbl>
              <a:tblPr firstRow="1" bandRow="1">
                <a:tableStyleId>{2D5ABB26-0587-4C30-8999-92F81FD0307C}</a:tableStyleId>
              </a:tblPr>
              <a:tblGrid>
                <a:gridCol w="307149">
                  <a:extLst>
                    <a:ext uri="{9D8B030D-6E8A-4147-A177-3AD203B41FA5}">
                      <a16:colId xmlns:a16="http://schemas.microsoft.com/office/drawing/2014/main" val="4195672858"/>
                    </a:ext>
                  </a:extLst>
                </a:gridCol>
                <a:gridCol w="1239390">
                  <a:extLst>
                    <a:ext uri="{9D8B030D-6E8A-4147-A177-3AD203B41FA5}">
                      <a16:colId xmlns:a16="http://schemas.microsoft.com/office/drawing/2014/main" val="2870045406"/>
                    </a:ext>
                  </a:extLst>
                </a:gridCol>
                <a:gridCol w="2169818">
                  <a:extLst>
                    <a:ext uri="{9D8B030D-6E8A-4147-A177-3AD203B41FA5}">
                      <a16:colId xmlns:a16="http://schemas.microsoft.com/office/drawing/2014/main" val="913734882"/>
                    </a:ext>
                  </a:extLst>
                </a:gridCol>
                <a:gridCol w="8152483">
                  <a:extLst>
                    <a:ext uri="{9D8B030D-6E8A-4147-A177-3AD203B41FA5}">
                      <a16:colId xmlns:a16="http://schemas.microsoft.com/office/drawing/2014/main" val="3900489793"/>
                    </a:ext>
                  </a:extLst>
                </a:gridCol>
              </a:tblGrid>
              <a:tr h="390807">
                <a:tc>
                  <a:txBody>
                    <a:bodyPr/>
                    <a:lstStyle/>
                    <a:p>
                      <a:pPr algn="ctr"/>
                      <a:r>
                        <a:rPr lang="en-US" sz="1000" b="1">
                          <a:solidFill>
                            <a:schemeClr val="bg1"/>
                          </a:solidFill>
                        </a:rPr>
                        <a:t>#</a:t>
                      </a:r>
                      <a:endParaRPr lang="en-US" sz="1000" b="1">
                        <a:solidFill>
                          <a:schemeClr val="bg1"/>
                        </a:solidFill>
                        <a:latin typeface="+mj-lt"/>
                      </a:endParaRPr>
                    </a:p>
                  </a:txBody>
                  <a:tcPr>
                    <a:lnB w="9525" cap="flat" cmpd="sng" algn="ctr">
                      <a:noFill/>
                      <a:prstDash val="solid"/>
                      <a:round/>
                      <a:headEnd type="none" w="med" len="med"/>
                      <a:tailEnd type="none" w="med" len="med"/>
                    </a:lnB>
                    <a:noFill/>
                  </a:tcPr>
                </a:tc>
                <a:tc>
                  <a:txBody>
                    <a:bodyPr/>
                    <a:lstStyle/>
                    <a:p>
                      <a:pPr algn="ctr"/>
                      <a:r>
                        <a:rPr lang="en-US" sz="1000" b="1">
                          <a:solidFill>
                            <a:schemeClr val="bg1"/>
                          </a:solidFill>
                        </a:rPr>
                        <a:t>Core Priority Title</a:t>
                      </a:r>
                      <a:endParaRPr lang="en-US" sz="1000" b="1">
                        <a:solidFill>
                          <a:schemeClr val="bg1"/>
                        </a:solidFill>
                        <a:latin typeface="+mj-lt"/>
                      </a:endParaRPr>
                    </a:p>
                  </a:txBody>
                  <a:tcPr anchor="ctr">
                    <a:lnB w="9525" cap="flat" cmpd="sng" algn="ctr">
                      <a:noFill/>
                      <a:prstDash val="solid"/>
                      <a:round/>
                      <a:headEnd type="none" w="med" len="med"/>
                      <a:tailEnd type="none" w="med" len="med"/>
                    </a:lnB>
                    <a:noFill/>
                  </a:tcPr>
                </a:tc>
                <a:tc>
                  <a:txBody>
                    <a:bodyPr/>
                    <a:lstStyle/>
                    <a:p>
                      <a:pPr algn="ctr"/>
                      <a:r>
                        <a:rPr lang="en-US" sz="1000" b="1">
                          <a:solidFill>
                            <a:schemeClr val="bg1"/>
                          </a:solidFill>
                        </a:rPr>
                        <a:t>Core Priority</a:t>
                      </a:r>
                      <a:endParaRPr lang="en-US" sz="1000" b="1">
                        <a:solidFill>
                          <a:schemeClr val="bg1"/>
                        </a:solidFill>
                        <a:latin typeface="+mj-lt"/>
                      </a:endParaRPr>
                    </a:p>
                  </a:txBody>
                  <a:tcPr anchor="ctr">
                    <a:lnB w="9525" cap="flat" cmpd="sng" algn="ctr">
                      <a:noFill/>
                      <a:prstDash val="solid"/>
                      <a:round/>
                      <a:headEnd type="none" w="med" len="med"/>
                      <a:tailEnd type="none" w="med" len="med"/>
                    </a:lnB>
                    <a:noFill/>
                  </a:tcPr>
                </a:tc>
                <a:tc>
                  <a:txBody>
                    <a:bodyPr/>
                    <a:lstStyle/>
                    <a:p>
                      <a:pPr algn="ctr"/>
                      <a:r>
                        <a:rPr lang="en-US" sz="1000" b="1">
                          <a:solidFill>
                            <a:schemeClr val="bg1"/>
                          </a:solidFill>
                        </a:rPr>
                        <a:t>CSA Critical Indicators of Success  (How will you measure success?)</a:t>
                      </a:r>
                      <a:endParaRPr lang="en-US" sz="1000" b="1">
                        <a:solidFill>
                          <a:schemeClr val="bg1"/>
                        </a:solidFill>
                        <a:latin typeface="+mj-lt"/>
                      </a:endParaRPr>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117565343"/>
                  </a:ext>
                </a:extLst>
              </a:tr>
              <a:tr h="1187451">
                <a:tc>
                  <a:txBody>
                    <a:bodyPr/>
                    <a:lstStyle/>
                    <a:p>
                      <a:r>
                        <a:rPr lang="en-US" sz="900">
                          <a:solidFill>
                            <a:schemeClr val="tx2"/>
                          </a:solidFill>
                        </a:rPr>
                        <a:t>1</a:t>
                      </a: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900" b="1" u="none" strike="noStrike" baseline="0" noProof="0">
                          <a:solidFill>
                            <a:srgbClr val="000000"/>
                          </a:solidFill>
                        </a:rPr>
                        <a:t>Unleash our talent to unlock customer/partner value </a:t>
                      </a:r>
                      <a:endParaRPr lang="en-US" sz="900" b="1">
                        <a:solidFill>
                          <a:schemeClr val="tx1"/>
                        </a:solidFill>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a:lnSpc>
                          <a:spcPct val="100000"/>
                        </a:lnSpc>
                        <a:spcBef>
                          <a:spcPts val="0"/>
                        </a:spcBef>
                        <a:spcAft>
                          <a:spcPts val="0"/>
                        </a:spcAft>
                        <a:buNone/>
                      </a:pPr>
                      <a:r>
                        <a:rPr lang="en-GB" sz="900" b="0" u="none" strike="noStrike" baseline="0" noProof="0">
                          <a:solidFill>
                            <a:srgbClr val="000000"/>
                          </a:solidFill>
                          <a:effectLst/>
                        </a:rPr>
                        <a:t>Bring deep customer/partner and domain understanding—product, technical, business, and industry—enabling us to drive customer/partner value</a:t>
                      </a:r>
                      <a:endParaRPr lang="en-GB" sz="900" b="0"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rPr>
                        <a:t>1.1 AI Trusted Advisor: </a:t>
                      </a:r>
                      <a:r>
                        <a:rPr lang="en-GB" sz="900" kern="1200">
                          <a:solidFill>
                            <a:schemeClr val="tx1"/>
                          </a:solidFill>
                          <a:effectLst/>
                        </a:rPr>
                        <a:t>Complete AI Certifications &amp; expert level AI training and leverage AI Apps &amp; Agents architecture best practices to accelerate AI adoption. </a:t>
                      </a:r>
                    </a:p>
                    <a:p>
                      <a:pPr marL="0" marR="0">
                        <a:lnSpc>
                          <a:spcPct val="100000"/>
                        </a:lnSpc>
                        <a:spcAft>
                          <a:spcPts val="600"/>
                        </a:spcAft>
                        <a:buNone/>
                      </a:pPr>
                      <a:r>
                        <a:rPr lang="en-GB" sz="900" b="1" kern="1200">
                          <a:solidFill>
                            <a:schemeClr val="tx1"/>
                          </a:solidFill>
                          <a:effectLst/>
                        </a:rPr>
                        <a:t>1.2 Technical Intensity</a:t>
                      </a:r>
                      <a:r>
                        <a:rPr lang="en-GB" sz="900" kern="1200">
                          <a:solidFill>
                            <a:schemeClr val="tx1"/>
                          </a:solidFill>
                          <a:effectLst/>
                        </a:rPr>
                        <a:t>: </a:t>
                      </a:r>
                      <a:r>
                        <a:rPr lang="en-US" sz="900" kern="1200">
                          <a:solidFill>
                            <a:schemeClr val="tx1"/>
                          </a:solidFill>
                          <a:effectLst/>
                        </a:rPr>
                        <a:t>Complete Required quarterly Cloud &amp; AI Innovate with AI Apps &amp; Agents training, achieve certifications, accreditations, and skills to deliver with Advanced (L300) and Expert (L400) level proficiency in priority workloads in Azure: AI Platform, AppPlat/Native, DevOps, GitHub. Maintain skills inventory.</a:t>
                      </a:r>
                    </a:p>
                    <a:p>
                      <a:pPr marL="0" marR="0">
                        <a:lnSpc>
                          <a:spcPct val="100000"/>
                        </a:lnSpc>
                        <a:spcAft>
                          <a:spcPts val="600"/>
                        </a:spcAft>
                        <a:buNone/>
                      </a:pPr>
                      <a:r>
                        <a:rPr lang="en-US" sz="900" b="1" kern="1200">
                          <a:solidFill>
                            <a:schemeClr val="tx1"/>
                          </a:solidFill>
                          <a:effectLst/>
                        </a:rPr>
                        <a:t>1.3 </a:t>
                      </a:r>
                      <a:r>
                        <a:rPr lang="en-GB" sz="900" b="1" kern="1200">
                          <a:solidFill>
                            <a:schemeClr val="tx1"/>
                          </a:solidFill>
                          <a:effectLst/>
                        </a:rPr>
                        <a:t>Community Engagement &amp; IP</a:t>
                      </a:r>
                      <a:r>
                        <a:rPr lang="en-GB" sz="900" kern="1200">
                          <a:solidFill>
                            <a:schemeClr val="tx1"/>
                          </a:solidFill>
                          <a:effectLst/>
                        </a:rPr>
                        <a:t>: </a:t>
                      </a:r>
                      <a:r>
                        <a:rPr lang="en-US" sz="900" kern="1200">
                          <a:solidFill>
                            <a:schemeClr val="tx1"/>
                          </a:solidFill>
                          <a:effectLst/>
                        </a:rPr>
                        <a:t>Actively contribute to Cloud &amp; AI Apps communities and IP development with engineering. Participate in Shadow program. Share customer scenarios, best practices and outcome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81613">
                <a:tc>
                  <a:txBody>
                    <a:bodyPr/>
                    <a:lstStyle/>
                    <a:p>
                      <a:r>
                        <a:rPr lang="en-US" sz="900">
                          <a:solidFill>
                            <a:schemeClr val="tx2"/>
                          </a:solidFill>
                        </a:rPr>
                        <a:t>2</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US" sz="900" b="1" u="none" strike="noStrike" baseline="0" noProof="0">
                          <a:solidFill>
                            <a:srgbClr val="000000"/>
                          </a:solidFill>
                        </a:rPr>
                        <a:t>Build trust through product excellence </a:t>
                      </a:r>
                      <a:endParaRPr lang="en-US" sz="900" b="1" i="0" u="none" strike="noStrike" baseline="0" noProof="0">
                        <a:solidFill>
                          <a:srgbClr val="000000"/>
                        </a:solidFill>
                        <a:latin typeface="Segoe UI"/>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u="none" strike="noStrike" baseline="0" noProof="0">
                          <a:solidFill>
                            <a:srgbClr val="000000"/>
                          </a:solidFill>
                          <a:effectLst/>
                        </a:rPr>
                        <a:t>Build foundational trust through reliable, resilient, and secure solutions and champion customer/partner feedback to continuously improve the products and solutions we deliver. </a:t>
                      </a:r>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US" sz="900" b="1" kern="1200">
                          <a:solidFill>
                            <a:schemeClr val="tx1"/>
                          </a:solidFill>
                          <a:effectLst/>
                        </a:rPr>
                        <a:t>2.1 Security #1 Priority</a:t>
                      </a:r>
                      <a:r>
                        <a:rPr lang="en-US" sz="900" kern="1200">
                          <a:solidFill>
                            <a:schemeClr val="tx1"/>
                          </a:solidFill>
                          <a:effectLst/>
                        </a:rPr>
                        <a:t>: Deliver AI Apps &amp; Agents architectures, prioritizing Secure Coding, DevSecOps, and Defender for Cloud</a:t>
                      </a:r>
                      <a:endParaRPr lang="en-US" sz="1200" kern="100">
                        <a:solidFill>
                          <a:schemeClr val="tx1"/>
                        </a:solidFill>
                        <a:effectLst/>
                      </a:endParaRPr>
                    </a:p>
                    <a:p>
                      <a:pPr marL="0" marR="0">
                        <a:lnSpc>
                          <a:spcPct val="100000"/>
                        </a:lnSpc>
                        <a:spcAft>
                          <a:spcPts val="600"/>
                        </a:spcAft>
                        <a:buNone/>
                      </a:pPr>
                      <a:r>
                        <a:rPr lang="en-US" sz="900" b="1" kern="1200">
                          <a:solidFill>
                            <a:schemeClr val="tx1"/>
                          </a:solidFill>
                          <a:effectLst/>
                        </a:rPr>
                        <a:t>2.2 Reliable, resilient, optimized solutions</a:t>
                      </a:r>
                      <a:r>
                        <a:rPr lang="en-US" sz="900" kern="1200">
                          <a:solidFill>
                            <a:schemeClr val="tx1"/>
                          </a:solidFill>
                          <a:effectLst/>
                        </a:rPr>
                        <a:t>: Address App Health, Resiliency in Design in customers’ mission critical workloads, including Well-Architected Framework, Landing Zones, and multi-zone/multi-region app architecture</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2.3 Voice of the Customer/Partner: </a:t>
                      </a:r>
                      <a:r>
                        <a:rPr lang="en-GB" sz="900" kern="1200">
                          <a:solidFill>
                            <a:schemeClr val="tx1"/>
                          </a:solidFill>
                          <a:effectLst/>
                        </a:rPr>
                        <a:t>Champion customer/partner feedback to influence Engineering’s product/services roadmap</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139600"/>
                  </a:ext>
                </a:extLst>
              </a:tr>
              <a:tr h="1052172">
                <a:tc>
                  <a:txBody>
                    <a:bodyPr/>
                    <a:lstStyle/>
                    <a:p>
                      <a:r>
                        <a:rPr lang="en-US" sz="900">
                          <a:solidFill>
                            <a:schemeClr val="tx2"/>
                          </a:solidFill>
                        </a:rPr>
                        <a:t>3</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1" u="none" strike="noStrike" baseline="0" noProof="0">
                          <a:solidFill>
                            <a:srgbClr val="000000"/>
                          </a:solidFill>
                          <a:effectLst/>
                        </a:rPr>
                        <a:t>Differentiate through world class  Customer Experience </a:t>
                      </a:r>
                    </a:p>
                    <a:p>
                      <a:pPr marL="0" lvl="0" indent="0" algn="l">
                        <a:spcBef>
                          <a:spcPts val="0"/>
                        </a:spcBef>
                        <a:spcAft>
                          <a:spcPts val="0"/>
                        </a:spcAft>
                        <a:buNone/>
                      </a:pPr>
                      <a:endParaRPr lang="en-GB" sz="900" b="1" u="none" strike="noStrike">
                        <a:solidFill>
                          <a:schemeClr val="tx1"/>
                        </a:solidFill>
                        <a:effectLst/>
                      </a:endParaRPr>
                    </a:p>
                    <a:p>
                      <a:pPr marL="0" indent="0" algn="l" rtl="0" fontAlgn="ctr">
                        <a:spcBef>
                          <a:spcPts val="0"/>
                        </a:spcBef>
                        <a:spcAft>
                          <a:spcPts val="0"/>
                        </a:spcAft>
                        <a:buNone/>
                      </a:pPr>
                      <a:endParaRPr lang="en-IE" sz="900" b="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u="none" strike="noStrike" baseline="0" noProof="0">
                          <a:solidFill>
                            <a:srgbClr val="000000"/>
                          </a:solidFill>
                          <a:effectLst/>
                        </a:rPr>
                        <a:t>Relentlessly pursue a simple, consistent, and connected customer experience that delights customers/partners and grows our business.  </a:t>
                      </a:r>
                    </a:p>
                    <a:p>
                      <a:pPr marL="0" lvl="0" indent="0" algn="l">
                        <a:spcBef>
                          <a:spcPts val="0"/>
                        </a:spcBef>
                        <a:spcAft>
                          <a:spcPts val="0"/>
                        </a:spcAft>
                        <a:buNone/>
                      </a:pPr>
                      <a:endParaRPr lang="en-GB" sz="900" b="1" u="none" strike="noStrike">
                        <a:solidFill>
                          <a:schemeClr val="tx1"/>
                        </a:solidFill>
                        <a:effectLst/>
                      </a:endParaRPr>
                    </a:p>
                    <a:p>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rPr>
                        <a:t>3.1 Customer Experience</a:t>
                      </a:r>
                      <a:r>
                        <a:rPr lang="en-GB" sz="900" kern="1200">
                          <a:solidFill>
                            <a:schemeClr val="tx1"/>
                          </a:solidFill>
                          <a:effectLst/>
                        </a:rPr>
                        <a:t>: </a:t>
                      </a:r>
                      <a:r>
                        <a:rPr lang="en-US" sz="900" kern="1200">
                          <a:solidFill>
                            <a:schemeClr val="tx1"/>
                          </a:solidFill>
                          <a:effectLst/>
                        </a:rPr>
                        <a:t>Together with the CSAM/ATU/STU, during delivery, ensure completeness and accuracy of the entire Azure consumption plan and customer success plan</a:t>
                      </a:r>
                    </a:p>
                    <a:p>
                      <a:pPr marL="0" marR="0">
                        <a:lnSpc>
                          <a:spcPct val="100000"/>
                        </a:lnSpc>
                        <a:spcAft>
                          <a:spcPts val="600"/>
                        </a:spcAft>
                        <a:buNone/>
                      </a:pPr>
                      <a:r>
                        <a:rPr lang="en-GB" sz="900" b="1" kern="1200">
                          <a:solidFill>
                            <a:schemeClr val="tx1"/>
                          </a:solidFill>
                          <a:effectLst/>
                        </a:rPr>
                        <a:t>3.2 Customer/Partner Outcomes</a:t>
                      </a:r>
                      <a:r>
                        <a:rPr lang="en-GB" sz="900" kern="1200">
                          <a:solidFill>
                            <a:schemeClr val="tx1"/>
                          </a:solidFill>
                          <a:effectLst/>
                        </a:rPr>
                        <a:t>: Consistently engage as One Microsoft following MCEM orchestration and</a:t>
                      </a:r>
                      <a:r>
                        <a:rPr lang="en-US" sz="900" kern="1200">
                          <a:solidFill>
                            <a:schemeClr val="tx1"/>
                          </a:solidFill>
                          <a:effectLst/>
                        </a:rPr>
                        <a:t> proactively manage risks to drive on-time, on-revenue closure of CSU/STU/Partner committed milestones</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3.3 Customer Zero</a:t>
                      </a:r>
                      <a:r>
                        <a:rPr lang="en-GB" sz="900" kern="1200">
                          <a:solidFill>
                            <a:schemeClr val="tx1"/>
                          </a:solidFill>
                          <a:effectLst/>
                        </a:rPr>
                        <a:t>: </a:t>
                      </a:r>
                      <a:r>
                        <a:rPr lang="en-US" sz="900" kern="1200">
                          <a:solidFill>
                            <a:schemeClr val="tx1"/>
                          </a:solidFill>
                          <a:effectLst/>
                        </a:rPr>
                        <a:t>Share AI Apps &amp; Agents best practices with your customers/partners to inspire them to accelerate AI adoption. Tell the Microsoft AI sto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052172">
                <a:tc>
                  <a:txBody>
                    <a:bodyPr/>
                    <a:lstStyle/>
                    <a:p>
                      <a:pPr lvl="0">
                        <a:buNone/>
                      </a:pPr>
                      <a:r>
                        <a:rPr lang="en-US" sz="900">
                          <a:solidFill>
                            <a:schemeClr val="tx2"/>
                          </a:solidFill>
                        </a:rPr>
                        <a:t>4</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lvl="0">
                        <a:buNone/>
                      </a:pPr>
                      <a:r>
                        <a:rPr lang="en-US" sz="900" b="1" u="none" strike="noStrike" baseline="0" noProof="0">
                          <a:solidFill>
                            <a:srgbClr val="000000"/>
                          </a:solidFill>
                        </a:rPr>
                        <a:t>Drive operational excellence through AI </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lgn="l">
                        <a:lnSpc>
                          <a:spcPct val="100000"/>
                        </a:lnSpc>
                        <a:buNone/>
                      </a:pPr>
                      <a:r>
                        <a:rPr lang="en-GB" sz="900" b="0" u="none" strike="noStrike" baseline="0" noProof="0">
                          <a:solidFill>
                            <a:srgbClr val="000000"/>
                          </a:solidFill>
                          <a:effectLst/>
                        </a:rPr>
                        <a:t>As Customer Zero, leverage AI to accelerate our digital transformation and model the productivity and efficiency gains through our products, platforms, and solutions.</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nSpc>
                          <a:spcPct val="100000"/>
                        </a:lnSpc>
                        <a:spcAft>
                          <a:spcPts val="600"/>
                        </a:spcAft>
                        <a:buNone/>
                      </a:pPr>
                      <a:r>
                        <a:rPr lang="en-GB" sz="900" b="1" kern="1200">
                          <a:solidFill>
                            <a:schemeClr val="tx1"/>
                          </a:solidFill>
                          <a:effectLst/>
                        </a:rPr>
                        <a:t>4.1 Business Insights: </a:t>
                      </a:r>
                      <a:r>
                        <a:rPr lang="en-GB" sz="900" kern="1200">
                          <a:solidFill>
                            <a:schemeClr val="tx1"/>
                          </a:solidFill>
                          <a:effectLst/>
                        </a:rPr>
                        <a:t>Leverage AI </a:t>
                      </a:r>
                      <a:r>
                        <a:rPr lang="en-US" sz="900" kern="1200">
                          <a:solidFill>
                            <a:schemeClr val="tx1"/>
                          </a:solidFill>
                          <a:effectLst/>
                        </a:rPr>
                        <a:t>to analyze situations, make informed decisions, &amp; drive strategies that align with your customer’s goals &amp; objectives. Do this in conjunction with your manager.</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4.2 Operational excellence</a:t>
                      </a:r>
                      <a:r>
                        <a:rPr lang="en-GB" sz="900" kern="1200">
                          <a:solidFill>
                            <a:schemeClr val="tx1"/>
                          </a:solidFill>
                          <a:effectLst/>
                        </a:rPr>
                        <a:t>: Adhere to Guidelines for MCEM, Consumption &amp; Usage Excellence, Customer Contactability. Comply with 100% Labor Logging (defined by area guidelines), as required by company policy, CE&amp;S business rules, and legal requirements. </a:t>
                      </a:r>
                    </a:p>
                    <a:p>
                      <a:pPr marL="0" marR="0">
                        <a:lnSpc>
                          <a:spcPct val="100000"/>
                        </a:lnSpc>
                        <a:spcAft>
                          <a:spcPts val="600"/>
                        </a:spcAft>
                        <a:buNone/>
                      </a:pPr>
                      <a:r>
                        <a:rPr lang="en-GB" sz="900" b="1" kern="1200">
                          <a:solidFill>
                            <a:schemeClr val="tx1"/>
                          </a:solidFill>
                          <a:effectLst/>
                        </a:rPr>
                        <a:t>4.3 Maximize MS/CSU-Invested ROI: </a:t>
                      </a:r>
                      <a:r>
                        <a:rPr lang="en-GB" sz="900" b="0" kern="1200">
                          <a:solidFill>
                            <a:schemeClr val="tx1"/>
                          </a:solidFill>
                          <a:effectLst/>
                        </a:rPr>
                        <a:t>L</a:t>
                      </a:r>
                      <a:r>
                        <a:rPr lang="en-GB" sz="900" kern="1200">
                          <a:solidFill>
                            <a:schemeClr val="tx1"/>
                          </a:solidFill>
                          <a:effectLst/>
                        </a:rPr>
                        <a:t>everage scale execution engines (e.g. Cloud Accelerate Factory) as a priority. Through Unified provide </a:t>
                      </a:r>
                      <a:r>
                        <a:rPr lang="en-US" sz="900" kern="1200">
                          <a:solidFill>
                            <a:schemeClr val="tx1"/>
                          </a:solidFill>
                          <a:effectLst/>
                        </a:rPr>
                        <a:t>Factory Delivery oversight and escalation support to ensure a successful customer delivery with high customer satisfaction.</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779708"/>
                  </a:ext>
                </a:extLst>
              </a:tr>
              <a:tr h="1052172">
                <a:tc>
                  <a:txBody>
                    <a:bodyPr/>
                    <a:lstStyle/>
                    <a:p>
                      <a:r>
                        <a:rPr lang="en-US" sz="900">
                          <a:solidFill>
                            <a:schemeClr val="tx2"/>
                          </a:solidFill>
                        </a:rPr>
                        <a:t>5</a:t>
                      </a:r>
                    </a:p>
                  </a:txBody>
                  <a:tcPr>
                    <a:lnT w="9525" cap="flat" cmpd="sng" algn="ctr">
                      <a:solidFill>
                        <a:schemeClr val="bg1">
                          <a:lumMod val="85000"/>
                        </a:schemeClr>
                      </a:solidFill>
                      <a:prstDash val="solid"/>
                      <a:round/>
                      <a:headEnd type="none" w="med" len="med"/>
                      <a:tailEnd type="none" w="med" len="med"/>
                    </a:lnT>
                    <a:solidFill>
                      <a:schemeClr val="bg1"/>
                    </a:solidFill>
                  </a:tcPr>
                </a:tc>
                <a:tc>
                  <a:txBody>
                    <a:bodyPr/>
                    <a:lstStyle/>
                    <a:p>
                      <a:pPr marL="0" lvl="0" indent="0" algn="l">
                        <a:lnSpc>
                          <a:spcPct val="100000"/>
                        </a:lnSpc>
                        <a:buNone/>
                      </a:pPr>
                      <a:r>
                        <a:rPr lang="en-US" sz="900" b="1" u="none" strike="noStrike" baseline="0" noProof="0">
                          <a:solidFill>
                            <a:srgbClr val="000000"/>
                          </a:solidFill>
                        </a:rPr>
                        <a:t>Accelerate customer/partner outcomes through delivery excellence </a:t>
                      </a:r>
                    </a:p>
                    <a:p>
                      <a:pPr lvl="0">
                        <a:buNone/>
                      </a:pPr>
                      <a:endParaRPr lang="en-US" sz="900" b="1" i="1">
                        <a:solidFill>
                          <a:schemeClr val="tx1"/>
                        </a:solidFill>
                      </a:endParaRPr>
                    </a:p>
                  </a:txBody>
                  <a:tcPr>
                    <a:lnT w="9525" cap="flat" cmpd="sng" algn="ctr">
                      <a:solidFill>
                        <a:schemeClr val="bg1">
                          <a:lumMod val="85000"/>
                        </a:schemeClr>
                      </a:solidFill>
                      <a:prstDash val="solid"/>
                      <a:round/>
                      <a:headEnd type="none" w="med" len="med"/>
                      <a:tailEnd type="none" w="med" len="med"/>
                    </a:lnT>
                    <a:solidFill>
                      <a:schemeClr val="bg1"/>
                    </a:solidFill>
                  </a:tcPr>
                </a:tc>
                <a:tc>
                  <a:txBody>
                    <a:bodyPr/>
                    <a:lstStyle/>
                    <a:p>
                      <a:pPr marL="0" lvl="0" indent="0" algn="l">
                        <a:lnSpc>
                          <a:spcPct val="100000"/>
                        </a:lnSpc>
                        <a:buNone/>
                      </a:pPr>
                      <a:r>
                        <a:rPr lang="en-GB" sz="900" b="0" u="none" strike="noStrike" baseline="0" noProof="0">
                          <a:solidFill>
                            <a:srgbClr val="000000"/>
                          </a:solidFill>
                          <a:effectLst/>
                        </a:rPr>
                        <a:t>Obsess over driving value for our customers/partners through shaping the right offers, delivering through our integrated services portfolio</a:t>
                      </a:r>
                    </a:p>
                    <a:p>
                      <a:pPr marL="0" marR="0" lvl="0" indent="0" algn="l" defTabSz="1110447">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a:lnSpc>
                          <a:spcPct val="100000"/>
                        </a:lnSpc>
                        <a:spcAft>
                          <a:spcPts val="600"/>
                        </a:spcAft>
                        <a:buNone/>
                      </a:pPr>
                      <a:r>
                        <a:rPr lang="en-GB" sz="900" b="1" kern="1200">
                          <a:solidFill>
                            <a:schemeClr val="tx1"/>
                          </a:solidFill>
                          <a:effectLst/>
                        </a:rPr>
                        <a:t>5.1 Delivery Excellence &amp; Continuous Improvement</a:t>
                      </a:r>
                      <a:r>
                        <a:rPr lang="en-GB" sz="900" kern="1200">
                          <a:solidFill>
                            <a:schemeClr val="tx1"/>
                          </a:solidFill>
                          <a:effectLst/>
                        </a:rPr>
                        <a:t>: </a:t>
                      </a:r>
                      <a:r>
                        <a:rPr lang="en-US" sz="900" kern="1200">
                          <a:solidFill>
                            <a:schemeClr val="tx1"/>
                          </a:solidFill>
                          <a:effectLst/>
                        </a:rPr>
                        <a:t>Own (contribute, if SME&amp;C) committed production milestones, achieving 95%+ commit-to-close rate (Job 1) each quarter for Unified customers in Classic and Accelerate territories. Use repeatable IP/artifacts in delivery to drive efficiency and scale.</a:t>
                      </a:r>
                      <a:endParaRPr lang="en-US" sz="1200" kern="100">
                        <a:solidFill>
                          <a:schemeClr val="tx1"/>
                        </a:solidFill>
                        <a:effectLst/>
                      </a:endParaRPr>
                    </a:p>
                    <a:p>
                      <a:pPr marL="0" marR="0">
                        <a:lnSpc>
                          <a:spcPct val="100000"/>
                        </a:lnSpc>
                        <a:spcAft>
                          <a:spcPts val="600"/>
                        </a:spcAft>
                        <a:buNone/>
                      </a:pPr>
                      <a:r>
                        <a:rPr lang="en-US" sz="900" b="1" kern="1200">
                          <a:solidFill>
                            <a:schemeClr val="tx1"/>
                          </a:solidFill>
                          <a:effectLst/>
                        </a:rPr>
                        <a:t>5.2 Consumption/Usage Impact</a:t>
                      </a:r>
                      <a:r>
                        <a:rPr lang="en-US" sz="900" kern="1200">
                          <a:solidFill>
                            <a:schemeClr val="tx1"/>
                          </a:solidFill>
                          <a:effectLst/>
                        </a:rPr>
                        <a:t>: Apply a consultative approach to Job 2 to drive next best action execution and generate incremental pipeline (Job 2) from every delivery engagement. </a:t>
                      </a:r>
                    </a:p>
                    <a:p>
                      <a:pPr marL="0" marR="0">
                        <a:lnSpc>
                          <a:spcPct val="100000"/>
                        </a:lnSpc>
                        <a:spcAft>
                          <a:spcPts val="600"/>
                        </a:spcAft>
                        <a:buNone/>
                      </a:pPr>
                      <a:r>
                        <a:rPr lang="en-GB" sz="900" b="1" kern="1200">
                          <a:solidFill>
                            <a:schemeClr val="tx1"/>
                          </a:solidFill>
                          <a:effectLst/>
                        </a:rPr>
                        <a:t>5.3 Unified &amp; Enhanced Solutions</a:t>
                      </a:r>
                      <a:r>
                        <a:rPr lang="en-GB" sz="900" kern="1200">
                          <a:solidFill>
                            <a:schemeClr val="tx1"/>
                          </a:solidFill>
                          <a:effectLst/>
                        </a:rPr>
                        <a:t>: </a:t>
                      </a:r>
                      <a:r>
                        <a:rPr lang="en-US" sz="900" kern="1200">
                          <a:solidFill>
                            <a:schemeClr val="tx1"/>
                          </a:solidFill>
                          <a:effectLst/>
                        </a:rPr>
                        <a:t>Drive repeatable deliveries, leveraging Unified IP, to achieve targeted outcomes at each stage of the MCEM cycle to accelerate consumption. Prompt customer feedback and earn a VSAT score with each delive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870294767"/>
                  </a:ext>
                </a:extLst>
              </a:tr>
            </a:tbl>
          </a:graphicData>
        </a:graphic>
      </p:graphicFrame>
      <p:sp>
        <p:nvSpPr>
          <p:cNvPr id="2" name="Title 1">
            <a:extLst>
              <a:ext uri="{FF2B5EF4-FFF2-40B4-BE49-F238E27FC236}">
                <a16:creationId xmlns:a16="http://schemas.microsoft.com/office/drawing/2014/main" id="{96DAB311-02F0-49DA-032E-62D027625C6D}"/>
              </a:ext>
            </a:extLst>
          </p:cNvPr>
          <p:cNvSpPr txBox="1">
            <a:spLocks/>
          </p:cNvSpPr>
          <p:nvPr/>
        </p:nvSpPr>
        <p:spPr>
          <a:xfrm>
            <a:off x="161580" y="552920"/>
            <a:ext cx="11315702"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lang="en-US" sz="3600" b="0" i="0" u="none" kern="1200" cap="none" spc="0" baseline="0">
                <a:ln w="3175">
                  <a:noFill/>
                </a:ln>
                <a:solidFill>
                  <a:srgbClr val="000000"/>
                </a:solidFill>
                <a:effectLst/>
                <a:latin typeface="+mj-lt"/>
                <a:ea typeface="+mj-ea"/>
                <a:cs typeface="+mj-cs"/>
                <a:sym typeface="Trebuchet MS" panose="020B0603020202020204" pitchFamily="34" charset="0"/>
              </a:defRPr>
            </a:lvl1pPr>
          </a:lstStyle>
          <a:p>
            <a:r>
              <a:rPr lang="en-US" sz="2400"/>
              <a:t>Core Priorities: Cloud &amp; AI Apps - Cloud Solution Architect</a:t>
            </a:r>
          </a:p>
        </p:txBody>
      </p:sp>
      <p:grpSp>
        <p:nvGrpSpPr>
          <p:cNvPr id="6" name="Group 5">
            <a:extLst>
              <a:ext uri="{FF2B5EF4-FFF2-40B4-BE49-F238E27FC236}">
                <a16:creationId xmlns:a16="http://schemas.microsoft.com/office/drawing/2014/main" id="{A3206F62-A5BF-DD3E-C8C2-56D0A1B0E372}"/>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A56A5096-AE77-1F86-7CE4-EDD908890B78}"/>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8" name="Table 2 Cell 2, 1 to Text">
              <a:extLst>
                <a:ext uri="{FF2B5EF4-FFF2-40B4-BE49-F238E27FC236}">
                  <a16:creationId xmlns:a16="http://schemas.microsoft.com/office/drawing/2014/main" id="{7F1782A4-8046-5B59-987A-891073EFF982}"/>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9" name="Table 2 Cell 3, 1 to Text">
              <a:extLst>
                <a:ext uri="{FF2B5EF4-FFF2-40B4-BE49-F238E27FC236}">
                  <a16:creationId xmlns:a16="http://schemas.microsoft.com/office/drawing/2014/main" id="{024EA55B-FAB4-D389-8F6D-108784E320EC}"/>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1" name="Table 2 Cell 4, 1 to Text">
              <a:extLst>
                <a:ext uri="{FF2B5EF4-FFF2-40B4-BE49-F238E27FC236}">
                  <a16:creationId xmlns:a16="http://schemas.microsoft.com/office/drawing/2014/main" id="{4226E86D-8082-BEF8-1D47-5C3522335C71}"/>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13" name="Table 2 Cell 5, 1 to Text">
              <a:extLst>
                <a:ext uri="{FF2B5EF4-FFF2-40B4-BE49-F238E27FC236}">
                  <a16:creationId xmlns:a16="http://schemas.microsoft.com/office/drawing/2014/main" id="{1D618E37-EE1B-5888-0DBB-7A3F8C51C1F9}"/>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4" name="Table 2 Cell 6, 1 to Text">
              <a:extLst>
                <a:ext uri="{FF2B5EF4-FFF2-40B4-BE49-F238E27FC236}">
                  <a16:creationId xmlns:a16="http://schemas.microsoft.com/office/drawing/2014/main" id="{9ED85C71-17EF-7809-9254-D9F56CA4F859}"/>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5" name="Table 2 Cell 7, 1 to Text">
              <a:extLst>
                <a:ext uri="{FF2B5EF4-FFF2-40B4-BE49-F238E27FC236}">
                  <a16:creationId xmlns:a16="http://schemas.microsoft.com/office/drawing/2014/main" id="{EB5EC55D-D001-8724-E482-F057D4106AE4}"/>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6" name="Table 2 Cell 1, 2 to Text">
              <a:extLst>
                <a:ext uri="{FF2B5EF4-FFF2-40B4-BE49-F238E27FC236}">
                  <a16:creationId xmlns:a16="http://schemas.microsoft.com/office/drawing/2014/main" id="{2DBA5D50-2959-2FAE-D94A-A054401AC1DC}"/>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7" name="Table 2 Cell 1, 3 to Text">
              <a:extLst>
                <a:ext uri="{FF2B5EF4-FFF2-40B4-BE49-F238E27FC236}">
                  <a16:creationId xmlns:a16="http://schemas.microsoft.com/office/drawing/2014/main" id="{D50DD265-FCE3-8947-D230-F052553AB9A8}"/>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18" name="Table 2 Cell 1, 4 to Text">
              <a:extLst>
                <a:ext uri="{FF2B5EF4-FFF2-40B4-BE49-F238E27FC236}">
                  <a16:creationId xmlns:a16="http://schemas.microsoft.com/office/drawing/2014/main" id="{C35C558A-1D71-5C0A-D6D5-D4BF1F5616C6}"/>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3.3 Core Priorities &amp; Key Habits</a:t>
              </a:r>
            </a:p>
          </p:txBody>
        </p:sp>
        <p:sp>
          <p:nvSpPr>
            <p:cNvPr id="19" name="Table 2 Cell 1, 5 to Text">
              <a:extLst>
                <a:ext uri="{FF2B5EF4-FFF2-40B4-BE49-F238E27FC236}">
                  <a16:creationId xmlns:a16="http://schemas.microsoft.com/office/drawing/2014/main" id="{1173852F-CD84-728C-4AE8-EDDF229AAC95}"/>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20" name="Table 2 Cell 1, 6 to Text">
              <a:extLst>
                <a:ext uri="{FF2B5EF4-FFF2-40B4-BE49-F238E27FC236}">
                  <a16:creationId xmlns:a16="http://schemas.microsoft.com/office/drawing/2014/main" id="{A767C3AB-4780-64CB-260D-6BF2D61AB89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21" name="Table 2 Cell 1, 7 to Text">
              <a:extLst>
                <a:ext uri="{FF2B5EF4-FFF2-40B4-BE49-F238E27FC236}">
                  <a16:creationId xmlns:a16="http://schemas.microsoft.com/office/drawing/2014/main" id="{C8546114-9911-DB82-3CD6-6D58FA03D4B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22" name="Table 2 Cell 1, 8 to Text">
              <a:extLst>
                <a:ext uri="{FF2B5EF4-FFF2-40B4-BE49-F238E27FC236}">
                  <a16:creationId xmlns:a16="http://schemas.microsoft.com/office/drawing/2014/main" id="{D60CAF4F-98F5-B39B-6B28-1E2F9E6F3FEA}"/>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5246721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7C2B7-D05A-AF16-5E39-2B8F5125B60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73C97AB-6902-054A-D8CD-CDE3ECE54ED7}"/>
              </a:ext>
            </a:extLst>
          </p:cNvPr>
          <p:cNvSpPr>
            <a:spLocks noGrp="1"/>
          </p:cNvSpPr>
          <p:nvPr>
            <p:ph type="title"/>
          </p:nvPr>
        </p:nvSpPr>
        <p:spPr>
          <a:xfrm>
            <a:off x="586740" y="549462"/>
            <a:ext cx="11018520" cy="430887"/>
          </a:xfrm>
        </p:spPr>
        <p:txBody>
          <a:bodyPr/>
          <a:lstStyle/>
          <a:p>
            <a:r>
              <a:rPr lang="en-US" sz="2800"/>
              <a:t>FY26 Cloud &amp; AI Platforms Key Changes</a:t>
            </a:r>
          </a:p>
        </p:txBody>
      </p:sp>
      <p:sp>
        <p:nvSpPr>
          <p:cNvPr id="2" name="Text Placeholder 1">
            <a:extLst>
              <a:ext uri="{FF2B5EF4-FFF2-40B4-BE49-F238E27FC236}">
                <a16:creationId xmlns:a16="http://schemas.microsoft.com/office/drawing/2014/main" id="{FFA94B83-0EA2-B5AD-4A31-7727429B4138}"/>
              </a:ext>
            </a:extLst>
          </p:cNvPr>
          <p:cNvSpPr>
            <a:spLocks noGrp="1"/>
          </p:cNvSpPr>
          <p:nvPr>
            <p:ph type="body" sz="quarter" idx="10"/>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Segoe UI" pitchFamily="34" charset="0"/>
                <a:cs typeface="Segoe Sans Text Semibold" pitchFamily="2" charset="0"/>
              </a:rPr>
              <a:t>Cloud &amp; AI Solution Area </a:t>
            </a:r>
          </a:p>
        </p:txBody>
      </p:sp>
      <p:sp>
        <p:nvSpPr>
          <p:cNvPr id="3" name="Text Placeholder 2">
            <a:extLst>
              <a:ext uri="{FF2B5EF4-FFF2-40B4-BE49-F238E27FC236}">
                <a16:creationId xmlns:a16="http://schemas.microsoft.com/office/drawing/2014/main" id="{9DE00E52-28BE-DEEE-AFE0-3178EA209015}"/>
              </a:ext>
            </a:extLst>
          </p:cNvPr>
          <p:cNvSpPr>
            <a:spLocks noGrp="1"/>
          </p:cNvSpPr>
          <p:nvPr>
            <p:ph type="body" sz="quarter" idx="1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Segoe Sans Text Semibold" pitchFamily="2" charset="0"/>
              </a:rPr>
              <a:t>Cloud &amp; AI CSU</a:t>
            </a:r>
          </a:p>
        </p:txBody>
      </p:sp>
      <p:sp>
        <p:nvSpPr>
          <p:cNvPr id="5" name="Text Placeholder 4">
            <a:extLst>
              <a:ext uri="{FF2B5EF4-FFF2-40B4-BE49-F238E27FC236}">
                <a16:creationId xmlns:a16="http://schemas.microsoft.com/office/drawing/2014/main" id="{26230F21-0A59-2F4B-25CE-381CFFE72573}"/>
              </a:ext>
            </a:extLst>
          </p:cNvPr>
          <p:cNvSpPr>
            <a:spLocks noGrp="1"/>
          </p:cNvSpPr>
          <p:nvPr>
            <p:ph type="body" sz="quarter" idx="12"/>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Segoe Sans Text Semibold" pitchFamily="2" charset="0"/>
              </a:rPr>
              <a:t>Cloud &amp; AI CSU Roles</a:t>
            </a:r>
          </a:p>
        </p:txBody>
      </p:sp>
      <p:sp>
        <p:nvSpPr>
          <p:cNvPr id="6" name="Text Placeholder 5">
            <a:extLst>
              <a:ext uri="{FF2B5EF4-FFF2-40B4-BE49-F238E27FC236}">
                <a16:creationId xmlns:a16="http://schemas.microsoft.com/office/drawing/2014/main" id="{11A05427-E406-DDFD-F464-7A382E923AB8}"/>
              </a:ext>
            </a:extLst>
          </p:cNvPr>
          <p:cNvSpPr>
            <a:spLocks noGrp="1"/>
          </p:cNvSpPr>
          <p:nvPr>
            <p:ph type="body" sz="quarter" idx="13"/>
          </p:nvPr>
        </p:nvSpPr>
        <p:spPr>
          <a:xfrm>
            <a:off x="563654" y="1754314"/>
            <a:ext cx="3493798" cy="2711583"/>
          </a:xfrm>
        </p:spPr>
        <p:txBody>
          <a:bodyPr/>
          <a:lstStyle/>
          <a:p>
            <a:pPr marL="0" marR="0" lvl="0" indent="0" algn="l" defTabSz="932472" rtl="0" eaLnBrk="1" fontAlgn="base" latinLnBrk="0" hangingPunct="1">
              <a:lnSpc>
                <a:spcPct val="100000"/>
              </a:lnSpc>
              <a:spcBef>
                <a:spcPts val="400"/>
              </a:spcBef>
              <a:spcAft>
                <a:spcPts val="0"/>
              </a:spcAft>
              <a:buClrTx/>
              <a:buSzTx/>
              <a:buFontTx/>
              <a:buNone/>
              <a:tabLst/>
              <a:defRPr/>
            </a:pPr>
            <a:r>
              <a:rPr lang="en-US" sz="1100">
                <a:solidFill>
                  <a:srgbClr val="000000"/>
                </a:solidFill>
                <a:cs typeface="Segoe Sans Text Semibold" pitchFamily="2" charset="0"/>
              </a:rPr>
              <a:t>MCAPS is making Cloud &amp; AI Platforms role-based organizational changes in FY26 to better serve our customers and to accelerate AI Transformation</a:t>
            </a:r>
          </a:p>
          <a:p>
            <a:pPr marL="228600" marR="0" lvl="0" indent="-152400" algn="l" defTabSz="932472"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Segoe Sans Text Semibold" pitchFamily="2" charset="0"/>
              </a:rPr>
              <a:t>Moving from three solution areas to one:  Cloud &amp; AI Platforms</a:t>
            </a:r>
            <a:endParaRPr lang="en-US" sz="1100">
              <a:solidFill>
                <a:srgbClr val="000000"/>
              </a:solidFill>
              <a:cs typeface="Segoe Sans Text Semibold" pitchFamily="2" charset="0"/>
            </a:endParaRPr>
          </a:p>
          <a:p>
            <a:pPr marL="228600" marR="0" lvl="0" indent="-152400" algn="l" defTabSz="932472"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ea typeface="+mn-ea"/>
                <a:cs typeface="Segoe Sans Text Semibold" pitchFamily="2" charset="0"/>
              </a:rPr>
              <a:t>Evolution of </a:t>
            </a:r>
            <a:r>
              <a:rPr lang="en-US" sz="1100">
                <a:solidFill>
                  <a:srgbClr val="000000"/>
                </a:solidFill>
                <a:cs typeface="Segoe Sans Text Semibold" pitchFamily="2" charset="0"/>
              </a:rPr>
              <a:t>roles in the STU and CSU for greater technical proficiency with one Cloud &amp; AI Specialist and four Solution Engineers in a Pod (formerly TSP)</a:t>
            </a:r>
          </a:p>
          <a:p>
            <a:pPr marL="228600" lvl="0" indent="-152400">
              <a:buSzTx/>
              <a:buFont typeface="Arial" panose="020B0604020202020204" pitchFamily="34" charset="0"/>
              <a:buChar char="•"/>
              <a:defRPr/>
            </a:pPr>
            <a:r>
              <a:rPr lang="en-US" sz="1100">
                <a:solidFill>
                  <a:srgbClr val="000000"/>
                </a:solidFill>
                <a:cs typeface="Segoe Sans Text Semibold" pitchFamily="2" charset="0"/>
              </a:rPr>
              <a:t>Reduction from 12 to 3 Azure solution plays:</a:t>
            </a:r>
          </a:p>
          <a:p>
            <a:pPr marL="685800" lvl="1" indent="-152400">
              <a:buSzTx/>
              <a:buFont typeface="Arial" panose="020B0604020202020204" pitchFamily="34" charset="0"/>
              <a:buChar char="•"/>
              <a:defRPr/>
            </a:pPr>
            <a:r>
              <a:rPr lang="en-US" sz="1100">
                <a:solidFill>
                  <a:srgbClr val="000000"/>
                </a:solidFill>
                <a:cs typeface="Segoe Sans Text Semibold" pitchFamily="2" charset="0"/>
              </a:rPr>
              <a:t>Innovate with AI Apps &amp; Agents</a:t>
            </a:r>
          </a:p>
          <a:p>
            <a:pPr marL="685800" lvl="1" indent="-152400">
              <a:buSzTx/>
              <a:buFont typeface="Arial" panose="020B0604020202020204" pitchFamily="34" charset="0"/>
              <a:buChar char="•"/>
              <a:defRPr/>
            </a:pPr>
            <a:r>
              <a:rPr lang="en-US" sz="1100">
                <a:solidFill>
                  <a:srgbClr val="000000"/>
                </a:solidFill>
                <a:cs typeface="Segoe Sans Text Semibold" pitchFamily="2" charset="0"/>
              </a:rPr>
              <a:t>Migrate and Modernize your Estate</a:t>
            </a:r>
          </a:p>
          <a:p>
            <a:pPr marL="685800" lvl="1" indent="-152400">
              <a:buSzTx/>
              <a:buFont typeface="Arial" panose="020B0604020202020204" pitchFamily="34" charset="0"/>
              <a:buChar char="•"/>
              <a:defRPr/>
            </a:pPr>
            <a:r>
              <a:rPr lang="en-US" sz="1100">
                <a:solidFill>
                  <a:srgbClr val="000000"/>
                </a:solidFill>
                <a:cs typeface="Segoe Sans Text Semibold" pitchFamily="2" charset="0"/>
              </a:rPr>
              <a:t>Unify your Data Platform</a:t>
            </a:r>
          </a:p>
          <a:p>
            <a:endParaRPr lang="en-US"/>
          </a:p>
        </p:txBody>
      </p:sp>
      <p:sp>
        <p:nvSpPr>
          <p:cNvPr id="8" name="Text Placeholder 7">
            <a:extLst>
              <a:ext uri="{FF2B5EF4-FFF2-40B4-BE49-F238E27FC236}">
                <a16:creationId xmlns:a16="http://schemas.microsoft.com/office/drawing/2014/main" id="{77953E42-E62E-2085-7525-84AD5DDDD221}"/>
              </a:ext>
            </a:extLst>
          </p:cNvPr>
          <p:cNvSpPr>
            <a:spLocks noGrp="1"/>
          </p:cNvSpPr>
          <p:nvPr>
            <p:ph type="body" sz="quarter" idx="15"/>
          </p:nvPr>
        </p:nvSpPr>
        <p:spPr>
          <a:xfrm>
            <a:off x="7982488" y="1790697"/>
            <a:ext cx="3493798" cy="2675200"/>
          </a:xfrm>
        </p:spPr>
        <p:txBody>
          <a:bodyPr/>
          <a:lstStyle/>
          <a:p>
            <a:pPr marL="146050" lvl="0" indent="-146050" defTabSz="932563" fontAlgn="auto">
              <a:spcBef>
                <a:spcPts val="0"/>
              </a:spcBef>
              <a:spcAft>
                <a:spcPts val="300"/>
              </a:spcAft>
              <a:buSzPct val="100000"/>
              <a:buFont typeface="Arial" panose="05000000000000000000" pitchFamily="2" charset="2"/>
              <a:buChar char="•"/>
              <a:defRPr/>
            </a:pPr>
            <a:r>
              <a:rPr lang="en-US" sz="1100">
                <a:ea typeface="+mn-ea"/>
                <a:cs typeface="Segoe Sans Text Semibold" pitchFamily="2" charset="0"/>
              </a:rPr>
              <a:t>Simplification of roles from 6 to 4</a:t>
            </a:r>
          </a:p>
          <a:p>
            <a:pPr marL="146050" lvl="0" indent="-146050" defTabSz="932563" fontAlgn="auto">
              <a:spcBef>
                <a:spcPts val="0"/>
              </a:spcBef>
              <a:spcAft>
                <a:spcPts val="300"/>
              </a:spcAft>
              <a:buSzPct val="100000"/>
              <a:buFont typeface="Arial" panose="05000000000000000000" pitchFamily="2" charset="2"/>
              <a:buChar char="•"/>
              <a:defRPr/>
            </a:pPr>
            <a:r>
              <a:rPr lang="en-US" sz="1100">
                <a:ea typeface="+mn-ea"/>
                <a:cs typeface="Segoe Sans Text Semibold" pitchFamily="2" charset="0"/>
              </a:rPr>
              <a:t>Alignment of CSA by Solution Play for end to end technical and situational fluency:</a:t>
            </a:r>
          </a:p>
          <a:p>
            <a:pPr marL="427038" lvl="1" indent="-171450" defTabSz="932563" fontAlgn="auto">
              <a:spcBef>
                <a:spcPts val="0"/>
              </a:spcBef>
              <a:spcAft>
                <a:spcPts val="300"/>
              </a:spcAft>
              <a:buSzPct val="100000"/>
              <a:buFont typeface="Courier New" panose="02070309020205020404" pitchFamily="49" charset="0"/>
              <a:buChar char="o"/>
              <a:defRPr/>
            </a:pPr>
            <a:r>
              <a:rPr lang="en-US" sz="1100">
                <a:solidFill>
                  <a:srgbClr val="000000"/>
                </a:solidFill>
                <a:cs typeface="Segoe Sans Text Semibold" pitchFamily="2" charset="0"/>
              </a:rPr>
              <a:t>Cloud &amp; AI Apps CSA: Innovate with AI Apps &amp; Agents</a:t>
            </a:r>
          </a:p>
          <a:p>
            <a:pPr marL="427038" lvl="1" indent="-171450" defTabSz="932563" fontAlgn="auto">
              <a:spcBef>
                <a:spcPts val="0"/>
              </a:spcBef>
              <a:spcAft>
                <a:spcPts val="300"/>
              </a:spcAft>
              <a:buSzPct val="100000"/>
              <a:buFont typeface="Courier New" panose="02070309020205020404" pitchFamily="49" charset="0"/>
              <a:buChar char="o"/>
              <a:defRPr/>
            </a:pPr>
            <a:r>
              <a:rPr lang="en-US" sz="1100">
                <a:solidFill>
                  <a:srgbClr val="000000"/>
                </a:solidFill>
                <a:cs typeface="Segoe Sans Text Semibold" pitchFamily="2" charset="0"/>
              </a:rPr>
              <a:t>Cloud &amp; AI Infra CSA: Migrate &amp; Modernize your Estate</a:t>
            </a:r>
          </a:p>
          <a:p>
            <a:pPr marL="427038" lvl="1" indent="-171450" defTabSz="932563" fontAlgn="auto">
              <a:spcBef>
                <a:spcPts val="0"/>
              </a:spcBef>
              <a:spcAft>
                <a:spcPts val="300"/>
              </a:spcAft>
              <a:buSzPct val="100000"/>
              <a:buFont typeface="Courier New" panose="02070309020205020404" pitchFamily="49" charset="0"/>
              <a:buChar char="o"/>
              <a:defRPr/>
            </a:pPr>
            <a:r>
              <a:rPr lang="en-US" sz="1100">
                <a:solidFill>
                  <a:srgbClr val="000000"/>
                </a:solidFill>
                <a:cs typeface="Segoe Sans Text Semibold" pitchFamily="2" charset="0"/>
              </a:rPr>
              <a:t>Cloud &amp; AI Data CSA: Unify your Data Platform</a:t>
            </a:r>
          </a:p>
          <a:p>
            <a:pPr marL="146050" lvl="0" indent="-146050" defTabSz="932563" fontAlgn="auto">
              <a:spcBef>
                <a:spcPts val="0"/>
              </a:spcBef>
              <a:spcAft>
                <a:spcPts val="300"/>
              </a:spcAft>
              <a:buSzPct val="100000"/>
              <a:buFont typeface="Arial" panose="05000000000000000000" pitchFamily="2" charset="2"/>
              <a:buChar char="•"/>
              <a:defRPr/>
            </a:pPr>
            <a:r>
              <a:rPr lang="en-US" sz="1100">
                <a:ea typeface="+mn-ea"/>
                <a:cs typeface="Segoe Sans Text Semibold" pitchFamily="2" charset="0"/>
              </a:rPr>
              <a:t>Introduction of “Cloud &amp; AI” CSA to ensure MACC + Unified health</a:t>
            </a:r>
          </a:p>
          <a:p>
            <a:pPr marL="146050" indent="-146050" defTabSz="932563" fontAlgn="auto">
              <a:spcBef>
                <a:spcPts val="0"/>
              </a:spcBef>
              <a:spcAft>
                <a:spcPts val="300"/>
              </a:spcAft>
              <a:buSzPct val="100000"/>
              <a:buFont typeface="Arial" panose="05000000000000000000" pitchFamily="2" charset="2"/>
              <a:buChar char="•"/>
              <a:defRPr/>
            </a:pPr>
            <a:r>
              <a:rPr lang="en-US" sz="1100">
                <a:ea typeface="+mn-ea"/>
                <a:cs typeface="Segoe Sans Text Semibold" pitchFamily="2" charset="0"/>
              </a:rPr>
              <a:t>Responsible for Accuracy and Completeness of Azure Consumption Plan</a:t>
            </a:r>
          </a:p>
          <a:p>
            <a:pPr marL="146050" indent="-146050" defTabSz="932563" fontAlgn="auto">
              <a:spcBef>
                <a:spcPts val="0"/>
              </a:spcBef>
              <a:spcAft>
                <a:spcPts val="300"/>
              </a:spcAft>
              <a:buSzPct val="100000"/>
              <a:buFont typeface="Arial" panose="05000000000000000000" pitchFamily="2" charset="2"/>
              <a:buChar char="•"/>
              <a:defRPr/>
            </a:pPr>
            <a:r>
              <a:rPr lang="en-US" sz="1100">
                <a:ea typeface="+mn-ea"/>
                <a:cs typeface="Segoe Sans Text Semibold" pitchFamily="2" charset="0"/>
              </a:rPr>
              <a:t>Microsoft investment in Technical Intensity</a:t>
            </a:r>
          </a:p>
        </p:txBody>
      </p:sp>
      <p:sp>
        <p:nvSpPr>
          <p:cNvPr id="7" name="Text Placeholder 6">
            <a:extLst>
              <a:ext uri="{FF2B5EF4-FFF2-40B4-BE49-F238E27FC236}">
                <a16:creationId xmlns:a16="http://schemas.microsoft.com/office/drawing/2014/main" id="{C52F7AED-B181-DC2D-D54B-387A32F375AE}"/>
              </a:ext>
            </a:extLst>
          </p:cNvPr>
          <p:cNvSpPr>
            <a:spLocks noGrp="1"/>
          </p:cNvSpPr>
          <p:nvPr>
            <p:ph type="body" sz="quarter" idx="14"/>
          </p:nvPr>
        </p:nvSpPr>
        <p:spPr>
          <a:xfrm>
            <a:off x="4202969" y="1790696"/>
            <a:ext cx="3590797" cy="2675201"/>
          </a:xfrm>
        </p:spPr>
        <p:txBody>
          <a:bodyPr rIns="0"/>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Emphasis on situational fluency and repeatable IP, focusing on customer business outcom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Prioritization of Unified/Factory before ECIF to maximize efficiency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Shift in resources to focus on Classic (customers with Unified + MACC), and support for Accelerate accounts (Unified or MACC or Non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Own Commit to Close results for all customers in segment; drive hands-on engagement in Unified accounts and oversight for risk mitigation in non-Unified account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Align ISD and Partner solutions in non-Unified account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ea typeface="+mn-ea"/>
                <a:cs typeface="Segoe Sans Text Semibold" pitchFamily="2" charset="0"/>
              </a:rPr>
              <a:t>Incentivized on Unified Azure ES</a:t>
            </a:r>
          </a:p>
        </p:txBody>
      </p:sp>
      <p:sp>
        <p:nvSpPr>
          <p:cNvPr id="10" name="Text Placeholder 9">
            <a:extLst>
              <a:ext uri="{FF2B5EF4-FFF2-40B4-BE49-F238E27FC236}">
                <a16:creationId xmlns:a16="http://schemas.microsoft.com/office/drawing/2014/main" id="{7CBCF4B4-098F-26CD-C187-012B007526F0}"/>
              </a:ext>
            </a:extLst>
          </p:cNvPr>
          <p:cNvSpPr>
            <a:spLocks noGrp="1"/>
          </p:cNvSpPr>
          <p:nvPr>
            <p:ph type="body" sz="quarter" idx="4294967295"/>
          </p:nvPr>
        </p:nvSpPr>
        <p:spPr>
          <a:xfrm>
            <a:off x="586740" y="5424177"/>
            <a:ext cx="3493798" cy="369332"/>
          </a:xfrm>
        </p:spPr>
        <p:txBody>
          <a:bodyPr/>
          <a:lstStyle/>
          <a:p>
            <a:pPr marL="0" indent="0" defTabSz="932472" fontAlgn="base">
              <a:spcBef>
                <a:spcPts val="0"/>
              </a:spcBef>
              <a:spcAft>
                <a:spcPts val="600"/>
              </a:spcAft>
              <a:buSzTx/>
              <a:buNone/>
              <a:defRPr/>
            </a:pPr>
            <a:r>
              <a:rPr kumimoji="0" lang="en-US" sz="1200" b="1" i="0" u="none" strike="noStrike" kern="1200" cap="none" spc="0" normalizeH="0" baseline="0" noProof="0">
                <a:ln>
                  <a:noFill/>
                </a:ln>
                <a:solidFill>
                  <a:srgbClr val="0078D4"/>
                </a:solidFill>
                <a:effectLst/>
                <a:uLnTx/>
                <a:uFillTx/>
                <a:latin typeface="+mj-lt"/>
                <a:ea typeface="+mn-ea"/>
                <a:cs typeface="Segoe UI" pitchFamily="34" charset="0"/>
              </a:rPr>
              <a:t>Faster </a:t>
            </a:r>
            <a:r>
              <a:rPr lang="en-US" sz="1200">
                <a:solidFill>
                  <a:srgbClr val="0078D4"/>
                </a:solidFill>
                <a:latin typeface="+mj-lt"/>
                <a:cs typeface="Segoe UI" pitchFamily="34" charset="0"/>
              </a:rPr>
              <a:t>service and response and simplified number of resources to engage</a:t>
            </a:r>
          </a:p>
        </p:txBody>
      </p:sp>
      <p:sp>
        <p:nvSpPr>
          <p:cNvPr id="12" name="Text Placeholder 11">
            <a:extLst>
              <a:ext uri="{FF2B5EF4-FFF2-40B4-BE49-F238E27FC236}">
                <a16:creationId xmlns:a16="http://schemas.microsoft.com/office/drawing/2014/main" id="{04C0453B-B5D2-598F-E67B-730E6552D7D7}"/>
              </a:ext>
            </a:extLst>
          </p:cNvPr>
          <p:cNvSpPr>
            <a:spLocks noGrp="1"/>
          </p:cNvSpPr>
          <p:nvPr>
            <p:ph type="body" sz="quarter" idx="4294967295"/>
          </p:nvPr>
        </p:nvSpPr>
        <p:spPr>
          <a:xfrm>
            <a:off x="8013196" y="5424177"/>
            <a:ext cx="3493798" cy="369332"/>
          </a:xfrm>
        </p:spPr>
        <p:txBody>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lang="en-US" sz="1200">
                <a:solidFill>
                  <a:srgbClr val="0078D4"/>
                </a:solidFill>
                <a:latin typeface="+mj-lt"/>
                <a:cs typeface="Segoe UI" pitchFamily="34" charset="0"/>
              </a:rPr>
              <a:t>Meet customer expectations on delivery resource’s breadth and depth of Azure expertise</a:t>
            </a:r>
          </a:p>
        </p:txBody>
      </p:sp>
      <p:sp>
        <p:nvSpPr>
          <p:cNvPr id="11" name="Text Placeholder 10">
            <a:extLst>
              <a:ext uri="{FF2B5EF4-FFF2-40B4-BE49-F238E27FC236}">
                <a16:creationId xmlns:a16="http://schemas.microsoft.com/office/drawing/2014/main" id="{11BC2A6F-73DA-1878-CC99-1376413FD9F3}"/>
              </a:ext>
            </a:extLst>
          </p:cNvPr>
          <p:cNvSpPr>
            <a:spLocks noGrp="1"/>
          </p:cNvSpPr>
          <p:nvPr>
            <p:ph type="body" sz="quarter" idx="4294967295"/>
          </p:nvPr>
        </p:nvSpPr>
        <p:spPr>
          <a:xfrm>
            <a:off x="4299968" y="5424177"/>
            <a:ext cx="3493798" cy="553998"/>
          </a:xfrm>
        </p:spPr>
        <p:txBody>
          <a:bodyPr/>
          <a:lstStyle/>
          <a:p>
            <a:pPr marL="0" marR="0" lvl="0" indent="0" algn="l" defTabSz="932472"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mj-lt"/>
                <a:ea typeface="+mn-ea"/>
                <a:cs typeface="Segoe UI" pitchFamily="34" charset="0"/>
              </a:rPr>
              <a:t>Ensure we are well resourced to meet our existing MACC and Unified commitments and forecasted demand</a:t>
            </a:r>
          </a:p>
        </p:txBody>
      </p:sp>
      <p:sp>
        <p:nvSpPr>
          <p:cNvPr id="9" name="Text Placeholder 8">
            <a:extLst>
              <a:ext uri="{FF2B5EF4-FFF2-40B4-BE49-F238E27FC236}">
                <a16:creationId xmlns:a16="http://schemas.microsoft.com/office/drawing/2014/main" id="{EE2CF9DA-DCF3-1355-B599-AA5C8B8592AC}"/>
              </a:ext>
            </a:extLst>
          </p:cNvPr>
          <p:cNvSpPr>
            <a:spLocks noGrp="1"/>
          </p:cNvSpPr>
          <p:nvPr>
            <p:ph type="body" sz="quarter" idx="4294967295"/>
          </p:nvPr>
        </p:nvSpPr>
        <p:spPr>
          <a:xfrm>
            <a:off x="469928" y="4755695"/>
            <a:ext cx="9116199" cy="246221"/>
          </a:xfrm>
          <a:solidFill>
            <a:schemeClr val="accent2"/>
          </a:solidFill>
        </p:spPr>
        <p:txBody>
          <a:bodyPr/>
          <a:lstStyle/>
          <a:p>
            <a:pPr marL="0" indent="0" defTabSz="932472" fontAlgn="base">
              <a:spcBef>
                <a:spcPct val="0"/>
              </a:spcBef>
              <a:spcAft>
                <a:spcPct val="0"/>
              </a:spcAft>
              <a:buNone/>
            </a:pPr>
            <a:r>
              <a:rPr kumimoji="0" lang="en-US" sz="1600" b="1" i="0" u="none" strike="noStrike" kern="1200" cap="none" spc="0" normalizeH="0" baseline="0" noProof="0">
                <a:ln>
                  <a:noFill/>
                </a:ln>
                <a:solidFill>
                  <a:schemeClr val="bg1"/>
                </a:solidFill>
                <a:effectLst/>
                <a:uLnTx/>
                <a:uFillTx/>
                <a:latin typeface="+mj-lt"/>
                <a:cs typeface="Segoe Sans Text Light" pitchFamily="2" charset="0"/>
              </a:rPr>
              <a:t>Customer Benefit: To simplify the engagement process for our customers  </a:t>
            </a:r>
          </a:p>
        </p:txBody>
      </p:sp>
      <p:grpSp>
        <p:nvGrpSpPr>
          <p:cNvPr id="13" name="Group 12">
            <a:extLst>
              <a:ext uri="{FF2B5EF4-FFF2-40B4-BE49-F238E27FC236}">
                <a16:creationId xmlns:a16="http://schemas.microsoft.com/office/drawing/2014/main" id="{D809E36B-6D5C-615E-A506-E51EE3521B4D}"/>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4" name="Table 2 Cell 1, 1 to Text">
              <a:extLst>
                <a:ext uri="{FF2B5EF4-FFF2-40B4-BE49-F238E27FC236}">
                  <a16:creationId xmlns:a16="http://schemas.microsoft.com/office/drawing/2014/main" id="{E89639C0-E3F0-EA9D-62E3-7EC9EEDE9374}"/>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5" name="Table 2 Cell 2, 1 to Text">
              <a:extLst>
                <a:ext uri="{FF2B5EF4-FFF2-40B4-BE49-F238E27FC236}">
                  <a16:creationId xmlns:a16="http://schemas.microsoft.com/office/drawing/2014/main" id="{30EFB182-EE4E-B345-0E56-897CB4751E06}"/>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16" name="Table 2 Cell 3, 1 to Text">
              <a:extLst>
                <a:ext uri="{FF2B5EF4-FFF2-40B4-BE49-F238E27FC236}">
                  <a16:creationId xmlns:a16="http://schemas.microsoft.com/office/drawing/2014/main" id="{AFD9B9D2-8439-9B1D-0F41-397B3B29567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7" name="Table 2 Cell 4, 1 to Text">
              <a:extLst>
                <a:ext uri="{FF2B5EF4-FFF2-40B4-BE49-F238E27FC236}">
                  <a16:creationId xmlns:a16="http://schemas.microsoft.com/office/drawing/2014/main" id="{12F63DB2-4725-7B17-C056-4E34CE4DF14E}"/>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8" name="Table 2 Cell 5, 1 to Text">
              <a:extLst>
                <a:ext uri="{FF2B5EF4-FFF2-40B4-BE49-F238E27FC236}">
                  <a16:creationId xmlns:a16="http://schemas.microsoft.com/office/drawing/2014/main" id="{7CA2DA8D-D98D-68ED-84BC-E007A1548933}"/>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9" name="Table 2 Cell 6, 1 to Text">
              <a:extLst>
                <a:ext uri="{FF2B5EF4-FFF2-40B4-BE49-F238E27FC236}">
                  <a16:creationId xmlns:a16="http://schemas.microsoft.com/office/drawing/2014/main" id="{E5D4883F-3DFB-87D3-D949-BB099C21D086}"/>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6. Cloud &amp; AI CSA</a:t>
              </a:r>
            </a:p>
          </p:txBody>
        </p:sp>
        <p:sp>
          <p:nvSpPr>
            <p:cNvPr id="20" name="Table 2 Cell 7, 1 to Text">
              <a:extLst>
                <a:ext uri="{FF2B5EF4-FFF2-40B4-BE49-F238E27FC236}">
                  <a16:creationId xmlns:a16="http://schemas.microsoft.com/office/drawing/2014/main" id="{0593C614-1A44-28A2-1EAC-9C56641AD63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1" name="Table 2 Cell 1, 2 to Text">
              <a:extLst>
                <a:ext uri="{FF2B5EF4-FFF2-40B4-BE49-F238E27FC236}">
                  <a16:creationId xmlns:a16="http://schemas.microsoft.com/office/drawing/2014/main" id="{BDEDBA94-A464-D658-CC8C-8E660EE4025B}"/>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solidFill>
                  <a:latin typeface="Segoe Sans Text Semibold"/>
                </a:rPr>
                <a:t>2.1 Cloud &amp; AI Platforms Key Changes</a:t>
              </a:r>
            </a:p>
          </p:txBody>
        </p:sp>
        <p:sp>
          <p:nvSpPr>
            <p:cNvPr id="22" name="Table 2 Cell 1, 3 to Text">
              <a:extLst>
                <a:ext uri="{FF2B5EF4-FFF2-40B4-BE49-F238E27FC236}">
                  <a16:creationId xmlns:a16="http://schemas.microsoft.com/office/drawing/2014/main" id="{C5ABC5B6-D7C8-A110-758B-0B967999C11E}"/>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23" name="Table 2 Cell 1, 4 to Text">
              <a:extLst>
                <a:ext uri="{FF2B5EF4-FFF2-40B4-BE49-F238E27FC236}">
                  <a16:creationId xmlns:a16="http://schemas.microsoft.com/office/drawing/2014/main" id="{64F517F8-114B-839B-E8E5-568F71A5928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3 CSU Delivery Strategy</a:t>
              </a:r>
            </a:p>
          </p:txBody>
        </p:sp>
        <p:sp>
          <p:nvSpPr>
            <p:cNvPr id="24" name="Table 2 Cell 1, 5 to Text">
              <a:extLst>
                <a:ext uri="{FF2B5EF4-FFF2-40B4-BE49-F238E27FC236}">
                  <a16:creationId xmlns:a16="http://schemas.microsoft.com/office/drawing/2014/main" id="{3F023241-2092-0E4E-16EB-CB58A2D24082}"/>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4 Sales Model &amp; Role Changes</a:t>
              </a:r>
            </a:p>
          </p:txBody>
        </p:sp>
        <p:sp>
          <p:nvSpPr>
            <p:cNvPr id="25" name="Table 2 Cell 1, 6 to Text">
              <a:extLst>
                <a:ext uri="{FF2B5EF4-FFF2-40B4-BE49-F238E27FC236}">
                  <a16:creationId xmlns:a16="http://schemas.microsoft.com/office/drawing/2014/main" id="{06B22DD3-BC32-3633-97B2-609BA1352A43}"/>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26" name="Table 2 Cell 1, 7 to Text">
              <a:extLst>
                <a:ext uri="{FF2B5EF4-FFF2-40B4-BE49-F238E27FC236}">
                  <a16:creationId xmlns:a16="http://schemas.microsoft.com/office/drawing/2014/main" id="{65FC2EC5-BE00-52A2-0751-CC6F19E69F2B}"/>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27" name="Table 2 Cell 1, 8 to Text">
              <a:extLst>
                <a:ext uri="{FF2B5EF4-FFF2-40B4-BE49-F238E27FC236}">
                  <a16:creationId xmlns:a16="http://schemas.microsoft.com/office/drawing/2014/main" id="{A244D47B-129F-D2BF-E6B4-B2552AF21430}"/>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
        <p:nvSpPr>
          <p:cNvPr id="28" name="Rectangle: Rounded Corners 27">
            <a:extLst>
              <a:ext uri="{FF2B5EF4-FFF2-40B4-BE49-F238E27FC236}">
                <a16:creationId xmlns:a16="http://schemas.microsoft.com/office/drawing/2014/main" id="{71DCD831-DA93-CC54-0B72-8D2E72341FE6}"/>
              </a:ext>
            </a:extLst>
          </p:cNvPr>
          <p:cNvSpPr/>
          <p:nvPr/>
        </p:nvSpPr>
        <p:spPr bwMode="auto">
          <a:xfrm>
            <a:off x="2506652" y="6332410"/>
            <a:ext cx="7178695" cy="246221"/>
          </a:xfrm>
          <a:prstGeom prst="roundRect">
            <a:avLst>
              <a:gd name="adj" fmla="val 1312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a:solidFill>
                  <a:srgbClr val="FFFFFF"/>
                </a:solidFill>
                <a:ea typeface="Segoe UI" pitchFamily="34" charset="0"/>
                <a:cs typeface="Segoe UI" pitchFamily="34" charset="0"/>
              </a:rPr>
              <a:t>For more details on FY26 Changes </a:t>
            </a:r>
            <a:r>
              <a:rPr lang="en-US" sz="1000">
                <a:solidFill>
                  <a:schemeClr val="bg1"/>
                </a:solidFill>
                <a:ea typeface="Segoe UI" pitchFamily="34" charset="0"/>
                <a:cs typeface="Segoe UI" pitchFamily="34" charset="0"/>
              </a:rPr>
              <a:t>read the </a:t>
            </a:r>
            <a:r>
              <a:rPr lang="en-US" sz="1000">
                <a:solidFill>
                  <a:schemeClr val="bg1"/>
                </a:solidFill>
                <a:ea typeface="Segoe UI" pitchFamily="34" charset="0"/>
                <a:cs typeface="Segoe UI" pitchFamily="34" charset="0"/>
                <a:hlinkClick r:id="rId4">
                  <a:extLst>
                    <a:ext uri="{A12FA001-AC4F-418D-AE19-62706E023703}">
                      <ahyp:hlinkClr xmlns:ahyp="http://schemas.microsoft.com/office/drawing/2018/hyperlinkcolor" val="tx"/>
                    </a:ext>
                  </a:extLst>
                </a:hlinkClick>
              </a:rPr>
              <a:t>Cloud &amp; AI Chapter 4 Landing Packs</a:t>
            </a:r>
            <a:endParaRPr lang="en-US" sz="1000">
              <a:solidFill>
                <a:schemeClr val="bg1"/>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8941221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72F20-C4E3-06A8-5E24-D1EAD909541D}"/>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2F6E5986-4BEB-0837-7F82-8799C43938FC}"/>
              </a:ext>
              <a:ext uri="{C183D7F6-B498-43B3-948B-1728B52AA6E4}">
                <adec:decorative xmlns:adec="http://schemas.microsoft.com/office/drawing/2017/decorative" val="1"/>
              </a:ext>
            </a:extLst>
          </p:cNvPr>
          <p:cNvSpPr>
            <a:spLocks/>
          </p:cNvSpPr>
          <p:nvPr/>
        </p:nvSpPr>
        <p:spPr bwMode="auto">
          <a:xfrm>
            <a:off x="256478" y="1277769"/>
            <a:ext cx="11686478"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4" name="Rectangle: Rounded Corners 13">
            <a:extLst>
              <a:ext uri="{FF2B5EF4-FFF2-40B4-BE49-F238E27FC236}">
                <a16:creationId xmlns:a16="http://schemas.microsoft.com/office/drawing/2014/main" id="{D1CF29A2-65B4-3044-67E8-94960E75ACD1}"/>
              </a:ext>
            </a:extLst>
          </p:cNvPr>
          <p:cNvSpPr/>
          <p:nvPr/>
        </p:nvSpPr>
        <p:spPr bwMode="auto">
          <a:xfrm>
            <a:off x="390294" y="1377621"/>
            <a:ext cx="11385394" cy="4177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r>
              <a:rPr lang="en-US" b="1"/>
              <a:t>Successful CSAs Achieve results by:​</a:t>
            </a:r>
          </a:p>
        </p:txBody>
      </p:sp>
      <p:sp>
        <p:nvSpPr>
          <p:cNvPr id="17" name="Title 16">
            <a:extLst>
              <a:ext uri="{FF2B5EF4-FFF2-40B4-BE49-F238E27FC236}">
                <a16:creationId xmlns:a16="http://schemas.microsoft.com/office/drawing/2014/main" id="{F1682FF2-9837-1063-F8B5-7E20EA96F5D6}"/>
              </a:ext>
            </a:extLst>
          </p:cNvPr>
          <p:cNvSpPr>
            <a:spLocks noGrp="1"/>
          </p:cNvSpPr>
          <p:nvPr>
            <p:ph type="title"/>
          </p:nvPr>
        </p:nvSpPr>
        <p:spPr>
          <a:xfrm>
            <a:off x="557321" y="710096"/>
            <a:ext cx="11049000" cy="430887"/>
          </a:xfrm>
        </p:spPr>
        <p:txBody>
          <a:bodyPr/>
          <a:lstStyle/>
          <a:p>
            <a:pPr lvl="0"/>
            <a:r>
              <a:rPr lang="en-US" sz="2800" noProof="0"/>
              <a:t>Your key habits for success</a:t>
            </a:r>
          </a:p>
        </p:txBody>
      </p:sp>
      <p:sp>
        <p:nvSpPr>
          <p:cNvPr id="15" name="Rectangle: Rounded Corners 14">
            <a:extLst>
              <a:ext uri="{FF2B5EF4-FFF2-40B4-BE49-F238E27FC236}">
                <a16:creationId xmlns:a16="http://schemas.microsoft.com/office/drawing/2014/main" id="{21C2EAF1-747C-2113-D9F2-52D7AF6BE6F0}"/>
              </a:ext>
              <a:ext uri="{C183D7F6-B498-43B3-948B-1728B52AA6E4}">
                <adec:decorative xmlns:adec="http://schemas.microsoft.com/office/drawing/2017/decorative" val="1"/>
              </a:ext>
            </a:extLst>
          </p:cNvPr>
          <p:cNvSpPr/>
          <p:nvPr/>
        </p:nvSpPr>
        <p:spPr bwMode="auto">
          <a:xfrm>
            <a:off x="349407"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6" name="Rectangle: Rounded Corners 15">
            <a:extLst>
              <a:ext uri="{FF2B5EF4-FFF2-40B4-BE49-F238E27FC236}">
                <a16:creationId xmlns:a16="http://schemas.microsoft.com/office/drawing/2014/main" id="{6C082AE4-D6C7-D4A4-03FC-0995EE309EF7}"/>
              </a:ext>
              <a:ext uri="{C183D7F6-B498-43B3-948B-1728B52AA6E4}">
                <adec:decorative xmlns:adec="http://schemas.microsoft.com/office/drawing/2017/decorative" val="1"/>
              </a:ext>
            </a:extLst>
          </p:cNvPr>
          <p:cNvSpPr/>
          <p:nvPr/>
        </p:nvSpPr>
        <p:spPr>
          <a:xfrm>
            <a:off x="349407"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Graphic 73">
            <a:extLst>
              <a:ext uri="{FF2B5EF4-FFF2-40B4-BE49-F238E27FC236}">
                <a16:creationId xmlns:a16="http://schemas.microsoft.com/office/drawing/2014/main" id="{C4AFE883-EFE0-9682-741D-0280DEE3A09B}"/>
              </a:ext>
              <a:ext uri="{C183D7F6-B498-43B3-948B-1728B52AA6E4}">
                <adec:decorative xmlns:adec="http://schemas.microsoft.com/office/drawing/2017/decorative" val="1"/>
              </a:ext>
            </a:extLst>
          </p:cNvPr>
          <p:cNvSpPr/>
          <p:nvPr/>
        </p:nvSpPr>
        <p:spPr>
          <a:xfrm>
            <a:off x="470052"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TextBox 18">
            <a:extLst>
              <a:ext uri="{FF2B5EF4-FFF2-40B4-BE49-F238E27FC236}">
                <a16:creationId xmlns:a16="http://schemas.microsoft.com/office/drawing/2014/main" id="{7C98A519-F5F1-C806-D982-80D5935D1AA4}"/>
              </a:ext>
            </a:extLst>
          </p:cNvPr>
          <p:cNvSpPr txBox="1"/>
          <p:nvPr/>
        </p:nvSpPr>
        <p:spPr>
          <a:xfrm>
            <a:off x="470052" y="2452003"/>
            <a:ext cx="2065343" cy="3359894"/>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1. </a:t>
            </a:r>
            <a:r>
              <a:rPr lang="en-US" sz="1400">
                <a:solidFill>
                  <a:srgbClr val="2A446F"/>
                </a:solidFill>
                <a:latin typeface="Segoe Sans Text Semibold"/>
              </a:rPr>
              <a:t>Embracing a Learn-It-All mindset</a:t>
            </a:r>
            <a:endParaRPr lang="en-US" sz="1200">
              <a:solidFill>
                <a:srgbClr val="2A446F"/>
              </a:solidFill>
              <a:latin typeface="Segoe Sans Text Semibold"/>
            </a:endParaRPr>
          </a:p>
          <a:p>
            <a:pPr>
              <a:spcBef>
                <a:spcPts val="300"/>
              </a:spcBef>
              <a:spcAft>
                <a:spcPts val="200"/>
              </a:spcAft>
              <a:defRPr/>
            </a:pPr>
            <a:r>
              <a:rPr lang="en-US" sz="1200">
                <a:solidFill>
                  <a:srgbClr val="2A446F"/>
                </a:solidFill>
                <a:latin typeface="Segoe Sans Text Semibold"/>
              </a:rPr>
              <a:t>S</a:t>
            </a:r>
            <a:r>
              <a:rPr lang="en-US" sz="1200"/>
              <a:t>tepping beyond your comfort zone to deepen technical mastery across Azure and their Solution Play, actively engaging in community-driven programs like </a:t>
            </a:r>
            <a:r>
              <a:rPr lang="en-US" sz="1200" err="1"/>
              <a:t>OpenHacks</a:t>
            </a:r>
            <a:r>
              <a:rPr lang="en-US" sz="1200"/>
              <a:t> and LevelUps, and partnering with your manager to align on a focused development plan that accelerates growth, sharpens impact, and positions you as a trusted advisor in the age of AI.</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3" name="Rectangle: Rounded Corners 22">
            <a:extLst>
              <a:ext uri="{FF2B5EF4-FFF2-40B4-BE49-F238E27FC236}">
                <a16:creationId xmlns:a16="http://schemas.microsoft.com/office/drawing/2014/main" id="{84E2A60C-5A6E-B600-786F-395AA94F5834}"/>
              </a:ext>
              <a:ext uri="{C183D7F6-B498-43B3-948B-1728B52AA6E4}">
                <adec:decorative xmlns:adec="http://schemas.microsoft.com/office/drawing/2017/decorative" val="1"/>
              </a:ext>
            </a:extLst>
          </p:cNvPr>
          <p:cNvSpPr/>
          <p:nvPr/>
        </p:nvSpPr>
        <p:spPr bwMode="auto">
          <a:xfrm>
            <a:off x="2654984"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4" name="Rectangle: Rounded Corners 23">
            <a:extLst>
              <a:ext uri="{FF2B5EF4-FFF2-40B4-BE49-F238E27FC236}">
                <a16:creationId xmlns:a16="http://schemas.microsoft.com/office/drawing/2014/main" id="{3A304288-4E2D-D86F-C233-4185B4892697}"/>
              </a:ext>
              <a:ext uri="{C183D7F6-B498-43B3-948B-1728B52AA6E4}">
                <adec:decorative xmlns:adec="http://schemas.microsoft.com/office/drawing/2017/decorative" val="1"/>
              </a:ext>
            </a:extLst>
          </p:cNvPr>
          <p:cNvSpPr/>
          <p:nvPr/>
        </p:nvSpPr>
        <p:spPr>
          <a:xfrm>
            <a:off x="2654984"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Graphic 73">
            <a:extLst>
              <a:ext uri="{FF2B5EF4-FFF2-40B4-BE49-F238E27FC236}">
                <a16:creationId xmlns:a16="http://schemas.microsoft.com/office/drawing/2014/main" id="{5EB8F57E-63F1-F6CB-50A1-C66E46D9A03D}"/>
              </a:ext>
              <a:ext uri="{C183D7F6-B498-43B3-948B-1728B52AA6E4}">
                <adec:decorative xmlns:adec="http://schemas.microsoft.com/office/drawing/2017/decorative" val="1"/>
              </a:ext>
            </a:extLst>
          </p:cNvPr>
          <p:cNvSpPr/>
          <p:nvPr/>
        </p:nvSpPr>
        <p:spPr>
          <a:xfrm>
            <a:off x="2775629"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6" name="TextBox 25">
            <a:extLst>
              <a:ext uri="{FF2B5EF4-FFF2-40B4-BE49-F238E27FC236}">
                <a16:creationId xmlns:a16="http://schemas.microsoft.com/office/drawing/2014/main" id="{EA6E2B8B-39C5-3684-4CD2-9C088D546E0F}"/>
              </a:ext>
            </a:extLst>
          </p:cNvPr>
          <p:cNvSpPr txBox="1"/>
          <p:nvPr/>
        </p:nvSpPr>
        <p:spPr>
          <a:xfrm>
            <a:off x="2775629" y="2452003"/>
            <a:ext cx="2065343" cy="2067233"/>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2. </a:t>
            </a:r>
            <a:r>
              <a:rPr lang="en-US" sz="1400">
                <a:solidFill>
                  <a:srgbClr val="2A446F"/>
                </a:solidFill>
                <a:latin typeface="Segoe Sans Text Semibold"/>
              </a:rPr>
              <a:t>Owning their technical and professional growth</a:t>
            </a:r>
          </a:p>
          <a:p>
            <a:pPr>
              <a:spcBef>
                <a:spcPts val="300"/>
              </a:spcBef>
              <a:spcAft>
                <a:spcPts val="200"/>
              </a:spcAft>
              <a:defRPr/>
            </a:pPr>
            <a:r>
              <a:rPr lang="en-US" sz="1200"/>
              <a:t>Proactively using tools like the https://aka.ms/rolelibrary and Skills Inventory to plan and update skilling, certifications, and accreditations aligned to Microsoft and customer priorities.</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7D2D9CEB-D289-345B-E613-7863EFAF701A}"/>
              </a:ext>
            </a:extLst>
          </p:cNvPr>
          <p:cNvSpPr/>
          <p:nvPr/>
        </p:nvSpPr>
        <p:spPr bwMode="auto">
          <a:xfrm>
            <a:off x="4537283" y="6256545"/>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rgbClr val="FFFFFF"/>
                </a:solidFill>
                <a:latin typeface="Segoe Sans Display Semibold"/>
                <a:cs typeface="Segoe UI" pitchFamily="34" charset="0"/>
              </a:rPr>
              <a:t>See your role success guide at </a:t>
            </a:r>
            <a:r>
              <a:rPr lang="en-US" sz="1200">
                <a:solidFill>
                  <a:srgbClr val="FFFFFF"/>
                </a:solidFill>
                <a:latin typeface="Segoe Sans Display Semibold"/>
                <a:cs typeface="Segoe UI" pitchFamily="34" charset="0"/>
                <a:hlinkClick r:id="rId3">
                  <a:extLst>
                    <a:ext uri="{A12FA001-AC4F-418D-AE19-62706E023703}">
                      <ahyp:hlinkClr xmlns:ahyp="http://schemas.microsoft.com/office/drawing/2018/hyperlinkcolor" val="tx"/>
                    </a:ext>
                  </a:extLst>
                </a:hlinkClick>
              </a:rPr>
              <a:t>aka.ms/rain</a:t>
            </a:r>
            <a:endParaRPr lang="en-US" sz="1200">
              <a:solidFill>
                <a:srgbClr val="FFFFFF"/>
              </a:solidFill>
              <a:latin typeface="Segoe Sans Display Semibold"/>
              <a:cs typeface="Segoe UI" pitchFamily="34" charset="0"/>
            </a:endParaRPr>
          </a:p>
        </p:txBody>
      </p:sp>
      <p:sp>
        <p:nvSpPr>
          <p:cNvPr id="29" name="Rectangle: Rounded Corners 28">
            <a:extLst>
              <a:ext uri="{FF2B5EF4-FFF2-40B4-BE49-F238E27FC236}">
                <a16:creationId xmlns:a16="http://schemas.microsoft.com/office/drawing/2014/main" id="{B71F2AF4-B497-0929-E92E-A4BE36B8F1FE}"/>
              </a:ext>
              <a:ext uri="{C183D7F6-B498-43B3-948B-1728B52AA6E4}">
                <adec:decorative xmlns:adec="http://schemas.microsoft.com/office/drawing/2017/decorative" val="1"/>
              </a:ext>
            </a:extLst>
          </p:cNvPr>
          <p:cNvSpPr/>
          <p:nvPr/>
        </p:nvSpPr>
        <p:spPr bwMode="auto">
          <a:xfrm>
            <a:off x="4960561" y="2120064"/>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0" name="Rectangle: Rounded Corners 29">
            <a:extLst>
              <a:ext uri="{FF2B5EF4-FFF2-40B4-BE49-F238E27FC236}">
                <a16:creationId xmlns:a16="http://schemas.microsoft.com/office/drawing/2014/main" id="{BC28993D-9B0F-9FC2-6CDC-9F8C0AA4970D}"/>
              </a:ext>
              <a:ext uri="{C183D7F6-B498-43B3-948B-1728B52AA6E4}">
                <adec:decorative xmlns:adec="http://schemas.microsoft.com/office/drawing/2017/decorative" val="1"/>
              </a:ext>
            </a:extLst>
          </p:cNvPr>
          <p:cNvSpPr/>
          <p:nvPr/>
        </p:nvSpPr>
        <p:spPr>
          <a:xfrm>
            <a:off x="4960561" y="2156976"/>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Graphic 73">
            <a:extLst>
              <a:ext uri="{FF2B5EF4-FFF2-40B4-BE49-F238E27FC236}">
                <a16:creationId xmlns:a16="http://schemas.microsoft.com/office/drawing/2014/main" id="{C7EBB5C1-0E58-F0C4-3D38-78E9AAC9E472}"/>
              </a:ext>
              <a:ext uri="{C183D7F6-B498-43B3-948B-1728B52AA6E4}">
                <adec:decorative xmlns:adec="http://schemas.microsoft.com/office/drawing/2017/decorative" val="1"/>
              </a:ext>
            </a:extLst>
          </p:cNvPr>
          <p:cNvSpPr/>
          <p:nvPr/>
        </p:nvSpPr>
        <p:spPr>
          <a:xfrm>
            <a:off x="5081206" y="2235810"/>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TextBox 31">
            <a:extLst>
              <a:ext uri="{FF2B5EF4-FFF2-40B4-BE49-F238E27FC236}">
                <a16:creationId xmlns:a16="http://schemas.microsoft.com/office/drawing/2014/main" id="{0EEBC800-6B1C-B63A-DA8B-060874C1E861}"/>
              </a:ext>
            </a:extLst>
          </p:cNvPr>
          <p:cNvSpPr txBox="1"/>
          <p:nvPr/>
        </p:nvSpPr>
        <p:spPr>
          <a:xfrm>
            <a:off x="5081206" y="2462091"/>
            <a:ext cx="2065343" cy="3454792"/>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3. </a:t>
            </a:r>
            <a:r>
              <a:rPr lang="en-US" sz="1400">
                <a:solidFill>
                  <a:srgbClr val="2A446F"/>
                </a:solidFill>
                <a:latin typeface="Segoe Sans Text Semibold"/>
              </a:rPr>
              <a:t>Driving customer outcomes through value-based delivery</a:t>
            </a:r>
            <a:endParaRPr lang="en-US" sz="1200">
              <a:solidFill>
                <a:srgbClr val="2A446F"/>
              </a:solidFill>
              <a:latin typeface="Segoe Sans Text Semibold"/>
            </a:endParaRPr>
          </a:p>
          <a:p>
            <a:pPr>
              <a:spcBef>
                <a:spcPts val="300"/>
              </a:spcBef>
              <a:spcAft>
                <a:spcPts val="200"/>
              </a:spcAft>
              <a:defRPr/>
            </a:pPr>
            <a:r>
              <a:rPr lang="en-US" sz="1200"/>
              <a:t>Demonstrating customer obsession by aligning Microsoft resources and repeatable IP to customer needs, identifying the key levers that impact business objectives and proactively mitigating risks that could hinder success</a:t>
            </a:r>
            <a:r>
              <a:rPr lang="en-US" sz="1200">
                <a:solidFill>
                  <a:schemeClr val="tx2"/>
                </a:solidFill>
              </a:rPr>
              <a:t>, </a:t>
            </a:r>
            <a:r>
              <a:rPr lang="en-US" sz="1200"/>
              <a:t>building confidence in our ability to help them achieve their business goals, including AI readiness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33" name="Rectangle: Rounded Corners 32">
            <a:extLst>
              <a:ext uri="{FF2B5EF4-FFF2-40B4-BE49-F238E27FC236}">
                <a16:creationId xmlns:a16="http://schemas.microsoft.com/office/drawing/2014/main" id="{4A243B80-DE80-E5B3-320B-910D14DBC686}"/>
              </a:ext>
              <a:ext uri="{C183D7F6-B498-43B3-948B-1728B52AA6E4}">
                <adec:decorative xmlns:adec="http://schemas.microsoft.com/office/drawing/2017/decorative" val="1"/>
              </a:ext>
            </a:extLst>
          </p:cNvPr>
          <p:cNvSpPr/>
          <p:nvPr/>
        </p:nvSpPr>
        <p:spPr bwMode="auto">
          <a:xfrm>
            <a:off x="7275903"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4" name="Rectangle: Rounded Corners 33">
            <a:extLst>
              <a:ext uri="{FF2B5EF4-FFF2-40B4-BE49-F238E27FC236}">
                <a16:creationId xmlns:a16="http://schemas.microsoft.com/office/drawing/2014/main" id="{A5B3EA76-00EC-34E8-513F-C4708B7AE5FF}"/>
              </a:ext>
              <a:ext uri="{C183D7F6-B498-43B3-948B-1728B52AA6E4}">
                <adec:decorative xmlns:adec="http://schemas.microsoft.com/office/drawing/2017/decorative" val="1"/>
              </a:ext>
            </a:extLst>
          </p:cNvPr>
          <p:cNvSpPr/>
          <p:nvPr/>
        </p:nvSpPr>
        <p:spPr>
          <a:xfrm>
            <a:off x="7275903"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Graphic 73">
            <a:extLst>
              <a:ext uri="{FF2B5EF4-FFF2-40B4-BE49-F238E27FC236}">
                <a16:creationId xmlns:a16="http://schemas.microsoft.com/office/drawing/2014/main" id="{AD76C7EE-3AD2-99BD-66DD-1A7BBA516FC5}"/>
              </a:ext>
              <a:ext uri="{C183D7F6-B498-43B3-948B-1728B52AA6E4}">
                <adec:decorative xmlns:adec="http://schemas.microsoft.com/office/drawing/2017/decorative" val="1"/>
              </a:ext>
            </a:extLst>
          </p:cNvPr>
          <p:cNvSpPr/>
          <p:nvPr/>
        </p:nvSpPr>
        <p:spPr>
          <a:xfrm>
            <a:off x="7396548"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TextBox 35">
            <a:extLst>
              <a:ext uri="{FF2B5EF4-FFF2-40B4-BE49-F238E27FC236}">
                <a16:creationId xmlns:a16="http://schemas.microsoft.com/office/drawing/2014/main" id="{FAAFFDB3-EFE4-AF01-9BDB-834E72096226}"/>
              </a:ext>
            </a:extLst>
          </p:cNvPr>
          <p:cNvSpPr txBox="1"/>
          <p:nvPr/>
        </p:nvSpPr>
        <p:spPr>
          <a:xfrm>
            <a:off x="7396548" y="2452003"/>
            <a:ext cx="2065343" cy="2003112"/>
          </a:xfrm>
          <a:prstGeom prst="rect">
            <a:avLst/>
          </a:prstGeom>
          <a:noFill/>
        </p:spPr>
        <p:txBody>
          <a:bodyPr wrap="square" lIns="0" tIns="0" rIns="0" bIns="0">
            <a:spAutoFit/>
          </a:bodyPr>
          <a:lstStyle/>
          <a:p>
            <a:pPr>
              <a:spcBef>
                <a:spcPts val="300"/>
              </a:spcBef>
              <a:spcAft>
                <a:spcPts val="200"/>
              </a:spcAft>
              <a:defRPr/>
            </a:pPr>
            <a:r>
              <a:rPr lang="en-US" sz="1400">
                <a:solidFill>
                  <a:schemeClr val="tx2"/>
                </a:solidFill>
                <a:latin typeface="+mj-lt"/>
              </a:rPr>
              <a:t>4. Mastering the Dual Focus: Execution and Expansion</a:t>
            </a:r>
          </a:p>
          <a:p>
            <a:pPr>
              <a:spcBef>
                <a:spcPts val="300"/>
              </a:spcBef>
              <a:spcAft>
                <a:spcPts val="200"/>
              </a:spcAft>
              <a:defRPr/>
            </a:pPr>
            <a:r>
              <a:rPr lang="en-US" sz="1200" b="0" i="0">
                <a:solidFill>
                  <a:srgbClr val="424242"/>
                </a:solidFill>
                <a:effectLst/>
                <a:latin typeface="Segoe Sans"/>
              </a:rPr>
              <a:t>Driving milestone delivery on core commitments with excellence (Job 1), while actively identifying and advancing opportunities to expand impact (Job 2), all with a customer-first mindset.</a:t>
            </a:r>
            <a:endParaRPr lang="en-US" sz="1400">
              <a:solidFill>
                <a:schemeClr val="tx2"/>
              </a:solidFill>
              <a:latin typeface="+mj-lt"/>
            </a:endParaRPr>
          </a:p>
        </p:txBody>
      </p:sp>
      <p:sp>
        <p:nvSpPr>
          <p:cNvPr id="37" name="Rectangle: Rounded Corners 36">
            <a:extLst>
              <a:ext uri="{FF2B5EF4-FFF2-40B4-BE49-F238E27FC236}">
                <a16:creationId xmlns:a16="http://schemas.microsoft.com/office/drawing/2014/main" id="{2C97E33F-E5AA-ED9B-DDA5-A233EF47FE22}"/>
              </a:ext>
              <a:ext uri="{C183D7F6-B498-43B3-948B-1728B52AA6E4}">
                <adec:decorative xmlns:adec="http://schemas.microsoft.com/office/drawing/2017/decorative" val="1"/>
              </a:ext>
            </a:extLst>
          </p:cNvPr>
          <p:cNvSpPr/>
          <p:nvPr/>
        </p:nvSpPr>
        <p:spPr bwMode="auto">
          <a:xfrm>
            <a:off x="9591245" y="2100700"/>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8" name="Rectangle: Rounded Corners 37">
            <a:extLst>
              <a:ext uri="{FF2B5EF4-FFF2-40B4-BE49-F238E27FC236}">
                <a16:creationId xmlns:a16="http://schemas.microsoft.com/office/drawing/2014/main" id="{3FD422BB-A1CA-7B4E-69A9-76E7B120B7EC}"/>
              </a:ext>
              <a:ext uri="{C183D7F6-B498-43B3-948B-1728B52AA6E4}">
                <adec:decorative xmlns:adec="http://schemas.microsoft.com/office/drawing/2017/decorative" val="1"/>
              </a:ext>
            </a:extLst>
          </p:cNvPr>
          <p:cNvSpPr/>
          <p:nvPr/>
        </p:nvSpPr>
        <p:spPr>
          <a:xfrm>
            <a:off x="9591245" y="2137612"/>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Graphic 73">
            <a:extLst>
              <a:ext uri="{FF2B5EF4-FFF2-40B4-BE49-F238E27FC236}">
                <a16:creationId xmlns:a16="http://schemas.microsoft.com/office/drawing/2014/main" id="{17B86DD6-184A-843E-C9D2-EE482DAEA243}"/>
              </a:ext>
              <a:ext uri="{C183D7F6-B498-43B3-948B-1728B52AA6E4}">
                <adec:decorative xmlns:adec="http://schemas.microsoft.com/office/drawing/2017/decorative" val="1"/>
              </a:ext>
            </a:extLst>
          </p:cNvPr>
          <p:cNvSpPr/>
          <p:nvPr/>
        </p:nvSpPr>
        <p:spPr>
          <a:xfrm>
            <a:off x="9711890" y="2216446"/>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TextBox 39">
            <a:extLst>
              <a:ext uri="{FF2B5EF4-FFF2-40B4-BE49-F238E27FC236}">
                <a16:creationId xmlns:a16="http://schemas.microsoft.com/office/drawing/2014/main" id="{4F64CFAA-0577-48C0-0CD1-F0A65B79F5A2}"/>
              </a:ext>
            </a:extLst>
          </p:cNvPr>
          <p:cNvSpPr txBox="1"/>
          <p:nvPr/>
        </p:nvSpPr>
        <p:spPr>
          <a:xfrm>
            <a:off x="9711890" y="2442727"/>
            <a:ext cx="2065343" cy="1913344"/>
          </a:xfrm>
          <a:prstGeom prst="rect">
            <a:avLst/>
          </a:prstGeom>
          <a:noFill/>
        </p:spPr>
        <p:txBody>
          <a:bodyPr wrap="square" lIns="0" tIns="0" rIns="0" bIns="0">
            <a:spAutoFit/>
          </a:bodyPr>
          <a:lstStyle/>
          <a:p>
            <a:pPr>
              <a:spcBef>
                <a:spcPts val="300"/>
              </a:spcBef>
              <a:spcAft>
                <a:spcPts val="200"/>
              </a:spcAft>
              <a:defRPr/>
            </a:pPr>
            <a:r>
              <a:rPr lang="en-US" sz="1400">
                <a:solidFill>
                  <a:srgbClr val="2A446F"/>
                </a:solidFill>
                <a:latin typeface="Segoe Sans Text Semibold"/>
              </a:rPr>
              <a:t>5. Leading AI transformation for customers</a:t>
            </a:r>
            <a:endParaRPr lang="en-US" sz="1200">
              <a:solidFill>
                <a:srgbClr val="2A446F"/>
              </a:solidFill>
              <a:latin typeface="Segoe Sans Text Semibold"/>
            </a:endParaRPr>
          </a:p>
          <a:p>
            <a:pPr>
              <a:spcBef>
                <a:spcPts val="300"/>
              </a:spcBef>
              <a:spcAft>
                <a:spcPts val="200"/>
              </a:spcAft>
              <a:defRPr/>
            </a:pPr>
            <a:r>
              <a:rPr lang="en-US" sz="1200"/>
              <a:t>Upskilling in relevant workloads and scenarios to serve as trusted advisors who guide innovation with AI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grpSp>
        <p:nvGrpSpPr>
          <p:cNvPr id="41" name="Group 40">
            <a:extLst>
              <a:ext uri="{FF2B5EF4-FFF2-40B4-BE49-F238E27FC236}">
                <a16:creationId xmlns:a16="http://schemas.microsoft.com/office/drawing/2014/main" id="{F7F0006D-FB3B-85DD-FFCC-7BCDD717D87D}"/>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2" name="Table 2 Cell 1, 1 to Text">
              <a:extLst>
                <a:ext uri="{FF2B5EF4-FFF2-40B4-BE49-F238E27FC236}">
                  <a16:creationId xmlns:a16="http://schemas.microsoft.com/office/drawing/2014/main" id="{681FC678-562D-4A8F-444D-F9D7C3DF9C7A}"/>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3" name="Table 2 Cell 2, 1 to Text">
              <a:extLst>
                <a:ext uri="{FF2B5EF4-FFF2-40B4-BE49-F238E27FC236}">
                  <a16:creationId xmlns:a16="http://schemas.microsoft.com/office/drawing/2014/main" id="{ED50FD31-9FD8-BE15-748A-81E68F866403}"/>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4" name="Table 2 Cell 3, 1 to Text">
              <a:extLst>
                <a:ext uri="{FF2B5EF4-FFF2-40B4-BE49-F238E27FC236}">
                  <a16:creationId xmlns:a16="http://schemas.microsoft.com/office/drawing/2014/main" id="{C81015E8-CB36-0937-46E0-E268B28BCF7F}"/>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45" name="Table 2 Cell 4, 1 to Text">
              <a:extLst>
                <a:ext uri="{FF2B5EF4-FFF2-40B4-BE49-F238E27FC236}">
                  <a16:creationId xmlns:a16="http://schemas.microsoft.com/office/drawing/2014/main" id="{5C5FA9A0-E43C-86F2-FAA0-8F6F6296DF02}"/>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46" name="Table 2 Cell 5, 1 to Text">
              <a:extLst>
                <a:ext uri="{FF2B5EF4-FFF2-40B4-BE49-F238E27FC236}">
                  <a16:creationId xmlns:a16="http://schemas.microsoft.com/office/drawing/2014/main" id="{307CF24A-62A5-902F-A8A8-9FB0D1E154FF}"/>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5. Cloud &amp; AI Data CSA</a:t>
              </a:r>
            </a:p>
          </p:txBody>
        </p:sp>
        <p:sp>
          <p:nvSpPr>
            <p:cNvPr id="47" name="Table 2 Cell 6, 1 to Text">
              <a:extLst>
                <a:ext uri="{FF2B5EF4-FFF2-40B4-BE49-F238E27FC236}">
                  <a16:creationId xmlns:a16="http://schemas.microsoft.com/office/drawing/2014/main" id="{6CAE902D-0A7B-EF19-E528-3040E8BB78D4}"/>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8" name="Table 2 Cell 7, 1 to Text">
              <a:extLst>
                <a:ext uri="{FF2B5EF4-FFF2-40B4-BE49-F238E27FC236}">
                  <a16:creationId xmlns:a16="http://schemas.microsoft.com/office/drawing/2014/main" id="{E44EED3D-E467-B5A0-737F-BEC3AE6057B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9" name="Table 2 Cell 1, 2 to Text">
              <a:extLst>
                <a:ext uri="{FF2B5EF4-FFF2-40B4-BE49-F238E27FC236}">
                  <a16:creationId xmlns:a16="http://schemas.microsoft.com/office/drawing/2014/main" id="{2A71A90F-F0DD-81A6-E6DC-6A9528C39FC4}"/>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50" name="Table 2 Cell 1, 3 to Text">
              <a:extLst>
                <a:ext uri="{FF2B5EF4-FFF2-40B4-BE49-F238E27FC236}">
                  <a16:creationId xmlns:a16="http://schemas.microsoft.com/office/drawing/2014/main" id="{B4FD5916-62A1-4D75-22AF-AB8AD36AB412}"/>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51" name="Table 2 Cell 1, 4 to Text">
              <a:extLst>
                <a:ext uri="{FF2B5EF4-FFF2-40B4-BE49-F238E27FC236}">
                  <a16:creationId xmlns:a16="http://schemas.microsoft.com/office/drawing/2014/main" id="{EF7B4D4E-22EC-EA06-448A-0CFEA3F1C2CA}"/>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5.3 Core Priorities &amp; Key Habits</a:t>
              </a:r>
            </a:p>
          </p:txBody>
        </p:sp>
        <p:sp>
          <p:nvSpPr>
            <p:cNvPr id="52" name="Table 2 Cell 1, 5 to Text">
              <a:extLst>
                <a:ext uri="{FF2B5EF4-FFF2-40B4-BE49-F238E27FC236}">
                  <a16:creationId xmlns:a16="http://schemas.microsoft.com/office/drawing/2014/main" id="{E86CB58F-F002-8391-76FF-C819287CA20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53" name="Table 2 Cell 1, 6 to Text">
              <a:extLst>
                <a:ext uri="{FF2B5EF4-FFF2-40B4-BE49-F238E27FC236}">
                  <a16:creationId xmlns:a16="http://schemas.microsoft.com/office/drawing/2014/main" id="{3EDF45E4-6146-B0AE-D3A3-4A03069DFFD5}"/>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54" name="Table 2 Cell 1, 7 to Text">
              <a:extLst>
                <a:ext uri="{FF2B5EF4-FFF2-40B4-BE49-F238E27FC236}">
                  <a16:creationId xmlns:a16="http://schemas.microsoft.com/office/drawing/2014/main" id="{521371B0-A265-B79C-F57E-949C0DC345A1}"/>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55" name="Table 2 Cell 1, 8 to Text">
              <a:extLst>
                <a:ext uri="{FF2B5EF4-FFF2-40B4-BE49-F238E27FC236}">
                  <a16:creationId xmlns:a16="http://schemas.microsoft.com/office/drawing/2014/main" id="{B419C3D3-1C9C-768D-C74E-4D84073C6CD0}"/>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38537137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A5F56-E738-14B6-87CA-EC512B33806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F274654-076C-BF91-2953-D0446149AC80}"/>
              </a:ext>
            </a:extLst>
          </p:cNvPr>
          <p:cNvSpPr>
            <a:spLocks noGrp="1"/>
          </p:cNvSpPr>
          <p:nvPr>
            <p:ph type="title"/>
          </p:nvPr>
        </p:nvSpPr>
        <p:spPr>
          <a:xfrm>
            <a:off x="571500" y="512456"/>
            <a:ext cx="11049000" cy="492443"/>
          </a:xfrm>
        </p:spPr>
        <p:txBody>
          <a:bodyPr>
            <a:normAutofit/>
          </a:bodyPr>
          <a:lstStyle/>
          <a:p>
            <a:r>
              <a:rPr lang="en-US" sz="2800">
                <a:solidFill>
                  <a:schemeClr val="accent1"/>
                </a:solidFill>
              </a:rPr>
              <a:t>FY26 Cloud &amp; AI CSU </a:t>
            </a:r>
            <a:r>
              <a:rPr lang="en-US" sz="2800"/>
              <a:t>| Technical Expectations</a:t>
            </a:r>
          </a:p>
        </p:txBody>
      </p:sp>
      <p:sp>
        <p:nvSpPr>
          <p:cNvPr id="6" name="TextBox 5">
            <a:extLst>
              <a:ext uri="{FF2B5EF4-FFF2-40B4-BE49-F238E27FC236}">
                <a16:creationId xmlns:a16="http://schemas.microsoft.com/office/drawing/2014/main" id="{92991660-A620-4C1A-5843-6FB40C38C08D}"/>
              </a:ext>
            </a:extLst>
          </p:cNvPr>
          <p:cNvSpPr txBox="1"/>
          <p:nvPr/>
        </p:nvSpPr>
        <p:spPr>
          <a:xfrm>
            <a:off x="571500" y="6443671"/>
            <a:ext cx="280365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zure AI Foundry encapsulates AI Services, AOAI, Azure ML</a:t>
            </a:r>
          </a:p>
        </p:txBody>
      </p:sp>
      <p:sp>
        <p:nvSpPr>
          <p:cNvPr id="20" name="Rectangle: Rounded Corners 19">
            <a:extLst>
              <a:ext uri="{FF2B5EF4-FFF2-40B4-BE49-F238E27FC236}">
                <a16:creationId xmlns:a16="http://schemas.microsoft.com/office/drawing/2014/main" id="{DBD5E95B-FDFF-552D-3B39-501805D0F9E3}"/>
              </a:ext>
              <a:ext uri="{C183D7F6-B498-43B3-948B-1728B52AA6E4}">
                <adec:decorative xmlns:adec="http://schemas.microsoft.com/office/drawing/2017/decorative" val="1"/>
              </a:ext>
            </a:extLst>
          </p:cNvPr>
          <p:cNvSpPr>
            <a:spLocks/>
          </p:cNvSpPr>
          <p:nvPr/>
        </p:nvSpPr>
        <p:spPr bwMode="auto">
          <a:xfrm>
            <a:off x="573880" y="1048994"/>
            <a:ext cx="3630168" cy="5363232"/>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1" name="Rectangle: Rounded Corners 20">
            <a:extLst>
              <a:ext uri="{FF2B5EF4-FFF2-40B4-BE49-F238E27FC236}">
                <a16:creationId xmlns:a16="http://schemas.microsoft.com/office/drawing/2014/main" id="{7416285C-1D26-BBD5-DB57-5BF11BA68DE9}"/>
              </a:ext>
              <a:ext uri="{C183D7F6-B498-43B3-948B-1728B52AA6E4}">
                <adec:decorative xmlns:adec="http://schemas.microsoft.com/office/drawing/2017/decorative" val="1"/>
              </a:ext>
            </a:extLst>
          </p:cNvPr>
          <p:cNvSpPr>
            <a:spLocks/>
          </p:cNvSpPr>
          <p:nvPr/>
        </p:nvSpPr>
        <p:spPr bwMode="auto">
          <a:xfrm>
            <a:off x="4281342"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2" name="Rectangle: Rounded Corners 21">
            <a:extLst>
              <a:ext uri="{FF2B5EF4-FFF2-40B4-BE49-F238E27FC236}">
                <a16:creationId xmlns:a16="http://schemas.microsoft.com/office/drawing/2014/main" id="{B7EEF514-E8E0-4E2C-4947-4728C11AF7BB}"/>
              </a:ext>
              <a:ext uri="{C183D7F6-B498-43B3-948B-1728B52AA6E4}">
                <adec:decorative xmlns:adec="http://schemas.microsoft.com/office/drawing/2017/decorative" val="1"/>
              </a:ext>
            </a:extLst>
          </p:cNvPr>
          <p:cNvSpPr>
            <a:spLocks/>
          </p:cNvSpPr>
          <p:nvPr/>
        </p:nvSpPr>
        <p:spPr bwMode="auto">
          <a:xfrm>
            <a:off x="7988804"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3" name="Rectangle: Rounded Corners 22">
            <a:extLst>
              <a:ext uri="{FF2B5EF4-FFF2-40B4-BE49-F238E27FC236}">
                <a16:creationId xmlns:a16="http://schemas.microsoft.com/office/drawing/2014/main" id="{9740BCD4-3114-33C5-05F1-E3AD018AD9B3}"/>
              </a:ext>
            </a:extLst>
          </p:cNvPr>
          <p:cNvSpPr/>
          <p:nvPr/>
        </p:nvSpPr>
        <p:spPr bwMode="auto">
          <a:xfrm>
            <a:off x="662937" y="1140434"/>
            <a:ext cx="3456814" cy="330677"/>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Infra CSA</a:t>
            </a:r>
          </a:p>
        </p:txBody>
      </p:sp>
      <p:sp>
        <p:nvSpPr>
          <p:cNvPr id="24" name="Rectangle: Rounded Corners 23">
            <a:extLst>
              <a:ext uri="{FF2B5EF4-FFF2-40B4-BE49-F238E27FC236}">
                <a16:creationId xmlns:a16="http://schemas.microsoft.com/office/drawing/2014/main" id="{246584B9-8117-B186-8348-380AAD0E6AAE}"/>
              </a:ext>
            </a:extLst>
          </p:cNvPr>
          <p:cNvSpPr/>
          <p:nvPr/>
        </p:nvSpPr>
        <p:spPr bwMode="auto">
          <a:xfrm>
            <a:off x="4368019"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Data CSA</a:t>
            </a:r>
          </a:p>
        </p:txBody>
      </p:sp>
      <p:sp>
        <p:nvSpPr>
          <p:cNvPr id="25" name="Rectangle: Rounded Corners 24">
            <a:extLst>
              <a:ext uri="{FF2B5EF4-FFF2-40B4-BE49-F238E27FC236}">
                <a16:creationId xmlns:a16="http://schemas.microsoft.com/office/drawing/2014/main" id="{261D9D29-A4CD-831F-9DC8-9DE956B42044}"/>
              </a:ext>
            </a:extLst>
          </p:cNvPr>
          <p:cNvSpPr/>
          <p:nvPr/>
        </p:nvSpPr>
        <p:spPr bwMode="auto">
          <a:xfrm>
            <a:off x="8075481"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Apps CSA</a:t>
            </a:r>
          </a:p>
        </p:txBody>
      </p:sp>
      <p:sp>
        <p:nvSpPr>
          <p:cNvPr id="35" name="Rectangle: Top Corners Rounded 34">
            <a:extLst>
              <a:ext uri="{FF2B5EF4-FFF2-40B4-BE49-F238E27FC236}">
                <a16:creationId xmlns:a16="http://schemas.microsoft.com/office/drawing/2014/main" id="{1C846E65-EFB5-FE52-0A9A-955009ED6141}"/>
              </a:ext>
              <a:ext uri="{C183D7F6-B498-43B3-948B-1728B52AA6E4}">
                <adec:decorative xmlns:adec="http://schemas.microsoft.com/office/drawing/2017/decorative" val="1"/>
              </a:ext>
            </a:extLst>
          </p:cNvPr>
          <p:cNvSpPr/>
          <p:nvPr/>
        </p:nvSpPr>
        <p:spPr bwMode="auto">
          <a:xfrm rot="16200000">
            <a:off x="-252730" y="5048700"/>
            <a:ext cx="1381758" cy="266698"/>
          </a:xfrm>
          <a:prstGeom prst="round2SameRect">
            <a:avLst>
              <a:gd name="adj1" fmla="val 21111"/>
              <a:gd name="adj2" fmla="val 0"/>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40" name="TextBox 39">
            <a:extLst>
              <a:ext uri="{FF2B5EF4-FFF2-40B4-BE49-F238E27FC236}">
                <a16:creationId xmlns:a16="http://schemas.microsoft.com/office/drawing/2014/main" id="{80F7FC30-FBE3-925A-E5AE-F2F96B120343}"/>
              </a:ext>
            </a:extLst>
          </p:cNvPr>
          <p:cNvSpPr txBox="1"/>
          <p:nvPr/>
        </p:nvSpPr>
        <p:spPr>
          <a:xfrm>
            <a:off x="765076" y="1572848"/>
            <a:ext cx="3251684" cy="1408078"/>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Z-305</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 Engineer Associate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700</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 Foundation Certified System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LFC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rPr>
              <a:t>CKA</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ecurity Engineer Associate</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1" name="TextBox 40">
            <a:extLst>
              <a:ext uri="{FF2B5EF4-FFF2-40B4-BE49-F238E27FC236}">
                <a16:creationId xmlns:a16="http://schemas.microsoft.com/office/drawing/2014/main" id="{1F48E407-A47A-680B-1A2C-9809B4EC72ED}"/>
              </a:ext>
            </a:extLst>
          </p:cNvPr>
          <p:cNvSpPr txBox="1"/>
          <p:nvPr/>
        </p:nvSpPr>
        <p:spPr>
          <a:xfrm>
            <a:off x="765076"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42" name="TextBox 41">
            <a:extLst>
              <a:ext uri="{FF2B5EF4-FFF2-40B4-BE49-F238E27FC236}">
                <a16:creationId xmlns:a16="http://schemas.microsoft.com/office/drawing/2014/main" id="{89D93DDB-0CEF-145C-24F2-3C5C403416F5}"/>
              </a:ext>
            </a:extLst>
          </p:cNvPr>
          <p:cNvSpPr txBox="1"/>
          <p:nvPr/>
        </p:nvSpPr>
        <p:spPr>
          <a:xfrm>
            <a:off x="765076" y="3865374"/>
            <a:ext cx="3251684" cy="23314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Infra Migr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Windows Server VMs, Linux VMs, Azure Arc, Azure VMware Solution (AVS), Azure Arc, RISE with SAP, </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M-Series Azure VMs, HP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 Migration &am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SQL (SQL Server on Azure VMs, Azure SQL Managed Instance, Azure SQL Database), Azure Database for PostgreSQL, Azure Database for MySQL</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p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Kubernetes Service (AKS), ACA, App Service, Azure Red Hat OpenShift (ARO)</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Security</a:t>
            </a:r>
            <a:r>
              <a:rPr kumimoji="0" lang="en-US" sz="900" b="0" i="0" u="none" strike="noStrike" kern="1200" cap="none" spc="0" normalizeH="0" baseline="0" noProof="0">
                <a:ln>
                  <a:noFill/>
                </a:ln>
                <a:solidFill>
                  <a:srgbClr val="000000"/>
                </a:solidFill>
                <a:effectLst/>
                <a:uLnTx/>
                <a:uFillTx/>
                <a:latin typeface="Segoe Sans Text"/>
                <a:ea typeface="+mn-ea"/>
                <a:cs typeface="+mn-cs"/>
              </a:rPr>
              <a:t>: Defender for Cloud, Network Securit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AF + WAF </a:t>
            </a:r>
            <a:r>
              <a:rPr kumimoji="0" lang="en-US" sz="900" b="0" i="0" u="none" strike="noStrike" kern="1200" cap="none" spc="0" normalizeH="0" baseline="0" noProof="0">
                <a:ln>
                  <a:noFill/>
                </a:ln>
                <a:solidFill>
                  <a:srgbClr val="000000"/>
                </a:solidFill>
                <a:effectLst/>
                <a:uLnTx/>
                <a:uFillTx/>
                <a:latin typeface="Segoe Sans Text"/>
                <a:ea typeface="+mn-ea"/>
                <a:cs typeface="+mn-cs"/>
              </a:rPr>
              <a:t>(e.g. landing zones, WARA, networking, storage, monitor, backup/DR, resiliency etc.)</a:t>
            </a:r>
            <a:endParaRPr kumimoji="0" lang="en-US" sz="10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45" name="Straight Connector 44">
            <a:extLst>
              <a:ext uri="{FF2B5EF4-FFF2-40B4-BE49-F238E27FC236}">
                <a16:creationId xmlns:a16="http://schemas.microsoft.com/office/drawing/2014/main" id="{113CB52E-C4EB-7369-A7E0-51423D660D39}"/>
              </a:ext>
              <a:ext uri="{C183D7F6-B498-43B3-948B-1728B52AA6E4}">
                <adec:decorative xmlns:adec="http://schemas.microsoft.com/office/drawing/2017/decorative" val="1"/>
              </a:ext>
            </a:extLst>
          </p:cNvPr>
          <p:cNvCxnSpPr>
            <a:cxnSpLocks/>
          </p:cNvCxnSpPr>
          <p:nvPr/>
        </p:nvCxnSpPr>
        <p:spPr>
          <a:xfrm>
            <a:off x="813904"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66ABC0D-3F02-37E5-03C4-FCD2978F256B}"/>
              </a:ext>
              <a:ext uri="{C183D7F6-B498-43B3-948B-1728B52AA6E4}">
                <adec:decorative xmlns:adec="http://schemas.microsoft.com/office/drawing/2017/decorative" val="1"/>
              </a:ext>
            </a:extLst>
          </p:cNvPr>
          <p:cNvCxnSpPr>
            <a:cxnSpLocks/>
          </p:cNvCxnSpPr>
          <p:nvPr/>
        </p:nvCxnSpPr>
        <p:spPr>
          <a:xfrm>
            <a:off x="813904"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A924477-A887-8349-342A-6EC4CA51432A}"/>
              </a:ext>
            </a:extLst>
          </p:cNvPr>
          <p:cNvSpPr txBox="1"/>
          <p:nvPr/>
        </p:nvSpPr>
        <p:spPr>
          <a:xfrm>
            <a:off x="4470158"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Analytics Engineer Associate (DP-6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Data Engineer Associate (DP-7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ower BI Data Analyst Associate (PL-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Cosmos DB Developer Specialty (DP-42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9" name="TextBox 48">
            <a:extLst>
              <a:ext uri="{FF2B5EF4-FFF2-40B4-BE49-F238E27FC236}">
                <a16:creationId xmlns:a16="http://schemas.microsoft.com/office/drawing/2014/main" id="{8A919758-1114-59E7-4280-2FDF3913BB69}"/>
              </a:ext>
            </a:extLst>
          </p:cNvPr>
          <p:cNvSpPr txBox="1"/>
          <p:nvPr/>
        </p:nvSpPr>
        <p:spPr>
          <a:xfrm>
            <a:off x="4470158"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50" name="TextBox 49">
            <a:extLst>
              <a:ext uri="{FF2B5EF4-FFF2-40B4-BE49-F238E27FC236}">
                <a16:creationId xmlns:a16="http://schemas.microsoft.com/office/drawing/2014/main" id="{FD31274B-3CA9-51C7-1F88-0B3B0363588D}"/>
              </a:ext>
            </a:extLst>
          </p:cNvPr>
          <p:cNvSpPr txBox="1"/>
          <p:nvPr/>
        </p:nvSpPr>
        <p:spPr>
          <a:xfrm>
            <a:off x="4470158" y="3865374"/>
            <a:ext cx="3251684" cy="15465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lvl="0" indent="-131763">
              <a:spcAft>
                <a:spcPts val="600"/>
              </a:spcAft>
              <a:buClr>
                <a:srgbClr val="000000"/>
              </a:buClr>
              <a:buFont typeface="Arial" panose="020B0604020202020204" pitchFamily="34" charset="0"/>
              <a:buChar char="•"/>
              <a:defRPr/>
            </a:pPr>
            <a:r>
              <a:rPr lang="en-US" sz="900">
                <a:solidFill>
                  <a:srgbClr val="000000"/>
                </a:solidFill>
              </a:rPr>
              <a:t>Microsoft Fabric (Fabric DW, Real-Time Intelligence), </a:t>
            </a:r>
            <a:r>
              <a:rPr lang="en-US" sz="900" err="1">
                <a:solidFill>
                  <a:srgbClr val="000000"/>
                </a:solidFill>
              </a:rPr>
              <a:t>OneLake</a:t>
            </a:r>
            <a:r>
              <a:rPr lang="en-US" sz="900">
                <a:solidFill>
                  <a:srgbClr val="000000"/>
                </a:solidFill>
              </a:rPr>
              <a:t>, Data Integration, Data Engineering, Copilot, Data Science)</a:t>
            </a:r>
          </a:p>
          <a:p>
            <a:pPr marL="188913" lvl="0" indent="-131763">
              <a:spcAft>
                <a:spcPts val="600"/>
              </a:spcAft>
              <a:buClr>
                <a:srgbClr val="000000"/>
              </a:buClr>
              <a:buFont typeface="Arial" panose="020B0604020202020204" pitchFamily="34" charset="0"/>
              <a:buChar char="•"/>
              <a:defRPr/>
            </a:pPr>
            <a:r>
              <a:rPr lang="en-US" sz="900">
                <a:solidFill>
                  <a:srgbClr val="000000"/>
                </a:solidFill>
              </a:rPr>
              <a:t>Azure Databricks</a:t>
            </a:r>
          </a:p>
          <a:p>
            <a:pPr marL="188913" indent="-131763">
              <a:spcAft>
                <a:spcPts val="600"/>
              </a:spcAft>
              <a:buClr>
                <a:srgbClr val="000000"/>
              </a:buClr>
              <a:buFont typeface="Arial" panose="020B0604020202020204" pitchFamily="34" charset="0"/>
              <a:buChar char="•"/>
              <a:defRPr/>
            </a:pPr>
            <a:r>
              <a:rPr lang="en-US" sz="900">
                <a:solidFill>
                  <a:srgbClr val="000000"/>
                </a:solidFill>
              </a:rPr>
              <a:t>Microsoft Purview</a:t>
            </a:r>
          </a:p>
          <a:p>
            <a:pPr marL="188913" indent="-131763">
              <a:spcAft>
                <a:spcPts val="600"/>
              </a:spcAft>
              <a:buClr>
                <a:srgbClr val="000000"/>
              </a:buClr>
              <a:buFont typeface="Arial" panose="020B0604020202020204" pitchFamily="34" charset="0"/>
              <a:buChar char="•"/>
              <a:defRPr/>
            </a:pPr>
            <a:r>
              <a:rPr lang="en-US" sz="900">
                <a:solidFill>
                  <a:srgbClr val="000000"/>
                </a:solidFill>
              </a:rPr>
              <a:t>Azure Databases (Azure SQL, Azure Postgres SQL, Azure MySQL, Cosmos DB)</a:t>
            </a:r>
          </a:p>
        </p:txBody>
      </p:sp>
      <p:cxnSp>
        <p:nvCxnSpPr>
          <p:cNvPr id="51" name="Straight Connector 50">
            <a:extLst>
              <a:ext uri="{FF2B5EF4-FFF2-40B4-BE49-F238E27FC236}">
                <a16:creationId xmlns:a16="http://schemas.microsoft.com/office/drawing/2014/main" id="{CC1FBB6B-571D-47B1-ECBD-919A60B9FECE}"/>
              </a:ext>
              <a:ext uri="{C183D7F6-B498-43B3-948B-1728B52AA6E4}">
                <adec:decorative xmlns:adec="http://schemas.microsoft.com/office/drawing/2017/decorative" val="1"/>
              </a:ext>
            </a:extLst>
          </p:cNvPr>
          <p:cNvCxnSpPr>
            <a:cxnSpLocks/>
          </p:cNvCxnSpPr>
          <p:nvPr/>
        </p:nvCxnSpPr>
        <p:spPr>
          <a:xfrm>
            <a:off x="4470158"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419D711-3750-EF7A-649E-08612369A273}"/>
              </a:ext>
              <a:ext uri="{C183D7F6-B498-43B3-948B-1728B52AA6E4}">
                <adec:decorative xmlns:adec="http://schemas.microsoft.com/office/drawing/2017/decorative" val="1"/>
              </a:ext>
            </a:extLst>
          </p:cNvPr>
          <p:cNvCxnSpPr>
            <a:cxnSpLocks/>
          </p:cNvCxnSpPr>
          <p:nvPr/>
        </p:nvCxnSpPr>
        <p:spPr>
          <a:xfrm>
            <a:off x="4470158"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776206E-D96C-5F77-85E1-969DC8AFDFF6}"/>
              </a:ext>
              <a:ext uri="{C183D7F6-B498-43B3-948B-1728B52AA6E4}">
                <adec:decorative xmlns:adec="http://schemas.microsoft.com/office/drawing/2017/decorative" val="1"/>
              </a:ext>
            </a:extLst>
          </p:cNvPr>
          <p:cNvCxnSpPr>
            <a:cxnSpLocks/>
          </p:cNvCxnSpPr>
          <p:nvPr/>
        </p:nvCxnSpPr>
        <p:spPr>
          <a:xfrm>
            <a:off x="8165658" y="3699350"/>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D534C50-0FA4-056D-F381-21CDDEE36838}"/>
              </a:ext>
              <a:ext uri="{C183D7F6-B498-43B3-948B-1728B52AA6E4}">
                <adec:decorative xmlns:adec="http://schemas.microsoft.com/office/drawing/2017/decorative" val="1"/>
              </a:ext>
            </a:extLst>
          </p:cNvPr>
          <p:cNvCxnSpPr>
            <a:cxnSpLocks/>
          </p:cNvCxnSpPr>
          <p:nvPr/>
        </p:nvCxnSpPr>
        <p:spPr>
          <a:xfrm>
            <a:off x="8165658" y="3238354"/>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EF53794-B324-693C-DDE0-613421F52672}"/>
              </a:ext>
            </a:extLst>
          </p:cNvPr>
          <p:cNvSpPr txBox="1"/>
          <p:nvPr/>
        </p:nvSpPr>
        <p:spPr>
          <a:xfrm>
            <a:off x="8165658"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eveloper Associate (AZ-204)</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AI Engineer Associate (AI-102)</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 Copilot Certifications</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vOps Engineer Expert (AZ-4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CKA)</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59" name="TextBox 58">
            <a:extLst>
              <a:ext uri="{FF2B5EF4-FFF2-40B4-BE49-F238E27FC236}">
                <a16:creationId xmlns:a16="http://schemas.microsoft.com/office/drawing/2014/main" id="{8E0D7111-3F7D-86D7-1CCD-A63A53CC1D16}"/>
              </a:ext>
            </a:extLst>
          </p:cNvPr>
          <p:cNvSpPr txBox="1"/>
          <p:nvPr/>
        </p:nvSpPr>
        <p:spPr>
          <a:xfrm>
            <a:off x="8165658" y="3303422"/>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zure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Exam (AZ-305)</a:t>
            </a:r>
          </a:p>
        </p:txBody>
      </p:sp>
      <p:sp>
        <p:nvSpPr>
          <p:cNvPr id="60" name="TextBox 59">
            <a:extLst>
              <a:ext uri="{FF2B5EF4-FFF2-40B4-BE49-F238E27FC236}">
                <a16:creationId xmlns:a16="http://schemas.microsoft.com/office/drawing/2014/main" id="{6ACFE856-E9DF-5E3C-9558-81C04C920CD1}"/>
              </a:ext>
            </a:extLst>
          </p:cNvPr>
          <p:cNvSpPr txBox="1"/>
          <p:nvPr/>
        </p:nvSpPr>
        <p:spPr>
          <a:xfrm>
            <a:off x="8165658" y="3764418"/>
            <a:ext cx="3251684" cy="25468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AI Foundry*​ </a:t>
            </a:r>
            <a:r>
              <a:rPr kumimoji="0" lang="en-US" sz="900" b="0" i="0" u="none" strike="noStrike" kern="1200" cap="none" spc="0" normalizeH="0" baseline="0" noProof="0">
                <a:ln>
                  <a:noFill/>
                </a:ln>
                <a:solidFill>
                  <a:srgbClr val="000000"/>
                </a:solidFill>
                <a:effectLst/>
                <a:uLnTx/>
                <a:uFillTx/>
                <a:latin typeface="Segoe Sans Text"/>
                <a:ea typeface="+mn-ea"/>
                <a:cs typeface="+mn-cs"/>
              </a:rPr>
              <a:t>(Models, Agent Service, Semantic Kernel, Search, ML, SDK)</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pilot Studio​</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err="1">
                <a:ln>
                  <a:noFill/>
                </a:ln>
                <a:solidFill>
                  <a:srgbClr val="000000"/>
                </a:solidFill>
                <a:effectLst/>
                <a:uLnTx/>
                <a:uFillTx/>
                <a:latin typeface="Segoe Sans Text Semibold"/>
                <a:ea typeface="+mn-ea"/>
                <a:cs typeface="+mn-cs"/>
              </a:rPr>
              <a:t>AppPlat</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ontainers/Serverless </a:t>
            </a:r>
            <a:r>
              <a:rPr kumimoji="0" lang="en-US" sz="900" b="1" i="0" u="none" strike="noStrike" kern="1200" cap="none" spc="0" normalizeH="0" baseline="0" noProof="0">
                <a:ln>
                  <a:noFill/>
                </a:ln>
                <a:solidFill>
                  <a:srgbClr val="000000"/>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App Service, AKS, ACA, ARO, Function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Integration Service </a:t>
            </a:r>
            <a:r>
              <a:rPr kumimoji="0" lang="en-US" sz="900" b="0" i="0" u="none" strike="noStrike" kern="1200" cap="none" spc="0" normalizeH="0" baseline="0" noProof="0">
                <a:ln>
                  <a:noFill/>
                </a:ln>
                <a:solidFill>
                  <a:srgbClr val="000000"/>
                </a:solidFill>
                <a:effectLst/>
                <a:uLnTx/>
                <a:uFillTx/>
                <a:latin typeface="Segoe Sans Text"/>
                <a:ea typeface="+mn-ea"/>
                <a:cs typeface="+mn-cs"/>
              </a:rPr>
              <a:t>(APIM, Logic App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evOps</a:t>
            </a:r>
            <a:r>
              <a:rPr kumimoji="0" lang="en-US" sz="900" b="0" i="0" u="none" strike="noStrike" kern="1200" cap="none" spc="0" normalizeH="0" baseline="0" noProof="0">
                <a:ln>
                  <a:noFill/>
                </a:ln>
                <a:solidFill>
                  <a:srgbClr val="000000"/>
                </a:solidFill>
                <a:effectLst/>
                <a:uLnTx/>
                <a:uFillTx/>
                <a:latin typeface="Segoe Sans Text"/>
                <a:ea typeface="+mn-ea"/>
                <a:cs typeface="+mn-cs"/>
              </a:rPr>
              <a:t> (CI/CD, Azure DevOp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DevSecOp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GitHub</a:t>
            </a:r>
            <a:r>
              <a:rPr kumimoji="0" lang="en-US" sz="900" b="0" i="0" u="none" strike="noStrike" kern="1200" cap="none" spc="0" normalizeH="0" baseline="0" noProof="0">
                <a:ln>
                  <a:noFill/>
                </a:ln>
                <a:solidFill>
                  <a:srgbClr val="000000"/>
                </a:solidFill>
                <a:effectLst/>
                <a:uLnTx/>
                <a:uFillTx/>
                <a:latin typeface="Segoe Sans Text"/>
                <a:ea typeface="+mn-ea"/>
                <a:cs typeface="+mn-cs"/>
              </a:rPr>
              <a:t> (Copilot, Enterprise, Adv Security, Action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Codespace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3P GPU/AI Infra/BYOAIM</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a:t>
            </a:r>
            <a:r>
              <a:rPr kumimoji="0" lang="en-US" sz="900" b="0" i="0" u="none" strike="noStrike" kern="1200" cap="none" spc="0" normalizeH="0" baseline="0" noProof="0">
                <a:ln>
                  <a:noFill/>
                </a:ln>
                <a:solidFill>
                  <a:srgbClr val="000000"/>
                </a:solidFill>
                <a:effectLst/>
                <a:uLnTx/>
                <a:uFillTx/>
                <a:latin typeface="Segoe Sans Text"/>
                <a:ea typeface="+mn-ea"/>
                <a:cs typeface="+mn-cs"/>
              </a:rPr>
              <a:t> (Cosmos DB, Azure SQL, Azure Database for PostgreSQL)</a:t>
            </a:r>
          </a:p>
        </p:txBody>
      </p:sp>
      <p:sp>
        <p:nvSpPr>
          <p:cNvPr id="9" name="TextBox 8">
            <a:extLst>
              <a:ext uri="{FF2B5EF4-FFF2-40B4-BE49-F238E27FC236}">
                <a16:creationId xmlns:a16="http://schemas.microsoft.com/office/drawing/2014/main" id="{2A773FC9-9DFD-4963-2051-42D5571C21D2}"/>
              </a:ext>
            </a:extLst>
          </p:cNvPr>
          <p:cNvSpPr txBox="1"/>
          <p:nvPr/>
        </p:nvSpPr>
        <p:spPr>
          <a:xfrm rot="16200000">
            <a:off x="-81226" y="5105105"/>
            <a:ext cx="1038746" cy="153888"/>
          </a:xfrm>
          <a:prstGeom prst="rect">
            <a:avLst/>
          </a:prstGeom>
          <a:noFill/>
        </p:spPr>
        <p:txBody>
          <a:bodyPr wrap="non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Advanced/ Expert</a:t>
            </a:r>
          </a:p>
        </p:txBody>
      </p:sp>
      <p:grpSp>
        <p:nvGrpSpPr>
          <p:cNvPr id="4" name="Group 3">
            <a:extLst>
              <a:ext uri="{FF2B5EF4-FFF2-40B4-BE49-F238E27FC236}">
                <a16:creationId xmlns:a16="http://schemas.microsoft.com/office/drawing/2014/main" id="{577FEE0B-EC6C-7676-9B8B-EE1CF8C2FDE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7B017C0E-68C9-D1F8-A731-BE770BC7C731}"/>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6" name="Table 2 Cell 2, 1 to Text">
              <a:extLst>
                <a:ext uri="{FF2B5EF4-FFF2-40B4-BE49-F238E27FC236}">
                  <a16:creationId xmlns:a16="http://schemas.microsoft.com/office/drawing/2014/main" id="{8402B03A-AC41-165E-4BEA-8F3EE54AFE7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FEFB6D5C-9EB6-9829-02FE-64D60273DB66}"/>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7" name="Table 2 Cell 4, 1 to Text">
              <a:extLst>
                <a:ext uri="{FF2B5EF4-FFF2-40B4-BE49-F238E27FC236}">
                  <a16:creationId xmlns:a16="http://schemas.microsoft.com/office/drawing/2014/main" id="{DA4625E9-BDAD-A62E-8C56-9FCCCB14F65D}"/>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28" name="Table 2 Cell 5, 1 to Text">
              <a:extLst>
                <a:ext uri="{FF2B5EF4-FFF2-40B4-BE49-F238E27FC236}">
                  <a16:creationId xmlns:a16="http://schemas.microsoft.com/office/drawing/2014/main" id="{B2DAFFFD-C3A2-04AC-91A0-E19D1A8409BA}"/>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9" name="Table 2 Cell 6, 1 to Text">
              <a:extLst>
                <a:ext uri="{FF2B5EF4-FFF2-40B4-BE49-F238E27FC236}">
                  <a16:creationId xmlns:a16="http://schemas.microsoft.com/office/drawing/2014/main" id="{774A1B27-D450-6B4B-ABA2-0592F890D34B}"/>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0" name="Table 2 Cell 7, 1 to Text">
              <a:extLst>
                <a:ext uri="{FF2B5EF4-FFF2-40B4-BE49-F238E27FC236}">
                  <a16:creationId xmlns:a16="http://schemas.microsoft.com/office/drawing/2014/main" id="{B4DD97ED-8F0C-E7F0-0952-26D17C49341B}"/>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1" name="Table 2 Cell 1, 2 to Text">
              <a:extLst>
                <a:ext uri="{FF2B5EF4-FFF2-40B4-BE49-F238E27FC236}">
                  <a16:creationId xmlns:a16="http://schemas.microsoft.com/office/drawing/2014/main" id="{51556CF7-CA6B-91B5-8C4E-F3767A79F4C7}"/>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32" name="Table 2 Cell 1, 3 to Text">
              <a:extLst>
                <a:ext uri="{FF2B5EF4-FFF2-40B4-BE49-F238E27FC236}">
                  <a16:creationId xmlns:a16="http://schemas.microsoft.com/office/drawing/2014/main" id="{97BA8E07-641F-30C8-12F3-87D6765CF3BA}"/>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33" name="Table 2 Cell 1, 4 to Text">
              <a:extLst>
                <a:ext uri="{FF2B5EF4-FFF2-40B4-BE49-F238E27FC236}">
                  <a16:creationId xmlns:a16="http://schemas.microsoft.com/office/drawing/2014/main" id="{F3E4ADCF-6849-0D06-F0FD-7BA82FF67C2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34" name="Table 2 Cell 1, 5 to Text">
              <a:extLst>
                <a:ext uri="{FF2B5EF4-FFF2-40B4-BE49-F238E27FC236}">
                  <a16:creationId xmlns:a16="http://schemas.microsoft.com/office/drawing/2014/main" id="{A0D6A35D-7C1C-DD4D-77FA-182134DEC51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3.4 Technical Expectations</a:t>
              </a:r>
            </a:p>
          </p:txBody>
        </p:sp>
        <p:sp>
          <p:nvSpPr>
            <p:cNvPr id="36" name="Table 2 Cell 1, 6 to Text">
              <a:extLst>
                <a:ext uri="{FF2B5EF4-FFF2-40B4-BE49-F238E27FC236}">
                  <a16:creationId xmlns:a16="http://schemas.microsoft.com/office/drawing/2014/main" id="{45892C0A-9CD1-3E3D-0C0E-6E58F9E4C9A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37" name="Table 2 Cell 1, 7 to Text">
              <a:extLst>
                <a:ext uri="{FF2B5EF4-FFF2-40B4-BE49-F238E27FC236}">
                  <a16:creationId xmlns:a16="http://schemas.microsoft.com/office/drawing/2014/main" id="{F7797DF8-70A5-7F97-13FB-440758CCDB41}"/>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38" name="Table 2 Cell 1, 8 to Text">
              <a:extLst>
                <a:ext uri="{FF2B5EF4-FFF2-40B4-BE49-F238E27FC236}">
                  <a16:creationId xmlns:a16="http://schemas.microsoft.com/office/drawing/2014/main" id="{92E06911-37B9-BB08-C2AA-04F46DB7C55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
        <p:nvSpPr>
          <p:cNvPr id="39" name="Rectangle 38">
            <a:extLst>
              <a:ext uri="{FF2B5EF4-FFF2-40B4-BE49-F238E27FC236}">
                <a16:creationId xmlns:a16="http://schemas.microsoft.com/office/drawing/2014/main" id="{0B03CB46-837B-FD7B-10B9-D6587EC94D48}"/>
              </a:ext>
            </a:extLst>
          </p:cNvPr>
          <p:cNvSpPr/>
          <p:nvPr/>
        </p:nvSpPr>
        <p:spPr bwMode="auto">
          <a:xfrm>
            <a:off x="8007308" y="1084649"/>
            <a:ext cx="3610812" cy="5291922"/>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950985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1B808-0C88-DE3E-496D-6CBE16D700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E6B4E5-E232-7AA9-C4AC-8EC475FB1AFD}"/>
              </a:ext>
            </a:extLst>
          </p:cNvPr>
          <p:cNvSpPr>
            <a:spLocks noGrp="1"/>
          </p:cNvSpPr>
          <p:nvPr>
            <p:ph type="title"/>
          </p:nvPr>
        </p:nvSpPr>
        <p:spPr>
          <a:xfrm>
            <a:off x="588263" y="457200"/>
            <a:ext cx="11018520" cy="430887"/>
          </a:xfrm>
        </p:spPr>
        <p:txBody>
          <a:bodyPr/>
          <a:lstStyle/>
          <a:p>
            <a:r>
              <a:rPr lang="en-US" sz="2800"/>
              <a:t>Cloud &amp; AI Apps CSA Impact Assessment</a:t>
            </a:r>
          </a:p>
        </p:txBody>
      </p:sp>
      <p:sp>
        <p:nvSpPr>
          <p:cNvPr id="13" name="Content Placeholder 12">
            <a:extLst>
              <a:ext uri="{FF2B5EF4-FFF2-40B4-BE49-F238E27FC236}">
                <a16:creationId xmlns:a16="http://schemas.microsoft.com/office/drawing/2014/main" id="{C6D0C460-9769-3A37-CB33-CBC8C3C36995}"/>
              </a:ext>
            </a:extLst>
          </p:cNvPr>
          <p:cNvSpPr>
            <a:spLocks noGrp="1"/>
          </p:cNvSpPr>
          <p:nvPr>
            <p:ph sz="quarter" idx="11"/>
          </p:nvPr>
        </p:nvSpPr>
        <p:spPr/>
        <p:txBody>
          <a:bodyPr vert="horz" wrap="square" lIns="0" tIns="0" rIns="0" bIns="0" rtlCol="0" anchor="t">
            <a:spAutoFit/>
          </a:bodyPr>
          <a:lstStyle/>
          <a:p>
            <a:r>
              <a:rPr lang="en-US">
                <a:cs typeface="Segoe Sans Text Semibold"/>
              </a:rPr>
              <a:t>Cloud &amp; AI Cloud Solution Architects will need to…</a:t>
            </a:r>
          </a:p>
        </p:txBody>
      </p:sp>
      <p:sp>
        <p:nvSpPr>
          <p:cNvPr id="29" name="Content Placeholder 28">
            <a:extLst>
              <a:ext uri="{FF2B5EF4-FFF2-40B4-BE49-F238E27FC236}">
                <a16:creationId xmlns:a16="http://schemas.microsoft.com/office/drawing/2014/main" id="{99AAD727-83A9-F273-9322-41E6C9D49384}"/>
              </a:ext>
            </a:extLst>
          </p:cNvPr>
          <p:cNvSpPr>
            <a:spLocks noGrp="1"/>
          </p:cNvSpPr>
          <p:nvPr>
            <p:ph sz="quarter" idx="18"/>
          </p:nvPr>
        </p:nvSpPr>
        <p:spPr/>
        <p:txBody>
          <a:bodyPr/>
          <a:lstStyle/>
          <a:p>
            <a:pPr marL="115888" lvl="0" indent="-115888" defTabSz="914102" fontAlgn="base">
              <a:spcBef>
                <a:spcPts val="600"/>
              </a:spcBef>
              <a:spcAft>
                <a:spcPct val="0"/>
              </a:spcAft>
              <a:buSzTx/>
              <a:buFont typeface="Arial" panose="020B0604020202020204" pitchFamily="34" charset="0"/>
              <a:buChar char="•"/>
              <a:defRPr/>
            </a:pPr>
            <a:r>
              <a:rPr lang="en-US" sz="1300"/>
              <a:t>Work directly with your manager to define your skilling plan aligned to your solution play</a:t>
            </a:r>
          </a:p>
          <a:p>
            <a:pPr marL="115888" lvl="0" indent="-115888" defTabSz="914102" fontAlgn="base">
              <a:spcBef>
                <a:spcPts val="600"/>
              </a:spcBef>
              <a:spcAft>
                <a:spcPct val="0"/>
              </a:spcAft>
              <a:buSzTx/>
              <a:buFont typeface="Arial" panose="020B0604020202020204" pitchFamily="34" charset="0"/>
              <a:buChar char="•"/>
              <a:defRPr/>
            </a:pPr>
            <a:r>
              <a:rPr kumimoji="0" lang="en-US" sz="1300" b="0" i="0" u="none" strike="noStrike" kern="1200" cap="none" spc="0" normalizeH="0" baseline="0" noProof="0">
                <a:ln>
                  <a:noFill/>
                </a:ln>
                <a:solidFill>
                  <a:srgbClr val="000000"/>
                </a:solidFill>
                <a:effectLst/>
                <a:uLnTx/>
                <a:uFillTx/>
                <a:latin typeface="Segoe Sans Text"/>
                <a:ea typeface="+mn-ea"/>
                <a:cs typeface="Segoe UI" pitchFamily="34" charset="0"/>
              </a:rPr>
              <a:t>End-end knowledge mastery on building innovative AI solutions – not just one technology</a:t>
            </a:r>
          </a:p>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300">
                <a:solidFill>
                  <a:srgbClr val="000000"/>
                </a:solidFill>
                <a:latin typeface="Segoe Sans Text"/>
              </a:rPr>
              <a:t>Developer engagements and shift-left to drive maturity with agentic AI app design and dev leveraging agentic DevOps, w/ resiliency &amp; security</a:t>
            </a:r>
          </a:p>
          <a:p>
            <a:pPr marL="115888" indent="-115888" defTabSz="914102" fontAlgn="base">
              <a:spcBef>
                <a:spcPts val="600"/>
              </a:spcBef>
              <a:spcAft>
                <a:spcPct val="0"/>
              </a:spcAft>
              <a:buSzTx/>
              <a:buFont typeface="Arial" panose="020B0604020202020204" pitchFamily="34" charset="0"/>
              <a:buChar char="•"/>
              <a:defRPr/>
            </a:pPr>
            <a:r>
              <a:rPr lang="en-US" sz="1300">
                <a:solidFill>
                  <a:srgbClr val="000000"/>
                </a:solidFill>
              </a:rPr>
              <a:t>Keep skills profile updated</a:t>
            </a:r>
            <a:endParaRPr lang="en-US" sz="1300">
              <a:solidFill>
                <a:srgbClr val="000000"/>
              </a:solidFill>
              <a:latin typeface="Segoe Sans Text"/>
            </a:endParaRPr>
          </a:p>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300" b="0" i="0" u="none" strike="noStrike" kern="1200" cap="none" spc="0" normalizeH="0" baseline="0" noProof="0" err="1">
                <a:ln>
                  <a:noFill/>
                </a:ln>
                <a:solidFill>
                  <a:srgbClr val="000000"/>
                </a:solidFill>
                <a:effectLst/>
                <a:uLnTx/>
                <a:uFillTx/>
                <a:latin typeface="Segoe Sans Text"/>
                <a:ea typeface="+mn-ea"/>
                <a:cs typeface="Segoe UI" pitchFamily="34" charset="0"/>
              </a:rPr>
              <a:t>Positio</a:t>
            </a:r>
            <a:r>
              <a:rPr lang="en-US" sz="1300">
                <a:solidFill>
                  <a:srgbClr val="000000"/>
                </a:solidFill>
                <a:latin typeface="Segoe Sans Text"/>
              </a:rPr>
              <a:t>n </a:t>
            </a:r>
            <a:r>
              <a:rPr kumimoji="0" lang="en-US" sz="1300" b="0" i="0" u="none" strike="noStrike" kern="1200" cap="none" spc="0" normalizeH="0" baseline="0" noProof="0">
                <a:ln>
                  <a:noFill/>
                </a:ln>
                <a:solidFill>
                  <a:srgbClr val="000000"/>
                </a:solidFill>
                <a:effectLst/>
                <a:uLnTx/>
                <a:uFillTx/>
                <a:latin typeface="Segoe Sans Text"/>
                <a:ea typeface="+mn-ea"/>
                <a:cs typeface="Segoe UI" pitchFamily="34" charset="0"/>
              </a:rPr>
              <a:t>Unified Add-ons/ Unified Job 2; VAS for every opportunity</a:t>
            </a:r>
            <a:endParaRPr lang="en-US" sz="1300">
              <a:solidFill>
                <a:srgbClr val="000000"/>
              </a:solidFill>
              <a:latin typeface="Segoe Sans Text"/>
            </a:endParaRPr>
          </a:p>
          <a:p>
            <a:pPr marL="115888" indent="-115888" defTabSz="914102" fontAlgn="base">
              <a:spcBef>
                <a:spcPts val="600"/>
              </a:spcBef>
              <a:spcAft>
                <a:spcPct val="0"/>
              </a:spcAft>
              <a:buSzTx/>
              <a:buFont typeface="Arial" panose="020B0604020202020204" pitchFamily="34" charset="0"/>
              <a:buChar char="•"/>
              <a:defRPr/>
            </a:pPr>
            <a:r>
              <a:rPr kumimoji="0" lang="en-US" sz="1300" b="0" i="0" u="none" strike="noStrike" kern="1200" cap="none" spc="0" normalizeH="0" baseline="0" noProof="0">
                <a:ln>
                  <a:noFill/>
                </a:ln>
                <a:solidFill>
                  <a:srgbClr val="000000"/>
                </a:solidFill>
                <a:effectLst/>
                <a:uLnTx/>
                <a:uFillTx/>
                <a:latin typeface="Segoe Sans Text"/>
                <a:ea typeface="+mn-ea"/>
                <a:cs typeface="Segoe UI" pitchFamily="34" charset="0"/>
              </a:rPr>
              <a:t>Drive </a:t>
            </a:r>
            <a:r>
              <a:rPr lang="en-US" sz="1300">
                <a:solidFill>
                  <a:srgbClr val="000000"/>
                </a:solidFill>
              </a:rPr>
              <a:t>Job 2 creation </a:t>
            </a:r>
            <a:r>
              <a:rPr lang="en-US" sz="1300" i="1">
                <a:solidFill>
                  <a:srgbClr val="000000"/>
                </a:solidFill>
              </a:rPr>
              <a:t>to completion</a:t>
            </a:r>
          </a:p>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300">
                <a:solidFill>
                  <a:srgbClr val="000000"/>
                </a:solidFill>
                <a:latin typeface="Segoe Sans Text"/>
              </a:rPr>
              <a:t>Contribute towards champs &amp; VBD IP Development</a:t>
            </a:r>
            <a:endParaRPr kumimoji="0" lang="en-US" sz="1400" b="0" i="0" u="none" strike="noStrike" kern="1200" cap="none" spc="0" normalizeH="0" baseline="0" noProof="0">
              <a:ln>
                <a:noFill/>
              </a:ln>
              <a:solidFill>
                <a:schemeClr val="tx1"/>
              </a:solidFill>
              <a:effectLst/>
              <a:uLnTx/>
              <a:uFillTx/>
              <a:ea typeface="+mn-ea"/>
              <a:cs typeface="Segoe UI" pitchFamily="34" charset="0"/>
            </a:endParaRPr>
          </a:p>
        </p:txBody>
      </p:sp>
      <p:sp>
        <p:nvSpPr>
          <p:cNvPr id="30" name="Content Placeholder 29">
            <a:extLst>
              <a:ext uri="{FF2B5EF4-FFF2-40B4-BE49-F238E27FC236}">
                <a16:creationId xmlns:a16="http://schemas.microsoft.com/office/drawing/2014/main" id="{11BDF179-C453-7C63-328A-46A3BF96B9EF}"/>
              </a:ext>
            </a:extLst>
          </p:cNvPr>
          <p:cNvSpPr>
            <a:spLocks noGrp="1"/>
          </p:cNvSpPr>
          <p:nvPr>
            <p:ph sz="quarter" idx="19"/>
          </p:nvPr>
        </p:nvSpPr>
        <p:spPr/>
        <p:txBody>
          <a:bodyPr/>
          <a:lstStyle/>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chemeClr val="tx1"/>
                </a:solidFill>
                <a:effectLst/>
                <a:uLnTx/>
                <a:uFillTx/>
                <a:ea typeface="+mn-ea"/>
                <a:cs typeface="Segoe UI" pitchFamily="34" charset="0"/>
              </a:rPr>
              <a:t>By </a:t>
            </a:r>
            <a:r>
              <a:rPr lang="en-US" sz="1300"/>
              <a:t>Q3, </a:t>
            </a:r>
            <a:r>
              <a:rPr kumimoji="0" lang="en-US" sz="1300" b="0" i="0" u="none" strike="noStrike" kern="1200" cap="none" spc="0" normalizeH="0" baseline="0" noProof="0">
                <a:ln>
                  <a:noFill/>
                </a:ln>
                <a:solidFill>
                  <a:schemeClr val="tx1"/>
                </a:solidFill>
                <a:effectLst/>
                <a:uLnTx/>
                <a:uFillTx/>
                <a:ea typeface="+mn-ea"/>
                <a:cs typeface="Segoe UI" pitchFamily="34" charset="0"/>
              </a:rPr>
              <a:t>App Migration &amp; Modernization deliveries will be led by Cloud &amp; AI Infra CSAs. Only support these workloads to extend capacity </a:t>
            </a:r>
            <a:r>
              <a:rPr kumimoji="0" lang="en-US" sz="1300" b="0" i="1" u="none" strike="noStrike" kern="1200" cap="none" spc="0" normalizeH="0" baseline="0" noProof="0">
                <a:ln>
                  <a:noFill/>
                </a:ln>
                <a:solidFill>
                  <a:schemeClr val="tx1"/>
                </a:solidFill>
                <a:effectLst/>
                <a:uLnTx/>
                <a:uFillTx/>
                <a:ea typeface="+mn-ea"/>
                <a:cs typeface="Segoe UI" pitchFamily="34" charset="0"/>
              </a:rPr>
              <a:t>as nee</a:t>
            </a:r>
            <a:r>
              <a:rPr lang="en-US" sz="1300" i="1" err="1"/>
              <a:t>ded</a:t>
            </a:r>
            <a:endParaRPr lang="en-US" sz="1300" i="1"/>
          </a:p>
          <a:p>
            <a:pPr marL="115888" indent="-115888" defTabSz="914102" fontAlgn="base">
              <a:spcBef>
                <a:spcPts val="600"/>
              </a:spcBef>
              <a:spcAft>
                <a:spcPct val="0"/>
              </a:spcAft>
              <a:buSzTx/>
              <a:buFont typeface="Arial" panose="020B0604020202020204" pitchFamily="34" charset="0"/>
              <a:buChar char="•"/>
              <a:defRPr/>
            </a:pPr>
            <a:r>
              <a:rPr lang="en-US" sz="1300"/>
              <a:t>Transition specific skills to Global Delivery as indicated in the Tech Maturity Model</a:t>
            </a:r>
          </a:p>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lang="en-US"/>
          </a:p>
          <a:p>
            <a:pPr marR="0" lvl="0" algn="l" defTabSz="914102" rtl="0" eaLnBrk="1" fontAlgn="base" latinLnBrk="0" hangingPunct="1">
              <a:lnSpc>
                <a:spcPct val="100000"/>
              </a:lnSpc>
              <a:spcBef>
                <a:spcPts val="600"/>
              </a:spcBef>
              <a:spcAft>
                <a:spcPct val="0"/>
              </a:spcAft>
              <a:buClrTx/>
              <a:buSzTx/>
              <a:tabLst/>
              <a:defRPr/>
            </a:pPr>
            <a:endParaRPr kumimoji="0" lang="en-US" sz="1400" b="0" i="0" u="none" strike="noStrike" kern="1200" cap="none" spc="0" normalizeH="0" baseline="0" noProof="0">
              <a:ln>
                <a:noFill/>
              </a:ln>
              <a:solidFill>
                <a:schemeClr val="tx1"/>
              </a:solidFill>
              <a:effectLst/>
              <a:uLnTx/>
              <a:uFillTx/>
              <a:ea typeface="+mn-ea"/>
              <a:cs typeface="Segoe UI" pitchFamily="34" charset="0"/>
            </a:endParaRPr>
          </a:p>
        </p:txBody>
      </p:sp>
      <p:sp>
        <p:nvSpPr>
          <p:cNvPr id="25" name="Content Placeholder 24">
            <a:extLst>
              <a:ext uri="{FF2B5EF4-FFF2-40B4-BE49-F238E27FC236}">
                <a16:creationId xmlns:a16="http://schemas.microsoft.com/office/drawing/2014/main" id="{61F7091D-A9BF-BB14-BE7A-8EB44242C5D9}"/>
              </a:ext>
            </a:extLst>
          </p:cNvPr>
          <p:cNvSpPr>
            <a:spLocks noGrp="1"/>
          </p:cNvSpPr>
          <p:nvPr>
            <p:ph sz="quarter" idx="16"/>
          </p:nvPr>
        </p:nvSpPr>
        <p:spPr>
          <a:xfrm>
            <a:off x="8473478" y="2233784"/>
            <a:ext cx="2485036" cy="246221"/>
          </a:xfrm>
        </p:spPr>
        <p:txBody>
          <a:bodyPr/>
          <a:lstStyle/>
          <a:p>
            <a:r>
              <a:rPr lang="en-US">
                <a:latin typeface="+mj-lt"/>
              </a:rPr>
              <a:t>TRANSITION</a:t>
            </a:r>
          </a:p>
        </p:txBody>
      </p:sp>
      <p:sp>
        <p:nvSpPr>
          <p:cNvPr id="21" name="Content Placeholder 20">
            <a:extLst>
              <a:ext uri="{FF2B5EF4-FFF2-40B4-BE49-F238E27FC236}">
                <a16:creationId xmlns:a16="http://schemas.microsoft.com/office/drawing/2014/main" id="{90DC38F5-46D9-8B22-8715-612A8568F8A5}"/>
              </a:ext>
            </a:extLst>
          </p:cNvPr>
          <p:cNvSpPr>
            <a:spLocks noGrp="1"/>
          </p:cNvSpPr>
          <p:nvPr>
            <p:ph sz="quarter" idx="15"/>
          </p:nvPr>
        </p:nvSpPr>
        <p:spPr>
          <a:xfrm>
            <a:off x="4853481" y="2250727"/>
            <a:ext cx="2485036" cy="246221"/>
          </a:xfrm>
        </p:spPr>
        <p:txBody>
          <a:bodyPr/>
          <a:lstStyle/>
          <a:p>
            <a:r>
              <a:rPr lang="en-US">
                <a:latin typeface="+mj-lt"/>
              </a:rPr>
              <a:t>PRIORITIZE</a:t>
            </a:r>
          </a:p>
        </p:txBody>
      </p:sp>
      <p:sp>
        <p:nvSpPr>
          <p:cNvPr id="14" name="Content Placeholder 13">
            <a:extLst>
              <a:ext uri="{FF2B5EF4-FFF2-40B4-BE49-F238E27FC236}">
                <a16:creationId xmlns:a16="http://schemas.microsoft.com/office/drawing/2014/main" id="{C062FAB0-1FB4-6573-4B22-A85B926CB2CD}"/>
              </a:ext>
            </a:extLst>
          </p:cNvPr>
          <p:cNvSpPr>
            <a:spLocks noGrp="1"/>
          </p:cNvSpPr>
          <p:nvPr>
            <p:ph sz="quarter" idx="14"/>
          </p:nvPr>
        </p:nvSpPr>
        <p:spPr>
          <a:xfrm>
            <a:off x="1233486" y="2250727"/>
            <a:ext cx="2485036" cy="246221"/>
          </a:xfrm>
        </p:spPr>
        <p:txBody>
          <a:bodyPr/>
          <a:lstStyle/>
          <a:p>
            <a:r>
              <a:rPr lang="en-US">
                <a:latin typeface="+mj-lt"/>
              </a:rPr>
              <a:t>START</a:t>
            </a:r>
          </a:p>
        </p:txBody>
      </p:sp>
      <p:grpSp>
        <p:nvGrpSpPr>
          <p:cNvPr id="3" name="Group 2">
            <a:extLst>
              <a:ext uri="{FF2B5EF4-FFF2-40B4-BE49-F238E27FC236}">
                <a16:creationId xmlns:a16="http://schemas.microsoft.com/office/drawing/2014/main" id="{09093FAB-FC4D-2E5A-ECC0-80DFB33F775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 name="Table 2 Cell 1, 1 to Text">
              <a:extLst>
                <a:ext uri="{FF2B5EF4-FFF2-40B4-BE49-F238E27FC236}">
                  <a16:creationId xmlns:a16="http://schemas.microsoft.com/office/drawing/2014/main" id="{241A29D0-C05B-395D-57A3-9D10B4D01557}"/>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 name="Table 2 Cell 2, 1 to Text">
              <a:extLst>
                <a:ext uri="{FF2B5EF4-FFF2-40B4-BE49-F238E27FC236}">
                  <a16:creationId xmlns:a16="http://schemas.microsoft.com/office/drawing/2014/main" id="{7FE3B5A1-0AB5-0913-D104-E900212EF8D6}"/>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6" name="Table 2 Cell 3, 1 to Text">
              <a:extLst>
                <a:ext uri="{FF2B5EF4-FFF2-40B4-BE49-F238E27FC236}">
                  <a16:creationId xmlns:a16="http://schemas.microsoft.com/office/drawing/2014/main" id="{CEC5A0AD-7BED-C852-9F92-52F561EC039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7" name="Table 2 Cell 4, 1 to Text">
              <a:extLst>
                <a:ext uri="{FF2B5EF4-FFF2-40B4-BE49-F238E27FC236}">
                  <a16:creationId xmlns:a16="http://schemas.microsoft.com/office/drawing/2014/main" id="{2D7DD915-43DF-07F8-31F8-7BCC6D27836F}"/>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8" name="Table 2 Cell 5, 1 to Text">
              <a:extLst>
                <a:ext uri="{FF2B5EF4-FFF2-40B4-BE49-F238E27FC236}">
                  <a16:creationId xmlns:a16="http://schemas.microsoft.com/office/drawing/2014/main" id="{11832F96-35E1-9C67-99FB-E03F528C7C54}"/>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9" name="Table 2 Cell 6, 1 to Text">
              <a:extLst>
                <a:ext uri="{FF2B5EF4-FFF2-40B4-BE49-F238E27FC236}">
                  <a16:creationId xmlns:a16="http://schemas.microsoft.com/office/drawing/2014/main" id="{0AB627BD-B84F-B4E5-B0E7-E248787FD00D}"/>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0" name="Table 2 Cell 7, 1 to Text">
              <a:extLst>
                <a:ext uri="{FF2B5EF4-FFF2-40B4-BE49-F238E27FC236}">
                  <a16:creationId xmlns:a16="http://schemas.microsoft.com/office/drawing/2014/main" id="{035E2052-36F4-62E8-E638-35FE0798905C}"/>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1" name="Table 2 Cell 1, 2 to Text">
              <a:extLst>
                <a:ext uri="{FF2B5EF4-FFF2-40B4-BE49-F238E27FC236}">
                  <a16:creationId xmlns:a16="http://schemas.microsoft.com/office/drawing/2014/main" id="{E8043098-9ED7-1AB3-D0C0-2B83B74C8AFB}"/>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2" name="Table 2 Cell 1, 3 to Text">
              <a:extLst>
                <a:ext uri="{FF2B5EF4-FFF2-40B4-BE49-F238E27FC236}">
                  <a16:creationId xmlns:a16="http://schemas.microsoft.com/office/drawing/2014/main" id="{527C5419-6526-6FFD-FC77-087C9A20F941}"/>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15" name="Table 2 Cell 1, 4 to Text">
              <a:extLst>
                <a:ext uri="{FF2B5EF4-FFF2-40B4-BE49-F238E27FC236}">
                  <a16:creationId xmlns:a16="http://schemas.microsoft.com/office/drawing/2014/main" id="{B0929F3B-7F7E-0A01-A0DC-1FD72C16A83E}"/>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16" name="Table 2 Cell 1, 5 to Text">
              <a:extLst>
                <a:ext uri="{FF2B5EF4-FFF2-40B4-BE49-F238E27FC236}">
                  <a16:creationId xmlns:a16="http://schemas.microsoft.com/office/drawing/2014/main" id="{B730A3F1-DD7C-1D45-EA19-3A430E138803}"/>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17" name="Table 2 Cell 1, 6 to Text">
              <a:extLst>
                <a:ext uri="{FF2B5EF4-FFF2-40B4-BE49-F238E27FC236}">
                  <a16:creationId xmlns:a16="http://schemas.microsoft.com/office/drawing/2014/main" id="{8202E0F9-08F8-0C33-4E2D-A187BCE4211F}"/>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5 Stop/Start/Do Differently</a:t>
              </a:r>
            </a:p>
          </p:txBody>
        </p:sp>
        <p:sp>
          <p:nvSpPr>
            <p:cNvPr id="18" name="Table 2 Cell 1, 7 to Text">
              <a:extLst>
                <a:ext uri="{FF2B5EF4-FFF2-40B4-BE49-F238E27FC236}">
                  <a16:creationId xmlns:a16="http://schemas.microsoft.com/office/drawing/2014/main" id="{78730F62-6B25-D6FE-C37D-A65F6E190E07}"/>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19" name="Table 2 Cell 1, 8 to Text">
              <a:extLst>
                <a:ext uri="{FF2B5EF4-FFF2-40B4-BE49-F238E27FC236}">
                  <a16:creationId xmlns:a16="http://schemas.microsoft.com/office/drawing/2014/main" id="{7F7D4D6A-D8AE-41D9-F966-D503AC28220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
        <p:nvSpPr>
          <p:cNvPr id="22" name="Content Placeholder 21">
            <a:extLst>
              <a:ext uri="{FF2B5EF4-FFF2-40B4-BE49-F238E27FC236}">
                <a16:creationId xmlns:a16="http://schemas.microsoft.com/office/drawing/2014/main" id="{54F60ACA-54A1-E7B1-16B6-DF47F3A7B1D3}"/>
              </a:ext>
            </a:extLst>
          </p:cNvPr>
          <p:cNvSpPr>
            <a:spLocks noGrp="1"/>
          </p:cNvSpPr>
          <p:nvPr>
            <p:ph sz="quarter" idx="17"/>
          </p:nvPr>
        </p:nvSpPr>
        <p:spPr>
          <a:xfrm>
            <a:off x="705789" y="2667587"/>
            <a:ext cx="3540431" cy="3880029"/>
          </a:xfrm>
        </p:spPr>
        <p:txBody>
          <a:bodyPr/>
          <a:lstStyle/>
          <a:p>
            <a:pPr marL="115888" lvl="0" indent="-115888" defTabSz="914102" fontAlgn="base">
              <a:spcBef>
                <a:spcPts val="600"/>
              </a:spcBef>
              <a:spcAft>
                <a:spcPct val="0"/>
              </a:spcAft>
              <a:buSzTx/>
              <a:buFont typeface="Arial" panose="020B0604020202020204" pitchFamily="34" charset="0"/>
              <a:buChar char="•"/>
              <a:defRPr/>
            </a:pPr>
            <a:r>
              <a:rPr lang="en-US" sz="1300"/>
              <a:t>Thinking across “Cloud &amp; AI” and in “AI + Apps”, </a:t>
            </a:r>
            <a:r>
              <a:rPr lang="en-US" sz="1300" i="1"/>
              <a:t>not “Apps”, not “AI”</a:t>
            </a:r>
            <a:endParaRPr lang="en-US" sz="1300"/>
          </a:p>
          <a:p>
            <a:pPr marL="115888" lvl="0" indent="-115888" defTabSz="914102" fontAlgn="base">
              <a:spcBef>
                <a:spcPts val="600"/>
              </a:spcBef>
              <a:spcAft>
                <a:spcPct val="0"/>
              </a:spcAft>
              <a:buSzTx/>
              <a:buFont typeface="Arial" panose="020B0604020202020204" pitchFamily="34" charset="0"/>
              <a:buChar char="•"/>
              <a:defRPr/>
            </a:pPr>
            <a:r>
              <a:rPr lang="en-US" sz="1300"/>
              <a:t>Deepen technical intensity and skilling on new focus skills on AI Foundry, App platform based on your skills gaps</a:t>
            </a:r>
          </a:p>
          <a:p>
            <a:pPr marL="115888" lvl="0" indent="-115888" defTabSz="914102" fontAlgn="base">
              <a:spcBef>
                <a:spcPts val="600"/>
              </a:spcBef>
              <a:spcAft>
                <a:spcPct val="0"/>
              </a:spcAft>
              <a:buSzTx/>
              <a:buFont typeface="Arial" panose="020B0604020202020204" pitchFamily="34" charset="0"/>
              <a:buChar char="•"/>
              <a:defRPr/>
            </a:pPr>
            <a:r>
              <a:rPr lang="en-US" sz="1300"/>
              <a:t>Be aware of 3P Capabilities. (AI Ready Infra/3P GPU/BYOAIM)*</a:t>
            </a:r>
          </a:p>
          <a:p>
            <a:pPr marL="115888" lvl="0" indent="-115888" defTabSz="914102" fontAlgn="base">
              <a:spcBef>
                <a:spcPts val="600"/>
              </a:spcBef>
              <a:spcAft>
                <a:spcPct val="0"/>
              </a:spcAft>
              <a:buSzTx/>
              <a:buFont typeface="Arial" panose="020B0604020202020204" pitchFamily="34" charset="0"/>
              <a:buChar char="•"/>
              <a:defRPr/>
            </a:pPr>
            <a:r>
              <a:rPr lang="en-US" sz="1300"/>
              <a:t>Feel responsible for the entire Azure Consumption Plan, ensuring the completeness &amp; accuracy, not just the deliveries you are assigned to</a:t>
            </a:r>
          </a:p>
          <a:p>
            <a:pPr marL="285750" lvl="0" indent="-285750" defTabSz="914102" fontAlgn="base">
              <a:spcBef>
                <a:spcPts val="600"/>
              </a:spcBef>
              <a:spcAft>
                <a:spcPct val="0"/>
              </a:spcAft>
              <a:buSzTx/>
              <a:buFont typeface="Arial" panose="020B0604020202020204" pitchFamily="34" charset="0"/>
              <a:buChar char="•"/>
              <a:defRPr/>
            </a:pPr>
            <a:endParaRPr lang="en-US"/>
          </a:p>
          <a:p>
            <a:pPr marL="285750" lvl="0" indent="-285750" defTabSz="914102" fontAlgn="base">
              <a:spcBef>
                <a:spcPts val="600"/>
              </a:spcBef>
              <a:spcAft>
                <a:spcPct val="0"/>
              </a:spcAft>
              <a:buSzTx/>
              <a:buFont typeface="Arial" panose="020B0604020202020204" pitchFamily="34" charset="0"/>
              <a:buChar char="•"/>
              <a:defRPr/>
            </a:pPr>
            <a:endParaRPr lang="en-US"/>
          </a:p>
          <a:p>
            <a:endParaRPr lang="en-US"/>
          </a:p>
        </p:txBody>
      </p:sp>
    </p:spTree>
    <p:extLst>
      <p:ext uri="{BB962C8B-B14F-4D97-AF65-F5344CB8AC3E}">
        <p14:creationId xmlns:p14="http://schemas.microsoft.com/office/powerpoint/2010/main" val="103684289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27E6-F62B-F91D-8A67-050118474A1A}"/>
            </a:ext>
          </a:extLst>
        </p:cNvPr>
        <p:cNvGrpSpPr/>
        <p:nvPr/>
      </p:nvGrpSpPr>
      <p:grpSpPr>
        <a:xfrm>
          <a:off x="0" y="0"/>
          <a:ext cx="0" cy="0"/>
          <a:chOff x="0" y="0"/>
          <a:chExt cx="0" cy="0"/>
        </a:xfrm>
      </p:grpSpPr>
      <p:sp>
        <p:nvSpPr>
          <p:cNvPr id="39" name="Title 38">
            <a:extLst>
              <a:ext uri="{FF2B5EF4-FFF2-40B4-BE49-F238E27FC236}">
                <a16:creationId xmlns:a16="http://schemas.microsoft.com/office/drawing/2014/main" id="{C052D638-2B4F-E180-56F3-AF97EC0E25F9}"/>
              </a:ext>
            </a:extLst>
          </p:cNvPr>
          <p:cNvSpPr>
            <a:spLocks noGrp="1"/>
          </p:cNvSpPr>
          <p:nvPr>
            <p:ph type="title"/>
          </p:nvPr>
        </p:nvSpPr>
        <p:spPr>
          <a:xfrm>
            <a:off x="571500" y="457200"/>
            <a:ext cx="11049000" cy="369332"/>
          </a:xfrm>
        </p:spPr>
        <p:txBody>
          <a:bodyPr/>
          <a:lstStyle/>
          <a:p>
            <a:r>
              <a:rPr lang="en-US" sz="2400"/>
              <a:t>Solution Play Overview – </a:t>
            </a:r>
            <a:r>
              <a:rPr lang="en-US" sz="2400">
                <a:solidFill>
                  <a:schemeClr val="accent1"/>
                </a:solidFill>
              </a:rPr>
              <a:t>Innovate with Azure AI Apps and Agents</a:t>
            </a:r>
          </a:p>
        </p:txBody>
      </p:sp>
      <p:sp>
        <p:nvSpPr>
          <p:cNvPr id="3" name="Rectangle: Rounded Corners 2">
            <a:extLst>
              <a:ext uri="{FF2B5EF4-FFF2-40B4-BE49-F238E27FC236}">
                <a16:creationId xmlns:a16="http://schemas.microsoft.com/office/drawing/2014/main" id="{3C128DC6-10B6-C069-4866-F1E832256CF2}"/>
              </a:ext>
              <a:ext uri="{C183D7F6-B498-43B3-948B-1728B52AA6E4}">
                <adec:decorative xmlns:adec="http://schemas.microsoft.com/office/drawing/2017/decorative" val="1"/>
              </a:ext>
            </a:extLst>
          </p:cNvPr>
          <p:cNvSpPr/>
          <p:nvPr/>
        </p:nvSpPr>
        <p:spPr bwMode="auto">
          <a:xfrm>
            <a:off x="571500" y="1103087"/>
            <a:ext cx="11049000" cy="5143500"/>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6" name="Freeform 52">
            <a:extLst>
              <a:ext uri="{FF2B5EF4-FFF2-40B4-BE49-F238E27FC236}">
                <a16:creationId xmlns:a16="http://schemas.microsoft.com/office/drawing/2014/main" id="{88BB0802-0E80-B763-54CA-91F7E383FD48}"/>
              </a:ext>
              <a:ext uri="{C183D7F6-B498-43B3-948B-1728B52AA6E4}">
                <adec:decorative xmlns:adec="http://schemas.microsoft.com/office/drawing/2017/decorative" val="1"/>
              </a:ext>
            </a:extLst>
          </p:cNvPr>
          <p:cNvSpPr/>
          <p:nvPr/>
        </p:nvSpPr>
        <p:spPr bwMode="auto">
          <a:xfrm>
            <a:off x="691703" y="1199536"/>
            <a:ext cx="2926758"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8" name="Freeform 52">
            <a:extLst>
              <a:ext uri="{FF2B5EF4-FFF2-40B4-BE49-F238E27FC236}">
                <a16:creationId xmlns:a16="http://schemas.microsoft.com/office/drawing/2014/main" id="{32D2B332-7AEF-6690-DE15-757E3AC964FF}"/>
              </a:ext>
              <a:ext uri="{C183D7F6-B498-43B3-948B-1728B52AA6E4}">
                <adec:decorative xmlns:adec="http://schemas.microsoft.com/office/drawing/2017/decorative" val="1"/>
              </a:ext>
            </a:extLst>
          </p:cNvPr>
          <p:cNvSpPr/>
          <p:nvPr/>
        </p:nvSpPr>
        <p:spPr bwMode="auto">
          <a:xfrm>
            <a:off x="3714462" y="1199536"/>
            <a:ext cx="582027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9" name="Text Placeholder 35">
            <a:extLst>
              <a:ext uri="{FF2B5EF4-FFF2-40B4-BE49-F238E27FC236}">
                <a16:creationId xmlns:a16="http://schemas.microsoft.com/office/drawing/2014/main" id="{5BC78942-F413-F435-C009-E25736C5D6E7}"/>
              </a:ext>
            </a:extLst>
          </p:cNvPr>
          <p:cNvSpPr txBox="1">
            <a:spLocks/>
          </p:cNvSpPr>
          <p:nvPr/>
        </p:nvSpPr>
        <p:spPr>
          <a:xfrm>
            <a:off x="1715936" y="1261981"/>
            <a:ext cx="878292"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Priorities</a:t>
            </a:r>
          </a:p>
        </p:txBody>
      </p:sp>
      <p:sp>
        <p:nvSpPr>
          <p:cNvPr id="10" name="Text Placeholder 35">
            <a:extLst>
              <a:ext uri="{FF2B5EF4-FFF2-40B4-BE49-F238E27FC236}">
                <a16:creationId xmlns:a16="http://schemas.microsoft.com/office/drawing/2014/main" id="{CA18D19F-62DC-10EF-2A83-54D11C22F295}"/>
              </a:ext>
            </a:extLst>
          </p:cNvPr>
          <p:cNvSpPr txBox="1">
            <a:spLocks/>
          </p:cNvSpPr>
          <p:nvPr/>
        </p:nvSpPr>
        <p:spPr>
          <a:xfrm>
            <a:off x="5482629" y="1261981"/>
            <a:ext cx="2315368"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Motions</a:t>
            </a:r>
          </a:p>
        </p:txBody>
      </p:sp>
      <p:sp>
        <p:nvSpPr>
          <p:cNvPr id="11" name="Freeform 52">
            <a:extLst>
              <a:ext uri="{FF2B5EF4-FFF2-40B4-BE49-F238E27FC236}">
                <a16:creationId xmlns:a16="http://schemas.microsoft.com/office/drawing/2014/main" id="{213E2047-2E26-6D6F-1337-973E699E2593}"/>
              </a:ext>
              <a:ext uri="{C183D7F6-B498-43B3-948B-1728B52AA6E4}">
                <adec:decorative xmlns:adec="http://schemas.microsoft.com/office/drawing/2017/decorative" val="1"/>
              </a:ext>
            </a:extLst>
          </p:cNvPr>
          <p:cNvSpPr/>
          <p:nvPr/>
        </p:nvSpPr>
        <p:spPr bwMode="auto">
          <a:xfrm>
            <a:off x="9630737" y="1199536"/>
            <a:ext cx="189451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12" name="Text Placeholder 35">
            <a:extLst>
              <a:ext uri="{FF2B5EF4-FFF2-40B4-BE49-F238E27FC236}">
                <a16:creationId xmlns:a16="http://schemas.microsoft.com/office/drawing/2014/main" id="{2F5CE843-0DF0-3FBF-E00D-7FEF37C30C0C}"/>
              </a:ext>
            </a:extLst>
          </p:cNvPr>
          <p:cNvSpPr txBox="1">
            <a:spLocks/>
          </p:cNvSpPr>
          <p:nvPr/>
        </p:nvSpPr>
        <p:spPr>
          <a:xfrm>
            <a:off x="9724262" y="1261981"/>
            <a:ext cx="1707465"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Customer Outcomes </a:t>
            </a:r>
          </a:p>
        </p:txBody>
      </p:sp>
      <p:sp>
        <p:nvSpPr>
          <p:cNvPr id="23" name="Text Placeholder 35">
            <a:extLst>
              <a:ext uri="{FF2B5EF4-FFF2-40B4-BE49-F238E27FC236}">
                <a16:creationId xmlns:a16="http://schemas.microsoft.com/office/drawing/2014/main" id="{35F99BAE-5D67-D460-6CD1-646120F2C627}"/>
              </a:ext>
            </a:extLst>
          </p:cNvPr>
          <p:cNvSpPr txBox="1">
            <a:spLocks/>
          </p:cNvSpPr>
          <p:nvPr/>
        </p:nvSpPr>
        <p:spPr>
          <a:xfrm>
            <a:off x="691703" y="1636319"/>
            <a:ext cx="2882043" cy="1440446"/>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Win AIDWs and Establish the </a:t>
            </a:r>
            <a:b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AI Platform</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Azure AI Foundry, </a:t>
            </a:r>
            <a:b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Copilot Studio GitHub, AKS, App Service, Integration Services, Cosmos, SQL DB, </a:t>
            </a:r>
            <a:b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PG SQL)</a:t>
            </a:r>
          </a:p>
        </p:txBody>
      </p:sp>
      <p:sp>
        <p:nvSpPr>
          <p:cNvPr id="42" name="Star: 5 Points 41" descr="star">
            <a:extLst>
              <a:ext uri="{FF2B5EF4-FFF2-40B4-BE49-F238E27FC236}">
                <a16:creationId xmlns:a16="http://schemas.microsoft.com/office/drawing/2014/main" id="{ACCC8977-9CF8-A7D1-4791-79FDDD53BC92}"/>
              </a:ext>
            </a:extLst>
          </p:cNvPr>
          <p:cNvSpPr/>
          <p:nvPr/>
        </p:nvSpPr>
        <p:spPr bwMode="auto">
          <a:xfrm>
            <a:off x="3289763" y="2765619"/>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4" name="Text Placeholder 35">
            <a:extLst>
              <a:ext uri="{FF2B5EF4-FFF2-40B4-BE49-F238E27FC236}">
                <a16:creationId xmlns:a16="http://schemas.microsoft.com/office/drawing/2014/main" id="{8661D12F-49C8-A354-480D-927F6BA5EE16}"/>
              </a:ext>
            </a:extLst>
          </p:cNvPr>
          <p:cNvSpPr txBox="1">
            <a:spLocks/>
          </p:cNvSpPr>
          <p:nvPr/>
        </p:nvSpPr>
        <p:spPr>
          <a:xfrm>
            <a:off x="3714462" y="1641387"/>
            <a:ext cx="5820273" cy="143031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Build AI Apps and Agents using repeatable IP to deliver high impact use cases</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in the complete AI Platform including Data, Apps and Security</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cale AI platforms with integration, management, GenAI Ops, security &amp; governance</a:t>
            </a:r>
          </a:p>
        </p:txBody>
      </p:sp>
      <p:sp>
        <p:nvSpPr>
          <p:cNvPr id="24" name="Text Placeholder 35">
            <a:extLst>
              <a:ext uri="{FF2B5EF4-FFF2-40B4-BE49-F238E27FC236}">
                <a16:creationId xmlns:a16="http://schemas.microsoft.com/office/drawing/2014/main" id="{CB3FAA41-9213-CAA6-C90A-A8BA4ECAEF9E}"/>
              </a:ext>
            </a:extLst>
          </p:cNvPr>
          <p:cNvSpPr txBox="1">
            <a:spLocks/>
          </p:cNvSpPr>
          <p:nvPr/>
        </p:nvSpPr>
        <p:spPr>
          <a:xfrm>
            <a:off x="691703" y="3181349"/>
            <a:ext cx="2882043" cy="1427231"/>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Win developers with GitHub and </a:t>
            </a:r>
            <a:b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drive to Azure</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GitHub Enterprise, </a:t>
            </a:r>
            <a:b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GitHub Copilot)</a:t>
            </a:r>
          </a:p>
        </p:txBody>
      </p:sp>
      <p:sp>
        <p:nvSpPr>
          <p:cNvPr id="43" name="Star: 5 Points 42" descr="star">
            <a:extLst>
              <a:ext uri="{FF2B5EF4-FFF2-40B4-BE49-F238E27FC236}">
                <a16:creationId xmlns:a16="http://schemas.microsoft.com/office/drawing/2014/main" id="{4DF4DB7B-3C94-FB51-DA8C-ACE005AB6A78}"/>
              </a:ext>
            </a:extLst>
          </p:cNvPr>
          <p:cNvSpPr/>
          <p:nvPr/>
        </p:nvSpPr>
        <p:spPr bwMode="auto">
          <a:xfrm>
            <a:off x="3289763" y="4297435"/>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5" name="Text Placeholder 35">
            <a:extLst>
              <a:ext uri="{FF2B5EF4-FFF2-40B4-BE49-F238E27FC236}">
                <a16:creationId xmlns:a16="http://schemas.microsoft.com/office/drawing/2014/main" id="{EDCFFBA3-8200-E3AA-1222-C997D79203C3}"/>
              </a:ext>
            </a:extLst>
          </p:cNvPr>
          <p:cNvSpPr txBox="1">
            <a:spLocks/>
          </p:cNvSpPr>
          <p:nvPr/>
        </p:nvSpPr>
        <p:spPr>
          <a:xfrm>
            <a:off x="3714462" y="3173203"/>
            <a:ext cx="5820273" cy="143031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Land GitHub Copilot </a:t>
            </a:r>
            <a:r>
              <a:rPr kumimoji="0" lang="en-US" sz="1200" b="0" i="0" u="none" strike="noStrike" kern="1200" cap="none" spc="0" normalizeH="0" baseline="0" noProof="0">
                <a:ln>
                  <a:noFill/>
                </a:ln>
                <a:solidFill>
                  <a:srgbClr val="FF5C39"/>
                </a:solidFill>
                <a:effectLst/>
                <a:uLnTx/>
                <a:uFillTx/>
                <a:latin typeface="Segoe Sans Text"/>
                <a:ea typeface="+mn-ea"/>
                <a:cs typeface="Segoe UI" pitchFamily="34" charset="0"/>
              </a:rPr>
              <a:t>with</a:t>
            </a: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 every developer</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Drive Agentic DevOps with GitHub Enterprise Platform</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FF5C39"/>
                </a:solidFill>
                <a:effectLst/>
                <a:uLnTx/>
                <a:uFillTx/>
                <a:latin typeface="Segoe Sans Text"/>
                <a:ea typeface="+mn-ea"/>
                <a:cs typeface="Segoe UI" pitchFamily="34" charset="0"/>
              </a:rPr>
              <a:t>GitHub &amp; Azure Connected Dev Experience</a:t>
            </a:r>
          </a:p>
        </p:txBody>
      </p:sp>
      <p:sp>
        <p:nvSpPr>
          <p:cNvPr id="25" name="Text Placeholder 35">
            <a:extLst>
              <a:ext uri="{FF2B5EF4-FFF2-40B4-BE49-F238E27FC236}">
                <a16:creationId xmlns:a16="http://schemas.microsoft.com/office/drawing/2014/main" id="{57311DF2-834F-E223-0044-F2EBB9511D1C}"/>
              </a:ext>
            </a:extLst>
          </p:cNvPr>
          <p:cNvSpPr txBox="1">
            <a:spLocks/>
          </p:cNvSpPr>
          <p:nvPr/>
        </p:nvSpPr>
        <p:spPr>
          <a:xfrm>
            <a:off x="691703" y="4705019"/>
            <a:ext cx="2882043" cy="1430310"/>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Targeted pursuit of custom model and inferencing workloads with Foundry models and N-Series VMs</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N-Series VMs, Azure AI Foundry, AKS)</a:t>
            </a:r>
          </a:p>
        </p:txBody>
      </p:sp>
      <p:sp>
        <p:nvSpPr>
          <p:cNvPr id="21" name="Text Placeholder 35">
            <a:extLst>
              <a:ext uri="{FF2B5EF4-FFF2-40B4-BE49-F238E27FC236}">
                <a16:creationId xmlns:a16="http://schemas.microsoft.com/office/drawing/2014/main" id="{FF1EFF81-8C48-C8E2-136C-C8E549DF9B4A}"/>
              </a:ext>
            </a:extLst>
          </p:cNvPr>
          <p:cNvSpPr txBox="1">
            <a:spLocks/>
          </p:cNvSpPr>
          <p:nvPr/>
        </p:nvSpPr>
        <p:spPr>
          <a:xfrm>
            <a:off x="3714462" y="4705019"/>
            <a:ext cx="5820273" cy="1430310"/>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base" latinLnBrk="0" hangingPunct="1">
              <a:lnSpc>
                <a:spcPct val="100000"/>
              </a:lnSpc>
              <a:spcBef>
                <a:spcPts val="0"/>
              </a:spcBef>
              <a:spcAft>
                <a:spcPts val="600"/>
              </a:spcAft>
              <a:buClr>
                <a:srgbClr val="000000"/>
              </a:buClr>
              <a:buSzTx/>
              <a:buFontTx/>
              <a:buNone/>
              <a:tabLst>
                <a:tab pos="2005013" algn="l"/>
              </a:tabLst>
              <a:defRPr/>
            </a:pPr>
            <a:r>
              <a:rPr kumimoji="0" lang="en-US" sz="1200" b="0" i="1" u="none" strike="noStrike" kern="1200" cap="none" spc="0" normalizeH="0" baseline="0" noProof="0">
                <a:ln>
                  <a:noFill/>
                </a:ln>
                <a:solidFill>
                  <a:srgbClr val="000000"/>
                </a:solidFill>
                <a:effectLst/>
                <a:uLnTx/>
                <a:uFillTx/>
                <a:latin typeface="Segoe Sans Text"/>
                <a:ea typeface="+mn-ea"/>
                <a:cs typeface="Segoe UI" pitchFamily="34" charset="0"/>
              </a:rPr>
              <a:t>SDC Prioritized</a:t>
            </a:r>
          </a:p>
          <a:p>
            <a:pPr marL="20955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in large model customization or inferencing opportunities with Microsoft’s AI Infrastructure and Azure platform advantages</a:t>
            </a:r>
          </a:p>
        </p:txBody>
      </p:sp>
      <p:sp>
        <p:nvSpPr>
          <p:cNvPr id="26" name="TextBox 25">
            <a:extLst>
              <a:ext uri="{FF2B5EF4-FFF2-40B4-BE49-F238E27FC236}">
                <a16:creationId xmlns:a16="http://schemas.microsoft.com/office/drawing/2014/main" id="{DFA23901-8FF1-4934-B82C-6B287777C026}"/>
              </a:ext>
            </a:extLst>
          </p:cNvPr>
          <p:cNvSpPr txBox="1"/>
          <p:nvPr/>
        </p:nvSpPr>
        <p:spPr>
          <a:xfrm>
            <a:off x="9724262" y="1641388"/>
            <a:ext cx="1800988" cy="3370153"/>
          </a:xfrm>
          <a:prstGeom prst="rect">
            <a:avLst/>
          </a:prstGeom>
          <a:solidFill>
            <a:schemeClr val="bg1"/>
          </a:solidFill>
        </p:spPr>
        <p:txBody>
          <a:bodyPr wrap="square" lIns="0" tIns="0" rIns="0" bIns="0">
            <a:spAutoFit/>
          </a:bodyPr>
          <a:lstStyle/>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Deploy high-value AI solutions to progress AI Transformation</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Implement scalable, secure platform to accelerate AI deployments </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mpower developers to improve time-to-deployment, code quality, and </a:t>
            </a:r>
            <a:r>
              <a:rPr kumimoji="0" lang="en-US" sz="1200" b="0" i="0" u="none" strike="noStrike" kern="1200" cap="none" spc="0" normalizeH="0" baseline="0" noProof="0">
                <a:ln>
                  <a:noFill/>
                </a:ln>
                <a:solidFill>
                  <a:srgbClr val="FF5C39"/>
                </a:solidFill>
                <a:effectLst/>
                <a:uLnTx/>
                <a:uFillTx/>
                <a:latin typeface="Segoe Sans Text"/>
                <a:ea typeface="+mn-ea"/>
                <a:cs typeface="+mn-cs"/>
              </a:rPr>
              <a:t>Agentic DevOps </a:t>
            </a:r>
            <a:r>
              <a:rPr kumimoji="0" lang="en-US" sz="1200" b="0" i="0" u="none" strike="noStrike" kern="1200" cap="none" spc="0" normalizeH="0" baseline="0" noProof="0">
                <a:ln>
                  <a:noFill/>
                </a:ln>
                <a:solidFill>
                  <a:srgbClr val="000000"/>
                </a:solidFill>
                <a:effectLst/>
                <a:uLnTx/>
                <a:uFillTx/>
                <a:latin typeface="Segoe Sans Text"/>
                <a:ea typeface="+mn-ea"/>
                <a:cs typeface="+mn-cs"/>
              </a:rPr>
              <a:t>practices</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Build large-scale training and inferencing platforms to deliver price performant models</a:t>
            </a:r>
          </a:p>
        </p:txBody>
      </p:sp>
      <p:sp>
        <p:nvSpPr>
          <p:cNvPr id="33" name="Rectangle: Rounded Corners 32">
            <a:extLst>
              <a:ext uri="{FF2B5EF4-FFF2-40B4-BE49-F238E27FC236}">
                <a16:creationId xmlns:a16="http://schemas.microsoft.com/office/drawing/2014/main" id="{156FADD1-B779-12A2-B145-E7AD5DB09D3E}"/>
              </a:ext>
              <a:ext uri="{C183D7F6-B498-43B3-948B-1728B52AA6E4}">
                <adec:decorative xmlns:adec="http://schemas.microsoft.com/office/drawing/2017/decorative" val="1"/>
              </a:ext>
            </a:extLst>
          </p:cNvPr>
          <p:cNvSpPr/>
          <p:nvPr/>
        </p:nvSpPr>
        <p:spPr bwMode="auto">
          <a:xfrm>
            <a:off x="649123" y="1600200"/>
            <a:ext cx="2967202" cy="1512684"/>
          </a:xfrm>
          <a:prstGeom prst="roundRect">
            <a:avLst>
              <a:gd name="adj" fmla="val 9231"/>
            </a:avLst>
          </a:pr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1662D6B5-917F-451C-408A-D17450F2024F}"/>
              </a:ext>
              <a:ext uri="{C183D7F6-B498-43B3-948B-1728B52AA6E4}">
                <adec:decorative xmlns:adec="http://schemas.microsoft.com/office/drawing/2017/decorative" val="1"/>
              </a:ext>
            </a:extLst>
          </p:cNvPr>
          <p:cNvSpPr/>
          <p:nvPr/>
        </p:nvSpPr>
        <p:spPr bwMode="auto">
          <a:xfrm>
            <a:off x="649123" y="3143250"/>
            <a:ext cx="2967202" cy="1501450"/>
          </a:xfrm>
          <a:prstGeom prst="roundRect">
            <a:avLst>
              <a:gd name="adj" fmla="val 9231"/>
            </a:avLst>
          </a:prstGeom>
          <a:noFill/>
          <a:ln w="9525">
            <a:solidFill>
              <a:schemeClr val="accent1">
                <a:lumMod val="60000"/>
                <a:lumOff val="4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5" name="Star: 5 Points 44" descr="star">
            <a:extLst>
              <a:ext uri="{FF2B5EF4-FFF2-40B4-BE49-F238E27FC236}">
                <a16:creationId xmlns:a16="http://schemas.microsoft.com/office/drawing/2014/main" id="{609E8166-F8EE-AC6F-D442-FC883988A092}"/>
              </a:ext>
            </a:extLst>
          </p:cNvPr>
          <p:cNvSpPr/>
          <p:nvPr/>
        </p:nvSpPr>
        <p:spPr bwMode="auto">
          <a:xfrm>
            <a:off x="571500" y="6362700"/>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4" name="TextBox 43">
            <a:extLst>
              <a:ext uri="{FF2B5EF4-FFF2-40B4-BE49-F238E27FC236}">
                <a16:creationId xmlns:a16="http://schemas.microsoft.com/office/drawing/2014/main" id="{DA4DC05F-6784-419B-33C6-9F04B10AA130}"/>
              </a:ext>
            </a:extLst>
          </p:cNvPr>
          <p:cNvSpPr txBox="1"/>
          <p:nvPr/>
        </p:nvSpPr>
        <p:spPr>
          <a:xfrm>
            <a:off x="865515" y="6384984"/>
            <a:ext cx="147623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Semibold"/>
                <a:ea typeface="+mn-ea"/>
                <a:cs typeface="+mn-cs"/>
              </a:rPr>
              <a:t>SME&amp;C</a:t>
            </a:r>
          </a:p>
        </p:txBody>
      </p:sp>
      <p:grpSp>
        <p:nvGrpSpPr>
          <p:cNvPr id="2" name="Group 1">
            <a:extLst>
              <a:ext uri="{FF2B5EF4-FFF2-40B4-BE49-F238E27FC236}">
                <a16:creationId xmlns:a16="http://schemas.microsoft.com/office/drawing/2014/main" id="{06E3991C-34DF-240C-9771-466616CAFB8F}"/>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 name="Table 2 Cell 1, 1 to Text">
              <a:extLst>
                <a:ext uri="{FF2B5EF4-FFF2-40B4-BE49-F238E27FC236}">
                  <a16:creationId xmlns:a16="http://schemas.microsoft.com/office/drawing/2014/main" id="{195E5A67-2734-B60E-F5FC-34FBC8F770DB}"/>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 name="Table 2 Cell 2, 1 to Text">
              <a:extLst>
                <a:ext uri="{FF2B5EF4-FFF2-40B4-BE49-F238E27FC236}">
                  <a16:creationId xmlns:a16="http://schemas.microsoft.com/office/drawing/2014/main" id="{82133B16-7A8D-F84D-E26B-7122DD51FC2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34" name="Table 2 Cell 3, 1 to Text">
              <a:extLst>
                <a:ext uri="{FF2B5EF4-FFF2-40B4-BE49-F238E27FC236}">
                  <a16:creationId xmlns:a16="http://schemas.microsoft.com/office/drawing/2014/main" id="{AD6F8D02-C105-357C-F45C-94DBC7F307F1}"/>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5" name="Table 2 Cell 4, 1 to Text">
              <a:extLst>
                <a:ext uri="{FF2B5EF4-FFF2-40B4-BE49-F238E27FC236}">
                  <a16:creationId xmlns:a16="http://schemas.microsoft.com/office/drawing/2014/main" id="{ABF5E743-770A-A7BE-D968-A18C0F9EADF9}"/>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36" name="Table 2 Cell 5, 1 to Text">
              <a:extLst>
                <a:ext uri="{FF2B5EF4-FFF2-40B4-BE49-F238E27FC236}">
                  <a16:creationId xmlns:a16="http://schemas.microsoft.com/office/drawing/2014/main" id="{28A113BF-757A-3FD0-D2B8-991BC7EAA0AE}"/>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7" name="Table 2 Cell 6, 1 to Text">
              <a:extLst>
                <a:ext uri="{FF2B5EF4-FFF2-40B4-BE49-F238E27FC236}">
                  <a16:creationId xmlns:a16="http://schemas.microsoft.com/office/drawing/2014/main" id="{5B7EDB83-E602-4AD3-9B4F-6EBB5632FDAA}"/>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8" name="Table 2 Cell 7, 1 to Text">
              <a:extLst>
                <a:ext uri="{FF2B5EF4-FFF2-40B4-BE49-F238E27FC236}">
                  <a16:creationId xmlns:a16="http://schemas.microsoft.com/office/drawing/2014/main" id="{A5587774-2697-98CF-958C-FECC86BCAA6E}"/>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1" name="Table 2 Cell 1, 2 to Text">
              <a:extLst>
                <a:ext uri="{FF2B5EF4-FFF2-40B4-BE49-F238E27FC236}">
                  <a16:creationId xmlns:a16="http://schemas.microsoft.com/office/drawing/2014/main" id="{897060FD-365A-A5AA-80E2-EDF669E14AC0}"/>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46" name="Table 2 Cell 1, 3 to Text">
              <a:extLst>
                <a:ext uri="{FF2B5EF4-FFF2-40B4-BE49-F238E27FC236}">
                  <a16:creationId xmlns:a16="http://schemas.microsoft.com/office/drawing/2014/main" id="{9296AE1C-F128-97B8-4441-101CBACB4652}"/>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47" name="Table 2 Cell 1, 4 to Text">
              <a:extLst>
                <a:ext uri="{FF2B5EF4-FFF2-40B4-BE49-F238E27FC236}">
                  <a16:creationId xmlns:a16="http://schemas.microsoft.com/office/drawing/2014/main" id="{D22F126C-9E27-72B8-9272-C3D816136C3D}"/>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48" name="Table 2 Cell 1, 5 to Text">
              <a:extLst>
                <a:ext uri="{FF2B5EF4-FFF2-40B4-BE49-F238E27FC236}">
                  <a16:creationId xmlns:a16="http://schemas.microsoft.com/office/drawing/2014/main" id="{9038B08D-B3DD-370B-DF71-08D6AC3DA58C}"/>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49" name="Table 2 Cell 1, 6 to Text">
              <a:extLst>
                <a:ext uri="{FF2B5EF4-FFF2-40B4-BE49-F238E27FC236}">
                  <a16:creationId xmlns:a16="http://schemas.microsoft.com/office/drawing/2014/main" id="{594656C4-9112-47FF-E44F-5865AFFE1C0A}"/>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50" name="Table 2 Cell 1, 7 to Text">
              <a:extLst>
                <a:ext uri="{FF2B5EF4-FFF2-40B4-BE49-F238E27FC236}">
                  <a16:creationId xmlns:a16="http://schemas.microsoft.com/office/drawing/2014/main" id="{DC1FD9C8-B95D-4D40-1473-D0E1E65320CE}"/>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600">
                  <a:solidFill>
                    <a:schemeClr val="bg1"/>
                  </a:solidFill>
                </a:rPr>
                <a:t>3.6 </a:t>
              </a:r>
              <a:r>
                <a:rPr lang="it-IT" sz="600">
                  <a:solidFill>
                    <a:schemeClr val="bg1"/>
                  </a:solidFill>
                </a:rPr>
                <a:t>Inno w/ AI Apps &amp; Agents </a:t>
              </a:r>
              <a:r>
                <a:rPr lang="en-US" sz="600">
                  <a:solidFill>
                    <a:schemeClr val="bg1"/>
                  </a:solidFill>
                </a:rPr>
                <a:t>Overview</a:t>
              </a:r>
            </a:p>
          </p:txBody>
        </p:sp>
        <p:sp>
          <p:nvSpPr>
            <p:cNvPr id="51" name="Table 2 Cell 1, 8 to Text">
              <a:extLst>
                <a:ext uri="{FF2B5EF4-FFF2-40B4-BE49-F238E27FC236}">
                  <a16:creationId xmlns:a16="http://schemas.microsoft.com/office/drawing/2014/main" id="{14664204-5E60-BD12-FBD7-910B39411224}"/>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7 Delivery &amp; Success</a:t>
              </a:r>
            </a:p>
          </p:txBody>
        </p:sp>
      </p:grpSp>
    </p:spTree>
    <p:extLst>
      <p:ext uri="{BB962C8B-B14F-4D97-AF65-F5344CB8AC3E}">
        <p14:creationId xmlns:p14="http://schemas.microsoft.com/office/powerpoint/2010/main" val="421442329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D1D1BB-7650-749F-0289-33D20CE05FCC}"/>
            </a:ext>
          </a:extLst>
        </p:cNvPr>
        <p:cNvGrpSpPr/>
        <p:nvPr/>
      </p:nvGrpSpPr>
      <p:grpSpPr>
        <a:xfrm>
          <a:off x="0" y="0"/>
          <a:ext cx="0" cy="0"/>
          <a:chOff x="0" y="0"/>
          <a:chExt cx="0" cy="0"/>
        </a:xfrm>
      </p:grpSpPr>
      <p:sp>
        <p:nvSpPr>
          <p:cNvPr id="51" name="Title 50">
            <a:extLst>
              <a:ext uri="{FF2B5EF4-FFF2-40B4-BE49-F238E27FC236}">
                <a16:creationId xmlns:a16="http://schemas.microsoft.com/office/drawing/2014/main" id="{3D0F0C8F-62AA-6CBE-7868-DCC09193BC5C}"/>
              </a:ext>
            </a:extLst>
          </p:cNvPr>
          <p:cNvSpPr>
            <a:spLocks noGrp="1"/>
          </p:cNvSpPr>
          <p:nvPr>
            <p:ph type="title"/>
          </p:nvPr>
        </p:nvSpPr>
        <p:spPr>
          <a:xfrm>
            <a:off x="571500" y="457200"/>
            <a:ext cx="9744074" cy="369332"/>
          </a:xfrm>
        </p:spPr>
        <p:txBody>
          <a:bodyPr/>
          <a:lstStyle/>
          <a:p>
            <a:r>
              <a:rPr lang="en-US" sz="2400"/>
              <a:t>Delivery &amp; Success – </a:t>
            </a:r>
            <a:r>
              <a:rPr lang="en-US" sz="2400">
                <a:solidFill>
                  <a:schemeClr val="accent1"/>
                </a:solidFill>
              </a:rPr>
              <a:t>Innovate with Azure AI Apps and Agents</a:t>
            </a:r>
          </a:p>
        </p:txBody>
      </p:sp>
      <p:sp>
        <p:nvSpPr>
          <p:cNvPr id="54" name="Rectangle: Rounded Corners 53">
            <a:extLst>
              <a:ext uri="{FF2B5EF4-FFF2-40B4-BE49-F238E27FC236}">
                <a16:creationId xmlns:a16="http://schemas.microsoft.com/office/drawing/2014/main" id="{12E15811-78F0-A686-11E7-A92571402542}"/>
              </a:ext>
              <a:ext uri="{C183D7F6-B498-43B3-948B-1728B52AA6E4}">
                <adec:decorative xmlns:adec="http://schemas.microsoft.com/office/drawing/2017/decorative" val="1"/>
              </a:ext>
            </a:extLst>
          </p:cNvPr>
          <p:cNvSpPr/>
          <p:nvPr/>
        </p:nvSpPr>
        <p:spPr bwMode="auto">
          <a:xfrm>
            <a:off x="571500" y="1066799"/>
            <a:ext cx="9772650" cy="5497513"/>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55" name="Text Placeholder 35">
            <a:extLst>
              <a:ext uri="{FF2B5EF4-FFF2-40B4-BE49-F238E27FC236}">
                <a16:creationId xmlns:a16="http://schemas.microsoft.com/office/drawing/2014/main" id="{811E9352-A034-18DC-0887-CA0D00CA1747}"/>
              </a:ext>
            </a:extLst>
          </p:cNvPr>
          <p:cNvSpPr txBox="1">
            <a:spLocks/>
          </p:cNvSpPr>
          <p:nvPr/>
        </p:nvSpPr>
        <p:spPr>
          <a:xfrm>
            <a:off x="657914" y="1170071"/>
            <a:ext cx="1238262" cy="2002054"/>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All Customers</a:t>
            </a:r>
          </a:p>
        </p:txBody>
      </p:sp>
      <p:sp>
        <p:nvSpPr>
          <p:cNvPr id="56" name="TextBox 55">
            <a:extLst>
              <a:ext uri="{FF2B5EF4-FFF2-40B4-BE49-F238E27FC236}">
                <a16:creationId xmlns:a16="http://schemas.microsoft.com/office/drawing/2014/main" id="{2590A3BB-D8E4-42C0-35E4-D8E9ACE3CEE2}"/>
              </a:ext>
            </a:extLst>
          </p:cNvPr>
          <p:cNvSpPr txBox="1"/>
          <p:nvPr/>
        </p:nvSpPr>
        <p:spPr>
          <a:xfrm>
            <a:off x="2003153" y="1170071"/>
            <a:ext cx="269717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FACTORY 101</a:t>
            </a:r>
          </a:p>
        </p:txBody>
      </p:sp>
      <p:sp>
        <p:nvSpPr>
          <p:cNvPr id="57" name="TextBox 56">
            <a:extLst>
              <a:ext uri="{FF2B5EF4-FFF2-40B4-BE49-F238E27FC236}">
                <a16:creationId xmlns:a16="http://schemas.microsoft.com/office/drawing/2014/main" id="{66DC0FC4-137B-6BCE-7647-633112FB0C24}"/>
              </a:ext>
            </a:extLst>
          </p:cNvPr>
          <p:cNvSpPr txBox="1"/>
          <p:nvPr/>
        </p:nvSpPr>
        <p:spPr>
          <a:xfrm>
            <a:off x="2003153" y="1417557"/>
            <a:ext cx="2766967" cy="63094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Start with Cloud Accelerate Factory to ensure efficient delivery of these scenarios:</a:t>
            </a:r>
          </a:p>
          <a:p>
            <a:pPr marL="165100" marR="0" lvl="0" indent="-133350" algn="l" defTabSz="932742" rtl="0" eaLnBrk="1" fontAlgn="t" latinLnBrk="0" hangingPunct="1">
              <a:lnSpc>
                <a:spcPct val="100000"/>
              </a:lnSpc>
              <a:spcBef>
                <a:spcPts val="20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Azure AI Landing Zone Deployment</a:t>
            </a:r>
          </a:p>
          <a:p>
            <a:pPr marL="165100" marR="0" lvl="0" indent="-133350" algn="l" defTabSz="932742" rtl="0" eaLnBrk="1" fontAlgn="t" latinLnBrk="0" hangingPunct="1">
              <a:lnSpc>
                <a:spcPct val="100000"/>
              </a:lnSpc>
              <a:spcBef>
                <a:spcPts val="20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GenAI Assistant Use cases</a:t>
            </a:r>
          </a:p>
        </p:txBody>
      </p:sp>
      <p:sp>
        <p:nvSpPr>
          <p:cNvPr id="58" name="TextBox 57">
            <a:extLst>
              <a:ext uri="{FF2B5EF4-FFF2-40B4-BE49-F238E27FC236}">
                <a16:creationId xmlns:a16="http://schemas.microsoft.com/office/drawing/2014/main" id="{73DC114F-800E-3CDD-E9A7-5AAA3CBC413B}"/>
              </a:ext>
            </a:extLst>
          </p:cNvPr>
          <p:cNvSpPr txBox="1"/>
          <p:nvPr/>
        </p:nvSpPr>
        <p:spPr>
          <a:xfrm>
            <a:off x="5168834" y="1185459"/>
            <a:ext cx="241441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RESILIENCY &amp; SECURITY</a:t>
            </a:r>
          </a:p>
        </p:txBody>
      </p:sp>
      <p:sp>
        <p:nvSpPr>
          <p:cNvPr id="59" name="TextBox 58">
            <a:extLst>
              <a:ext uri="{FF2B5EF4-FFF2-40B4-BE49-F238E27FC236}">
                <a16:creationId xmlns:a16="http://schemas.microsoft.com/office/drawing/2014/main" id="{6D1765AC-3ABD-1626-BC31-4B976FFCAC45}"/>
              </a:ext>
            </a:extLst>
          </p:cNvPr>
          <p:cNvSpPr txBox="1"/>
          <p:nvPr/>
        </p:nvSpPr>
        <p:spPr>
          <a:xfrm>
            <a:off x="5168833" y="1417557"/>
            <a:ext cx="2414417" cy="135421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Follow the best practices</a:t>
            </a:r>
          </a:p>
          <a:p>
            <a:pPr marL="165100" marR="0" lvl="0" indent="-133350"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AI and App Landing Zones and GenAI Ops</a:t>
            </a:r>
          </a:p>
          <a:p>
            <a:pPr marL="165100" marR="0" lvl="0" indent="-133350"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AI Assisted development </a:t>
            </a:r>
          </a:p>
          <a:p>
            <a:pPr marL="165100" marR="0" lvl="0" indent="-133350"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Agentic DevOps</a:t>
            </a:r>
          </a:p>
          <a:p>
            <a:pPr marL="165100" marR="0" lvl="0" indent="-133350"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Well-Architected Framework (WAF) for AI: Ensure a secure, reliable, and resilient AI solutions</a:t>
            </a:r>
          </a:p>
          <a:p>
            <a:pPr marL="165100" marR="0" lvl="0" indent="-133350" algn="l" defTabSz="932742" rtl="0" eaLnBrk="1" fontAlgn="t" latinLnBrk="0" hangingPunct="1">
              <a:lnSpc>
                <a:spcPct val="100000"/>
              </a:lnSpc>
              <a:spcBef>
                <a:spcPts val="2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MCP &amp; A2A Architectures</a:t>
            </a:r>
          </a:p>
        </p:txBody>
      </p:sp>
      <p:sp>
        <p:nvSpPr>
          <p:cNvPr id="60" name="Text Placeholder 35">
            <a:extLst>
              <a:ext uri="{FF2B5EF4-FFF2-40B4-BE49-F238E27FC236}">
                <a16:creationId xmlns:a16="http://schemas.microsoft.com/office/drawing/2014/main" id="{F81F273D-853A-B491-98EB-27DEA90368A9}"/>
              </a:ext>
            </a:extLst>
          </p:cNvPr>
          <p:cNvSpPr txBox="1">
            <a:spLocks/>
          </p:cNvSpPr>
          <p:nvPr/>
        </p:nvSpPr>
        <p:spPr>
          <a:xfrm>
            <a:off x="657914" y="3249037"/>
            <a:ext cx="1238262" cy="1903830"/>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Unified</a:t>
            </a:r>
          </a:p>
        </p:txBody>
      </p:sp>
      <p:sp>
        <p:nvSpPr>
          <p:cNvPr id="61" name="TextBox 60">
            <a:extLst>
              <a:ext uri="{FF2B5EF4-FFF2-40B4-BE49-F238E27FC236}">
                <a16:creationId xmlns:a16="http://schemas.microsoft.com/office/drawing/2014/main" id="{DA8CFC8B-4585-14D9-374C-D03494A4202F}"/>
              </a:ext>
            </a:extLst>
          </p:cNvPr>
          <p:cNvSpPr txBox="1"/>
          <p:nvPr/>
        </p:nvSpPr>
        <p:spPr>
          <a:xfrm>
            <a:off x="2003153" y="3297167"/>
            <a:ext cx="26331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ENHANCED SOLUTIONS</a:t>
            </a:r>
          </a:p>
        </p:txBody>
      </p:sp>
      <p:sp>
        <p:nvSpPr>
          <p:cNvPr id="62" name="TextBox 61">
            <a:extLst>
              <a:ext uri="{FF2B5EF4-FFF2-40B4-BE49-F238E27FC236}">
                <a16:creationId xmlns:a16="http://schemas.microsoft.com/office/drawing/2014/main" id="{3A11CF97-67BA-F01C-3715-A1A0A0B7E5B2}"/>
              </a:ext>
            </a:extLst>
          </p:cNvPr>
          <p:cNvSpPr txBox="1"/>
          <p:nvPr/>
        </p:nvSpPr>
        <p:spPr>
          <a:xfrm>
            <a:off x="2003153" y="3547901"/>
            <a:ext cx="4337506" cy="12259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Position and deliver our Value Acceleration Services (VAS) portfolio to ensure we are accelerating our customer’s AI Apps and Agents journey and providing immersive developer experience through </a:t>
            </a:r>
            <a:r>
              <a:rPr kumimoji="0" lang="en-US" sz="900" b="0" i="0" u="none" strike="noStrike" kern="1200" cap="none" spc="0" normalizeH="0" baseline="0" noProof="0" err="1">
                <a:ln>
                  <a:noFill/>
                </a:ln>
                <a:solidFill>
                  <a:prstClr val="black"/>
                </a:solidFill>
                <a:effectLst/>
                <a:uLnTx/>
                <a:uFillTx/>
                <a:latin typeface="Segoe Sans Text"/>
                <a:ea typeface="+mn-ea"/>
                <a:cs typeface="+mn-cs"/>
              </a:rPr>
              <a:t>CodeWith</a:t>
            </a:r>
            <a:r>
              <a:rPr kumimoji="0" lang="en-US" sz="900" b="0" i="0" u="none" strike="noStrike" kern="1200" cap="none" spc="0" normalizeH="0" baseline="0" noProof="0">
                <a:ln>
                  <a:noFill/>
                </a:ln>
                <a:solidFill>
                  <a:prstClr val="black"/>
                </a:solidFill>
                <a:effectLst/>
                <a:uLnTx/>
                <a:uFillTx/>
                <a:latin typeface="Segoe Sans Text"/>
                <a:ea typeface="+mn-ea"/>
                <a:cs typeface="+mn-cs"/>
              </a:rPr>
              <a:t>. </a:t>
            </a:r>
          </a:p>
          <a:p>
            <a:pPr marL="165100" marR="0" lvl="0" indent="-133350" algn="l" defTabSz="932742" rtl="0" eaLnBrk="1" fontAlgn="t" latinLnBrk="0" hangingPunct="1">
              <a:lnSpc>
                <a:spcPct val="100000"/>
              </a:lnSpc>
              <a:spcBef>
                <a:spcPts val="200"/>
              </a:spcBef>
              <a:spcAft>
                <a:spcPts val="300"/>
              </a:spcAft>
              <a:buClr>
                <a:srgbClr val="000000"/>
              </a:buClr>
              <a:buSzTx/>
              <a:buFont typeface="+mj-lt"/>
              <a:buAutoNum type="arabicPeriod"/>
              <a:tabLst>
                <a:tab pos="174625" algn="l"/>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I Apps &amp; Agents (Hero)</a:t>
            </a:r>
          </a:p>
          <a:p>
            <a:pPr marL="165100" marR="0" lvl="0" indent="-133350" algn="l" defTabSz="932742" rtl="0" eaLnBrk="1" fontAlgn="t" latinLnBrk="0" hangingPunct="1">
              <a:lnSpc>
                <a:spcPct val="100000"/>
              </a:lnSpc>
              <a:spcBef>
                <a:spcPts val="200"/>
              </a:spcBef>
              <a:spcAft>
                <a:spcPts val="3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a:t>
            </a:r>
          </a:p>
          <a:p>
            <a:pPr marL="165100" marR="0" lvl="0" indent="-133350" algn="l" defTabSz="932742" rtl="0" eaLnBrk="1" fontAlgn="t" latinLnBrk="0" hangingPunct="1">
              <a:lnSpc>
                <a:spcPct val="100000"/>
              </a:lnSpc>
              <a:spcBef>
                <a:spcPts val="0"/>
              </a:spcBef>
              <a:spcAft>
                <a:spcPts val="1000"/>
              </a:spcAft>
              <a:buClr>
                <a:srgbClr val="000000"/>
              </a:buClr>
              <a:buSzTx/>
              <a:buFont typeface="+mj-lt"/>
              <a:buAutoNum type="arabicPeriod"/>
              <a:tabLst>
                <a:tab pos="228600"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ccelerate Developer Productivity</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1" u="none" strike="noStrike" kern="1200" cap="none" spc="0" normalizeH="0" baseline="0" noProof="0">
                <a:ln>
                  <a:noFill/>
                </a:ln>
                <a:solidFill>
                  <a:srgbClr val="000000"/>
                </a:solidFill>
                <a:effectLst/>
                <a:uLnTx/>
                <a:uFillTx/>
                <a:latin typeface="Segoe Sans Text"/>
                <a:ea typeface="+mn-ea"/>
                <a:cs typeface="+mn-cs"/>
              </a:rPr>
              <a:t>View </a:t>
            </a:r>
            <a:r>
              <a:rPr kumimoji="0" lang="en-US" sz="900" b="0" i="1" u="none" strike="noStrike" kern="1200" cap="none" spc="0" normalizeH="0" baseline="0" noProof="0">
                <a:ln>
                  <a:noFill/>
                </a:ln>
                <a:solidFill>
                  <a:srgbClr val="000000"/>
                </a:solidFill>
                <a:effectLst/>
                <a:uLnTx/>
                <a:uFillTx/>
                <a:latin typeface="Segoe Sans Text"/>
                <a:ea typeface="+mn-ea"/>
                <a:cs typeface="+mn-cs"/>
                <a:hlinkClick r:id="rId3"/>
              </a:rPr>
              <a:t>aka.ms/</a:t>
            </a:r>
            <a:r>
              <a:rPr kumimoji="0" lang="en-US" sz="900" b="0" i="1" u="none" strike="noStrike" kern="1200" cap="none" spc="0" normalizeH="0" baseline="0" noProof="0" err="1">
                <a:ln>
                  <a:noFill/>
                </a:ln>
                <a:solidFill>
                  <a:srgbClr val="000000"/>
                </a:solidFill>
                <a:effectLst/>
                <a:uLnTx/>
                <a:uFillTx/>
                <a:latin typeface="Segoe Sans Text"/>
                <a:ea typeface="+mn-ea"/>
                <a:cs typeface="+mn-cs"/>
                <a:hlinkClick r:id="rId3"/>
              </a:rPr>
              <a:t>UnifiedSolutionsGuide</a:t>
            </a:r>
            <a:r>
              <a:rPr kumimoji="0" lang="en-US" sz="900" b="0" i="1" u="none" strike="noStrike" kern="1200" cap="none" spc="0" normalizeH="0" baseline="0" noProof="0">
                <a:ln>
                  <a:noFill/>
                </a:ln>
                <a:solidFill>
                  <a:srgbClr val="000000"/>
                </a:solidFill>
                <a:effectLst/>
                <a:uLnTx/>
                <a:uFillTx/>
                <a:latin typeface="Segoe Sans Text"/>
                <a:ea typeface="+mn-ea"/>
                <a:cs typeface="+mn-cs"/>
              </a:rPr>
              <a:t> for full list of VAS offers.</a:t>
            </a:r>
            <a:endParaRPr kumimoji="0" lang="en-US" sz="900" b="0" i="1"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63" name="TextBox 62">
            <a:extLst>
              <a:ext uri="{FF2B5EF4-FFF2-40B4-BE49-F238E27FC236}">
                <a16:creationId xmlns:a16="http://schemas.microsoft.com/office/drawing/2014/main" id="{8C258907-56AF-FBB9-68B7-D560EDE0C876}"/>
              </a:ext>
            </a:extLst>
          </p:cNvPr>
          <p:cNvSpPr txBox="1"/>
          <p:nvPr/>
        </p:nvSpPr>
        <p:spPr>
          <a:xfrm>
            <a:off x="6503962" y="3297167"/>
            <a:ext cx="327366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VBD PATHWAYS &amp; REPEATABLE IP</a:t>
            </a:r>
          </a:p>
        </p:txBody>
      </p:sp>
      <p:sp>
        <p:nvSpPr>
          <p:cNvPr id="64" name="TextBox 63">
            <a:extLst>
              <a:ext uri="{FF2B5EF4-FFF2-40B4-BE49-F238E27FC236}">
                <a16:creationId xmlns:a16="http://schemas.microsoft.com/office/drawing/2014/main" id="{511902CE-3297-AF7E-FE8E-4131F2A48A73}"/>
              </a:ext>
            </a:extLst>
          </p:cNvPr>
          <p:cNvSpPr txBox="1"/>
          <p:nvPr/>
        </p:nvSpPr>
        <p:spPr>
          <a:xfrm>
            <a:off x="6523653" y="3547901"/>
            <a:ext cx="3744297" cy="88485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Leverage our VBD Pathways and Repeatable IP to assist you in delivering Job 1 and Job 2. </a:t>
            </a:r>
          </a:p>
          <a:p>
            <a:pPr marL="165100" marR="0" lvl="0" indent="-133350" algn="l" defTabSz="914400" rtl="0" eaLnBrk="1" fontAlgn="auto" latinLnBrk="0" hangingPunct="1">
              <a:lnSpc>
                <a:spcPct val="100000"/>
              </a:lnSpc>
              <a:spcBef>
                <a:spcPts val="200"/>
              </a:spcBef>
              <a:spcAft>
                <a:spcPts val="300"/>
              </a:spcAft>
              <a:buClrTx/>
              <a:buSzTx/>
              <a:buFont typeface="+mj-lt"/>
              <a:buAutoNum type="arabicPeriod"/>
              <a:tabLst>
                <a:tab pos="174625"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rchitecture Design and Review Session for AI Apps &amp; Agents </a:t>
            </a:r>
          </a:p>
          <a:p>
            <a:pPr marL="165100" marR="0" lvl="0" indent="-133350" algn="l" defTabSz="932742" rtl="0" eaLnBrk="1" fontAlgn="t" latinLnBrk="0" hangingPunct="1">
              <a:lnSpc>
                <a:spcPct val="100000"/>
              </a:lnSpc>
              <a:spcBef>
                <a:spcPts val="0"/>
              </a:spcBef>
              <a:spcAft>
                <a:spcPts val="1000"/>
              </a:spcAft>
              <a:buClr>
                <a:srgbClr val="000000"/>
              </a:buClr>
              <a:buSzTx/>
              <a:buFont typeface="+mj-lt"/>
              <a:buAutoNum type="arabicPeriod"/>
              <a:tabLst>
                <a:tab pos="228600" algn="l"/>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olution Optimization for AI Apps &amp; Agents </a:t>
            </a:r>
          </a:p>
          <a:p>
            <a:pPr marL="0" marR="0" lvl="0" indent="0" algn="l" defTabSz="914400" rtl="0" eaLnBrk="1" fontAlgn="auto" latinLnBrk="0" hangingPunct="1">
              <a:lnSpc>
                <a:spcPct val="100000"/>
              </a:lnSpc>
              <a:spcBef>
                <a:spcPts val="0"/>
              </a:spcBef>
              <a:spcAft>
                <a:spcPts val="500"/>
              </a:spcAft>
              <a:buClrTx/>
              <a:buSzTx/>
              <a:buFontTx/>
              <a:buNone/>
              <a:tabLst>
                <a:tab pos="174625" algn="l"/>
              </a:tabLst>
              <a:defRPr/>
            </a:pPr>
            <a:r>
              <a:rPr kumimoji="0" lang="en-US" sz="900" b="0" i="1" u="none" strike="noStrike" kern="1200" cap="none" spc="0" normalizeH="0" baseline="0" noProof="0">
                <a:ln>
                  <a:noFill/>
                </a:ln>
                <a:solidFill>
                  <a:srgbClr val="000000"/>
                </a:solidFill>
                <a:effectLst/>
                <a:uLnTx/>
                <a:uFillTx/>
                <a:latin typeface="Segoe Sans Text"/>
                <a:ea typeface="+mn-ea"/>
                <a:cs typeface="+mn-cs"/>
              </a:rPr>
              <a:t>Go to </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ka.ms/</a:t>
            </a:r>
            <a:r>
              <a:rPr kumimoji="0" lang="en-US" sz="900" b="0" i="1" u="none" strike="noStrike" kern="1200" cap="none" spc="0" normalizeH="0" baseline="0" noProof="0" err="1">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vbd</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t>
            </a:r>
            <a:r>
              <a:rPr kumimoji="0" lang="en-US" sz="900" b="0" i="1" u="none" strike="noStrike" kern="1200" cap="none" spc="0" normalizeH="0" baseline="0" noProof="0" err="1">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Iapps</a:t>
            </a:r>
            <a:r>
              <a:rPr kumimoji="0" lang="en-US" sz="900" b="0" i="1" u="none" strike="noStrike" kern="1200" cap="none" spc="0" normalizeH="0" baseline="0" noProof="0">
                <a:ln>
                  <a:noFill/>
                </a:ln>
                <a:solidFill>
                  <a:srgbClr val="0078D4"/>
                </a:solidFill>
                <a:effectLst/>
                <a:uLnTx/>
                <a:uFillTx/>
                <a:latin typeface="Segoe Sans Text"/>
                <a:ea typeface="+mn-ea"/>
                <a:cs typeface="+mn-cs"/>
              </a:rPr>
              <a:t> </a:t>
            </a:r>
            <a:r>
              <a:rPr kumimoji="0" lang="en-US" sz="900" b="0" i="1" u="none" strike="noStrike" kern="1200" cap="none" spc="0" normalizeH="0" baseline="0" noProof="0">
                <a:ln>
                  <a:noFill/>
                </a:ln>
                <a:solidFill>
                  <a:srgbClr val="000000"/>
                </a:solidFill>
                <a:effectLst/>
                <a:uLnTx/>
                <a:uFillTx/>
                <a:latin typeface="Segoe Sans Text"/>
                <a:ea typeface="+mn-ea"/>
                <a:cs typeface="+mn-cs"/>
              </a:rPr>
              <a:t>to view all VBD Delivery Guides.</a:t>
            </a:r>
          </a:p>
        </p:txBody>
      </p:sp>
      <p:sp>
        <p:nvSpPr>
          <p:cNvPr id="65" name="TextBox 64">
            <a:extLst>
              <a:ext uri="{FF2B5EF4-FFF2-40B4-BE49-F238E27FC236}">
                <a16:creationId xmlns:a16="http://schemas.microsoft.com/office/drawing/2014/main" id="{26188AE1-2F63-765A-E7DD-D9D042B80A35}"/>
              </a:ext>
            </a:extLst>
          </p:cNvPr>
          <p:cNvSpPr txBox="1"/>
          <p:nvPr/>
        </p:nvSpPr>
        <p:spPr>
          <a:xfrm>
            <a:off x="7962231" y="1177361"/>
            <a:ext cx="19368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NEXT WORKLOAD</a:t>
            </a:r>
          </a:p>
        </p:txBody>
      </p:sp>
      <p:sp>
        <p:nvSpPr>
          <p:cNvPr id="66" name="TextBox 65">
            <a:extLst>
              <a:ext uri="{FF2B5EF4-FFF2-40B4-BE49-F238E27FC236}">
                <a16:creationId xmlns:a16="http://schemas.microsoft.com/office/drawing/2014/main" id="{ADD9515B-ADC9-C34F-D122-F0249CCAA60B}"/>
              </a:ext>
            </a:extLst>
          </p:cNvPr>
          <p:cNvSpPr txBox="1"/>
          <p:nvPr/>
        </p:nvSpPr>
        <p:spPr>
          <a:xfrm>
            <a:off x="7981963" y="1417557"/>
            <a:ext cx="2285987" cy="103361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rive “next best workload” conversations with Expansion motions. Examples include AI Governance using API Management, Model Lifecycle Management &amp; GenAI Ops, GH Copilot adoption. </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1" u="none" strike="noStrike" kern="1200" cap="none" spc="0" normalizeH="0" baseline="0" noProof="0">
                <a:ln>
                  <a:noFill/>
                </a:ln>
                <a:solidFill>
                  <a:prstClr val="black"/>
                </a:solidFill>
                <a:effectLst/>
                <a:uLnTx/>
                <a:uFillTx/>
                <a:latin typeface="Segoe Sans Text"/>
                <a:ea typeface="+mn-ea"/>
                <a:cs typeface="+mn-cs"/>
              </a:rPr>
              <a:t>View </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aka.ms/caiJob2</a:t>
            </a:r>
            <a:r>
              <a:rPr kumimoji="0" lang="en-US" sz="900" b="0" i="1" u="none" strike="noStrike" kern="1200" cap="none" spc="0" normalizeH="0" baseline="0" noProof="0">
                <a:ln>
                  <a:noFill/>
                </a:ln>
                <a:solidFill>
                  <a:srgbClr val="0078D4"/>
                </a:solidFill>
                <a:effectLst/>
                <a:uLnTx/>
                <a:uFillTx/>
                <a:latin typeface="Segoe Sans Text"/>
                <a:ea typeface="+mn-ea"/>
                <a:cs typeface="+mn-cs"/>
              </a:rPr>
              <a:t> </a:t>
            </a:r>
            <a:r>
              <a:rPr kumimoji="0" lang="en-US" sz="900" b="0" i="1" u="none" strike="noStrike" kern="1200" cap="none" spc="0" normalizeH="0" baseline="0" noProof="0">
                <a:ln>
                  <a:noFill/>
                </a:ln>
                <a:solidFill>
                  <a:prstClr val="black"/>
                </a:solidFill>
                <a:effectLst/>
                <a:uLnTx/>
                <a:uFillTx/>
                <a:latin typeface="Segoe Sans Text"/>
                <a:ea typeface="+mn-ea"/>
                <a:cs typeface="+mn-cs"/>
              </a:rPr>
              <a:t>for the full details on Expansion motions.</a:t>
            </a:r>
            <a:endParaRPr kumimoji="0" lang="en-US" sz="900" b="0" i="1" u="none" strike="noStrike" kern="1200" cap="none" spc="0" normalizeH="0" baseline="0" noProof="0">
              <a:ln>
                <a:noFill/>
              </a:ln>
              <a:solidFill>
                <a:srgbClr val="000000"/>
              </a:solidFill>
              <a:effectLst/>
              <a:uLnTx/>
              <a:uFillTx/>
              <a:latin typeface="Segoe Sans Text"/>
              <a:ea typeface="+mn-ea"/>
              <a:cs typeface="+mn-cs"/>
            </a:endParaRPr>
          </a:p>
        </p:txBody>
      </p:sp>
      <p:sp>
        <p:nvSpPr>
          <p:cNvPr id="67" name="Text Placeholder 35">
            <a:extLst>
              <a:ext uri="{FF2B5EF4-FFF2-40B4-BE49-F238E27FC236}">
                <a16:creationId xmlns:a16="http://schemas.microsoft.com/office/drawing/2014/main" id="{DD8AC46B-8DEF-B843-7B80-50E75C27D242}"/>
              </a:ext>
            </a:extLst>
          </p:cNvPr>
          <p:cNvSpPr txBox="1">
            <a:spLocks/>
          </p:cNvSpPr>
          <p:nvPr/>
        </p:nvSpPr>
        <p:spPr>
          <a:xfrm>
            <a:off x="657914" y="5229780"/>
            <a:ext cx="1238262" cy="1249136"/>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Non-Unified</a:t>
            </a:r>
          </a:p>
        </p:txBody>
      </p:sp>
      <p:sp>
        <p:nvSpPr>
          <p:cNvPr id="68" name="TextBox 67">
            <a:extLst>
              <a:ext uri="{FF2B5EF4-FFF2-40B4-BE49-F238E27FC236}">
                <a16:creationId xmlns:a16="http://schemas.microsoft.com/office/drawing/2014/main" id="{858D736B-9F26-A885-A3BC-C95E48B2B2D0}"/>
              </a:ext>
            </a:extLst>
          </p:cNvPr>
          <p:cNvSpPr txBox="1"/>
          <p:nvPr/>
        </p:nvSpPr>
        <p:spPr>
          <a:xfrm>
            <a:off x="2003153" y="5229780"/>
            <a:ext cx="409022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PARTNER, CUSTOMER IN-HOUSE, OR ISD</a:t>
            </a:r>
          </a:p>
        </p:txBody>
      </p:sp>
      <p:sp>
        <p:nvSpPr>
          <p:cNvPr id="69" name="TextBox 68">
            <a:extLst>
              <a:ext uri="{FF2B5EF4-FFF2-40B4-BE49-F238E27FC236}">
                <a16:creationId xmlns:a16="http://schemas.microsoft.com/office/drawing/2014/main" id="{88B44A40-7EDC-E7A4-DD78-BE03A30EB347}"/>
              </a:ext>
            </a:extLst>
          </p:cNvPr>
          <p:cNvSpPr txBox="1"/>
          <p:nvPr/>
        </p:nvSpPr>
        <p:spPr>
          <a:xfrm>
            <a:off x="2003153" y="5487078"/>
            <a:ext cx="8182248" cy="492443"/>
          </a:xfrm>
          <a:prstGeom prst="rect">
            <a:avLst/>
          </a:prstGeom>
          <a:noFill/>
        </p:spPr>
        <p:txBody>
          <a:bodyPr wrap="square" lIns="0" tIns="0" rIns="0" bIns="0" rtlCol="0" anchor="t">
            <a:spAutoFit/>
          </a:bodyPr>
          <a:lstStyle/>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Request CSU Investe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csuinvested</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 </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GPS – How to find and engage partner (SIs/GSIs, SDCs and Channel)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Y26CAIPCosellPlaybook</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ISD – How to engage IS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ISDServicesAssistance</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srgbClr val="1A1A1A"/>
                </a:solidFill>
                <a:effectLst/>
                <a:uLnTx/>
                <a:uFillTx/>
                <a:latin typeface="Segoe Sans Text"/>
                <a:ea typeface="+mn-ea"/>
                <a:cs typeface="+mn-cs"/>
              </a:rPr>
              <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offers in Catalog</a:t>
            </a:r>
          </a:p>
        </p:txBody>
      </p:sp>
      <p:cxnSp>
        <p:nvCxnSpPr>
          <p:cNvPr id="70" name="Straight Connector 69">
            <a:extLst>
              <a:ext uri="{FF2B5EF4-FFF2-40B4-BE49-F238E27FC236}">
                <a16:creationId xmlns:a16="http://schemas.microsoft.com/office/drawing/2014/main" id="{E2329B08-D23B-CD53-7769-6BC414B1A4FC}"/>
              </a:ext>
              <a:ext uri="{C183D7F6-B498-43B3-948B-1728B52AA6E4}">
                <adec:decorative xmlns:adec="http://schemas.microsoft.com/office/drawing/2017/decorative" val="1"/>
              </a:ext>
            </a:extLst>
          </p:cNvPr>
          <p:cNvCxnSpPr>
            <a:cxnSpLocks/>
          </p:cNvCxnSpPr>
          <p:nvPr/>
        </p:nvCxnSpPr>
        <p:spPr>
          <a:xfrm>
            <a:off x="657913" y="3210581"/>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98C8248-5509-A4C0-8B7E-8BA45869C75D}"/>
              </a:ext>
              <a:ext uri="{C183D7F6-B498-43B3-948B-1728B52AA6E4}">
                <adec:decorative xmlns:adec="http://schemas.microsoft.com/office/drawing/2017/decorative" val="1"/>
              </a:ext>
            </a:extLst>
          </p:cNvPr>
          <p:cNvCxnSpPr>
            <a:cxnSpLocks/>
          </p:cNvCxnSpPr>
          <p:nvPr/>
        </p:nvCxnSpPr>
        <p:spPr>
          <a:xfrm>
            <a:off x="657913" y="5191323"/>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Top Corners Rounded 71">
            <a:extLst>
              <a:ext uri="{FF2B5EF4-FFF2-40B4-BE49-F238E27FC236}">
                <a16:creationId xmlns:a16="http://schemas.microsoft.com/office/drawing/2014/main" id="{ABFC378C-AD5F-F563-D65D-272764FD80B6}"/>
              </a:ext>
              <a:ext uri="{C183D7F6-B498-43B3-948B-1728B52AA6E4}">
                <adec:decorative xmlns:adec="http://schemas.microsoft.com/office/drawing/2017/decorative" val="1"/>
              </a:ext>
            </a:extLst>
          </p:cNvPr>
          <p:cNvSpPr/>
          <p:nvPr/>
        </p:nvSpPr>
        <p:spPr bwMode="auto">
          <a:xfrm rot="5400000">
            <a:off x="8254163" y="2626479"/>
            <a:ext cx="6107115" cy="1768558"/>
          </a:xfrm>
          <a:prstGeom prst="round2SameRect">
            <a:avLst>
              <a:gd name="adj1" fmla="val 0"/>
              <a:gd name="adj2" fmla="val 340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73" name="TextBox 72">
            <a:extLst>
              <a:ext uri="{FF2B5EF4-FFF2-40B4-BE49-F238E27FC236}">
                <a16:creationId xmlns:a16="http://schemas.microsoft.com/office/drawing/2014/main" id="{D0E130F2-6108-F9A4-FECA-0712944ACCEE}"/>
              </a:ext>
            </a:extLst>
          </p:cNvPr>
          <p:cNvSpPr txBox="1"/>
          <p:nvPr/>
        </p:nvSpPr>
        <p:spPr>
          <a:xfrm>
            <a:off x="10542962" y="2212107"/>
            <a:ext cx="1351857" cy="314701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PRODUCT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I Foundry</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I Service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pp Platform</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PIM</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GitHub</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GitHub Copilot</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zure DevOp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Logic App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Function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zure Managed Redi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Event Grid</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rvice Bus</a:t>
            </a:r>
            <a:endParaRPr kumimoji="0" lang="en-US" sz="105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 name="TextBox 73">
            <a:extLst>
              <a:ext uri="{FF2B5EF4-FFF2-40B4-BE49-F238E27FC236}">
                <a16:creationId xmlns:a16="http://schemas.microsoft.com/office/drawing/2014/main" id="{11CF790B-114E-3CC7-1062-FC7034E56B52}"/>
              </a:ext>
            </a:extLst>
          </p:cNvPr>
          <p:cNvSpPr txBox="1"/>
          <p:nvPr/>
        </p:nvSpPr>
        <p:spPr>
          <a:xfrm>
            <a:off x="10542962" y="5464730"/>
            <a:ext cx="135185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SKILLING</a:t>
            </a:r>
          </a:p>
          <a:p>
            <a:pPr marL="168275" marR="0" lvl="0" indent="-1190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14300" algn="l"/>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FY26 Skilling Strategy </a:t>
            </a:r>
            <a:endParaRPr kumimoji="0" lang="en-US" sz="1000" b="0" i="0" u="none" strike="noStrike" kern="1200" cap="none" spc="0" normalizeH="0" baseline="0" noProof="0">
              <a:ln>
                <a:noFill/>
              </a:ln>
              <a:solidFill>
                <a:srgbClr val="0078D4"/>
              </a:solidFill>
              <a:effectLst/>
              <a:uLnTx/>
              <a:uFillTx/>
              <a:latin typeface="Segoe Sans Text"/>
              <a:ea typeface="+mn-ea"/>
              <a:cs typeface="+mn-cs"/>
            </a:endParaRPr>
          </a:p>
          <a:p>
            <a:pPr marL="168275" marR="0" lvl="0" indent="-1190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14300" algn="l"/>
              </a:tabLst>
              <a:defRPr/>
            </a:pPr>
            <a:r>
              <a:rPr kumimoji="0" lang="en-US" sz="10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Copilot Agent L100–L400 by Workload</a:t>
            </a:r>
            <a:endParaRPr kumimoji="0" lang="en-US" sz="10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75" name="TextBox 74">
            <a:extLst>
              <a:ext uri="{FF2B5EF4-FFF2-40B4-BE49-F238E27FC236}">
                <a16:creationId xmlns:a16="http://schemas.microsoft.com/office/drawing/2014/main" id="{6F8BAC7A-EDDE-ABF3-AE61-D568881B6430}"/>
              </a:ext>
            </a:extLst>
          </p:cNvPr>
          <p:cNvSpPr txBox="1"/>
          <p:nvPr/>
        </p:nvSpPr>
        <p:spPr>
          <a:xfrm>
            <a:off x="10542962" y="575310"/>
            <a:ext cx="1351857" cy="14465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AZURE CONSUMPTION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Sans Text"/>
                <a:ea typeface="+mn-ea"/>
                <a:cs typeface="+mn-cs"/>
              </a:rPr>
              <a:t>Review the Azure consumption plan and validate the completeness and accuracy across all Azure workloads.</a:t>
            </a:r>
          </a:p>
        </p:txBody>
      </p:sp>
      <p:grpSp>
        <p:nvGrpSpPr>
          <p:cNvPr id="2" name="Group 1">
            <a:extLst>
              <a:ext uri="{FF2B5EF4-FFF2-40B4-BE49-F238E27FC236}">
                <a16:creationId xmlns:a16="http://schemas.microsoft.com/office/drawing/2014/main" id="{EEFBA925-18BB-CF22-C259-BBE6C88DC259}"/>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 name="Table 2 Cell 1, 1 to Text">
              <a:extLst>
                <a:ext uri="{FF2B5EF4-FFF2-40B4-BE49-F238E27FC236}">
                  <a16:creationId xmlns:a16="http://schemas.microsoft.com/office/drawing/2014/main" id="{94146FBE-52EE-4F9C-2F32-6A0052DADE57}"/>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 name="Table 2 Cell 2, 1 to Text">
              <a:extLst>
                <a:ext uri="{FF2B5EF4-FFF2-40B4-BE49-F238E27FC236}">
                  <a16:creationId xmlns:a16="http://schemas.microsoft.com/office/drawing/2014/main" id="{46970D76-94AE-03C1-56D7-F7F575E22C7B}"/>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5" name="Table 2 Cell 3, 1 to Text">
              <a:extLst>
                <a:ext uri="{FF2B5EF4-FFF2-40B4-BE49-F238E27FC236}">
                  <a16:creationId xmlns:a16="http://schemas.microsoft.com/office/drawing/2014/main" id="{4A6081B2-BF43-47F1-E983-59EE81C61D8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8" name="Table 2 Cell 4, 1 to Text">
              <a:extLst>
                <a:ext uri="{FF2B5EF4-FFF2-40B4-BE49-F238E27FC236}">
                  <a16:creationId xmlns:a16="http://schemas.microsoft.com/office/drawing/2014/main" id="{716A6C84-D5FF-B36E-EDF3-2377D12E8CA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9" name="Table 2 Cell 5, 1 to Text">
              <a:extLst>
                <a:ext uri="{FF2B5EF4-FFF2-40B4-BE49-F238E27FC236}">
                  <a16:creationId xmlns:a16="http://schemas.microsoft.com/office/drawing/2014/main" id="{AC0FC13A-2A8A-5A4C-7A29-D1907B099DFB}"/>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4" name="Table 2 Cell 6, 1 to Text">
              <a:extLst>
                <a:ext uri="{FF2B5EF4-FFF2-40B4-BE49-F238E27FC236}">
                  <a16:creationId xmlns:a16="http://schemas.microsoft.com/office/drawing/2014/main" id="{F24520F8-4E54-A712-5BA3-68966D72E503}"/>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6" name="Table 2 Cell 7, 1 to Text">
              <a:extLst>
                <a:ext uri="{FF2B5EF4-FFF2-40B4-BE49-F238E27FC236}">
                  <a16:creationId xmlns:a16="http://schemas.microsoft.com/office/drawing/2014/main" id="{F0403C60-7C8B-6E0A-2C3E-71BD5543605A}"/>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4" name="Table 2 Cell 1, 2 to Text">
              <a:extLst>
                <a:ext uri="{FF2B5EF4-FFF2-40B4-BE49-F238E27FC236}">
                  <a16:creationId xmlns:a16="http://schemas.microsoft.com/office/drawing/2014/main" id="{A1A6667E-0748-54AF-6035-A58CF8382874}"/>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25" name="Table 2 Cell 1, 3 to Text">
              <a:extLst>
                <a:ext uri="{FF2B5EF4-FFF2-40B4-BE49-F238E27FC236}">
                  <a16:creationId xmlns:a16="http://schemas.microsoft.com/office/drawing/2014/main" id="{7E2C1316-65A0-F932-378E-1B5D1ADB9670}"/>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26" name="Table 2 Cell 1, 4 to Text">
              <a:extLst>
                <a:ext uri="{FF2B5EF4-FFF2-40B4-BE49-F238E27FC236}">
                  <a16:creationId xmlns:a16="http://schemas.microsoft.com/office/drawing/2014/main" id="{D13EACFC-AAB6-5444-5642-1BAF140CA5D1}"/>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27" name="Table 2 Cell 1, 5 to Text">
              <a:extLst>
                <a:ext uri="{FF2B5EF4-FFF2-40B4-BE49-F238E27FC236}">
                  <a16:creationId xmlns:a16="http://schemas.microsoft.com/office/drawing/2014/main" id="{EF2467EA-4AE1-96F9-314C-433C1079B0C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28" name="Table 2 Cell 1, 6 to Text">
              <a:extLst>
                <a:ext uri="{FF2B5EF4-FFF2-40B4-BE49-F238E27FC236}">
                  <a16:creationId xmlns:a16="http://schemas.microsoft.com/office/drawing/2014/main" id="{C3FD32C0-5A94-B156-E4DF-9FE1247EA82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29" name="Table 2 Cell 1, 7 to Text">
              <a:extLst>
                <a:ext uri="{FF2B5EF4-FFF2-40B4-BE49-F238E27FC236}">
                  <a16:creationId xmlns:a16="http://schemas.microsoft.com/office/drawing/2014/main" id="{2F030DFB-4F0B-7BAD-3236-A74317C69BED}"/>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30" name="Table 2 Cell 1, 8 to Text">
              <a:extLst>
                <a:ext uri="{FF2B5EF4-FFF2-40B4-BE49-F238E27FC236}">
                  <a16:creationId xmlns:a16="http://schemas.microsoft.com/office/drawing/2014/main" id="{FFCC3629-EB17-2FA4-3509-CE8365864863}"/>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7 Delivery &amp; Success</a:t>
              </a:r>
            </a:p>
          </p:txBody>
        </p:sp>
      </p:grpSp>
    </p:spTree>
    <p:extLst>
      <p:ext uri="{BB962C8B-B14F-4D97-AF65-F5344CB8AC3E}">
        <p14:creationId xmlns:p14="http://schemas.microsoft.com/office/powerpoint/2010/main" val="132914665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49362-ACF4-DCD7-19E9-7D12FB0A2AF6}"/>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1DADBE4B-B6E5-6814-B94C-C93C6EEA9FB3}"/>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1" name="Table 2 Cell 1, 1 to Text">
              <a:extLst>
                <a:ext uri="{FF2B5EF4-FFF2-40B4-BE49-F238E27FC236}">
                  <a16:creationId xmlns:a16="http://schemas.microsoft.com/office/drawing/2014/main" id="{F42954AE-274A-97BD-8356-BE89189D418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2" name="Table 2 Cell 2, 1 to Text">
              <a:extLst>
                <a:ext uri="{FF2B5EF4-FFF2-40B4-BE49-F238E27FC236}">
                  <a16:creationId xmlns:a16="http://schemas.microsoft.com/office/drawing/2014/main" id="{ECBC64E9-BFBF-D198-E55E-9790702F9876}"/>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3" name="Table 2 Cell 3, 1 to Text">
              <a:extLst>
                <a:ext uri="{FF2B5EF4-FFF2-40B4-BE49-F238E27FC236}">
                  <a16:creationId xmlns:a16="http://schemas.microsoft.com/office/drawing/2014/main" id="{B87B3FD8-3AEA-AFEA-4EA6-53731F886717}"/>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4" name="Table 2 Cell 4, 1 to Text">
              <a:extLst>
                <a:ext uri="{FF2B5EF4-FFF2-40B4-BE49-F238E27FC236}">
                  <a16:creationId xmlns:a16="http://schemas.microsoft.com/office/drawing/2014/main" id="{F261E7C0-31BE-6375-B11E-4E8421AD9131}"/>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4. Cloud &amp; AI Apps CSA</a:t>
              </a:r>
            </a:p>
          </p:txBody>
        </p:sp>
        <p:sp>
          <p:nvSpPr>
            <p:cNvPr id="15" name="Table 2 Cell 5, 1 to Text">
              <a:extLst>
                <a:ext uri="{FF2B5EF4-FFF2-40B4-BE49-F238E27FC236}">
                  <a16:creationId xmlns:a16="http://schemas.microsoft.com/office/drawing/2014/main" id="{A4CB4081-92D4-E6CF-1CCA-E4E2455AB582}"/>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6" name="Table 2 Cell 6, 1 to Text">
              <a:extLst>
                <a:ext uri="{FF2B5EF4-FFF2-40B4-BE49-F238E27FC236}">
                  <a16:creationId xmlns:a16="http://schemas.microsoft.com/office/drawing/2014/main" id="{E1843C3E-56B6-855F-D9DB-F612513DAB5E}"/>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7" name="Table 2 Cell 7, 1 to Text">
              <a:extLst>
                <a:ext uri="{FF2B5EF4-FFF2-40B4-BE49-F238E27FC236}">
                  <a16:creationId xmlns:a16="http://schemas.microsoft.com/office/drawing/2014/main" id="{82104AD1-EBFF-2BD9-653A-1755C506EA04}"/>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8" name="Table 2 Cell 1, 2 to Text">
              <a:extLst>
                <a:ext uri="{FF2B5EF4-FFF2-40B4-BE49-F238E27FC236}">
                  <a16:creationId xmlns:a16="http://schemas.microsoft.com/office/drawing/2014/main" id="{AFFF7B74-AF23-EA49-740B-560CDC1762F3}"/>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1 Role Overview - Enterprise</a:t>
              </a:r>
            </a:p>
          </p:txBody>
        </p:sp>
        <p:sp>
          <p:nvSpPr>
            <p:cNvPr id="19" name="Table 2 Cell 1, 3 to Text">
              <a:extLst>
                <a:ext uri="{FF2B5EF4-FFF2-40B4-BE49-F238E27FC236}">
                  <a16:creationId xmlns:a16="http://schemas.microsoft.com/office/drawing/2014/main" id="{F4ECC0F3-FC9C-E344-392D-4766AA43FEFB}"/>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3.2 Role Overview – SME&amp;C</a:t>
              </a:r>
            </a:p>
          </p:txBody>
        </p:sp>
        <p:sp>
          <p:nvSpPr>
            <p:cNvPr id="20" name="Table 2 Cell 1, 4 to Text">
              <a:extLst>
                <a:ext uri="{FF2B5EF4-FFF2-40B4-BE49-F238E27FC236}">
                  <a16:creationId xmlns:a16="http://schemas.microsoft.com/office/drawing/2014/main" id="{5A543DBA-57AA-BC43-E6A0-4EE4C6589354}"/>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3.3 Core Priorities &amp; Key Habits</a:t>
              </a:r>
            </a:p>
          </p:txBody>
        </p:sp>
        <p:sp>
          <p:nvSpPr>
            <p:cNvPr id="21" name="Table 2 Cell 1, 5 to Text">
              <a:extLst>
                <a:ext uri="{FF2B5EF4-FFF2-40B4-BE49-F238E27FC236}">
                  <a16:creationId xmlns:a16="http://schemas.microsoft.com/office/drawing/2014/main" id="{78D3EB35-C0D7-01D0-4253-56656A7A26E4}"/>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4 Technical Expectations</a:t>
              </a:r>
            </a:p>
          </p:txBody>
        </p:sp>
        <p:sp>
          <p:nvSpPr>
            <p:cNvPr id="22" name="Table 2 Cell 1, 6 to Text">
              <a:extLst>
                <a:ext uri="{FF2B5EF4-FFF2-40B4-BE49-F238E27FC236}">
                  <a16:creationId xmlns:a16="http://schemas.microsoft.com/office/drawing/2014/main" id="{1A4D99E7-5464-9662-9A7F-AC2BCBAB08A0}"/>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3.5 Stop/Start/Do Differently</a:t>
              </a:r>
            </a:p>
          </p:txBody>
        </p:sp>
        <p:sp>
          <p:nvSpPr>
            <p:cNvPr id="23" name="Table 2 Cell 1, 7 to Text">
              <a:extLst>
                <a:ext uri="{FF2B5EF4-FFF2-40B4-BE49-F238E27FC236}">
                  <a16:creationId xmlns:a16="http://schemas.microsoft.com/office/drawing/2014/main" id="{120D3B2C-48B2-43D2-FAD5-B7CCD97754A9}"/>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3.6 </a:t>
              </a:r>
              <a:r>
                <a:rPr lang="it-IT">
                  <a:solidFill>
                    <a:srgbClr val="FFFFFF">
                      <a:lumMod val="65000"/>
                    </a:srgbClr>
                  </a:solidFill>
                  <a:latin typeface="Segoe Sans Text"/>
                </a:rPr>
                <a:t>Inno w/ AI Apps &amp; Agents </a:t>
              </a:r>
              <a:r>
                <a:rPr lang="en-US">
                  <a:solidFill>
                    <a:srgbClr val="FFFFFF">
                      <a:lumMod val="65000"/>
                    </a:srgbClr>
                  </a:solidFill>
                  <a:latin typeface="Segoe Sans Text"/>
                </a:rPr>
                <a:t>Overview</a:t>
              </a:r>
            </a:p>
          </p:txBody>
        </p:sp>
        <p:sp>
          <p:nvSpPr>
            <p:cNvPr id="24" name="Table 2 Cell 1, 8 to Text">
              <a:extLst>
                <a:ext uri="{FF2B5EF4-FFF2-40B4-BE49-F238E27FC236}">
                  <a16:creationId xmlns:a16="http://schemas.microsoft.com/office/drawing/2014/main" id="{B4B240D6-181A-B3D9-77B6-1C43CF200E94}"/>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3.7 Delivery &amp; Success</a:t>
              </a:r>
            </a:p>
          </p:txBody>
        </p:sp>
      </p:grpSp>
      <p:graphicFrame>
        <p:nvGraphicFramePr>
          <p:cNvPr id="9" name="Content Placeholder 3">
            <a:extLst>
              <a:ext uri="{FF2B5EF4-FFF2-40B4-BE49-F238E27FC236}">
                <a16:creationId xmlns:a16="http://schemas.microsoft.com/office/drawing/2014/main" id="{82BC518A-CD7E-E2EE-A21F-4A5EF965910F}"/>
              </a:ext>
            </a:extLst>
          </p:cNvPr>
          <p:cNvGraphicFramePr>
            <a:graphicFrameLocks/>
          </p:cNvGraphicFramePr>
          <p:nvPr>
            <p:extLst>
              <p:ext uri="{D42A27DB-BD31-4B8C-83A1-F6EECF244321}">
                <p14:modId xmlns:p14="http://schemas.microsoft.com/office/powerpoint/2010/main" val="3452486546"/>
              </p:ext>
            </p:extLst>
          </p:nvPr>
        </p:nvGraphicFramePr>
        <p:xfrm>
          <a:off x="108429" y="761858"/>
          <a:ext cx="11974596" cy="5992474"/>
        </p:xfrm>
        <a:graphic>
          <a:graphicData uri="http://schemas.openxmlformats.org/drawingml/2006/table">
            <a:tbl>
              <a:tblPr firstRow="1" bandRow="1">
                <a:tableStyleId>{5940675A-B579-460E-94D1-54222C63F5DA}</a:tableStyleId>
              </a:tblPr>
              <a:tblGrid>
                <a:gridCol w="573433">
                  <a:extLst>
                    <a:ext uri="{9D8B030D-6E8A-4147-A177-3AD203B41FA5}">
                      <a16:colId xmlns:a16="http://schemas.microsoft.com/office/drawing/2014/main" val="508227146"/>
                    </a:ext>
                  </a:extLst>
                </a:gridCol>
                <a:gridCol w="1028438">
                  <a:extLst>
                    <a:ext uri="{9D8B030D-6E8A-4147-A177-3AD203B41FA5}">
                      <a16:colId xmlns:a16="http://schemas.microsoft.com/office/drawing/2014/main" val="1970924299"/>
                    </a:ext>
                  </a:extLst>
                </a:gridCol>
                <a:gridCol w="858754">
                  <a:extLst>
                    <a:ext uri="{9D8B030D-6E8A-4147-A177-3AD203B41FA5}">
                      <a16:colId xmlns:a16="http://schemas.microsoft.com/office/drawing/2014/main" val="1484795938"/>
                    </a:ext>
                  </a:extLst>
                </a:gridCol>
                <a:gridCol w="1860012">
                  <a:extLst>
                    <a:ext uri="{9D8B030D-6E8A-4147-A177-3AD203B41FA5}">
                      <a16:colId xmlns:a16="http://schemas.microsoft.com/office/drawing/2014/main" val="422952820"/>
                    </a:ext>
                  </a:extLst>
                </a:gridCol>
                <a:gridCol w="4697896">
                  <a:extLst>
                    <a:ext uri="{9D8B030D-6E8A-4147-A177-3AD203B41FA5}">
                      <a16:colId xmlns:a16="http://schemas.microsoft.com/office/drawing/2014/main" val="761956431"/>
                    </a:ext>
                  </a:extLst>
                </a:gridCol>
                <a:gridCol w="2055951">
                  <a:extLst>
                    <a:ext uri="{9D8B030D-6E8A-4147-A177-3AD203B41FA5}">
                      <a16:colId xmlns:a16="http://schemas.microsoft.com/office/drawing/2014/main" val="735718340"/>
                    </a:ext>
                  </a:extLst>
                </a:gridCol>
                <a:gridCol w="900112">
                  <a:extLst>
                    <a:ext uri="{9D8B030D-6E8A-4147-A177-3AD203B41FA5}">
                      <a16:colId xmlns:a16="http://schemas.microsoft.com/office/drawing/2014/main" val="575951266"/>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1"/>
                          </a:solidFill>
                          <a:effectLst/>
                          <a:uLnTx/>
                          <a:uFillTx/>
                          <a:latin typeface="+mj-lt"/>
                          <a:ea typeface="+mn-ea"/>
                          <a:cs typeface="Segoe UI"/>
                        </a:rPr>
                        <a:t>FY26 SP</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mj-lt"/>
                          <a:ea typeface="+mn-ea"/>
                          <a:cs typeface="Segoe UI"/>
                        </a:rPr>
                        <a:t>PRIORITIE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900" b="0" i="0" u="none" strike="noStrike" kern="1200" cap="none" spc="0" normalizeH="0" baseline="0">
                          <a:ln>
                            <a:noFill/>
                          </a:ln>
                          <a:solidFill>
                            <a:schemeClr val="bg1"/>
                          </a:solidFill>
                          <a:effectLst/>
                          <a:uLnTx/>
                          <a:uFillTx/>
                          <a:latin typeface="+mj-lt"/>
                          <a:ea typeface="+mn-ea"/>
                          <a:cs typeface="Segoe UI"/>
                        </a:rPr>
                        <a:t>FY26 JOB 2 MOTIONS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900" b="0" i="0" u="none" strike="noStrike" kern="1200" cap="none" spc="0" normalizeH="0" baseline="0">
                          <a:ln>
                            <a:noFill/>
                          </a:ln>
                          <a:solidFill>
                            <a:schemeClr val="bg1"/>
                          </a:solidFill>
                          <a:effectLst/>
                          <a:uLnTx/>
                          <a:uFillTx/>
                          <a:latin typeface="+mj-lt"/>
                          <a:ea typeface="+mn-ea"/>
                          <a:cs typeface="Segoe UI"/>
                        </a:rPr>
                        <a:t>SUBMOTION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7724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1"/>
                          </a:solidFill>
                          <a:effectLst/>
                          <a:uLnTx/>
                          <a:uFillTx/>
                          <a:latin typeface="+mj-lt"/>
                          <a:ea typeface="+mn-ea"/>
                          <a:cs typeface="Segoe UI"/>
                        </a:rPr>
                        <a:t>VALUE PROP/CUSTOMER BENEFIT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900" b="0" i="0" u="none" strike="noStrike" kern="1200" cap="none" spc="0" normalizeH="0" baseline="0">
                          <a:ln>
                            <a:noFill/>
                          </a:ln>
                          <a:solidFill>
                            <a:schemeClr val="bg1"/>
                          </a:solidFill>
                          <a:effectLst/>
                          <a:uLnTx/>
                          <a:uFillTx/>
                          <a:latin typeface="+mj-lt"/>
                          <a:ea typeface="+mn-ea"/>
                          <a:cs typeface="Segoe UI"/>
                        </a:rPr>
                        <a:t>HOW TO EXECUTE/TIMELINE</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900" b="0" i="0" u="none" strike="noStrike" kern="1200" cap="none" spc="0" normalizeH="0" baseline="0">
                          <a:ln>
                            <a:noFill/>
                          </a:ln>
                          <a:solidFill>
                            <a:schemeClr val="bg1"/>
                          </a:solidFill>
                          <a:effectLst/>
                          <a:uLnTx/>
                          <a:uFillTx/>
                          <a:latin typeface="+mj-lt"/>
                          <a:ea typeface="+mn-ea"/>
                          <a:cs typeface="Segoe UI"/>
                        </a:rPr>
                        <a:t>METRICS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4154869616"/>
                  </a:ext>
                </a:extLst>
              </a:tr>
              <a:tr h="436337">
                <a:tc rowSpan="12">
                  <a:txBody>
                    <a:bodyPr/>
                    <a:lstStyle/>
                    <a:p>
                      <a:pPr algn="ctr"/>
                      <a:r>
                        <a:rPr kumimoji="0" lang="en-US" sz="1100" b="0" i="0" u="none" strike="noStrike" kern="1200" cap="none" spc="0" normalizeH="0" baseline="0">
                          <a:ln>
                            <a:noFill/>
                          </a:ln>
                          <a:solidFill>
                            <a:schemeClr val="bg1"/>
                          </a:solidFill>
                          <a:effectLst/>
                          <a:uLnTx/>
                          <a:uFillTx/>
                          <a:latin typeface="+mj-lt"/>
                          <a:ea typeface="+mn-ea"/>
                          <a:cs typeface="Segoe UI"/>
                        </a:rPr>
                        <a:t>INNOVATE WITH AZURE AI APPS AND AGENTS</a:t>
                      </a:r>
                    </a:p>
                  </a:txBody>
                  <a:tcPr marL="45720" marR="45720" vert="vert27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rowSpan="4">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b="1" kern="1200">
                          <a:solidFill>
                            <a:schemeClr val="dk1"/>
                          </a:solidFill>
                          <a:effectLst/>
                          <a:latin typeface="+mn-lt"/>
                          <a:ea typeface="+mn-ea"/>
                          <a:cs typeface="+mn-cs"/>
                        </a:rPr>
                        <a:t>AI Apps: Establish meaningful AIDWs that drive high-value customer outcomes  </a:t>
                      </a: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b="1" i="0" kern="1200">
                        <a:solidFill>
                          <a:schemeClr val="bg2">
                            <a:lumMod val="10000"/>
                          </a:schemeClr>
                        </a:solidFill>
                        <a:latin typeface="+mn-lt"/>
                        <a:ea typeface="+mn-ea"/>
                        <a:cs typeface="Segoe UI"/>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GB" sz="800">
                          <a:solidFill>
                            <a:schemeClr val="tx1"/>
                          </a:solidFill>
                          <a:effectLst/>
                        </a:rPr>
                        <a:t>Evolve </a:t>
                      </a:r>
                      <a:r>
                        <a:rPr lang="en-GB" sz="800" err="1">
                          <a:solidFill>
                            <a:schemeClr val="tx1"/>
                          </a:solidFill>
                          <a:effectLst/>
                        </a:rPr>
                        <a:t>GenAI</a:t>
                      </a:r>
                      <a:r>
                        <a:rPr lang="en-GB" sz="800">
                          <a:solidFill>
                            <a:schemeClr val="tx1"/>
                          </a:solidFill>
                          <a:effectLst/>
                        </a:rPr>
                        <a:t> Assistants to Agentic Apps</a:t>
                      </a:r>
                      <a:endParaRPr lang="en-US" sz="800">
                        <a:solidFill>
                          <a:schemeClr val="tx1"/>
                        </a:solidFill>
                        <a:effectLs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GB" sz="800" b="1">
                          <a:solidFill>
                            <a:schemeClr val="tx1"/>
                          </a:solidFill>
                          <a:effectLst/>
                        </a:rPr>
                        <a:t>Priority: </a:t>
                      </a:r>
                      <a:r>
                        <a:rPr lang="en-US" sz="800">
                          <a:solidFill>
                            <a:schemeClr val="tx1"/>
                          </a:solidFill>
                          <a:effectLst/>
                        </a:rPr>
                        <a:t>AI </a:t>
                      </a:r>
                      <a:r>
                        <a:rPr lang="en-US" sz="800" err="1">
                          <a:solidFill>
                            <a:schemeClr val="tx1"/>
                          </a:solidFill>
                          <a:effectLst/>
                        </a:rPr>
                        <a:t>Foundry+Frameworks</a:t>
                      </a:r>
                      <a:r>
                        <a:rPr lang="en-US" sz="800">
                          <a:solidFill>
                            <a:schemeClr val="tx1"/>
                          </a:solidFill>
                          <a:effectLst/>
                        </a:rPr>
                        <a:t>+ Compute (App Service, ACA, Function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a:t>Enhance existing chatbots by making it agentic to increase accuracy, drive adoption and </a:t>
                      </a:r>
                      <a:r>
                        <a:rPr kumimoji="0" lang="en-GB" sz="800" b="0" i="0" u="none" strike="noStrike" kern="1200" cap="none" spc="0" normalizeH="0" baseline="0" noProof="0">
                          <a:ln>
                            <a:noFill/>
                          </a:ln>
                          <a:solidFill>
                            <a:srgbClr val="1A1A1A"/>
                          </a:solidFill>
                          <a:effectLst/>
                          <a:uLnTx/>
                          <a:uFillTx/>
                          <a:latin typeface="+mn-lt"/>
                          <a:ea typeface="+mn-ea"/>
                          <a:cs typeface="+mn-cs"/>
                        </a:rPr>
                        <a:t>enabling automation of complex workflows with well defined communication protocol A2A/MCP and Logic Apps agentic loop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0" lang="en-US" sz="800" b="0" i="0" u="none" strike="noStrike" kern="1200" cap="none" spc="0" normalizeH="0" baseline="0">
                          <a:ln>
                            <a:noFill/>
                          </a:ln>
                          <a:solidFill>
                            <a:schemeClr val="tx1"/>
                          </a:solidFill>
                          <a:effectLst/>
                          <a:uLnTx/>
                          <a:uFillTx/>
                          <a:latin typeface="+mn-lt"/>
                          <a:ea typeface="+mn-ea"/>
                          <a:cs typeface="Segoe UI Light"/>
                        </a:rPr>
                        <a:t>VBD – Workshop, POC, Solution Optimization </a:t>
                      </a:r>
                    </a:p>
                    <a:p>
                      <a:pPr marL="171450" indent="-171450">
                        <a:buFont typeface="Arial" panose="020B0604020202020204" pitchFamily="34" charset="0"/>
                        <a:buChar char="•"/>
                      </a:pPr>
                      <a:r>
                        <a:rPr kumimoji="0" lang="en-US" sz="800" b="0" i="0" u="none" strike="noStrike" kern="1200" cap="none" spc="0" normalizeH="0" baseline="0">
                          <a:ln>
                            <a:noFill/>
                          </a:ln>
                          <a:solidFill>
                            <a:schemeClr val="tx1"/>
                          </a:solidFill>
                          <a:effectLst/>
                          <a:uLnTx/>
                          <a:uFillTx/>
                          <a:latin typeface="+mn-lt"/>
                          <a:ea typeface="+mn-ea"/>
                          <a:cs typeface="Segoe UI Light"/>
                        </a:rPr>
                        <a:t>AI Apps &amp; Agents EDE/Enhanced offer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12">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SG" sz="800">
                          <a:solidFill>
                            <a:schemeClr val="bg1"/>
                          </a:solidFill>
                          <a:hlinkClick r:id="rId2">
                            <a:extLst>
                              <a:ext uri="{A12FA001-AC4F-418D-AE19-62706E023703}">
                                <ahyp:hlinkClr xmlns:ahyp="http://schemas.microsoft.com/office/drawing/2018/hyperlinkcolor" val="tx"/>
                              </a:ext>
                            </a:extLst>
                          </a:hlinkClick>
                        </a:rPr>
                        <a:t>FY26_AzureJob2.pptx</a:t>
                      </a:r>
                      <a:endParaRPr lang="en-US" sz="800" kern="1200">
                        <a:solidFill>
                          <a:schemeClr val="bg1"/>
                        </a:solidFill>
                        <a:latin typeface="+mn-lt"/>
                        <a:ea typeface="+mn-ea"/>
                        <a:cs typeface="+mn-cs"/>
                        <a:hlinkClick r:id="rId2">
                          <a:extLst>
                            <a:ext uri="{A12FA001-AC4F-418D-AE19-62706E023703}">
                              <ahyp:hlinkClr xmlns:ahyp="http://schemas.microsoft.com/office/drawing/2018/hyperlinkcolor" val="tx"/>
                            </a:ext>
                          </a:extLst>
                        </a:hlinkClick>
                      </a:endParaRP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kumimoji="0" lang="en-US" sz="800" b="0" i="0" u="none" strike="noStrike" kern="1200" cap="none" spc="0" normalizeH="0" baseline="0" noProof="0">
                        <a:ln>
                          <a:noFill/>
                        </a:ln>
                        <a:solidFill>
                          <a:schemeClr val="tx1"/>
                        </a:solidFill>
                        <a:effectLst/>
                        <a:uLnTx/>
                        <a:uFillTx/>
                        <a:latin typeface="+mn-lt"/>
                        <a:ea typeface="+mn-ea"/>
                        <a:cs typeface="Segoe UI Ligh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3492057"/>
                  </a:ext>
                </a:extLst>
              </a:tr>
              <a:tr h="344477">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r>
                        <a:rPr lang="en-GB" sz="800" b="0">
                          <a:solidFill>
                            <a:schemeClr val="tx1"/>
                          </a:solidFill>
                          <a:effectLst/>
                        </a:rPr>
                        <a:t>Cloud Native </a:t>
                      </a:r>
                      <a:r>
                        <a:rPr lang="en-GB" sz="800" b="0" kern="1200">
                          <a:solidFill>
                            <a:schemeClr val="tx1"/>
                          </a:solidFill>
                          <a:effectLst/>
                          <a:latin typeface="+mn-lt"/>
                          <a:ea typeface="+mn-ea"/>
                          <a:cs typeface="+mn-cs"/>
                        </a:rPr>
                        <a:t>D</a:t>
                      </a:r>
                      <a:r>
                        <a:rPr lang="en-GB" sz="800" kern="1200">
                          <a:solidFill>
                            <a:schemeClr val="tx1"/>
                          </a:solidFill>
                          <a:effectLst/>
                          <a:latin typeface="+mn-lt"/>
                          <a:ea typeface="+mn-ea"/>
                          <a:cs typeface="+mn-cs"/>
                        </a:rPr>
                        <a:t>evelopment</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GB" sz="800">
                          <a:solidFill>
                            <a:schemeClr val="tx1"/>
                          </a:solidFill>
                          <a:effectLst/>
                        </a:rPr>
                        <a:t>Apps + DB</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Leverage the power of managed Postgres as a developer friendly DB and scale </a:t>
                      </a:r>
                      <a:r>
                        <a:rPr kumimoji="0" lang="en-US" sz="800" b="0" i="0" u="none" strike="noStrike" kern="1200" cap="none" spc="0" normalizeH="0" baseline="0" noProof="0" err="1">
                          <a:ln>
                            <a:noFill/>
                          </a:ln>
                          <a:solidFill>
                            <a:schemeClr val="tx1"/>
                          </a:solidFill>
                          <a:effectLst/>
                          <a:uLnTx/>
                          <a:uFillTx/>
                          <a:latin typeface="+mn-lt"/>
                          <a:ea typeface="+mn-ea"/>
                          <a:cs typeface="Segoe UI Light"/>
                        </a:rPr>
                        <a:t>apps+db</a:t>
                      </a:r>
                      <a:r>
                        <a:rPr kumimoji="0" lang="en-US" sz="800" b="0" i="0" u="none" strike="noStrike" kern="1200" cap="none" spc="0" normalizeH="0" baseline="0" noProof="0">
                          <a:ln>
                            <a:noFill/>
                          </a:ln>
                          <a:solidFill>
                            <a:schemeClr val="tx1"/>
                          </a:solidFill>
                          <a:effectLst/>
                          <a:uLnTx/>
                          <a:uFillTx/>
                          <a:latin typeface="+mn-lt"/>
                          <a:ea typeface="+mn-ea"/>
                          <a:cs typeface="Segoe UI Light"/>
                        </a:rPr>
                        <a:t> across deployments. Use case: (1) Leverage Postgres as a viable and scalable DB to build information retrieval mechanisms (vector search) in AI app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TA FY26 Q2</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lang="en-US" sz="10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06096447"/>
                  </a:ext>
                </a:extLst>
              </a:tr>
              <a:tr h="344477">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a:solidFill>
                            <a:schemeClr val="tx1"/>
                          </a:solidFill>
                          <a:effectLst/>
                        </a:rPr>
                        <a:t>Solution Efficiency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GB" sz="800" b="0" i="0" u="none" strike="noStrike" kern="1200" cap="none" spc="0" normalizeH="0" baseline="0">
                          <a:ln>
                            <a:noFill/>
                          </a:ln>
                          <a:solidFill>
                            <a:srgbClr val="1A1A1A"/>
                          </a:solidFill>
                          <a:effectLst/>
                          <a:uLnTx/>
                          <a:uFillTx/>
                          <a:latin typeface="+mn-lt"/>
                          <a:ea typeface="+mn-ea"/>
                          <a:cs typeface="+mn-cs"/>
                        </a:rPr>
                        <a:t>AMR Semantic Caching + AOAI (and APIM)</a:t>
                      </a:r>
                      <a:endParaRPr kumimoji="0" lang="en-US" sz="800" b="0" i="0" u="none" strike="noStrike" kern="1200" cap="none" spc="0" normalizeH="0" baseline="0">
                        <a:ln>
                          <a:noFill/>
                        </a:ln>
                        <a:solidFill>
                          <a:srgbClr val="1A1A1A"/>
                        </a:solidFill>
                        <a:effectLst/>
                        <a:uLnTx/>
                        <a:uFillTx/>
                        <a:latin typeface="+mn-lt"/>
                        <a:ea typeface="+mn-ea"/>
                        <a:cs typeface="+mn-cs"/>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rtl="0" fontAlgn="base">
                        <a:buFont typeface="Arial" panose="020B0604020202020204" pitchFamily="34" charset="0"/>
                        <a:buChar char="•"/>
                      </a:pPr>
                      <a:r>
                        <a:rPr kumimoji="0" lang="en-US" sz="800" b="0" i="0" u="none" strike="noStrike" kern="1200" cap="none" spc="0" normalizeH="0" baseline="0">
                          <a:ln>
                            <a:noFill/>
                          </a:ln>
                          <a:solidFill>
                            <a:srgbClr val="1A1A1A"/>
                          </a:solidFill>
                          <a:effectLst/>
                          <a:uLnTx/>
                          <a:uFillTx/>
                          <a:latin typeface="+mn-lt"/>
                          <a:ea typeface="+mn-ea"/>
                          <a:cs typeface="+mn-cs"/>
                        </a:rPr>
                        <a:t>AMR significantly improves response times for cached queries resulting in lower latency (improved performance) &amp; faster response times​ driving cost optimization ​and high throughput scalability</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800"/>
                        <a:t>ETA FY26 Q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indent="-171450" rtl="0" fontAlgn="base">
                        <a:buFont typeface="Arial" panose="020B0604020202020204" pitchFamily="34" charset="0"/>
                        <a:buChar char="•"/>
                      </a:pPr>
                      <a:endParaRPr lang="en-US" sz="900" kern="1200">
                        <a:solidFill>
                          <a:schemeClr val="tx1"/>
                        </a:solidFill>
                        <a:latin typeface="+mn-lt"/>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1838786"/>
                  </a:ext>
                </a:extLst>
              </a:tr>
              <a:tr h="344477">
                <a:tc vMerge="1">
                  <a:txBody>
                    <a:bodyPr/>
                    <a:lstStyle/>
                    <a:p>
                      <a:endParaRPr lang="en-US"/>
                    </a:p>
                  </a:txBody>
                  <a:tcPr/>
                </a:tc>
                <a:tc vMerge="1">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900" b="1" i="0" kern="1200">
                        <a:solidFill>
                          <a:schemeClr val="bg2">
                            <a:lumMod val="10000"/>
                          </a:schemeClr>
                        </a:solidFill>
                        <a:latin typeface="+mn-lt"/>
                        <a:ea typeface="+mn-ea"/>
                        <a:cs typeface="Segoe UI"/>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a:solidFill>
                            <a:schemeClr val="tx1"/>
                          </a:solidFill>
                          <a:effectLst/>
                        </a:rPr>
                        <a:t>Mature and Modernize APIs</a:t>
                      </a: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lang="en-US" sz="800">
                        <a:solidFill>
                          <a:schemeClr val="tx1"/>
                        </a:solidFill>
                        <a:effectLs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b="0" i="0" u="none" strike="noStrike" kern="1200" cap="none" spc="0" normalizeH="0" baseline="0">
                          <a:ln>
                            <a:noFill/>
                          </a:ln>
                          <a:solidFill>
                            <a:srgbClr val="1A1A1A"/>
                          </a:solidFill>
                          <a:effectLst/>
                          <a:uLnTx/>
                          <a:uFillTx/>
                          <a:latin typeface="+mn-lt"/>
                          <a:ea typeface="+mn-ea"/>
                          <a:cs typeface="+mn-cs"/>
                        </a:rPr>
                        <a:t>Discover, Manage and securely deploy your APIs with API Centre (APIC) and APIM.</a:t>
                      </a:r>
                      <a:endParaRPr kumimoji="0" lang="en-US" sz="800" b="0" i="0" u="none" strike="noStrike" kern="1200" cap="none" spc="0" normalizeH="0" baseline="0">
                        <a:ln>
                          <a:noFill/>
                        </a:ln>
                        <a:solidFill>
                          <a:srgbClr val="1A1A1A"/>
                        </a:solidFill>
                        <a:effectLst/>
                        <a:uLnTx/>
                        <a:uFillTx/>
                        <a:latin typeface="+mn-lt"/>
                        <a:ea typeface="+mn-ea"/>
                        <a:cs typeface="+mn-cs"/>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b="0" i="0" u="none" strike="noStrike" kern="1200" cap="none" spc="0" normalizeH="0" baseline="0">
                          <a:ln>
                            <a:noFill/>
                          </a:ln>
                          <a:solidFill>
                            <a:srgbClr val="1A1A1A"/>
                          </a:solidFill>
                          <a:effectLst/>
                          <a:uLnTx/>
                          <a:uFillTx/>
                          <a:latin typeface="+mn-lt"/>
                          <a:ea typeface="+mn-ea"/>
                          <a:cs typeface="+mn-cs"/>
                        </a:rPr>
                        <a:t>APIC and APIM helps developers discover, manage, govern and securely deploy APIs reducing API sprawl, unpredictable costs, reliability concerns and security and governance risks..</a:t>
                      </a:r>
                      <a:endParaRPr kumimoji="0" lang="en-US" sz="800" b="0" i="0" u="none" strike="noStrike" kern="1200" cap="none" spc="0" normalizeH="0" baseline="0">
                        <a:ln>
                          <a:noFill/>
                        </a:ln>
                        <a:solidFill>
                          <a:srgbClr val="1A1A1A"/>
                        </a:solidFill>
                        <a:effectLst/>
                        <a:uLnTx/>
                        <a:uFillTx/>
                        <a:latin typeface="+mn-lt"/>
                        <a:ea typeface="+mn-ea"/>
                        <a:cs typeface="+mn-cs"/>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TA FY26 Q2</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kumimoji="0" lang="en-US" sz="900" b="0" i="0" u="none" strike="noStrike" kern="1200" cap="none" spc="0" normalizeH="0" baseline="0" noProof="0">
                        <a:ln>
                          <a:noFill/>
                        </a:ln>
                        <a:solidFill>
                          <a:schemeClr val="tx1"/>
                        </a:solidFill>
                        <a:effectLst/>
                        <a:uLnTx/>
                        <a:uFillTx/>
                        <a:latin typeface="+mn-lt"/>
                        <a:ea typeface="+mn-ea"/>
                        <a:cs typeface="Segoe UI Ligh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0145380"/>
                  </a:ext>
                </a:extLst>
              </a:tr>
              <a:tr h="344477">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5">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800" b="1" i="0" kern="1200">
                          <a:solidFill>
                            <a:schemeClr val="bg2">
                              <a:lumMod val="10000"/>
                            </a:schemeClr>
                          </a:solidFill>
                          <a:latin typeface="+mn-lt"/>
                          <a:ea typeface="+mn-ea"/>
                          <a:cs typeface="Segoe UI"/>
                        </a:rPr>
                        <a:t>Win the AI and Agentic AI platform decisions with Azure AI Foundry</a:t>
                      </a:r>
                    </a:p>
                    <a:p>
                      <a:endParaRPr lang="en-US" sz="1600"/>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GB" sz="800">
                          <a:solidFill>
                            <a:schemeClr val="tx1"/>
                          </a:solidFill>
                          <a:effectLst/>
                        </a:rPr>
                        <a:t>Scale Securely &amp; Govern AI Growth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lang="en-US" sz="800">
                        <a:solidFill>
                          <a:schemeClr val="tx1"/>
                        </a:solidFill>
                        <a:effectLst/>
                        <a:highlight>
                          <a:srgbClr val="FFFF00"/>
                        </a:highligh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GB" sz="800" b="1">
                          <a:solidFill>
                            <a:schemeClr val="tx1"/>
                          </a:solidFill>
                          <a:effectLst/>
                        </a:rPr>
                        <a:t>Priority: </a:t>
                      </a:r>
                      <a:r>
                        <a:rPr lang="en-US" sz="800">
                          <a:solidFill>
                            <a:schemeClr val="tx1"/>
                          </a:solidFill>
                          <a:effectLst/>
                        </a:rPr>
                        <a:t>Establish AI Gateway</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1A1A1A"/>
                          </a:solidFill>
                          <a:effectLst/>
                          <a:uLnTx/>
                          <a:uFillTx/>
                          <a:latin typeface="+mn-lt"/>
                          <a:ea typeface="+mn-ea"/>
                          <a:cs typeface="+mn-cs"/>
                        </a:rPr>
                        <a:t>Implement an </a:t>
                      </a:r>
                      <a:r>
                        <a:rPr lang="en-US" sz="800" kern="1200">
                          <a:ln w="3175">
                            <a:noFill/>
                          </a:ln>
                          <a:solidFill>
                            <a:schemeClr val="tx1"/>
                          </a:solidFill>
                          <a:latin typeface="Segoe UI"/>
                          <a:ea typeface="+mn-ea"/>
                          <a:cs typeface="Segoe UI"/>
                        </a:rPr>
                        <a:t>AI Gateway using APIM and Content Safety for secure keyless access to LLMs, prompt caching to enhance response time, manage AI costs with token limits, and block harmful content, including prompts that align with attack patterns or specific blocklist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800"/>
                        <a:t>VBD – Workshop, POC, Solution Optimization</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indent="-171450">
                        <a:buFont typeface="Arial" panose="020B0604020202020204" pitchFamily="34" charset="0"/>
                        <a:buChar char="•"/>
                      </a:pPr>
                      <a:endParaRPr kumimoji="0" lang="en-US" sz="900" b="0" i="0" u="none" strike="noStrike" kern="1200" cap="none" spc="0" normalizeH="0" baseline="0">
                        <a:ln>
                          <a:noFill/>
                        </a:ln>
                        <a:solidFill>
                          <a:srgbClr val="1A1A1A"/>
                        </a:solidFill>
                        <a:effectLst/>
                        <a:uLnTx/>
                        <a:uFillTx/>
                        <a:latin typeface="+mn-lt"/>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74209962"/>
                  </a:ext>
                </a:extLst>
              </a:tr>
              <a:tr h="344477">
                <a:tc vMerge="1">
                  <a:txBody>
                    <a:bodyPr/>
                    <a:lstStyle/>
                    <a:p>
                      <a:endParaRPr lang="en-US"/>
                    </a:p>
                  </a:txBody>
                  <a:tcPr/>
                </a:tc>
                <a:tc vMerge="1">
                  <a:txBody>
                    <a:bodyPr/>
                    <a:lstStyle/>
                    <a:p>
                      <a:endParaRPr lang="en-US"/>
                    </a:p>
                  </a:txBody>
                  <a:tcPr/>
                </a:tc>
                <a:tc vMerge="1">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lang="en-US" sz="900">
                        <a:solidFill>
                          <a:schemeClr val="tx1"/>
                        </a:solidFill>
                        <a:effectLst/>
                        <a:highlight>
                          <a:srgbClr val="FFFF00"/>
                        </a:highlight>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GB" sz="800" b="1">
                          <a:solidFill>
                            <a:schemeClr val="tx1"/>
                          </a:solidFill>
                          <a:effectLst/>
                        </a:rPr>
                        <a:t>Priority: </a:t>
                      </a:r>
                      <a:r>
                        <a:rPr lang="en-GB" sz="800">
                          <a:solidFill>
                            <a:schemeClr val="tx1"/>
                          </a:solidFill>
                          <a:effectLst/>
                        </a:rPr>
                        <a:t>Drive </a:t>
                      </a:r>
                      <a:r>
                        <a:rPr lang="en-GB" sz="800" err="1">
                          <a:solidFill>
                            <a:schemeClr val="tx1"/>
                          </a:solidFill>
                          <a:effectLst/>
                        </a:rPr>
                        <a:t>GenAI</a:t>
                      </a:r>
                      <a:r>
                        <a:rPr lang="en-GB" sz="800">
                          <a:solidFill>
                            <a:schemeClr val="tx1"/>
                          </a:solidFill>
                          <a:effectLst/>
                        </a:rPr>
                        <a:t> Ops maturity</a:t>
                      </a:r>
                      <a:endParaRPr lang="en-US" sz="800">
                        <a:solidFill>
                          <a:schemeClr val="tx1"/>
                        </a:solidFill>
                        <a:effectLs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a:solidFill>
                            <a:schemeClr val="tx1"/>
                          </a:solidFill>
                          <a:effectLst/>
                        </a:rPr>
                        <a:t>Proactively address model lifecycle management. </a:t>
                      </a:r>
                      <a:r>
                        <a:rPr kumimoji="0" lang="en-GB" sz="800" b="0" i="0" u="none" strike="noStrike" kern="1200" cap="none" spc="0" normalizeH="0" baseline="0" noProof="0">
                          <a:ln>
                            <a:noFill/>
                          </a:ln>
                          <a:solidFill>
                            <a:srgbClr val="1A1A1A"/>
                          </a:solidFill>
                          <a:effectLst/>
                          <a:uLnTx/>
                          <a:uFillTx/>
                          <a:latin typeface="+mn-lt"/>
                          <a:ea typeface="+mn-ea"/>
                          <a:cs typeface="+mn-cs"/>
                        </a:rPr>
                        <a:t>Adopt practices like evaluation workflows, dual-running, fallback deployments, and lifecycle reviews to ensure readiness and performance through model upgrades and choosing optimal compute for model hosting.</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800"/>
                        <a:t>VBD – Solution Optimization</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indent="-171450">
                        <a:buFont typeface="Arial" panose="020B0604020202020204" pitchFamily="34" charset="0"/>
                        <a:buChar char="•"/>
                      </a:pPr>
                      <a:endParaRPr kumimoji="0" lang="en-US" sz="900" b="0" i="0" u="none" strike="noStrike" kern="1200" cap="none" spc="0" normalizeH="0" baseline="0">
                        <a:ln>
                          <a:noFill/>
                        </a:ln>
                        <a:solidFill>
                          <a:srgbClr val="1A1A1A"/>
                        </a:solidFill>
                        <a:effectLst/>
                        <a:uLnTx/>
                        <a:uFillTx/>
                        <a:latin typeface="+mn-lt"/>
                        <a:ea typeface="+mn-ea"/>
                        <a:cs typeface="+mn-cs"/>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38921785"/>
                  </a:ext>
                </a:extLst>
              </a:tr>
              <a:tr h="344477">
                <a:tc vMerge="1">
                  <a:txBody>
                    <a:bodyPr/>
                    <a:lstStyle/>
                    <a:p>
                      <a:endParaRPr lang="en-US"/>
                    </a:p>
                  </a:txBody>
                  <a:tcPr/>
                </a:tc>
                <a:tc vMerge="1">
                  <a:txBody>
                    <a:bodyPr/>
                    <a:lstStyle/>
                    <a:p>
                      <a:endParaRPr lang="en-US"/>
                    </a:p>
                  </a:txBody>
                  <a:tcPr/>
                </a:tc>
                <a:tc vMerge="1">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lang="en-US" sz="900">
                        <a:solidFill>
                          <a:schemeClr val="tx1"/>
                        </a:solidFill>
                        <a:effectLst/>
                        <a:highlight>
                          <a:srgbClr val="FFFF00"/>
                        </a:highlight>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US" sz="800" kern="1200">
                          <a:solidFill>
                            <a:schemeClr val="tx1"/>
                          </a:solidFill>
                          <a:effectLst/>
                          <a:latin typeface="+mn-lt"/>
                          <a:ea typeface="+mn-ea"/>
                          <a:cs typeface="+mn-cs"/>
                        </a:rPr>
                        <a:t>Govern Agentic Apps with MCP Server</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82245" marR="0" lvl="0" indent="-182245" algn="l" defTabSz="772442" rtl="0" eaLnBrk="1" fontAlgn="auto" latinLnBrk="0" hangingPunct="1">
                        <a:lnSpc>
                          <a:spcPct val="100000"/>
                        </a:lnSpc>
                        <a:spcBef>
                          <a:spcPts val="0"/>
                        </a:spcBef>
                        <a:spcAft>
                          <a:spcPts val="600"/>
                        </a:spcAft>
                        <a:buClrTx/>
                        <a:buSzTx/>
                        <a:buFont typeface="System Font Regular"/>
                        <a:buChar char="・"/>
                        <a:tabLst/>
                        <a:defRPr/>
                      </a:pPr>
                      <a:r>
                        <a:rPr lang="en-US" sz="800">
                          <a:ln w="3175">
                            <a:noFill/>
                          </a:ln>
                          <a:solidFill>
                            <a:schemeClr val="tx1"/>
                          </a:solidFill>
                          <a:latin typeface="+mn-lt"/>
                          <a:cs typeface="Segoe UI"/>
                        </a:rPr>
                        <a:t>Publish a Remote MCP server (SSE &amp; HTTP) by exposing any APIM-managed REST API. Quickly transform existing data into tools usable by LLMs - while maintaining governance, flexibility, and scalability.</a:t>
                      </a:r>
                      <a:endParaRPr lang="en-US" sz="800" baseline="0">
                        <a:cs typeface="Segoe UI"/>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TA FY26 Q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lang="en-US" sz="100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15585835"/>
                  </a:ext>
                </a:extLst>
              </a:tr>
              <a:tr h="344477">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rowSpan="2">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r>
                        <a:rPr lang="en-GB" sz="800" b="0">
                          <a:solidFill>
                            <a:schemeClr val="tx1"/>
                          </a:solidFill>
                          <a:effectLst/>
                        </a:rPr>
                        <a:t>Models on Container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GB" sz="800">
                          <a:solidFill>
                            <a:schemeClr val="tx1"/>
                          </a:solidFill>
                          <a:effectLst/>
                        </a:rPr>
                        <a:t>Run Inferencing models with Azure Container Apps Serverless GPU</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nable developers to build &amp; run custom models with flexibility and scale with the power of container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TA FY26 Q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kumimoji="0" lang="en-US" sz="900" b="0" i="0" u="none" strike="noStrike" kern="1200" cap="none" spc="0" normalizeH="0" baseline="0" noProof="0">
                        <a:ln>
                          <a:noFill/>
                        </a:ln>
                        <a:solidFill>
                          <a:schemeClr val="tx1"/>
                        </a:solidFill>
                        <a:effectLst/>
                        <a:uLnTx/>
                        <a:uFillTx/>
                        <a:latin typeface="+mn-lt"/>
                        <a:ea typeface="+mn-ea"/>
                        <a:cs typeface="Segoe UI Ligh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4498575"/>
                  </a:ext>
                </a:extLst>
              </a:tr>
              <a:tr h="0">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endParaRPr lang="en-US"/>
                    </a:p>
                  </a:txBody>
                  <a:tcPr/>
                </a:tc>
                <a:tc vMerge="1">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endParaRPr lang="en-GB" sz="900" b="0">
                        <a:solidFill>
                          <a:schemeClr val="tx1"/>
                        </a:solidFill>
                        <a:effectLst/>
                      </a:endParaRPr>
                    </a:p>
                  </a:txBody>
                  <a:tcPr anchor="ctr">
                    <a:lnR w="3175" cap="flat" cmpd="sng" algn="ctr">
                      <a:solidFill>
                        <a:schemeClr val="tx1"/>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800">
                          <a:solidFill>
                            <a:schemeClr val="tx1"/>
                          </a:solidFill>
                          <a:effectLst/>
                        </a:rPr>
                        <a:t>Run LLMs with KAITO on Azure Kubernetes Service</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kumimoji="0" lang="en-US" sz="900" b="0" i="0" u="none" strike="noStrike" kern="1200" cap="none" spc="0" normalizeH="0" baseline="0" noProof="0">
                        <a:ln>
                          <a:noFill/>
                        </a:ln>
                        <a:solidFill>
                          <a:schemeClr val="tx1"/>
                        </a:solidFill>
                        <a:effectLst/>
                        <a:uLnTx/>
                        <a:uFillTx/>
                        <a:latin typeface="+mn-lt"/>
                        <a:ea typeface="+mn-ea"/>
                        <a:cs typeface="Segoe UI Ligh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ETA FY26 Q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endParaRPr kumimoji="0" lang="en-US" sz="900" b="0" i="0" u="none" strike="noStrike" kern="1200" cap="none" spc="0" normalizeH="0" baseline="0" noProof="0">
                        <a:ln>
                          <a:noFill/>
                        </a:ln>
                        <a:solidFill>
                          <a:schemeClr val="tx1"/>
                        </a:solidFill>
                        <a:effectLst/>
                        <a:uLnTx/>
                        <a:uFillTx/>
                        <a:latin typeface="+mn-lt"/>
                        <a:ea typeface="+mn-ea"/>
                        <a:cs typeface="Segoe UI Light"/>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8129025"/>
                  </a:ext>
                </a:extLst>
              </a:tr>
              <a:tr h="0">
                <a:tc vMerge="1">
                  <a:txBody>
                    <a:bodyPr/>
                    <a:lstStyle/>
                    <a:p>
                      <a:pPr algn="ctr"/>
                      <a:endParaRPr kumimoji="0" lang="en-US" sz="1100" b="0" i="0" u="none" strike="noStrike" kern="1200" cap="none" spc="0" normalizeH="0" baseline="0">
                        <a:ln>
                          <a:noFill/>
                        </a:ln>
                        <a:solidFill>
                          <a:schemeClr val="bg1"/>
                        </a:solidFill>
                        <a:effectLst/>
                        <a:uLnTx/>
                        <a:uFillTx/>
                        <a:latin typeface="+mj-lt"/>
                        <a:ea typeface="+mn-ea"/>
                        <a:cs typeface="Segoe UI"/>
                      </a:endParaRPr>
                    </a:p>
                  </a:txBody>
                  <a:tcPr marL="45720" marR="45720" vert="vert27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rowSpan="3">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1" i="0" kern="1200">
                          <a:solidFill>
                            <a:schemeClr val="bg2">
                              <a:lumMod val="10000"/>
                            </a:schemeClr>
                          </a:solidFill>
                          <a:latin typeface="+mn-lt"/>
                          <a:ea typeface="+mn-ea"/>
                          <a:cs typeface="Segoe UI"/>
                        </a:rPr>
                        <a:t>Win developers with GitHub and drive them to Azure</a:t>
                      </a:r>
                    </a:p>
                    <a:p>
                      <a:endParaRPr lang="en-US" sz="800" b="1" i="0" kern="1200">
                        <a:solidFill>
                          <a:schemeClr val="bg2">
                            <a:lumMod val="10000"/>
                          </a:schemeClr>
                        </a:solidFill>
                        <a:latin typeface="+mn-lt"/>
                        <a:ea typeface="+mn-ea"/>
                        <a:cs typeface="Segoe UI"/>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r>
                        <a:rPr lang="en-GB" sz="800" b="0">
                          <a:solidFill>
                            <a:schemeClr val="tx1"/>
                          </a:solidFill>
                          <a:effectLst/>
                        </a:rPr>
                        <a:t>GitHub CoPilot</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US" sz="800" b="1" u="none" strike="noStrike" kern="1200">
                          <a:solidFill>
                            <a:schemeClr val="tx1"/>
                          </a:solidFill>
                          <a:effectLst/>
                          <a:latin typeface="+mn-lt"/>
                          <a:ea typeface="+mn-ea"/>
                          <a:cs typeface="+mn-cs"/>
                        </a:rPr>
                        <a:t>Priority: </a:t>
                      </a:r>
                      <a:r>
                        <a:rPr lang="en-US" sz="800" u="none" strike="noStrike" kern="1200">
                          <a:solidFill>
                            <a:schemeClr val="tx1"/>
                          </a:solidFill>
                          <a:effectLst/>
                          <a:latin typeface="+mn-lt"/>
                          <a:ea typeface="+mn-ea"/>
                          <a:cs typeface="+mn-cs"/>
                        </a:rPr>
                        <a:t>GitHub Copilot &amp; Agentic DevOps Expansion [P0]</a:t>
                      </a:r>
                      <a:endParaRPr lang="en-US" sz="800" b="1" i="0" u="none" strike="noStrike" kern="1200">
                        <a:solidFill>
                          <a:schemeClr val="tx1"/>
                        </a:solidFill>
                        <a:effectLst/>
                        <a:latin typeface="+mn-lt"/>
                        <a:ea typeface="+mn-ea"/>
                        <a:cs typeface="+mn-cs"/>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Imagine coding at lightning speed! Research reveals that developers using GitHub Copilot can code up to 55% faster than those who don't. By putting developers who use GitHub platform development tools at the heart of innovation, AI-assisted development and App Modernization with GitHub Copilot &amp; Coding/SRE Agents supercharges productivity throughout their day</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Guidance Released FY26 Q1 (July)</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VBD delivery GH Copilot Fundamentals (84 credits),GH Copilot Hackathon (66 credit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Accelerate Developer Productivity DE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kumimoji="0" lang="en-US" sz="800" b="0" i="0" u="none" strike="noStrike" kern="1200" cap="none" spc="0" normalizeH="0" baseline="0" noProof="0">
                        <a:ln>
                          <a:noFill/>
                        </a:ln>
                        <a:solidFill>
                          <a:schemeClr val="tx1"/>
                        </a:solidFill>
                        <a:effectLst/>
                        <a:uLnTx/>
                        <a:uFillTx/>
                        <a:latin typeface="+mn-lt"/>
                        <a:ea typeface="+mn-ea"/>
                        <a:cs typeface="Segoe UI Ligh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4060193"/>
                  </a:ext>
                </a:extLst>
              </a:tr>
              <a:tr h="528198">
                <a:tc vMerge="1">
                  <a:txBody>
                    <a:bodyPr/>
                    <a:lstStyle/>
                    <a:p>
                      <a:pPr algn="ctr"/>
                      <a:endParaRPr kumimoji="0" lang="en-US" sz="1100" b="0" i="0" u="none" strike="noStrike" kern="1200" cap="none" spc="0" normalizeH="0" baseline="0">
                        <a:ln>
                          <a:noFill/>
                        </a:ln>
                        <a:solidFill>
                          <a:schemeClr val="bg1"/>
                        </a:solidFill>
                        <a:effectLst/>
                        <a:uLnTx/>
                        <a:uFillTx/>
                        <a:latin typeface="+mj-lt"/>
                        <a:ea typeface="+mn-ea"/>
                        <a:cs typeface="Segoe UI"/>
                      </a:endParaRPr>
                    </a:p>
                  </a:txBody>
                  <a:tcPr marL="45720" marR="45720" vert="vert27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vMerge="1">
                  <a:txBody>
                    <a:bodyPr/>
                    <a:lstStyle/>
                    <a:p>
                      <a:endParaRPr lang="en-US" sz="800" b="1" i="0" kern="1200">
                        <a:solidFill>
                          <a:schemeClr val="bg2">
                            <a:lumMod val="10000"/>
                          </a:schemeClr>
                        </a:solidFill>
                        <a:latin typeface="+mn-lt"/>
                        <a:ea typeface="+mn-ea"/>
                        <a:cs typeface="Segoe UI"/>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endParaRPr lang="en-GB" sz="800" b="0">
                        <a:solidFill>
                          <a:schemeClr val="tx1"/>
                        </a:solidFill>
                        <a:effectLs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kern="1200">
                          <a:solidFill>
                            <a:schemeClr val="tx1"/>
                          </a:solidFill>
                          <a:effectLst/>
                          <a:latin typeface="+mn-lt"/>
                          <a:ea typeface="+mn-ea"/>
                          <a:cs typeface="+mn-cs"/>
                        </a:rPr>
                        <a:t>GitHub Advanced Security – GitHub Copilot next step action [P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Secure code repositories by detecting and preventing security leaks, fix vulnerabilities including merge pull security impacts by identifying change request dependencies.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Guidance Released FY26 Q1 (July)</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VBD delivery GH Copilot Fundamentals (84 credit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Accelerate Developer Productivity DE </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kumimoji="0" lang="en-US" sz="800" b="0" i="0" u="none" strike="noStrike" kern="1200" cap="none" spc="0" normalizeH="0" baseline="0" noProof="0">
                        <a:ln>
                          <a:noFill/>
                        </a:ln>
                        <a:solidFill>
                          <a:schemeClr val="tx1"/>
                        </a:solidFill>
                        <a:effectLst/>
                        <a:uLnTx/>
                        <a:uFillTx/>
                        <a:latin typeface="+mn-lt"/>
                        <a:ea typeface="+mn-ea"/>
                        <a:cs typeface="Segoe UI Ligh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472167"/>
                  </a:ext>
                </a:extLst>
              </a:tr>
              <a:tr h="528198">
                <a:tc vMerge="1">
                  <a:txBody>
                    <a:bodyPr/>
                    <a:lstStyle/>
                    <a:p>
                      <a:pPr algn="ctr"/>
                      <a:endParaRPr kumimoji="0" lang="en-US" sz="1100" b="0" i="0" u="none" strike="noStrike" kern="1200" cap="none" spc="0" normalizeH="0" baseline="0">
                        <a:ln>
                          <a:noFill/>
                        </a:ln>
                        <a:solidFill>
                          <a:schemeClr val="bg1"/>
                        </a:solidFill>
                        <a:effectLst/>
                        <a:uLnTx/>
                        <a:uFillTx/>
                        <a:latin typeface="+mj-lt"/>
                        <a:ea typeface="+mn-ea"/>
                        <a:cs typeface="Segoe UI"/>
                      </a:endParaRPr>
                    </a:p>
                  </a:txBody>
                  <a:tcPr marL="45720" marR="45720" vert="vert27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vMerge="1">
                  <a:txBody>
                    <a:bodyPr/>
                    <a:lstStyle/>
                    <a:p>
                      <a:endParaRPr lang="en-US" sz="800" b="1" i="0" kern="1200">
                        <a:solidFill>
                          <a:schemeClr val="bg2">
                            <a:lumMod val="10000"/>
                          </a:schemeClr>
                        </a:solidFill>
                        <a:latin typeface="+mn-lt"/>
                        <a:ea typeface="+mn-ea"/>
                        <a:cs typeface="Segoe UI"/>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mj-lt"/>
                        <a:buNone/>
                        <a:tabLst>
                          <a:tab pos="2005013" algn="l"/>
                        </a:tabLst>
                        <a:defRPr/>
                      </a:pPr>
                      <a:r>
                        <a:rPr lang="en-GB" sz="800" b="0">
                          <a:solidFill>
                            <a:schemeClr val="tx1"/>
                          </a:solidFill>
                          <a:effectLst/>
                        </a:rPr>
                        <a:t>ADO Migration to GitHub</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kern="1200">
                          <a:solidFill>
                            <a:schemeClr val="tx1"/>
                          </a:solidFill>
                          <a:effectLst/>
                          <a:latin typeface="+mn-lt"/>
                          <a:ea typeface="+mn-ea"/>
                          <a:cs typeface="+mn-cs"/>
                        </a:rPr>
                        <a:t>ADO to GitHub Migration [P1]</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Gain an in-depth understanding of Azure DevOps repository landscape and dependencies through an assessment, repo migration proof of concept for up to 50 repos</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Guidance Released FY26 Q1 (July)</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VBD delivery Migration repo assessment, POC</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800" b="0" i="0" u="none" strike="noStrike" kern="1200" cap="none" spc="0" normalizeH="0" baseline="0" noProof="0">
                          <a:ln>
                            <a:noFill/>
                          </a:ln>
                          <a:solidFill>
                            <a:schemeClr val="tx1"/>
                          </a:solidFill>
                          <a:effectLst/>
                          <a:uLnTx/>
                          <a:uFillTx/>
                          <a:latin typeface="+mn-lt"/>
                          <a:ea typeface="+mn-ea"/>
                          <a:cs typeface="Segoe UI Light"/>
                        </a:rPr>
                        <a:t>Accelerate Developer Productivity DE</a:t>
                      </a: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endParaRPr kumimoji="0" lang="en-US" sz="800" b="0" i="0" u="none" strike="noStrike" kern="1200" cap="none" spc="0" normalizeH="0" baseline="0" noProof="0">
                        <a:ln>
                          <a:noFill/>
                        </a:ln>
                        <a:solidFill>
                          <a:schemeClr val="tx1"/>
                        </a:solidFill>
                        <a:effectLst/>
                        <a:uLnTx/>
                        <a:uFillTx/>
                        <a:latin typeface="+mn-lt"/>
                        <a:ea typeface="+mn-ea"/>
                        <a:cs typeface="Segoe UI Light"/>
                      </a:endParaRPr>
                    </a:p>
                  </a:txBody>
                  <a:tcPr marL="45720" marR="4572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2026135"/>
                  </a:ext>
                </a:extLst>
              </a:tr>
            </a:tbl>
          </a:graphicData>
        </a:graphic>
      </p:graphicFrame>
      <p:sp>
        <p:nvSpPr>
          <p:cNvPr id="7" name="Title 6">
            <a:extLst>
              <a:ext uri="{FF2B5EF4-FFF2-40B4-BE49-F238E27FC236}">
                <a16:creationId xmlns:a16="http://schemas.microsoft.com/office/drawing/2014/main" id="{BE7F2CA0-9123-7E3F-159D-02996B3FEBEE}"/>
              </a:ext>
            </a:extLst>
          </p:cNvPr>
          <p:cNvSpPr>
            <a:spLocks noGrp="1"/>
          </p:cNvSpPr>
          <p:nvPr>
            <p:ph type="title"/>
          </p:nvPr>
        </p:nvSpPr>
        <p:spPr>
          <a:xfrm>
            <a:off x="198354" y="406529"/>
            <a:ext cx="11049000" cy="307777"/>
          </a:xfrm>
        </p:spPr>
        <p:txBody>
          <a:bodyPr/>
          <a:lstStyle/>
          <a:p>
            <a:r>
              <a:rPr lang="en-US" sz="2000" spc="-51">
                <a:solidFill>
                  <a:srgbClr val="0070C0"/>
                </a:solidFill>
                <a:latin typeface="Segoe UI Semibold"/>
              </a:rPr>
              <a:t>FY26 J2 Cloud + AI:  </a:t>
            </a:r>
            <a:r>
              <a:rPr lang="en-US" sz="2000" spc="-51">
                <a:solidFill>
                  <a:srgbClr val="0070C0"/>
                </a:solidFill>
                <a:latin typeface="Segoe UI Semibold"/>
                <a:cs typeface="Segoe UI" pitchFamily="34" charset="0"/>
              </a:rPr>
              <a:t>Innovate with Azure AI Apps and Agents </a:t>
            </a:r>
            <a:endParaRPr lang="en-US" sz="2000"/>
          </a:p>
        </p:txBody>
      </p:sp>
      <p:sp>
        <p:nvSpPr>
          <p:cNvPr id="2" name="TextBox 1">
            <a:extLst>
              <a:ext uri="{FF2B5EF4-FFF2-40B4-BE49-F238E27FC236}">
                <a16:creationId xmlns:a16="http://schemas.microsoft.com/office/drawing/2014/main" id="{1EFD0328-416B-8AC6-CC5B-55FD33A48235}"/>
              </a:ext>
            </a:extLst>
          </p:cNvPr>
          <p:cNvSpPr txBox="1"/>
          <p:nvPr/>
        </p:nvSpPr>
        <p:spPr>
          <a:xfrm>
            <a:off x="11245724" y="3759540"/>
            <a:ext cx="778736"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SG" sz="800">
                <a:cs typeface="Segoe Sans Text"/>
                <a:hlinkClick r:id="rId2"/>
              </a:rPr>
              <a:t>FY26_AzureJob2.pptx</a:t>
            </a:r>
            <a:endParaRPr lang="en-US"/>
          </a:p>
        </p:txBody>
      </p:sp>
    </p:spTree>
    <p:extLst>
      <p:ext uri="{BB962C8B-B14F-4D97-AF65-F5344CB8AC3E}">
        <p14:creationId xmlns:p14="http://schemas.microsoft.com/office/powerpoint/2010/main" val="4176029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8656-9088-339B-53BA-93180E1CE720}"/>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296E6A62-08CB-1F6C-3807-A18A6A939AE2}"/>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7" name="Rectangle: Rounded Corners 26">
            <a:extLst>
              <a:ext uri="{FF2B5EF4-FFF2-40B4-BE49-F238E27FC236}">
                <a16:creationId xmlns:a16="http://schemas.microsoft.com/office/drawing/2014/main" id="{BE8656FD-F3CD-9CAB-3A21-EACDB5A7EE6A}"/>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Title 1">
            <a:extLst>
              <a:ext uri="{FF2B5EF4-FFF2-40B4-BE49-F238E27FC236}">
                <a16:creationId xmlns:a16="http://schemas.microsoft.com/office/drawing/2014/main" id="{C63EB259-3AA4-2FF5-A8AD-44EC12427FF0}"/>
              </a:ext>
            </a:extLst>
          </p:cNvPr>
          <p:cNvSpPr txBox="1">
            <a:spLocks noGrp="1"/>
          </p:cNvSpPr>
          <p:nvPr>
            <p:ph type="title"/>
          </p:nvPr>
        </p:nvSpPr>
        <p:spPr>
          <a:xfrm>
            <a:off x="304799" y="457200"/>
            <a:ext cx="11049000"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Data</a:t>
            </a:r>
            <a:br>
              <a:rPr lang="en-US" sz="2400" noProof="0">
                <a:sym typeface="Trebuchet MS" panose="020B0603020202020204" pitchFamily="34" charset="0"/>
              </a:rPr>
            </a:br>
            <a:r>
              <a:rPr lang="en-US" sz="2400" noProof="0">
                <a:sym typeface="Trebuchet MS" panose="020B0603020202020204" pitchFamily="34" charset="0"/>
              </a:rPr>
              <a:t>Cloud Solution Architect</a:t>
            </a:r>
          </a:p>
        </p:txBody>
      </p:sp>
      <p:sp>
        <p:nvSpPr>
          <p:cNvPr id="63" name="Rectangle: Rounded Corners 62">
            <a:extLst>
              <a:ext uri="{FF2B5EF4-FFF2-40B4-BE49-F238E27FC236}">
                <a16:creationId xmlns:a16="http://schemas.microsoft.com/office/drawing/2014/main" id="{4779B44B-F77B-151A-1624-4C937429AB39}"/>
              </a:ext>
              <a:ext uri="{C183D7F6-B498-43B3-948B-1728B52AA6E4}">
                <adec:decorative xmlns:adec="http://schemas.microsoft.com/office/drawing/2017/decorative" val="0"/>
              </a:ext>
            </a:extLst>
          </p:cNvPr>
          <p:cNvSpPr/>
          <p:nvPr/>
        </p:nvSpPr>
        <p:spPr>
          <a:xfrm>
            <a:off x="9906970" y="442913"/>
            <a:ext cx="198851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FY25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Data &amp; Analytics Solution Architect </a:t>
            </a:r>
            <a:br>
              <a:rPr kumimoji="0" lang="en-US" sz="700" b="0" i="0" u="none" strike="noStrike" kern="1200" cap="none" spc="0" normalizeH="0" baseline="0" noProof="0">
                <a:ln>
                  <a:noFill/>
                </a:ln>
                <a:solidFill>
                  <a:srgbClr val="0078D4"/>
                </a:solidFill>
                <a:effectLst/>
                <a:uLnTx/>
                <a:uFillTx/>
                <a:latin typeface="Segoe Sans Text Semibold"/>
                <a:ea typeface="+mn-ea"/>
                <a:cs typeface="+mn-cs"/>
              </a:rPr>
            </a:b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Data Solution Architect </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 ENT</a:t>
            </a:r>
          </a:p>
        </p:txBody>
      </p:sp>
      <p:sp>
        <p:nvSpPr>
          <p:cNvPr id="31" name="Graphic 73">
            <a:extLst>
              <a:ext uri="{FF2B5EF4-FFF2-40B4-BE49-F238E27FC236}">
                <a16:creationId xmlns:a16="http://schemas.microsoft.com/office/drawing/2014/main" id="{66FFD3F7-F339-8177-60E4-B9B40DE6CBDC}"/>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Rectangle: Rounded Corners 31">
            <a:extLst>
              <a:ext uri="{FF2B5EF4-FFF2-40B4-BE49-F238E27FC236}">
                <a16:creationId xmlns:a16="http://schemas.microsoft.com/office/drawing/2014/main" id="{4BD1A1BF-3C81-F0EA-BB54-4949AE935647}"/>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3" name="Rectangle: Rounded Corners 32">
            <a:extLst>
              <a:ext uri="{FF2B5EF4-FFF2-40B4-BE49-F238E27FC236}">
                <a16:creationId xmlns:a16="http://schemas.microsoft.com/office/drawing/2014/main" id="{CB87C333-8FFB-F02F-4FD6-B14D963216AF}"/>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Rectangle: Rounded Corners 33">
            <a:extLst>
              <a:ext uri="{FF2B5EF4-FFF2-40B4-BE49-F238E27FC236}">
                <a16:creationId xmlns:a16="http://schemas.microsoft.com/office/drawing/2014/main" id="{C4A935F9-FF0C-8551-CBDF-3C69C78F9DE6}"/>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DE093172-E3C1-FF73-C9F9-91D4AC55D744}"/>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65" name="Graphic 64">
            <a:extLst>
              <a:ext uri="{FF2B5EF4-FFF2-40B4-BE49-F238E27FC236}">
                <a16:creationId xmlns:a16="http://schemas.microsoft.com/office/drawing/2014/main" id="{ED77C29C-F8A4-A78C-52F7-603DC98A60A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57728" y="4235547"/>
            <a:ext cx="210926" cy="210926"/>
          </a:xfrm>
          <a:prstGeom prst="rect">
            <a:avLst/>
          </a:prstGeom>
        </p:spPr>
      </p:pic>
      <p:grpSp>
        <p:nvGrpSpPr>
          <p:cNvPr id="66" name="Group 65">
            <a:extLst>
              <a:ext uri="{FF2B5EF4-FFF2-40B4-BE49-F238E27FC236}">
                <a16:creationId xmlns:a16="http://schemas.microsoft.com/office/drawing/2014/main" id="{FE3B2609-96BD-D24A-075E-5DF990123C26}"/>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67" name="Rectangle 66">
              <a:extLst>
                <a:ext uri="{FF2B5EF4-FFF2-40B4-BE49-F238E27FC236}">
                  <a16:creationId xmlns:a16="http://schemas.microsoft.com/office/drawing/2014/main" id="{072FD3C8-1C0E-55D7-0657-0362D7ADEA8C}"/>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68" name="Graphic 67">
              <a:extLst>
                <a:ext uri="{FF2B5EF4-FFF2-40B4-BE49-F238E27FC236}">
                  <a16:creationId xmlns:a16="http://schemas.microsoft.com/office/drawing/2014/main" id="{8BA3068C-C35D-0004-987B-74BC8A069F6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80914" y="4217527"/>
              <a:ext cx="246966" cy="246966"/>
            </a:xfrm>
            <a:prstGeom prst="rect">
              <a:avLst/>
            </a:prstGeom>
          </p:spPr>
        </p:pic>
      </p:grpSp>
      <p:sp>
        <p:nvSpPr>
          <p:cNvPr id="25" name="Rectangle: Rounded Corners 24">
            <a:extLst>
              <a:ext uri="{FF2B5EF4-FFF2-40B4-BE49-F238E27FC236}">
                <a16:creationId xmlns:a16="http://schemas.microsoft.com/office/drawing/2014/main" id="{48A335EF-5287-BF37-EB5B-857721271FF9}"/>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60CB4107-6559-5937-B4F0-ADA87B5733EF}"/>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6" name="Rectangle: Rounded Corners 35">
            <a:extLst>
              <a:ext uri="{FF2B5EF4-FFF2-40B4-BE49-F238E27FC236}">
                <a16:creationId xmlns:a16="http://schemas.microsoft.com/office/drawing/2014/main" id="{A3094F2F-37EE-770D-20F0-CEE38DC7D066}"/>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4B590B49-0568-F97A-AD84-9EAFCFCEB667}"/>
              </a:ext>
            </a:extLst>
          </p:cNvPr>
          <p:cNvSpPr/>
          <p:nvPr/>
        </p:nvSpPr>
        <p:spPr>
          <a:xfrm>
            <a:off x="304799" y="1200266"/>
            <a:ext cx="3268982"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9144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Data CSA is accountable for delivering secure and resilient data platform and analytics solutions for Customer’s AI deployments at scal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nd Unified opportunities across all Cloud &amp; AI</a:t>
            </a:r>
          </a:p>
        </p:txBody>
      </p:sp>
      <p:sp>
        <p:nvSpPr>
          <p:cNvPr id="40" name="Rectangle 39">
            <a:extLst>
              <a:ext uri="{FF2B5EF4-FFF2-40B4-BE49-F238E27FC236}">
                <a16:creationId xmlns:a16="http://schemas.microsoft.com/office/drawing/2014/main" id="{3D64F587-1843-2B6B-E7BE-5F659E8D51DD}"/>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8" name="TextBox 37">
            <a:extLst>
              <a:ext uri="{FF2B5EF4-FFF2-40B4-BE49-F238E27FC236}">
                <a16:creationId xmlns:a16="http://schemas.microsoft.com/office/drawing/2014/main" id="{0835994E-3813-BACD-098B-39FD0D2D34B0}"/>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graphicFrame>
        <p:nvGraphicFramePr>
          <p:cNvPr id="64" name="Table 63">
            <a:extLst>
              <a:ext uri="{FF2B5EF4-FFF2-40B4-BE49-F238E27FC236}">
                <a16:creationId xmlns:a16="http://schemas.microsoft.com/office/drawing/2014/main" id="{A1B3AC7C-11D3-8C01-372D-3B13FEADA2D7}"/>
              </a:ext>
            </a:extLst>
          </p:cNvPr>
          <p:cNvGraphicFramePr>
            <a:graphicFrameLocks noGrp="1"/>
          </p:cNvGraphicFramePr>
          <p:nvPr>
            <p:extLst>
              <p:ext uri="{D42A27DB-BD31-4B8C-83A1-F6EECF244321}">
                <p14:modId xmlns:p14="http://schemas.microsoft.com/office/powerpoint/2010/main" val="1570986372"/>
              </p:ext>
            </p:extLst>
          </p:nvPr>
        </p:nvGraphicFramePr>
        <p:xfrm>
          <a:off x="3674366" y="1541398"/>
          <a:ext cx="8247674" cy="2465856"/>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2369820">
                  <a:extLst>
                    <a:ext uri="{9D8B030D-6E8A-4147-A177-3AD203B41FA5}">
                      <a16:colId xmlns:a16="http://schemas.microsoft.com/office/drawing/2014/main" val="88879238"/>
                    </a:ext>
                  </a:extLst>
                </a:gridCol>
                <a:gridCol w="5224060">
                  <a:extLst>
                    <a:ext uri="{9D8B030D-6E8A-4147-A177-3AD203B41FA5}">
                      <a16:colId xmlns:a16="http://schemas.microsoft.com/office/drawing/2014/main" val="707651252"/>
                    </a:ext>
                  </a:extLst>
                </a:gridCol>
              </a:tblGrid>
              <a:tr h="195654">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792966">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2C in 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2C results for Enterprise; drive hands-on engagement in Unified accounts and oversight for risk mitigation in non-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1884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Design Win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Data &amp; AI</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Data &amp; AI</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65839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Data Platform</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Data Migration &amp; Modernizatio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nalytics</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None/>
                      </a:pPr>
                      <a:r>
                        <a:rPr lang="en-US" sz="700" b="0" i="0" u="none" strike="noStrike" kern="1200" cap="none" spc="0" normalizeH="0" baseline="0">
                          <a:solidFill>
                            <a:schemeClr val="tx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Microsoft Fabric </a:t>
                      </a:r>
                      <a:r>
                        <a:rPr lang="en-US" sz="700" b="0" i="0" u="none" strike="noStrike" kern="1200" cap="none" spc="0" normalizeH="0" baseline="0">
                          <a:solidFill>
                            <a:schemeClr val="tx1"/>
                          </a:solidFill>
                          <a:latin typeface="+mn-lt"/>
                          <a:ea typeface="+mn-ea"/>
                          <a:cs typeface="Segoe Sans Text" pitchFamily="2" charset="0"/>
                        </a:rPr>
                        <a:t>(</a:t>
                      </a:r>
                      <a:r>
                        <a:rPr lang="en-US" sz="700" b="0" i="0" u="none" strike="noStrike" kern="1200" cap="none" spc="0" normalizeH="0" baseline="0" err="1">
                          <a:solidFill>
                            <a:schemeClr val="tx1"/>
                          </a:solidFill>
                          <a:latin typeface="+mn-lt"/>
                          <a:ea typeface="+mn-ea"/>
                          <a:cs typeface="Segoe Sans Text" pitchFamily="2" charset="0"/>
                        </a:rPr>
                        <a:t>OneLake</a:t>
                      </a:r>
                      <a:r>
                        <a:rPr lang="en-US" sz="700" b="0" i="0" u="none" strike="noStrike" kern="1200" cap="none" spc="0" normalizeH="0" baseline="0">
                          <a:solidFill>
                            <a:schemeClr val="tx1"/>
                          </a:solidFill>
                          <a:latin typeface="+mn-lt"/>
                          <a:ea typeface="+mn-ea"/>
                          <a:cs typeface="Segoe Sans Text" pitchFamily="2" charset="0"/>
                        </a:rPr>
                        <a:t>, Data Integration, Fabric DW, Real-Time Intelligence)</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zure Databricks</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Microsoft Purview</a:t>
                      </a:r>
                    </a:p>
                    <a:p>
                      <a:pPr marL="168275" marR="0" lvl="0" indent="-139700"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zure Databases </a:t>
                      </a:r>
                      <a:r>
                        <a:rPr lang="en-US" sz="700" b="0" i="0" u="none" strike="noStrike" kern="1200" cap="none" spc="0" normalizeH="0" baseline="0">
                          <a:solidFill>
                            <a:schemeClr val="tx1"/>
                          </a:solidFill>
                          <a:latin typeface="+mn-lt"/>
                          <a:ea typeface="+mn-ea"/>
                          <a:cs typeface="Segoe Sans Text" pitchFamily="2" charset="0"/>
                        </a:rPr>
                        <a:t>(Azure SQL, Azure Postgres SQL, Azure MySQL, Cosmos DB)</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29" name="Rectangle 28">
            <a:extLst>
              <a:ext uri="{FF2B5EF4-FFF2-40B4-BE49-F238E27FC236}">
                <a16:creationId xmlns:a16="http://schemas.microsoft.com/office/drawing/2014/main" id="{430058C4-7640-F0A8-5746-8A526101AC2D}"/>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45" name="TextBox 44">
            <a:extLst>
              <a:ext uri="{FF2B5EF4-FFF2-40B4-BE49-F238E27FC236}">
                <a16:creationId xmlns:a16="http://schemas.microsoft.com/office/drawing/2014/main" id="{66DB90E3-5611-E85A-452A-2A4AEFA39405}"/>
              </a:ext>
            </a:extLst>
          </p:cNvPr>
          <p:cNvSpPr txBox="1"/>
          <p:nvPr/>
        </p:nvSpPr>
        <p:spPr>
          <a:xfrm>
            <a:off x="425445" y="4478878"/>
            <a:ext cx="1917705"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y your Data Platform</a:t>
            </a:r>
          </a:p>
        </p:txBody>
      </p:sp>
      <p:sp>
        <p:nvSpPr>
          <p:cNvPr id="62" name="TextBox 61">
            <a:extLst>
              <a:ext uri="{FF2B5EF4-FFF2-40B4-BE49-F238E27FC236}">
                <a16:creationId xmlns:a16="http://schemas.microsoft.com/office/drawing/2014/main" id="{325BA36E-CA52-37BB-0023-00811FF3E09C}"/>
              </a:ext>
            </a:extLst>
          </p:cNvPr>
          <p:cNvSpPr txBox="1"/>
          <p:nvPr/>
        </p:nvSpPr>
        <p:spPr>
          <a:xfrm>
            <a:off x="425445" y="4712087"/>
            <a:ext cx="1957877"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aka.ms/</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cloudaicsu</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7BC97853-DD46-EFB9-642B-F193493E7263}"/>
              </a:ext>
            </a:extLst>
          </p:cNvPr>
          <p:cNvSpPr txBox="1"/>
          <p:nvPr/>
        </p:nvSpPr>
        <p:spPr>
          <a:xfrm>
            <a:off x="425445" y="5068407"/>
            <a:ext cx="185579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Proactive Resiliency Initiative, Azure Essentials</a:t>
            </a:r>
          </a:p>
        </p:txBody>
      </p:sp>
      <p:sp>
        <p:nvSpPr>
          <p:cNvPr id="61" name="Rectangle 60">
            <a:extLst>
              <a:ext uri="{FF2B5EF4-FFF2-40B4-BE49-F238E27FC236}">
                <a16:creationId xmlns:a16="http://schemas.microsoft.com/office/drawing/2014/main" id="{E469D71B-8CCA-D166-7B9F-A97EAB59E600}"/>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sp>
        <p:nvSpPr>
          <p:cNvPr id="22" name="TextBox 21">
            <a:extLst>
              <a:ext uri="{FF2B5EF4-FFF2-40B4-BE49-F238E27FC236}">
                <a16:creationId xmlns:a16="http://schemas.microsoft.com/office/drawing/2014/main" id="{E49725BE-A267-9148-338F-A53463329BB9}"/>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ols/Repor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23" name="TextBox 22">
            <a:extLst>
              <a:ext uri="{FF2B5EF4-FFF2-40B4-BE49-F238E27FC236}">
                <a16:creationId xmlns:a16="http://schemas.microsoft.com/office/drawing/2014/main" id="{66AB2316-4565-CDAD-009F-A85ED7EE32B7}"/>
              </a:ext>
            </a:extLst>
          </p:cNvPr>
          <p:cNvSpPr txBox="1"/>
          <p:nvPr/>
        </p:nvSpPr>
        <p:spPr>
          <a:xfrm>
            <a:off x="2777299" y="4497928"/>
            <a:ext cx="4727648"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55" name="TextBox 54">
            <a:extLst>
              <a:ext uri="{FF2B5EF4-FFF2-40B4-BE49-F238E27FC236}">
                <a16:creationId xmlns:a16="http://schemas.microsoft.com/office/drawing/2014/main" id="{8080EC63-D6D4-78EA-B069-B5EC37344C92}"/>
              </a:ext>
            </a:extLst>
          </p:cNvPr>
          <p:cNvSpPr txBox="1"/>
          <p:nvPr/>
        </p:nvSpPr>
        <p:spPr>
          <a:xfrm>
            <a:off x="2777299" y="4983219"/>
            <a:ext cx="5062604" cy="1413207"/>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Job 1: 95% C2C rate; 95% own of C2C milestone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lvl="1" indent="-90170">
              <a:spcAft>
                <a:spcPts val="200"/>
              </a:spcAft>
              <a:buClr>
                <a:srgbClr val="000000"/>
              </a:buClr>
              <a:buSzPct val="100000"/>
              <a:buFont typeface="Arial" panose="020B0604020202020204" pitchFamily="34" charset="0"/>
              <a:buChar char="•"/>
              <a:defRPr/>
            </a:pPr>
            <a:r>
              <a:rPr lang="en-US" sz="800">
                <a:solidFill>
                  <a:srgbClr val="000000"/>
                </a:solidFill>
                <a:ea typeface="Calibri"/>
                <a:cs typeface="Calibri"/>
              </a:rPr>
              <a:t>Contribute to 20% for total Completed Pipeline created against quarterly Net New Required budget by territory</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ctively engage in pipe scrums to enable attach of Hero VAS offers to every ACR opportunity</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in EOU: Customer Funded delivery Mix VTT &gt; 0; Repeatable Delivery VTT &gt; 0; On Strategy delivery mix VTT &gt; 0</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Factory Oversight: Shared accountability for Factory Target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p:txBody>
      </p:sp>
      <p:sp>
        <p:nvSpPr>
          <p:cNvPr id="41" name="Graphic 13">
            <a:extLst>
              <a:ext uri="{FF2B5EF4-FFF2-40B4-BE49-F238E27FC236}">
                <a16:creationId xmlns:a16="http://schemas.microsoft.com/office/drawing/2014/main" id="{51D898F1-DC9D-E133-5A8D-82D79674B9CF}"/>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2" name="Graphic 41">
            <a:extLst>
              <a:ext uri="{FF2B5EF4-FFF2-40B4-BE49-F238E27FC236}">
                <a16:creationId xmlns:a16="http://schemas.microsoft.com/office/drawing/2014/main" id="{7088B3DB-E49F-262B-BC91-26BF3A25CFEF}"/>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2151" y="1278196"/>
            <a:ext cx="216248" cy="216246"/>
          </a:xfrm>
          <a:prstGeom prst="rect">
            <a:avLst/>
          </a:prstGeom>
        </p:spPr>
      </p:pic>
      <p:sp>
        <p:nvSpPr>
          <p:cNvPr id="50" name="TextBox 49">
            <a:extLst>
              <a:ext uri="{FF2B5EF4-FFF2-40B4-BE49-F238E27FC236}">
                <a16:creationId xmlns:a16="http://schemas.microsoft.com/office/drawing/2014/main" id="{ACE23A68-8AE3-F70E-8B12-81AAFCF6EBF1}"/>
              </a:ext>
            </a:extLst>
          </p:cNvPr>
          <p:cNvSpPr txBox="1"/>
          <p:nvPr/>
        </p:nvSpPr>
        <p:spPr>
          <a:xfrm>
            <a:off x="8100059" y="4497928"/>
            <a:ext cx="3529966" cy="1261884"/>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Databases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zure SQL, Azure Postgres SQL, Azure MySQL, Cosmos DB)</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Microsoft Fabric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Fabric DW, Real-Time Intelligence,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OneLake</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Data Integration, Data Engineering, Copilot, Data Science)</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Databrick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Microsoft Purview</a:t>
            </a:r>
          </a:p>
        </p:txBody>
      </p:sp>
      <p:grpSp>
        <p:nvGrpSpPr>
          <p:cNvPr id="2" name="Group 1">
            <a:extLst>
              <a:ext uri="{FF2B5EF4-FFF2-40B4-BE49-F238E27FC236}">
                <a16:creationId xmlns:a16="http://schemas.microsoft.com/office/drawing/2014/main" id="{728CD74F-F3BF-3E47-C059-60430B84617C}"/>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9" name="Table 2 Cell 1, 1 to Text">
              <a:extLst>
                <a:ext uri="{FF2B5EF4-FFF2-40B4-BE49-F238E27FC236}">
                  <a16:creationId xmlns:a16="http://schemas.microsoft.com/office/drawing/2014/main" id="{29DFD51C-233C-8254-7B6A-FF7E38DA4D63}"/>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4" name="Table 2 Cell 2, 1 to Text">
              <a:extLst>
                <a:ext uri="{FF2B5EF4-FFF2-40B4-BE49-F238E27FC236}">
                  <a16:creationId xmlns:a16="http://schemas.microsoft.com/office/drawing/2014/main" id="{61BA5445-A58D-7778-8EB4-05E54697E9F0}"/>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5" name="Table 2 Cell 3, 1 to Text">
              <a:extLst>
                <a:ext uri="{FF2B5EF4-FFF2-40B4-BE49-F238E27FC236}">
                  <a16:creationId xmlns:a16="http://schemas.microsoft.com/office/drawing/2014/main" id="{7218070A-53FD-7DB9-6814-31539B28A364}"/>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7" name="Table 2 Cell 4, 1 to Text">
              <a:extLst>
                <a:ext uri="{FF2B5EF4-FFF2-40B4-BE49-F238E27FC236}">
                  <a16:creationId xmlns:a16="http://schemas.microsoft.com/office/drawing/2014/main" id="{A782AB3F-6143-B56A-EFE1-CD0F2274B9B9}"/>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8" name="Table 2 Cell 5, 1 to Text">
              <a:extLst>
                <a:ext uri="{FF2B5EF4-FFF2-40B4-BE49-F238E27FC236}">
                  <a16:creationId xmlns:a16="http://schemas.microsoft.com/office/drawing/2014/main" id="{2A468B04-1979-0744-16CF-7DD5214DAFC1}"/>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20" name="Table 2 Cell 6, 1 to Text">
              <a:extLst>
                <a:ext uri="{FF2B5EF4-FFF2-40B4-BE49-F238E27FC236}">
                  <a16:creationId xmlns:a16="http://schemas.microsoft.com/office/drawing/2014/main" id="{30F93F4B-38C5-BFB1-C9EF-4F63D3F402EB}"/>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1" name="Table 2 Cell 7, 1 to Text">
              <a:extLst>
                <a:ext uri="{FF2B5EF4-FFF2-40B4-BE49-F238E27FC236}">
                  <a16:creationId xmlns:a16="http://schemas.microsoft.com/office/drawing/2014/main" id="{8BE9503C-E768-7EC7-EDF2-3BA9F663B1C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4" name="Table 2 Cell 1, 2 to Text">
              <a:extLst>
                <a:ext uri="{FF2B5EF4-FFF2-40B4-BE49-F238E27FC236}">
                  <a16:creationId xmlns:a16="http://schemas.microsoft.com/office/drawing/2014/main" id="{6E2AB84A-DDF9-C532-0445-B596725D77E1}"/>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5.1 Role Overview - Enterprise</a:t>
              </a:r>
            </a:p>
          </p:txBody>
        </p:sp>
        <p:sp>
          <p:nvSpPr>
            <p:cNvPr id="39" name="Table 2 Cell 1, 3 to Text">
              <a:extLst>
                <a:ext uri="{FF2B5EF4-FFF2-40B4-BE49-F238E27FC236}">
                  <a16:creationId xmlns:a16="http://schemas.microsoft.com/office/drawing/2014/main" id="{44A37D74-FFC7-A69E-1FA2-8CF040C33D7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43" name="Table 2 Cell 1, 4 to Text">
              <a:extLst>
                <a:ext uri="{FF2B5EF4-FFF2-40B4-BE49-F238E27FC236}">
                  <a16:creationId xmlns:a16="http://schemas.microsoft.com/office/drawing/2014/main" id="{8A4F3235-39C0-01E4-6B7C-A20CE410489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44" name="Table 2 Cell 1, 5 to Text">
              <a:extLst>
                <a:ext uri="{FF2B5EF4-FFF2-40B4-BE49-F238E27FC236}">
                  <a16:creationId xmlns:a16="http://schemas.microsoft.com/office/drawing/2014/main" id="{BD343532-C51B-4D0B-25FC-0E513E63EC61}"/>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47" name="Table 2 Cell 1, 6 to Text">
              <a:extLst>
                <a:ext uri="{FF2B5EF4-FFF2-40B4-BE49-F238E27FC236}">
                  <a16:creationId xmlns:a16="http://schemas.microsoft.com/office/drawing/2014/main" id="{16B6C1C0-8D66-6B52-4468-22CEE3482DF3}"/>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48" name="Table 2 Cell 1, 7 to Text">
              <a:extLst>
                <a:ext uri="{FF2B5EF4-FFF2-40B4-BE49-F238E27FC236}">
                  <a16:creationId xmlns:a16="http://schemas.microsoft.com/office/drawing/2014/main" id="{9C57D734-F271-19D6-A2E1-E66CA3C3EFE1}"/>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49" name="Table 2 Cell 1, 8 to Text">
              <a:extLst>
                <a:ext uri="{FF2B5EF4-FFF2-40B4-BE49-F238E27FC236}">
                  <a16:creationId xmlns:a16="http://schemas.microsoft.com/office/drawing/2014/main" id="{94C231AA-88AA-76A7-AD2A-F23107BD2A52}"/>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101925612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7B1DE-DC05-A4C3-B0AF-17BEFF36FC49}"/>
            </a:ext>
          </a:extLst>
        </p:cNvPr>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52D1D1E8-7A5C-FDF1-385C-4E891F6E39D1}"/>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7" name="Rectangle: Rounded Corners 26">
            <a:extLst>
              <a:ext uri="{FF2B5EF4-FFF2-40B4-BE49-F238E27FC236}">
                <a16:creationId xmlns:a16="http://schemas.microsoft.com/office/drawing/2014/main" id="{286958AA-6567-EE75-FAC1-B4A02609DEA8}"/>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Title 1">
            <a:extLst>
              <a:ext uri="{FF2B5EF4-FFF2-40B4-BE49-F238E27FC236}">
                <a16:creationId xmlns:a16="http://schemas.microsoft.com/office/drawing/2014/main" id="{47623935-4116-9030-0808-8A293E1EDF51}"/>
              </a:ext>
            </a:extLst>
          </p:cNvPr>
          <p:cNvSpPr txBox="1">
            <a:spLocks noGrp="1"/>
          </p:cNvSpPr>
          <p:nvPr>
            <p:ph type="title"/>
          </p:nvPr>
        </p:nvSpPr>
        <p:spPr>
          <a:xfrm>
            <a:off x="304799" y="457200"/>
            <a:ext cx="11049000"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Data</a:t>
            </a:r>
            <a:br>
              <a:rPr lang="en-US" sz="2400" noProof="0">
                <a:sym typeface="Trebuchet MS" panose="020B0603020202020204" pitchFamily="34" charset="0"/>
              </a:rPr>
            </a:br>
            <a:r>
              <a:rPr lang="en-US" sz="2400" noProof="0">
                <a:sym typeface="Trebuchet MS" panose="020B0603020202020204" pitchFamily="34" charset="0"/>
              </a:rPr>
              <a:t>Cloud Solution Architect</a:t>
            </a:r>
            <a:r>
              <a:rPr lang="en-US" sz="2400"/>
              <a:t> (SME&amp;C)</a:t>
            </a:r>
            <a:endParaRPr lang="en-US" sz="2400" noProof="0">
              <a:sym typeface="Trebuchet MS" panose="020B0603020202020204" pitchFamily="34" charset="0"/>
            </a:endParaRPr>
          </a:p>
        </p:txBody>
      </p:sp>
      <p:sp>
        <p:nvSpPr>
          <p:cNvPr id="63" name="Rectangle: Rounded Corners 62">
            <a:extLst>
              <a:ext uri="{FF2B5EF4-FFF2-40B4-BE49-F238E27FC236}">
                <a16:creationId xmlns:a16="http://schemas.microsoft.com/office/drawing/2014/main" id="{879B966A-B423-29D5-FFB8-E3F3939B2CF6}"/>
              </a:ext>
              <a:ext uri="{C183D7F6-B498-43B3-948B-1728B52AA6E4}">
                <adec:decorative xmlns:adec="http://schemas.microsoft.com/office/drawing/2017/decorative" val="0"/>
              </a:ext>
            </a:extLst>
          </p:cNvPr>
          <p:cNvSpPr/>
          <p:nvPr/>
        </p:nvSpPr>
        <p:spPr>
          <a:xfrm>
            <a:off x="9906970" y="442913"/>
            <a:ext cx="198851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FY25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Data &amp; Analytics Solution Architect </a:t>
            </a:r>
            <a:br>
              <a:rPr kumimoji="0" lang="en-US" sz="700" b="0" i="0" u="none" strike="noStrike" kern="1200" cap="none" spc="0" normalizeH="0" baseline="0" noProof="0">
                <a:ln>
                  <a:noFill/>
                </a:ln>
                <a:solidFill>
                  <a:srgbClr val="0078D4"/>
                </a:solidFill>
                <a:effectLst/>
                <a:uLnTx/>
                <a:uFillTx/>
                <a:latin typeface="Segoe Sans Text Semibold"/>
                <a:ea typeface="+mn-ea"/>
                <a:cs typeface="+mn-cs"/>
              </a:rPr>
            </a:b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Data Solution Architect </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 SME&amp;C</a:t>
            </a:r>
          </a:p>
        </p:txBody>
      </p:sp>
      <p:sp>
        <p:nvSpPr>
          <p:cNvPr id="31" name="Graphic 73">
            <a:extLst>
              <a:ext uri="{FF2B5EF4-FFF2-40B4-BE49-F238E27FC236}">
                <a16:creationId xmlns:a16="http://schemas.microsoft.com/office/drawing/2014/main" id="{5D566A89-5786-02BD-2221-9C43BE2870D2}"/>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Rectangle: Rounded Corners 31">
            <a:extLst>
              <a:ext uri="{FF2B5EF4-FFF2-40B4-BE49-F238E27FC236}">
                <a16:creationId xmlns:a16="http://schemas.microsoft.com/office/drawing/2014/main" id="{2BD36AE8-BB67-CFDD-8B7A-649D422730F1}"/>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3" name="Rectangle: Rounded Corners 32">
            <a:extLst>
              <a:ext uri="{FF2B5EF4-FFF2-40B4-BE49-F238E27FC236}">
                <a16:creationId xmlns:a16="http://schemas.microsoft.com/office/drawing/2014/main" id="{03C6182A-0243-8F55-E861-4A8BA2C3375B}"/>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Rectangle: Rounded Corners 33">
            <a:extLst>
              <a:ext uri="{FF2B5EF4-FFF2-40B4-BE49-F238E27FC236}">
                <a16:creationId xmlns:a16="http://schemas.microsoft.com/office/drawing/2014/main" id="{921F07BA-9B10-A82E-AF39-BAA2ADA93D07}"/>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52FB4240-5AC8-317F-72B4-F18CA64E2B47}"/>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65" name="Graphic 64">
            <a:extLst>
              <a:ext uri="{FF2B5EF4-FFF2-40B4-BE49-F238E27FC236}">
                <a16:creationId xmlns:a16="http://schemas.microsoft.com/office/drawing/2014/main" id="{70BB00B0-9E65-44BC-C28B-6FE01443756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57728" y="4235547"/>
            <a:ext cx="210926" cy="210926"/>
          </a:xfrm>
          <a:prstGeom prst="rect">
            <a:avLst/>
          </a:prstGeom>
        </p:spPr>
      </p:pic>
      <p:grpSp>
        <p:nvGrpSpPr>
          <p:cNvPr id="66" name="Group 65">
            <a:extLst>
              <a:ext uri="{FF2B5EF4-FFF2-40B4-BE49-F238E27FC236}">
                <a16:creationId xmlns:a16="http://schemas.microsoft.com/office/drawing/2014/main" id="{F40F5110-DAD7-729F-6E3F-64C7723A818F}"/>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67" name="Rectangle 66">
              <a:extLst>
                <a:ext uri="{FF2B5EF4-FFF2-40B4-BE49-F238E27FC236}">
                  <a16:creationId xmlns:a16="http://schemas.microsoft.com/office/drawing/2014/main" id="{820EA163-7BF8-F08D-7531-86698D5E6FE4}"/>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68" name="Graphic 67">
              <a:extLst>
                <a:ext uri="{FF2B5EF4-FFF2-40B4-BE49-F238E27FC236}">
                  <a16:creationId xmlns:a16="http://schemas.microsoft.com/office/drawing/2014/main" id="{3E555F49-832E-294D-A79E-0588CB029958}"/>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80914" y="4217527"/>
              <a:ext cx="246966" cy="246966"/>
            </a:xfrm>
            <a:prstGeom prst="rect">
              <a:avLst/>
            </a:prstGeom>
          </p:spPr>
        </p:pic>
      </p:grpSp>
      <p:sp>
        <p:nvSpPr>
          <p:cNvPr id="25" name="Rectangle: Rounded Corners 24">
            <a:extLst>
              <a:ext uri="{FF2B5EF4-FFF2-40B4-BE49-F238E27FC236}">
                <a16:creationId xmlns:a16="http://schemas.microsoft.com/office/drawing/2014/main" id="{F45ED9B7-D2C8-5259-144F-ECAF53161CEB}"/>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27BD4239-8020-5FFD-A5D5-F1619272FDD5}"/>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6" name="Rectangle: Rounded Corners 35">
            <a:extLst>
              <a:ext uri="{FF2B5EF4-FFF2-40B4-BE49-F238E27FC236}">
                <a16:creationId xmlns:a16="http://schemas.microsoft.com/office/drawing/2014/main" id="{BBF5B072-6D60-31E2-1E9F-13B048CFEEA1}"/>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992A89E6-B4F8-695E-414E-075DC7A0770E}"/>
              </a:ext>
            </a:extLst>
          </p:cNvPr>
          <p:cNvSpPr/>
          <p:nvPr/>
        </p:nvSpPr>
        <p:spPr>
          <a:xfrm>
            <a:off x="304799" y="1200266"/>
            <a:ext cx="3268982"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9144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Data CSA is accountable for delivering secure and resilient data platform and analytics solutions for Customer’s AI deployments at scale</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meet our existing MACC and Unified commitments and forecasted demand</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nd Unified opportunities across all Cloud &amp; AI</a:t>
            </a:r>
          </a:p>
        </p:txBody>
      </p:sp>
      <p:sp>
        <p:nvSpPr>
          <p:cNvPr id="40" name="Rectangle 39">
            <a:extLst>
              <a:ext uri="{FF2B5EF4-FFF2-40B4-BE49-F238E27FC236}">
                <a16:creationId xmlns:a16="http://schemas.microsoft.com/office/drawing/2014/main" id="{0A17D608-B5E7-C434-3F7B-B0D2C53BBDB8}"/>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8" name="TextBox 37">
            <a:extLst>
              <a:ext uri="{FF2B5EF4-FFF2-40B4-BE49-F238E27FC236}">
                <a16:creationId xmlns:a16="http://schemas.microsoft.com/office/drawing/2014/main" id="{B5CE963E-60B2-D972-5163-8A3B4488EF0C}"/>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graphicFrame>
        <p:nvGraphicFramePr>
          <p:cNvPr id="64" name="Table 63">
            <a:extLst>
              <a:ext uri="{FF2B5EF4-FFF2-40B4-BE49-F238E27FC236}">
                <a16:creationId xmlns:a16="http://schemas.microsoft.com/office/drawing/2014/main" id="{A230D467-1E5B-AF00-52F4-AC6762D4C41B}"/>
              </a:ext>
            </a:extLst>
          </p:cNvPr>
          <p:cNvGraphicFramePr>
            <a:graphicFrameLocks noGrp="1"/>
          </p:cNvGraphicFramePr>
          <p:nvPr>
            <p:extLst>
              <p:ext uri="{D42A27DB-BD31-4B8C-83A1-F6EECF244321}">
                <p14:modId xmlns:p14="http://schemas.microsoft.com/office/powerpoint/2010/main" val="3256471620"/>
              </p:ext>
            </p:extLst>
          </p:nvPr>
        </p:nvGraphicFramePr>
        <p:xfrm>
          <a:off x="3674366" y="1541398"/>
          <a:ext cx="8247674" cy="2465856"/>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2369820">
                  <a:extLst>
                    <a:ext uri="{9D8B030D-6E8A-4147-A177-3AD203B41FA5}">
                      <a16:colId xmlns:a16="http://schemas.microsoft.com/office/drawing/2014/main" val="88879238"/>
                    </a:ext>
                  </a:extLst>
                </a:gridCol>
                <a:gridCol w="5224060">
                  <a:extLst>
                    <a:ext uri="{9D8B030D-6E8A-4147-A177-3AD203B41FA5}">
                      <a16:colId xmlns:a16="http://schemas.microsoft.com/office/drawing/2014/main" val="707651252"/>
                    </a:ext>
                  </a:extLst>
                </a:gridCol>
              </a:tblGrid>
              <a:tr h="195654">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792966">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Segoe UI"/>
                          <a:ea typeface="+mn-ea"/>
                          <a:cs typeface="Segoe Sans Text" pitchFamily="2" charset="0"/>
                        </a:rPr>
                        <a:t>Drive C2C in Unified account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Segoe UI"/>
                          <a:ea typeface="+mn-ea"/>
                          <a:cs typeface="Segoe Sans Text" pitchFamily="2" charset="0"/>
                        </a:rPr>
                        <a:t>Drive C2C results for SME&amp;C. Drive hands-on engagement in Unified accounts </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next best action, Unified ES as Job 2, </a:t>
                      </a:r>
                      <a:r>
                        <a:rPr lang="en-US" sz="700" b="0" i="0" u="none" strike="noStrike" kern="1200" cap="none" spc="0" normalizeH="0" baseline="0" noProof="0">
                          <a:solidFill>
                            <a:schemeClr val="accent1"/>
                          </a:solidFill>
                          <a:latin typeface="+mn-lt"/>
                          <a:ea typeface="+mn-ea"/>
                          <a:cs typeface="Segoe Sans Text" pitchFamily="2" charset="0"/>
                        </a:rPr>
                        <a:t>generate incremental pipe from each engagement</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With CSAM, in stage 4 &amp; 5, </a:t>
                      </a:r>
                      <a:r>
                        <a:rPr lang="en-US" sz="700" b="0" i="0" u="none" strike="noStrike" kern="1200" cap="none" spc="0" normalizeH="0" baseline="0" noProof="0">
                          <a:solidFill>
                            <a:schemeClr val="accent1"/>
                          </a:solidFill>
                          <a:latin typeface="+mn-lt"/>
                          <a:ea typeface="+mn-ea"/>
                          <a:cs typeface="Segoe Sans Text" pitchFamily="2" charset="0"/>
                        </a:rPr>
                        <a:t>ensure completeness and accuracy of entire Azure consumption plan </a:t>
                      </a:r>
                      <a:r>
                        <a:rPr lang="en-US" sz="700" b="0" i="0" u="none" strike="noStrike" kern="1200" cap="none" spc="0" normalizeH="0" baseline="0" noProof="0">
                          <a:solidFill>
                            <a:schemeClr val="tx1"/>
                          </a:solidFill>
                          <a:latin typeface="+mn-lt"/>
                          <a:ea typeface="+mn-ea"/>
                          <a:cs typeface="Segoe Sans Text" pitchFamily="2" charset="0"/>
                        </a:rPr>
                        <a:t>&amp; customer success plan</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vide </a:t>
                      </a:r>
                      <a:r>
                        <a:rPr lang="en-US" sz="700" b="0" i="0" u="none" strike="noStrike" kern="1200" cap="none" spc="0" normalizeH="0" baseline="0" noProof="0">
                          <a:solidFill>
                            <a:schemeClr val="accent1"/>
                          </a:solidFill>
                          <a:latin typeface="+mn-lt"/>
                          <a:ea typeface="+mn-ea"/>
                          <a:cs typeface="Segoe Sans Text" pitchFamily="2" charset="0"/>
                        </a:rPr>
                        <a:t>delivery oversight and escalation support for Factory </a:t>
                      </a:r>
                      <a:r>
                        <a:rPr lang="en-US" sz="700" b="0" i="0" u="none" strike="noStrike" kern="1200" cap="none" spc="0" normalizeH="0" baseline="0" noProof="0">
                          <a:solidFill>
                            <a:schemeClr val="tx1"/>
                          </a:solidFill>
                          <a:latin typeface="+mn-lt"/>
                          <a:ea typeface="+mn-ea"/>
                          <a:cs typeface="Segoe Sans Text" pitchFamily="2" charset="0"/>
                        </a:rPr>
                        <a:t>engagement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1884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Segoe UI"/>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resiliency &amp; optimization deliverie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I Design Win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Data &amp; AI</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 Data &amp; AI</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Segoe UI"/>
                          <a:ea typeface="+mn-ea"/>
                          <a:cs typeface="Segoe Sans Text" pitchFamily="2" charset="0"/>
                        </a:rPr>
                        <a:t>Contribute to C2C of committed production milestone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ad health, resiliency, </a:t>
                      </a:r>
                      <a:r>
                        <a:rPr lang="en-US" sz="700" b="0" i="0" u="none" strike="noStrike" kern="1200" cap="none" spc="0" normalizeH="0" baseline="0" noProof="0">
                          <a:solidFill>
                            <a:schemeClr val="accent1"/>
                          </a:solidFill>
                          <a:latin typeface="+mn-lt"/>
                          <a:ea typeface="+mn-ea"/>
                          <a:cs typeface="Segoe Sans Text" pitchFamily="2" charset="0"/>
                        </a:rPr>
                        <a:t>security</a:t>
                      </a:r>
                      <a:r>
                        <a:rPr lang="en-US" sz="700" b="0" i="0" u="none" strike="noStrike" kern="1200" cap="none" spc="0" normalizeH="0" baseline="0" noProof="0">
                          <a:solidFill>
                            <a:schemeClr val="tx1"/>
                          </a:solidFill>
                          <a:latin typeface="+mn-lt"/>
                          <a:ea typeface="+mn-ea"/>
                          <a:cs typeface="Segoe Sans Text" pitchFamily="2" charset="0"/>
                        </a:rPr>
                        <a:t>, &amp; optimization of customer’s workloads</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a:t>
                      </a:r>
                      <a:r>
                        <a:rPr lang="en-US" sz="700" b="0" i="0" u="none" strike="noStrike" kern="1200" cap="none" spc="0" normalizeH="0" baseline="0" noProof="0">
                          <a:solidFill>
                            <a:schemeClr val="accent1"/>
                          </a:solidFill>
                          <a:latin typeface="+mn-lt"/>
                          <a:ea typeface="+mn-ea"/>
                          <a:cs typeface="Segoe Sans Text" pitchFamily="2" charset="0"/>
                        </a:rPr>
                        <a:t>data</a:t>
                      </a:r>
                      <a:r>
                        <a:rPr lang="en-US" sz="700" b="0" i="0" u="none" strike="noStrike" kern="1200" cap="none" spc="0" normalizeH="0" baseline="0" noProof="0">
                          <a:solidFill>
                            <a:schemeClr val="tx1"/>
                          </a:solidFill>
                          <a:latin typeface="+mn-lt"/>
                          <a:ea typeface="+mn-ea"/>
                          <a:cs typeface="Segoe Sans Text" pitchFamily="2" charset="0"/>
                        </a:rPr>
                        <a:t> </a:t>
                      </a:r>
                      <a:r>
                        <a:rPr lang="en-US" sz="700" b="0" i="0" u="none" strike="noStrike" kern="1200" cap="none" spc="0" normalizeH="0" baseline="0" noProof="0">
                          <a:solidFill>
                            <a:schemeClr val="accent1"/>
                          </a:solidFill>
                          <a:latin typeface="+mn-lt"/>
                          <a:ea typeface="+mn-ea"/>
                          <a:cs typeface="Segoe Sans Text" pitchFamily="2" charset="0"/>
                        </a:rPr>
                        <a:t>estate</a:t>
                      </a:r>
                      <a:r>
                        <a:rPr lang="en-US" sz="700" b="0" i="0" u="none" strike="noStrike" kern="1200" cap="none" spc="0" normalizeH="0" baseline="0" noProof="0">
                          <a:solidFill>
                            <a:schemeClr val="tx1"/>
                          </a:solidFill>
                          <a:latin typeface="+mn-lt"/>
                          <a:ea typeface="+mn-ea"/>
                          <a:cs typeface="Segoe Sans Text" pitchFamily="2" charset="0"/>
                        </a:rPr>
                        <a:t> enable production scale AI use cases </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Contribute to centralized IP Development</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Unified ES/VAS – </a:t>
                      </a:r>
                      <a:r>
                        <a:rPr lang="en-US" sz="700" b="0" i="0" u="none" strike="noStrike" kern="1200" cap="none" spc="0" normalizeH="0" baseline="0" noProof="0">
                          <a:solidFill>
                            <a:schemeClr val="accent1"/>
                          </a:solidFill>
                          <a:latin typeface="+mn-lt"/>
                          <a:ea typeface="+mn-ea"/>
                          <a:cs typeface="Segoe Sans Text" pitchFamily="2" charset="0"/>
                        </a:rPr>
                        <a:t>all Azure</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 </a:t>
                      </a:r>
                      <a:r>
                        <a:rPr lang="en-US" sz="700" b="0" i="0" u="none" strike="noStrike" kern="1200" cap="none" spc="0" normalizeH="0" baseline="0" noProof="0">
                          <a:solidFill>
                            <a:schemeClr val="accent1"/>
                          </a:solidFill>
                          <a:latin typeface="+mn-lt"/>
                          <a:ea typeface="+mn-ea"/>
                          <a:cs typeface="Segoe Sans Text" pitchFamily="2" charset="0"/>
                        </a:rPr>
                        <a:t>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65839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Data Platform</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Data Migration &amp; Modernization</a:t>
                      </a:r>
                    </a:p>
                    <a:p>
                      <a:pPr marL="133350" marR="0" lvl="0" indent="-133350" algn="l" defTabSz="914400" rtl="0" eaLnBrk="1" fontAlgn="auto" latinLnBrk="0" hangingPunct="1">
                        <a:lnSpc>
                          <a:spcPct val="100000"/>
                        </a:lnSpc>
                        <a:spcBef>
                          <a:spcPts val="0"/>
                        </a:spcBef>
                        <a:spcAft>
                          <a:spcPts val="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nalytics</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Arial" panose="020B0604020202020204" pitchFamily="34" charset="0"/>
                        <a:buNone/>
                      </a:pPr>
                      <a:r>
                        <a:rPr lang="en-US" sz="700" b="0" i="0" u="none" strike="noStrike" kern="1200" cap="none" spc="0" normalizeH="0" baseline="0">
                          <a:solidFill>
                            <a:schemeClr val="tx1"/>
                          </a:solidFill>
                          <a:latin typeface="+mn-lt"/>
                          <a:ea typeface="+mn-ea"/>
                          <a:cs typeface="Segoe Sans Text" pitchFamily="2" charset="0"/>
                        </a:rPr>
                        <a:t>Accredited &amp; Certified to deliver with Advanced and Expert level proficiency in workloads:</a:t>
                      </a:r>
                    </a:p>
                    <a:p>
                      <a:pPr marL="168275" marR="0" lvl="0" indent="-139700" algn="l" defTabSz="914400" rtl="0" eaLnBrk="1" fontAlgn="auto" latinLnBrk="0" hangingPunct="1">
                        <a:lnSpc>
                          <a:spcPct val="100000"/>
                        </a:lnSpc>
                        <a:spcBef>
                          <a:spcPts val="0"/>
                        </a:spcBef>
                        <a:spcAft>
                          <a:spcPts val="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Microsoft Fabric </a:t>
                      </a:r>
                      <a:r>
                        <a:rPr lang="en-US" sz="700" b="0" i="0" u="none" strike="noStrike" kern="1200" cap="none" spc="0" normalizeH="0" baseline="0">
                          <a:solidFill>
                            <a:schemeClr val="tx1"/>
                          </a:solidFill>
                          <a:latin typeface="+mn-lt"/>
                          <a:ea typeface="+mn-ea"/>
                          <a:cs typeface="Segoe Sans Text" pitchFamily="2" charset="0"/>
                        </a:rPr>
                        <a:t>(</a:t>
                      </a:r>
                      <a:r>
                        <a:rPr lang="en-US" sz="700" b="0" i="0" u="none" strike="noStrike" kern="1200" cap="none" spc="0" normalizeH="0" baseline="0" err="1">
                          <a:solidFill>
                            <a:schemeClr val="tx1"/>
                          </a:solidFill>
                          <a:latin typeface="+mn-lt"/>
                          <a:ea typeface="+mn-ea"/>
                          <a:cs typeface="Segoe Sans Text" pitchFamily="2" charset="0"/>
                        </a:rPr>
                        <a:t>OneLake</a:t>
                      </a:r>
                      <a:r>
                        <a:rPr lang="en-US" sz="700" b="0" i="0" u="none" strike="noStrike" kern="1200" cap="none" spc="0" normalizeH="0" baseline="0">
                          <a:solidFill>
                            <a:schemeClr val="tx1"/>
                          </a:solidFill>
                          <a:latin typeface="+mn-lt"/>
                          <a:ea typeface="+mn-ea"/>
                          <a:cs typeface="Segoe Sans Text" pitchFamily="2" charset="0"/>
                        </a:rPr>
                        <a:t>, Data Integration, Fabric DW, Real-Time Intelligence)</a:t>
                      </a:r>
                    </a:p>
                    <a:p>
                      <a:pPr marL="168275" marR="0" lvl="0" indent="-139700" algn="l" defTabSz="914400" rtl="0" eaLnBrk="1" fontAlgn="auto" latinLnBrk="0" hangingPunct="1">
                        <a:lnSpc>
                          <a:spcPct val="100000"/>
                        </a:lnSpc>
                        <a:spcBef>
                          <a:spcPts val="0"/>
                        </a:spcBef>
                        <a:spcAft>
                          <a:spcPts val="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zure Databricks</a:t>
                      </a:r>
                    </a:p>
                    <a:p>
                      <a:pPr marL="168275" marR="0" lvl="0" indent="-139700" algn="l" defTabSz="914400" rtl="0" eaLnBrk="1" fontAlgn="auto" latinLnBrk="0" hangingPunct="1">
                        <a:lnSpc>
                          <a:spcPct val="100000"/>
                        </a:lnSpc>
                        <a:spcBef>
                          <a:spcPts val="0"/>
                        </a:spcBef>
                        <a:spcAft>
                          <a:spcPts val="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Microsoft Purview</a:t>
                      </a:r>
                    </a:p>
                    <a:p>
                      <a:pPr marL="168275" marR="0" lvl="0" indent="-139700" algn="l" defTabSz="914400" rtl="0" eaLnBrk="1" fontAlgn="auto" latinLnBrk="0" hangingPunct="1">
                        <a:lnSpc>
                          <a:spcPct val="100000"/>
                        </a:lnSpc>
                        <a:spcBef>
                          <a:spcPts val="0"/>
                        </a:spcBef>
                        <a:spcAft>
                          <a:spcPts val="0"/>
                        </a:spcAft>
                        <a:buClr>
                          <a:schemeClr val="tx1"/>
                        </a:buClr>
                        <a:buSzPct val="100000"/>
                        <a:buFont typeface="+mj-lt"/>
                        <a:buAutoNum type="arabicPeriod"/>
                      </a:pPr>
                      <a:r>
                        <a:rPr lang="en-US" sz="700" b="0" i="0" u="none" strike="noStrike" kern="1200" cap="none" spc="0" normalizeH="0" baseline="0">
                          <a:solidFill>
                            <a:schemeClr val="accent1"/>
                          </a:solidFill>
                          <a:latin typeface="+mn-lt"/>
                          <a:ea typeface="+mn-ea"/>
                          <a:cs typeface="Segoe Sans Text" pitchFamily="2" charset="0"/>
                        </a:rPr>
                        <a:t>Azure Databases </a:t>
                      </a:r>
                      <a:r>
                        <a:rPr lang="en-US" sz="700" b="0" i="0" u="none" strike="noStrike" kern="1200" cap="none" spc="0" normalizeH="0" baseline="0">
                          <a:solidFill>
                            <a:schemeClr val="tx1"/>
                          </a:solidFill>
                          <a:latin typeface="+mn-lt"/>
                          <a:ea typeface="+mn-ea"/>
                          <a:cs typeface="Segoe Sans Text" pitchFamily="2" charset="0"/>
                        </a:rPr>
                        <a:t>(Azure SQL, Azure Postgres SQL, Azure MySQL, Cosmos DB)</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29" name="Rectangle 28">
            <a:extLst>
              <a:ext uri="{FF2B5EF4-FFF2-40B4-BE49-F238E27FC236}">
                <a16:creationId xmlns:a16="http://schemas.microsoft.com/office/drawing/2014/main" id="{9F766855-1652-243C-1898-B6981E8D6329}"/>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45" name="TextBox 44">
            <a:extLst>
              <a:ext uri="{FF2B5EF4-FFF2-40B4-BE49-F238E27FC236}">
                <a16:creationId xmlns:a16="http://schemas.microsoft.com/office/drawing/2014/main" id="{D07D465C-115C-E77D-ED57-13BB8073D6BB}"/>
              </a:ext>
            </a:extLst>
          </p:cNvPr>
          <p:cNvSpPr txBox="1"/>
          <p:nvPr/>
        </p:nvSpPr>
        <p:spPr>
          <a:xfrm>
            <a:off x="425445" y="4478878"/>
            <a:ext cx="1917705"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y your Data Platform</a:t>
            </a:r>
          </a:p>
        </p:txBody>
      </p:sp>
      <p:sp>
        <p:nvSpPr>
          <p:cNvPr id="62" name="TextBox 61">
            <a:extLst>
              <a:ext uri="{FF2B5EF4-FFF2-40B4-BE49-F238E27FC236}">
                <a16:creationId xmlns:a16="http://schemas.microsoft.com/office/drawing/2014/main" id="{95D6DF3D-DD50-084F-83CF-222176D78712}"/>
              </a:ext>
            </a:extLst>
          </p:cNvPr>
          <p:cNvSpPr txBox="1"/>
          <p:nvPr/>
        </p:nvSpPr>
        <p:spPr>
          <a:xfrm>
            <a:off x="425445" y="4712087"/>
            <a:ext cx="1957877"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aka.ms/</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cloudaicsu</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hlinkClick r:id="rId8"/>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9835E426-8CDB-5B63-3E03-DD01E653293A}"/>
              </a:ext>
            </a:extLst>
          </p:cNvPr>
          <p:cNvSpPr txBox="1"/>
          <p:nvPr/>
        </p:nvSpPr>
        <p:spPr>
          <a:xfrm>
            <a:off x="425445" y="5068407"/>
            <a:ext cx="185579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Proactive Resiliency Initiative, Azure Essentials</a:t>
            </a:r>
          </a:p>
        </p:txBody>
      </p:sp>
      <p:sp>
        <p:nvSpPr>
          <p:cNvPr id="61" name="Rectangle 60">
            <a:extLst>
              <a:ext uri="{FF2B5EF4-FFF2-40B4-BE49-F238E27FC236}">
                <a16:creationId xmlns:a16="http://schemas.microsoft.com/office/drawing/2014/main" id="{5A2C2ED6-13B6-7885-55D1-7AC612A5B962}"/>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sp>
        <p:nvSpPr>
          <p:cNvPr id="22" name="TextBox 21">
            <a:extLst>
              <a:ext uri="{FF2B5EF4-FFF2-40B4-BE49-F238E27FC236}">
                <a16:creationId xmlns:a16="http://schemas.microsoft.com/office/drawing/2014/main" id="{73CC6C0B-3C16-684B-CADC-C6A53EE8FA0F}"/>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ols/Repor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23" name="TextBox 22">
            <a:extLst>
              <a:ext uri="{FF2B5EF4-FFF2-40B4-BE49-F238E27FC236}">
                <a16:creationId xmlns:a16="http://schemas.microsoft.com/office/drawing/2014/main" id="{F6C2303A-5674-0094-EEFC-A1875DA4B59B}"/>
              </a:ext>
            </a:extLst>
          </p:cNvPr>
          <p:cNvSpPr txBox="1"/>
          <p:nvPr/>
        </p:nvSpPr>
        <p:spPr>
          <a:xfrm>
            <a:off x="2777299" y="4497928"/>
            <a:ext cx="4727648"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55" name="TextBox 54">
            <a:extLst>
              <a:ext uri="{FF2B5EF4-FFF2-40B4-BE49-F238E27FC236}">
                <a16:creationId xmlns:a16="http://schemas.microsoft.com/office/drawing/2014/main" id="{AC478A01-3771-1792-555D-EDC7470FD465}"/>
              </a:ext>
            </a:extLst>
          </p:cNvPr>
          <p:cNvSpPr txBox="1"/>
          <p:nvPr/>
        </p:nvSpPr>
        <p:spPr>
          <a:xfrm>
            <a:off x="2777299" y="4983219"/>
            <a:ext cx="5062604" cy="101822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1 targets defined.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Meet Job 2 targets for total Completed Pipeline created against quarterly Net New Required budget</a:t>
            </a:r>
            <a:endParaRPr kumimoji="0" lang="en-US" sz="800" b="0" i="0" u="none" strike="sngStrike" kern="1200" cap="none" spc="0" normalizeH="0" baseline="0" noProof="0">
              <a:ln>
                <a:noFill/>
              </a:ln>
              <a:solidFill>
                <a:srgbClr val="FF0000"/>
              </a:solidFill>
              <a:effectLst/>
              <a:uLnTx/>
              <a:uFillTx/>
              <a:latin typeface="Segoe Sans Text"/>
              <a:ea typeface="Calibri" panose="020F0502020204030204" pitchFamily="34" charset="0"/>
              <a:cs typeface="Calibri" panose="020F0502020204030204" pitchFamily="34" charset="0"/>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Repeatable Delivery VTT &gt; 0; On Strategy delivery mix VTT &gt; 0</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Drive Factory engagements where applicable.</a:t>
            </a:r>
          </a:p>
        </p:txBody>
      </p:sp>
      <p:sp>
        <p:nvSpPr>
          <p:cNvPr id="41" name="Graphic 13">
            <a:extLst>
              <a:ext uri="{FF2B5EF4-FFF2-40B4-BE49-F238E27FC236}">
                <a16:creationId xmlns:a16="http://schemas.microsoft.com/office/drawing/2014/main" id="{381E6A08-7F80-0B7D-6280-E470A2353581}"/>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2" name="Graphic 41">
            <a:extLst>
              <a:ext uri="{FF2B5EF4-FFF2-40B4-BE49-F238E27FC236}">
                <a16:creationId xmlns:a16="http://schemas.microsoft.com/office/drawing/2014/main" id="{C6704EEA-D922-157D-A1C3-5C5F6E757D75}"/>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82151" y="1278196"/>
            <a:ext cx="216248" cy="216246"/>
          </a:xfrm>
          <a:prstGeom prst="rect">
            <a:avLst/>
          </a:prstGeom>
        </p:spPr>
      </p:pic>
      <p:sp>
        <p:nvSpPr>
          <p:cNvPr id="50" name="TextBox 49">
            <a:extLst>
              <a:ext uri="{FF2B5EF4-FFF2-40B4-BE49-F238E27FC236}">
                <a16:creationId xmlns:a16="http://schemas.microsoft.com/office/drawing/2014/main" id="{D97E6695-CCBA-5889-6CD0-F2D0969E74CB}"/>
              </a:ext>
            </a:extLst>
          </p:cNvPr>
          <p:cNvSpPr txBox="1"/>
          <p:nvPr/>
        </p:nvSpPr>
        <p:spPr>
          <a:xfrm>
            <a:off x="8100059" y="4497928"/>
            <a:ext cx="3529966" cy="1261884"/>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Databases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Azure SQL, Azure Postgres SQL, Azure MySQL, Cosmos DB)</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Microsoft Fabric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Fabric DW, Real-Time Intelligence, </a:t>
            </a:r>
            <a:r>
              <a:rPr kumimoji="0" lang="en-US" sz="800" b="0" i="0" u="none" strike="noStrike" kern="1200" cap="none" spc="0" normalizeH="0" baseline="0" noProof="0" err="1">
                <a:ln>
                  <a:noFill/>
                </a:ln>
                <a:solidFill>
                  <a:srgbClr val="000000"/>
                </a:solidFill>
                <a:effectLst/>
                <a:uLnTx/>
                <a:uFillTx/>
                <a:latin typeface="Segoe Sans Text Semibold"/>
                <a:ea typeface="Calibri" panose="020F0502020204030204" pitchFamily="34" charset="0"/>
                <a:cs typeface="Calibri" panose="020F0502020204030204" pitchFamily="34" charset="0"/>
              </a:rPr>
              <a:t>OneLake</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 Data Integration, Data Engineering, Copilot, Data Science)</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Azure Databrick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Semibold"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Semibold"/>
                <a:ea typeface="Calibri" panose="020F0502020204030204" pitchFamily="34" charset="0"/>
                <a:cs typeface="Calibri" panose="020F0502020204030204" pitchFamily="34" charset="0"/>
              </a:rPr>
              <a:t>Microsoft Purview</a:t>
            </a:r>
          </a:p>
        </p:txBody>
      </p:sp>
      <p:grpSp>
        <p:nvGrpSpPr>
          <p:cNvPr id="9" name="Group 8">
            <a:extLst>
              <a:ext uri="{FF2B5EF4-FFF2-40B4-BE49-F238E27FC236}">
                <a16:creationId xmlns:a16="http://schemas.microsoft.com/office/drawing/2014/main" id="{2410EF31-9954-BCB7-33E8-7879396C2CEF}"/>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4" name="Table 2 Cell 1, 1 to Text">
              <a:extLst>
                <a:ext uri="{FF2B5EF4-FFF2-40B4-BE49-F238E27FC236}">
                  <a16:creationId xmlns:a16="http://schemas.microsoft.com/office/drawing/2014/main" id="{641C3395-E0A8-391B-D5E2-DA3B7A8C959F}"/>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5" name="Table 2 Cell 2, 1 to Text">
              <a:extLst>
                <a:ext uri="{FF2B5EF4-FFF2-40B4-BE49-F238E27FC236}">
                  <a16:creationId xmlns:a16="http://schemas.microsoft.com/office/drawing/2014/main" id="{F7A765B4-9ED9-8ACA-3E65-D841B29897CF}"/>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7" name="Table 2 Cell 3, 1 to Text">
              <a:extLst>
                <a:ext uri="{FF2B5EF4-FFF2-40B4-BE49-F238E27FC236}">
                  <a16:creationId xmlns:a16="http://schemas.microsoft.com/office/drawing/2014/main" id="{9EEE9E0C-8295-0266-A575-8E23B31B14B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8" name="Table 2 Cell 4, 1 to Text">
              <a:extLst>
                <a:ext uri="{FF2B5EF4-FFF2-40B4-BE49-F238E27FC236}">
                  <a16:creationId xmlns:a16="http://schemas.microsoft.com/office/drawing/2014/main" id="{BFA7560D-BCB3-2319-C156-F5441BF9F741}"/>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0" name="Table 2 Cell 5, 1 to Text">
              <a:extLst>
                <a:ext uri="{FF2B5EF4-FFF2-40B4-BE49-F238E27FC236}">
                  <a16:creationId xmlns:a16="http://schemas.microsoft.com/office/drawing/2014/main" id="{944D3A94-2645-4E12-B657-17472E5C7E17}"/>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21" name="Table 2 Cell 6, 1 to Text">
              <a:extLst>
                <a:ext uri="{FF2B5EF4-FFF2-40B4-BE49-F238E27FC236}">
                  <a16:creationId xmlns:a16="http://schemas.microsoft.com/office/drawing/2014/main" id="{5A784D43-D3FB-2586-0793-699D0D08FC7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4" name="Table 2 Cell 7, 1 to Text">
              <a:extLst>
                <a:ext uri="{FF2B5EF4-FFF2-40B4-BE49-F238E27FC236}">
                  <a16:creationId xmlns:a16="http://schemas.microsoft.com/office/drawing/2014/main" id="{77B452FC-B1CA-5712-29E8-6F5565F9A3BD}"/>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9" name="Table 2 Cell 1, 2 to Text">
              <a:extLst>
                <a:ext uri="{FF2B5EF4-FFF2-40B4-BE49-F238E27FC236}">
                  <a16:creationId xmlns:a16="http://schemas.microsoft.com/office/drawing/2014/main" id="{4D292ACA-798D-E5DF-4CB9-5D4AC6D070F8}"/>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43" name="Table 2 Cell 1, 3 to Text">
              <a:extLst>
                <a:ext uri="{FF2B5EF4-FFF2-40B4-BE49-F238E27FC236}">
                  <a16:creationId xmlns:a16="http://schemas.microsoft.com/office/drawing/2014/main" id="{565A2636-E048-04CF-41F8-65720D264A3D}"/>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sz="800">
                  <a:solidFill>
                    <a:schemeClr val="bg1"/>
                  </a:solidFill>
                </a:rPr>
                <a:t>5.2 Role Overview – SME&amp;C</a:t>
              </a:r>
            </a:p>
          </p:txBody>
        </p:sp>
        <p:sp>
          <p:nvSpPr>
            <p:cNvPr id="44" name="Table 2 Cell 1, 4 to Text">
              <a:extLst>
                <a:ext uri="{FF2B5EF4-FFF2-40B4-BE49-F238E27FC236}">
                  <a16:creationId xmlns:a16="http://schemas.microsoft.com/office/drawing/2014/main" id="{CAC381FA-CC0C-042E-5BBE-9BB2483361D6}"/>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47" name="Table 2 Cell 1, 5 to Text">
              <a:extLst>
                <a:ext uri="{FF2B5EF4-FFF2-40B4-BE49-F238E27FC236}">
                  <a16:creationId xmlns:a16="http://schemas.microsoft.com/office/drawing/2014/main" id="{0AC51B18-90CE-C4DB-31E5-B19DB14DFDC9}"/>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48" name="Table 2 Cell 1, 6 to Text">
              <a:extLst>
                <a:ext uri="{FF2B5EF4-FFF2-40B4-BE49-F238E27FC236}">
                  <a16:creationId xmlns:a16="http://schemas.microsoft.com/office/drawing/2014/main" id="{0E284FBF-6FBA-F2B0-7A40-3454A0AA6227}"/>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49" name="Table 2 Cell 1, 7 to Text">
              <a:extLst>
                <a:ext uri="{FF2B5EF4-FFF2-40B4-BE49-F238E27FC236}">
                  <a16:creationId xmlns:a16="http://schemas.microsoft.com/office/drawing/2014/main" id="{751C66D3-42FF-D9A9-2A60-37BC1ABCC25A}"/>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51" name="Table 2 Cell 1, 8 to Text">
              <a:extLst>
                <a:ext uri="{FF2B5EF4-FFF2-40B4-BE49-F238E27FC236}">
                  <a16:creationId xmlns:a16="http://schemas.microsoft.com/office/drawing/2014/main" id="{4FAF84C2-222F-0D68-8B19-23315867EF13}"/>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279447231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E94B9-4C01-EE45-81A7-AF2DCDB3A60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8DB011-E497-966E-B3B1-197DF3A9077D}"/>
              </a:ext>
            </a:extLst>
          </p:cNvPr>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5" name="Object 4" hidden="1">
                        <a:extLst>
                          <a:ext uri="{FF2B5EF4-FFF2-40B4-BE49-F238E27FC236}">
                            <a16:creationId xmlns:a16="http://schemas.microsoft.com/office/drawing/2014/main" id="{FE8DB011-E497-966E-B3B1-197DF3A9077D}"/>
                          </a:ext>
                        </a:extLst>
                      </p:cNvPr>
                      <p:cNvPicPr/>
                      <p:nvPr/>
                    </p:nvPicPr>
                    <p:blipFill>
                      <a:blip r:embed="rId5"/>
                      <a:stretch>
                        <a:fillRect/>
                      </a:stretch>
                    </p:blipFill>
                    <p:spPr>
                      <a:xfrm>
                        <a:off x="3177" y="1589"/>
                        <a:ext cx="1587" cy="1587"/>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D4BC0E79-B353-0127-2F73-359EB31F68BC}"/>
              </a:ext>
            </a:extLst>
          </p:cNvPr>
          <p:cNvSpPr>
            <a:spLocks noGrp="1"/>
          </p:cNvSpPr>
          <p:nvPr>
            <p:ph type="title"/>
          </p:nvPr>
        </p:nvSpPr>
        <p:spPr>
          <a:xfrm>
            <a:off x="913023" y="1014178"/>
            <a:ext cx="11049000" cy="1615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r" defTabSz="932563" fontAlgn="auto">
              <a:spcBef>
                <a:spcPts val="0"/>
              </a:spcBef>
              <a:spcAft>
                <a:spcPts val="0"/>
              </a:spcAft>
              <a:tabLst/>
              <a:defRPr/>
            </a:pPr>
            <a:r>
              <a:rPr lang="en-US" sz="1050">
                <a:solidFill>
                  <a:schemeClr val="tx2"/>
                </a:solidFill>
                <a:latin typeface="+mn-lt"/>
                <a:ea typeface="Arial Unicode MS"/>
                <a:cs typeface="Arial Unicode MS"/>
              </a:rPr>
              <a:t>FY26 Core Priorities Final– CSA IC – RSG Name: </a:t>
            </a:r>
            <a:r>
              <a:rPr kumimoji="0" lang="en-US" sz="1050" u="none" strike="noStrike" kern="1200" cap="none" spc="0" normalizeH="0" baseline="0" noProof="0">
                <a:ln>
                  <a:noFill/>
                </a:ln>
                <a:solidFill>
                  <a:schemeClr val="tx2"/>
                </a:solidFill>
                <a:effectLst/>
                <a:uLnTx/>
                <a:uFillTx/>
                <a:latin typeface="+mn-lt"/>
                <a:cs typeface="+mn-cs"/>
              </a:rPr>
              <a:t>Cloud Solution </a:t>
            </a:r>
            <a:r>
              <a:rPr lang="en-US" sz="1050" kern="1200">
                <a:solidFill>
                  <a:schemeClr val="tx2"/>
                </a:solidFill>
                <a:latin typeface="+mn-lt"/>
                <a:cs typeface="+mn-cs"/>
              </a:rPr>
              <a:t>Architecture IC – </a:t>
            </a:r>
            <a:r>
              <a:rPr lang="en-US" sz="1050" kern="1200">
                <a:solidFill>
                  <a:schemeClr val="tx2"/>
                </a:solidFill>
                <a:highlight>
                  <a:srgbClr val="FFFF00"/>
                </a:highlight>
                <a:latin typeface="+mn-lt"/>
                <a:cs typeface="+mn-cs"/>
              </a:rPr>
              <a:t>Qual 1: All</a:t>
            </a:r>
            <a:r>
              <a:rPr lang="en-US" sz="1050" kern="1200">
                <a:solidFill>
                  <a:schemeClr val="tx2"/>
                </a:solidFill>
                <a:latin typeface="+mn-lt"/>
                <a:cs typeface="+mn-cs"/>
              </a:rPr>
              <a:t>; </a:t>
            </a:r>
            <a:r>
              <a:rPr kumimoji="0" lang="en-US" sz="1050" u="none" strike="noStrike" kern="1200" cap="none" spc="0" normalizeH="0" baseline="0" noProof="0">
                <a:ln>
                  <a:noFill/>
                </a:ln>
                <a:solidFill>
                  <a:schemeClr val="tx2"/>
                </a:solidFill>
                <a:effectLst/>
                <a:uLnTx/>
                <a:uFillTx/>
                <a:latin typeface="+mn-lt"/>
                <a:cs typeface="+mn-cs"/>
              </a:rPr>
              <a:t>Qual 2: Cloud &amp; AI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Data</a:t>
            </a:r>
            <a:r>
              <a:rPr kumimoji="0" lang="en-US" sz="1050" u="none" strike="noStrike" kern="1200" cap="none" spc="0" normalizeH="0" baseline="0" noProof="0">
                <a:ln>
                  <a:noFill/>
                </a:ln>
                <a:solidFill>
                  <a:schemeClr val="tx2"/>
                </a:solidFill>
                <a:effectLst/>
                <a:uLnTx/>
                <a:uFillTx/>
                <a:latin typeface="+mn-lt"/>
                <a:cs typeface="+mn-cs"/>
              </a:rPr>
              <a:t> | Role Owner: Samantha Wilder</a:t>
            </a:r>
            <a:endParaRPr lang="en-CA" sz="1050">
              <a:solidFill>
                <a:schemeClr val="tx2"/>
              </a:solidFill>
              <a:latin typeface="+mn-lt"/>
            </a:endParaRPr>
          </a:p>
        </p:txBody>
      </p:sp>
      <p:sp>
        <p:nvSpPr>
          <p:cNvPr id="2" name="Rectangle: Rounded Corners 1">
            <a:extLst>
              <a:ext uri="{FF2B5EF4-FFF2-40B4-BE49-F238E27FC236}">
                <a16:creationId xmlns:a16="http://schemas.microsoft.com/office/drawing/2014/main" id="{5A1B2A22-6ACD-4779-2263-3AB79237490D}"/>
              </a:ext>
            </a:extLst>
          </p:cNvPr>
          <p:cNvSpPr/>
          <p:nvPr/>
        </p:nvSpPr>
        <p:spPr bwMode="auto">
          <a:xfrm>
            <a:off x="152400" y="1220365"/>
            <a:ext cx="11868839" cy="3651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endParaRPr lang="en-US" b="1"/>
          </a:p>
        </p:txBody>
      </p:sp>
      <p:graphicFrame>
        <p:nvGraphicFramePr>
          <p:cNvPr id="13" name="Table 12">
            <a:extLst>
              <a:ext uri="{FF2B5EF4-FFF2-40B4-BE49-F238E27FC236}">
                <a16:creationId xmlns:a16="http://schemas.microsoft.com/office/drawing/2014/main" id="{C12D1DA0-D5CE-7B35-395C-008C60696747}"/>
              </a:ext>
            </a:extLst>
          </p:cNvPr>
          <p:cNvGraphicFramePr>
            <a:graphicFrameLocks noGrp="1"/>
          </p:cNvGraphicFramePr>
          <p:nvPr>
            <p:extLst>
              <p:ext uri="{D42A27DB-BD31-4B8C-83A1-F6EECF244321}">
                <p14:modId xmlns:p14="http://schemas.microsoft.com/office/powerpoint/2010/main" val="2344669205"/>
              </p:ext>
            </p:extLst>
          </p:nvPr>
        </p:nvGraphicFramePr>
        <p:xfrm>
          <a:off x="152400" y="1214320"/>
          <a:ext cx="11887200" cy="5572673"/>
        </p:xfrm>
        <a:graphic>
          <a:graphicData uri="http://schemas.openxmlformats.org/drawingml/2006/table">
            <a:tbl>
              <a:tblPr firstRow="1" bandRow="1">
                <a:tableStyleId>{2D5ABB26-0587-4C30-8999-92F81FD0307C}</a:tableStyleId>
              </a:tblPr>
              <a:tblGrid>
                <a:gridCol w="315512">
                  <a:extLst>
                    <a:ext uri="{9D8B030D-6E8A-4147-A177-3AD203B41FA5}">
                      <a16:colId xmlns:a16="http://schemas.microsoft.com/office/drawing/2014/main" val="4195672858"/>
                    </a:ext>
                  </a:extLst>
                </a:gridCol>
                <a:gridCol w="1273135">
                  <a:extLst>
                    <a:ext uri="{9D8B030D-6E8A-4147-A177-3AD203B41FA5}">
                      <a16:colId xmlns:a16="http://schemas.microsoft.com/office/drawing/2014/main" val="2870045406"/>
                    </a:ext>
                  </a:extLst>
                </a:gridCol>
                <a:gridCol w="2596546">
                  <a:extLst>
                    <a:ext uri="{9D8B030D-6E8A-4147-A177-3AD203B41FA5}">
                      <a16:colId xmlns:a16="http://schemas.microsoft.com/office/drawing/2014/main" val="913734882"/>
                    </a:ext>
                  </a:extLst>
                </a:gridCol>
                <a:gridCol w="7702007">
                  <a:extLst>
                    <a:ext uri="{9D8B030D-6E8A-4147-A177-3AD203B41FA5}">
                      <a16:colId xmlns:a16="http://schemas.microsoft.com/office/drawing/2014/main" val="3900489793"/>
                    </a:ext>
                  </a:extLst>
                </a:gridCol>
              </a:tblGrid>
              <a:tr h="375833">
                <a:tc>
                  <a:txBody>
                    <a:bodyPr/>
                    <a:lstStyle/>
                    <a:p>
                      <a:pPr algn="ctr"/>
                      <a:r>
                        <a:rPr lang="en-US" sz="1050">
                          <a:solidFill>
                            <a:schemeClr val="bg1"/>
                          </a:solidFill>
                          <a:latin typeface="+mj-lt"/>
                        </a:rPr>
                        <a:t>#</a:t>
                      </a:r>
                    </a:p>
                  </a:txBody>
                  <a:tcPr anchor="ctr">
                    <a:lnB w="9525" cap="flat" cmpd="sng" algn="ctr">
                      <a:noFill/>
                      <a:prstDash val="solid"/>
                      <a:round/>
                      <a:headEnd type="none" w="med" len="med"/>
                      <a:tailEnd type="none" w="med" len="med"/>
                    </a:lnB>
                  </a:tcPr>
                </a:tc>
                <a:tc>
                  <a:txBody>
                    <a:bodyPr/>
                    <a:lstStyle/>
                    <a:p>
                      <a:pPr algn="ctr"/>
                      <a:r>
                        <a:rPr lang="en-US" sz="1050">
                          <a:solidFill>
                            <a:schemeClr val="bg1"/>
                          </a:solidFill>
                          <a:latin typeface="+mj-lt"/>
                        </a:rPr>
                        <a:t>Core Priority Title</a:t>
                      </a:r>
                    </a:p>
                  </a:txBody>
                  <a:tcPr anchor="ctr">
                    <a:lnB w="9525" cap="flat" cmpd="sng" algn="ctr">
                      <a:noFill/>
                      <a:prstDash val="solid"/>
                      <a:round/>
                      <a:headEnd type="none" w="med" len="med"/>
                      <a:tailEnd type="none" w="med" len="med"/>
                    </a:lnB>
                  </a:tcPr>
                </a:tc>
                <a:tc>
                  <a:txBody>
                    <a:bodyPr/>
                    <a:lstStyle/>
                    <a:p>
                      <a:pPr algn="ctr"/>
                      <a:r>
                        <a:rPr lang="en-US" sz="1050">
                          <a:solidFill>
                            <a:schemeClr val="bg1"/>
                          </a:solidFill>
                          <a:latin typeface="+mj-lt"/>
                        </a:rPr>
                        <a:t>Core Priority</a:t>
                      </a:r>
                    </a:p>
                  </a:txBody>
                  <a:tcPr anchor="ctr">
                    <a:lnB w="9525" cap="flat" cmpd="sng" algn="ctr">
                      <a:noFill/>
                      <a:prstDash val="solid"/>
                      <a:round/>
                      <a:headEnd type="none" w="med" len="med"/>
                      <a:tailEnd type="none" w="med" len="med"/>
                    </a:lnB>
                  </a:tcPr>
                </a:tc>
                <a:tc>
                  <a:txBody>
                    <a:bodyPr/>
                    <a:lstStyle/>
                    <a:p>
                      <a:pPr algn="ctr"/>
                      <a:r>
                        <a:rPr lang="en-US" sz="1050">
                          <a:solidFill>
                            <a:schemeClr val="bg1"/>
                          </a:solidFill>
                          <a:latin typeface="+mj-lt"/>
                        </a:rPr>
                        <a:t>CSA Critical Indicators of Success  (How will you measure success?)</a:t>
                      </a:r>
                    </a:p>
                  </a:txBody>
                  <a:tcPr anchor="ctr">
                    <a:lnB w="9525" cap="flat" cmpd="sng" algn="ctr">
                      <a:noFill/>
                      <a:prstDash val="solid"/>
                      <a:round/>
                      <a:headEnd type="none" w="med" len="med"/>
                      <a:tailEnd type="none" w="med" len="med"/>
                    </a:lnB>
                  </a:tcPr>
                </a:tc>
                <a:extLst>
                  <a:ext uri="{0D108BD9-81ED-4DB2-BD59-A6C34878D82A}">
                    <a16:rowId xmlns:a16="http://schemas.microsoft.com/office/drawing/2014/main" val="3117565343"/>
                  </a:ext>
                </a:extLst>
              </a:tr>
              <a:tr h="124714">
                <a:tc>
                  <a:txBody>
                    <a:bodyPr/>
                    <a:lstStyle/>
                    <a:p>
                      <a:r>
                        <a:rPr lang="en-US" sz="900">
                          <a:solidFill>
                            <a:schemeClr val="tx2"/>
                          </a:solidFill>
                        </a:rPr>
                        <a:t>1</a:t>
                      </a: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u="none" strike="noStrike" baseline="0" noProof="0">
                          <a:solidFill>
                            <a:srgbClr val="000000"/>
                          </a:solidFill>
                        </a:rPr>
                        <a:t>Unleash our talent to unlock customer/partner value </a:t>
                      </a:r>
                      <a:endParaRPr lang="en-US" sz="900" b="1">
                        <a:solidFill>
                          <a:schemeClr val="tx1"/>
                        </a:solidFill>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GB" sz="900" b="0" u="none" strike="noStrike" baseline="0" noProof="0">
                          <a:solidFill>
                            <a:srgbClr val="000000"/>
                          </a:solidFill>
                          <a:effectLst/>
                        </a:rPr>
                        <a:t>Bring deep customer/partner and domain understanding—product, technical, business, and industry—enabling us to drive customer/partner value</a:t>
                      </a:r>
                      <a:endParaRPr lang="en-GB" sz="900" b="0"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600"/>
                        </a:spcAft>
                        <a:buNone/>
                      </a:pPr>
                      <a:r>
                        <a:rPr lang="en-GB" sz="900" b="1" kern="1200">
                          <a:solidFill>
                            <a:schemeClr val="tx1"/>
                          </a:solidFill>
                          <a:effectLst/>
                        </a:rPr>
                        <a:t>1.1 AI Trusted Advisor: </a:t>
                      </a:r>
                      <a:r>
                        <a:rPr lang="en-GB" sz="900" kern="1200">
                          <a:solidFill>
                            <a:schemeClr val="tx1"/>
                          </a:solidFill>
                          <a:effectLst/>
                        </a:rPr>
                        <a:t>Complete AI Fundamentals or equivalent training and leverage AI architecture best practices to accelerate AI adoption. </a:t>
                      </a:r>
                    </a:p>
                    <a:p>
                      <a:pPr marL="0" marR="0">
                        <a:lnSpc>
                          <a:spcPct val="100000"/>
                        </a:lnSpc>
                        <a:spcAft>
                          <a:spcPts val="600"/>
                        </a:spcAft>
                        <a:buNone/>
                      </a:pPr>
                      <a:r>
                        <a:rPr lang="en-GB" sz="900" b="1" kern="1200">
                          <a:solidFill>
                            <a:schemeClr val="tx1"/>
                          </a:solidFill>
                          <a:effectLst/>
                        </a:rPr>
                        <a:t>1.2 Technical Intensity</a:t>
                      </a:r>
                      <a:r>
                        <a:rPr lang="en-GB" sz="900" kern="1200">
                          <a:solidFill>
                            <a:schemeClr val="tx1"/>
                          </a:solidFill>
                          <a:effectLst/>
                        </a:rPr>
                        <a:t>: </a:t>
                      </a:r>
                      <a:r>
                        <a:rPr lang="en-US" sz="900" kern="1200">
                          <a:solidFill>
                            <a:schemeClr val="tx1"/>
                          </a:solidFill>
                          <a:effectLst/>
                        </a:rPr>
                        <a:t>Complete Required quarterly Cloud &amp; AI Unify your Data Platform training, achieve certifications, accreditations, and skills to deliver with Advanced (L300) and Expert (L400) level proficiency in priority workloads in Azure: Azure Analytics, Purview, and Azure Databases. Maintain skills inventory.</a:t>
                      </a:r>
                    </a:p>
                    <a:p>
                      <a:pPr marL="0" marR="0">
                        <a:lnSpc>
                          <a:spcPct val="100000"/>
                        </a:lnSpc>
                        <a:spcAft>
                          <a:spcPts val="600"/>
                        </a:spcAft>
                        <a:buNone/>
                      </a:pPr>
                      <a:r>
                        <a:rPr lang="en-US" sz="900" b="1" kern="1200">
                          <a:solidFill>
                            <a:schemeClr val="tx1"/>
                          </a:solidFill>
                          <a:effectLst/>
                        </a:rPr>
                        <a:t>1.3 </a:t>
                      </a:r>
                      <a:r>
                        <a:rPr lang="en-GB" sz="900" b="1" kern="1200">
                          <a:solidFill>
                            <a:schemeClr val="tx1"/>
                          </a:solidFill>
                          <a:effectLst/>
                        </a:rPr>
                        <a:t>Community Engagement &amp; IP</a:t>
                      </a:r>
                      <a:r>
                        <a:rPr lang="en-GB" sz="900" kern="1200">
                          <a:solidFill>
                            <a:schemeClr val="tx1"/>
                          </a:solidFill>
                          <a:effectLst/>
                        </a:rPr>
                        <a:t>: </a:t>
                      </a:r>
                      <a:r>
                        <a:rPr lang="en-US" sz="900" kern="1200">
                          <a:solidFill>
                            <a:schemeClr val="tx1"/>
                          </a:solidFill>
                          <a:effectLst/>
                        </a:rPr>
                        <a:t>Actively contribute to Cloud &amp; AI Data communities and IP development with engineering. Participate in Shadow program. Share customer scenarios, best practices and outcome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57263">
                <a:tc>
                  <a:txBody>
                    <a:bodyPr/>
                    <a:lstStyle/>
                    <a:p>
                      <a:r>
                        <a:rPr lang="en-US" sz="900">
                          <a:solidFill>
                            <a:schemeClr val="tx2"/>
                          </a:solidFill>
                        </a:rPr>
                        <a:t>2</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US" sz="900" b="1" u="none" strike="noStrike" baseline="0" noProof="0">
                          <a:solidFill>
                            <a:srgbClr val="000000"/>
                          </a:solidFill>
                        </a:rPr>
                        <a:t>Build trust through product excellence </a:t>
                      </a:r>
                      <a:endParaRPr lang="en-US" sz="900" b="1" i="0" u="none" strike="noStrike" baseline="0" noProof="0">
                        <a:solidFill>
                          <a:srgbClr val="000000"/>
                        </a:solidFill>
                        <a:latin typeface="Segoe UI"/>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Build foundational trust through reliable, resilient, and secure solutions and champion customer/partner feedback to continuously improve the products and solutions we deliver. </a:t>
                      </a:r>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600"/>
                        </a:spcAft>
                        <a:buNone/>
                      </a:pPr>
                      <a:r>
                        <a:rPr lang="en-US" sz="900" b="1" kern="1200">
                          <a:solidFill>
                            <a:schemeClr val="tx1"/>
                          </a:solidFill>
                          <a:effectLst/>
                        </a:rPr>
                        <a:t>2.1 Security #1 Priority</a:t>
                      </a:r>
                      <a:r>
                        <a:rPr lang="en-US" sz="900" kern="1200">
                          <a:solidFill>
                            <a:schemeClr val="tx1"/>
                          </a:solidFill>
                          <a:effectLst/>
                        </a:rPr>
                        <a:t>: Deliver Data Platform and Analytics architectures, prioritizing Defender for Cloud and Data Security </a:t>
                      </a:r>
                      <a:endParaRPr lang="en-US" sz="1200" kern="100">
                        <a:solidFill>
                          <a:schemeClr val="tx1"/>
                        </a:solidFill>
                        <a:effectLst/>
                      </a:endParaRPr>
                    </a:p>
                    <a:p>
                      <a:pPr marL="0" marR="0">
                        <a:lnSpc>
                          <a:spcPct val="100000"/>
                        </a:lnSpc>
                        <a:spcAft>
                          <a:spcPts val="600"/>
                        </a:spcAft>
                        <a:buNone/>
                      </a:pPr>
                      <a:r>
                        <a:rPr lang="en-US" sz="900" b="1" kern="1200">
                          <a:solidFill>
                            <a:schemeClr val="tx1"/>
                          </a:solidFill>
                          <a:effectLst/>
                        </a:rPr>
                        <a:t>2.2 Reliable, resilient, optimized solutions</a:t>
                      </a:r>
                      <a:r>
                        <a:rPr lang="en-US" sz="900" kern="1200">
                          <a:solidFill>
                            <a:schemeClr val="tx1"/>
                          </a:solidFill>
                          <a:effectLst/>
                        </a:rPr>
                        <a:t>: Address “Priority Zero” resiliency vulnerabilities (identified via telemetry and/or WARA) in customers’ mission critical workloads, including networking/ExpressRoute and multi-zone/multi-region architecture</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2.3 Voice of the Customer/Partner: </a:t>
                      </a:r>
                      <a:r>
                        <a:rPr lang="en-GB" sz="900" kern="1200">
                          <a:solidFill>
                            <a:schemeClr val="tx1"/>
                          </a:solidFill>
                          <a:effectLst/>
                        </a:rPr>
                        <a:t>Champion customer/partner feedback to influence Engineering’s product/services roadmap</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5139600"/>
                  </a:ext>
                </a:extLst>
              </a:tr>
              <a:tr h="0">
                <a:tc>
                  <a:txBody>
                    <a:bodyPr/>
                    <a:lstStyle/>
                    <a:p>
                      <a:r>
                        <a:rPr lang="en-US" sz="900">
                          <a:solidFill>
                            <a:schemeClr val="tx2"/>
                          </a:solidFill>
                        </a:rPr>
                        <a:t>3</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1" u="none" strike="noStrike" baseline="0" noProof="0">
                          <a:solidFill>
                            <a:srgbClr val="000000"/>
                          </a:solidFill>
                          <a:effectLst/>
                        </a:rPr>
                        <a:t>Differentiate through world class  Customer Experience </a:t>
                      </a:r>
                    </a:p>
                    <a:p>
                      <a:pPr marL="0" lvl="0" indent="0" algn="l">
                        <a:spcBef>
                          <a:spcPts val="0"/>
                        </a:spcBef>
                        <a:spcAft>
                          <a:spcPts val="0"/>
                        </a:spcAft>
                        <a:buNone/>
                      </a:pPr>
                      <a:endParaRPr lang="en-GB" sz="900" b="1" u="none" strike="noStrike">
                        <a:solidFill>
                          <a:schemeClr val="tx1"/>
                        </a:solidFill>
                        <a:effectLst/>
                      </a:endParaRPr>
                    </a:p>
                    <a:p>
                      <a:pPr marL="0" indent="0" algn="l" rtl="0" fontAlgn="ctr">
                        <a:spcBef>
                          <a:spcPts val="0"/>
                        </a:spcBef>
                        <a:spcAft>
                          <a:spcPts val="0"/>
                        </a:spcAft>
                        <a:buNone/>
                      </a:pPr>
                      <a:endParaRPr lang="en-IE" sz="900" b="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Relentlessly pursue a simple, consistent, and connected customer experience that delights customers/partners and grows our business.  </a:t>
                      </a:r>
                    </a:p>
                    <a:p>
                      <a:pPr marL="0" lvl="0" indent="0" algn="l">
                        <a:spcBef>
                          <a:spcPts val="0"/>
                        </a:spcBef>
                        <a:spcAft>
                          <a:spcPts val="0"/>
                        </a:spcAft>
                        <a:buNone/>
                      </a:pPr>
                      <a:endParaRPr lang="en-GB" sz="900" b="1" u="none" strike="noStrike">
                        <a:solidFill>
                          <a:schemeClr val="tx1"/>
                        </a:solidFill>
                        <a:effectLst/>
                      </a:endParaRPr>
                    </a:p>
                    <a:p>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600"/>
                        </a:spcAft>
                        <a:buNone/>
                      </a:pPr>
                      <a:r>
                        <a:rPr lang="en-GB" sz="900" b="1" kern="1200">
                          <a:solidFill>
                            <a:schemeClr val="tx1"/>
                          </a:solidFill>
                          <a:effectLst/>
                        </a:rPr>
                        <a:t>3.1 Customer Experience</a:t>
                      </a:r>
                      <a:r>
                        <a:rPr lang="en-GB" sz="900" kern="1200">
                          <a:solidFill>
                            <a:schemeClr val="tx1"/>
                          </a:solidFill>
                          <a:effectLst/>
                        </a:rPr>
                        <a:t>: </a:t>
                      </a:r>
                      <a:r>
                        <a:rPr lang="en-US" sz="900" kern="1200">
                          <a:solidFill>
                            <a:schemeClr val="tx1"/>
                          </a:solidFill>
                          <a:effectLst/>
                        </a:rPr>
                        <a:t>Together with the CSAM/ATU/STU, during delivery, ensure completeness and accuracy of the entire Azure consumption plan and customer success plan</a:t>
                      </a:r>
                    </a:p>
                    <a:p>
                      <a:pPr marL="0" marR="0">
                        <a:lnSpc>
                          <a:spcPct val="100000"/>
                        </a:lnSpc>
                        <a:spcAft>
                          <a:spcPts val="600"/>
                        </a:spcAft>
                        <a:buNone/>
                      </a:pPr>
                      <a:r>
                        <a:rPr lang="en-GB" sz="900" b="1" kern="1200">
                          <a:solidFill>
                            <a:schemeClr val="tx1"/>
                          </a:solidFill>
                          <a:effectLst/>
                        </a:rPr>
                        <a:t>3.2 Customer/Partner Outcomes</a:t>
                      </a:r>
                      <a:r>
                        <a:rPr lang="en-GB" sz="900" kern="1200">
                          <a:solidFill>
                            <a:schemeClr val="tx1"/>
                          </a:solidFill>
                          <a:effectLst/>
                        </a:rPr>
                        <a:t>: Consistently engage as One Microsoft following MCEM orchestration and</a:t>
                      </a:r>
                      <a:r>
                        <a:rPr lang="en-US" sz="900" kern="1200">
                          <a:solidFill>
                            <a:schemeClr val="tx1"/>
                          </a:solidFill>
                          <a:effectLst/>
                        </a:rPr>
                        <a:t> proactively manage risks to drive on-time, on-revenue closure of CSU/STU/Partner committed milestones</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3.3 Customer Zero</a:t>
                      </a:r>
                      <a:r>
                        <a:rPr lang="en-GB" sz="900" kern="1200">
                          <a:solidFill>
                            <a:schemeClr val="tx1"/>
                          </a:solidFill>
                          <a:effectLst/>
                        </a:rPr>
                        <a:t>: </a:t>
                      </a:r>
                      <a:r>
                        <a:rPr lang="en-US" sz="900" kern="1200">
                          <a:solidFill>
                            <a:schemeClr val="tx1"/>
                          </a:solidFill>
                          <a:effectLst/>
                        </a:rPr>
                        <a:t>Share Data Platform &amp; Analytics best practices with your customers/partners to inspire them to accelerate AI adoption. Tell the Microsoft AI sto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124714">
                <a:tc>
                  <a:txBody>
                    <a:bodyPr/>
                    <a:lstStyle/>
                    <a:p>
                      <a:pPr lvl="0">
                        <a:buNone/>
                      </a:pPr>
                      <a:r>
                        <a:rPr lang="en-US" sz="900">
                          <a:solidFill>
                            <a:schemeClr val="tx2"/>
                          </a:solidFill>
                        </a:rPr>
                        <a:t>4</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u="none" strike="noStrike" baseline="0" noProof="0">
                          <a:solidFill>
                            <a:srgbClr val="000000"/>
                          </a:solidFill>
                        </a:rPr>
                        <a:t>Drive operational excellence through AI </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As Customer Zero, leverage AI to accelerate our digital transformation and model the productivity and efficiency gains through our products, platforms, and solutions.</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600"/>
                        </a:spcAft>
                        <a:buNone/>
                      </a:pPr>
                      <a:r>
                        <a:rPr lang="en-GB" sz="900" b="1" kern="1200">
                          <a:solidFill>
                            <a:schemeClr val="tx1"/>
                          </a:solidFill>
                          <a:effectLst/>
                        </a:rPr>
                        <a:t>4.1 Business Insights: </a:t>
                      </a:r>
                      <a:r>
                        <a:rPr lang="en-GB" sz="900" kern="1200">
                          <a:solidFill>
                            <a:schemeClr val="tx1"/>
                          </a:solidFill>
                          <a:effectLst/>
                        </a:rPr>
                        <a:t>Leverage AI </a:t>
                      </a:r>
                      <a:r>
                        <a:rPr lang="en-US" sz="900" kern="1200">
                          <a:solidFill>
                            <a:schemeClr val="tx1"/>
                          </a:solidFill>
                          <a:effectLst/>
                        </a:rPr>
                        <a:t>to analyze situations, make informed decisions, &amp; drive strategies that align with your customer’s goals &amp; objectives. Do this in conjunction with your manager.</a:t>
                      </a:r>
                      <a:endParaRPr lang="en-US" sz="1200" kern="100">
                        <a:solidFill>
                          <a:schemeClr val="tx1"/>
                        </a:solidFill>
                        <a:effectLst/>
                      </a:endParaRPr>
                    </a:p>
                    <a:p>
                      <a:pPr marL="0" marR="0">
                        <a:lnSpc>
                          <a:spcPct val="100000"/>
                        </a:lnSpc>
                        <a:spcAft>
                          <a:spcPts val="600"/>
                        </a:spcAft>
                        <a:buNone/>
                      </a:pPr>
                      <a:r>
                        <a:rPr lang="en-GB" sz="900" b="1" kern="1200">
                          <a:solidFill>
                            <a:schemeClr val="tx1"/>
                          </a:solidFill>
                          <a:effectLst/>
                        </a:rPr>
                        <a:t>4.2 Operational excellence</a:t>
                      </a:r>
                      <a:r>
                        <a:rPr lang="en-GB" sz="900" kern="1200">
                          <a:solidFill>
                            <a:schemeClr val="tx1"/>
                          </a:solidFill>
                          <a:effectLst/>
                        </a:rPr>
                        <a:t>: Adhere to Guidelines for MCEM, Consumption &amp; Usage Excellence, Customer </a:t>
                      </a:r>
                      <a:r>
                        <a:rPr lang="en-GB" sz="900" kern="1200" err="1">
                          <a:solidFill>
                            <a:schemeClr val="tx1"/>
                          </a:solidFill>
                          <a:effectLst/>
                        </a:rPr>
                        <a:t>Contactability</a:t>
                      </a:r>
                      <a:r>
                        <a:rPr lang="en-GB" sz="900" kern="1200">
                          <a:solidFill>
                            <a:schemeClr val="tx1"/>
                          </a:solidFill>
                          <a:effectLst/>
                        </a:rPr>
                        <a:t>. Comply with 100% Labor Logging (defined by area guidelines), as required by company policy, CE&amp;S business rules, and legal requirements. </a:t>
                      </a:r>
                    </a:p>
                    <a:p>
                      <a:pPr marL="0" marR="0">
                        <a:lnSpc>
                          <a:spcPct val="100000"/>
                        </a:lnSpc>
                        <a:spcAft>
                          <a:spcPts val="600"/>
                        </a:spcAft>
                        <a:buNone/>
                      </a:pPr>
                      <a:r>
                        <a:rPr lang="en-GB" sz="900" b="1" kern="1200">
                          <a:solidFill>
                            <a:schemeClr val="tx1"/>
                          </a:solidFill>
                          <a:effectLst/>
                        </a:rPr>
                        <a:t>4.3 Maximize MS/CSU-Invested ROI: </a:t>
                      </a:r>
                      <a:r>
                        <a:rPr lang="en-GB" sz="900" b="0" kern="1200">
                          <a:solidFill>
                            <a:schemeClr val="tx1"/>
                          </a:solidFill>
                          <a:effectLst/>
                        </a:rPr>
                        <a:t>L</a:t>
                      </a:r>
                      <a:r>
                        <a:rPr lang="en-GB" sz="900" kern="1200">
                          <a:solidFill>
                            <a:schemeClr val="tx1"/>
                          </a:solidFill>
                          <a:effectLst/>
                        </a:rPr>
                        <a:t>everage scale execution engines (e.g. Cloud Accelerate Factory) as a priority. Through Unified provide </a:t>
                      </a:r>
                      <a:r>
                        <a:rPr lang="en-US" sz="900" kern="1200">
                          <a:solidFill>
                            <a:schemeClr val="tx1"/>
                          </a:solidFill>
                          <a:effectLst/>
                        </a:rPr>
                        <a:t>Factory Delivery oversight and escalation support to ensure a successful customer delivery with high customer satisfaction.</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9779708"/>
                  </a:ext>
                </a:extLst>
              </a:tr>
              <a:tr h="206012">
                <a:tc>
                  <a:txBody>
                    <a:bodyPr/>
                    <a:lstStyle/>
                    <a:p>
                      <a:r>
                        <a:rPr lang="en-US" sz="900">
                          <a:solidFill>
                            <a:schemeClr val="tx2"/>
                          </a:solidFill>
                        </a:rPr>
                        <a:t>5</a:t>
                      </a: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US" sz="900" b="1" u="none" strike="noStrike" baseline="0" noProof="0">
                          <a:solidFill>
                            <a:srgbClr val="000000"/>
                          </a:solidFill>
                        </a:rPr>
                        <a:t>Accelerate customer/partner outcomes through delivery excellence </a:t>
                      </a:r>
                    </a:p>
                    <a:p>
                      <a:pPr lvl="0">
                        <a:buNone/>
                      </a:pPr>
                      <a:endParaRPr lang="en-US" sz="900" b="1" i="1">
                        <a:solidFill>
                          <a:schemeClr val="tx1"/>
                        </a:solidFill>
                      </a:endParaRP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GB" sz="900" b="0" u="none" strike="noStrike" baseline="0" noProof="0">
                          <a:solidFill>
                            <a:srgbClr val="000000"/>
                          </a:solidFill>
                          <a:effectLst/>
                        </a:rPr>
                        <a:t>Obsess over driving value for our customers/partners through shaping the right offers, delivering through our integrated services portfolio</a:t>
                      </a:r>
                    </a:p>
                    <a:p>
                      <a:pPr marL="0" marR="0" lvl="0" indent="0" algn="l" defTabSz="1110447">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tcPr>
                </a:tc>
                <a:tc>
                  <a:txBody>
                    <a:bodyPr/>
                    <a:lstStyle/>
                    <a:p>
                      <a:pPr marL="0" marR="0">
                        <a:lnSpc>
                          <a:spcPct val="100000"/>
                        </a:lnSpc>
                        <a:spcAft>
                          <a:spcPts val="600"/>
                        </a:spcAft>
                        <a:buNone/>
                      </a:pPr>
                      <a:r>
                        <a:rPr lang="en-GB" sz="900" b="1" kern="1200">
                          <a:solidFill>
                            <a:schemeClr val="tx1"/>
                          </a:solidFill>
                          <a:effectLst/>
                        </a:rPr>
                        <a:t>5.1 Delivery Excellence &amp; Continuous Improvement</a:t>
                      </a:r>
                      <a:r>
                        <a:rPr lang="en-GB" sz="900" kern="1200">
                          <a:solidFill>
                            <a:schemeClr val="tx1"/>
                          </a:solidFill>
                          <a:effectLst/>
                        </a:rPr>
                        <a:t>: </a:t>
                      </a:r>
                      <a:r>
                        <a:rPr lang="en-US" sz="900" kern="1200">
                          <a:solidFill>
                            <a:schemeClr val="tx1"/>
                          </a:solidFill>
                          <a:effectLst/>
                        </a:rPr>
                        <a:t>Own (contribute, if SME&amp;C) committed production milestones, achieving 95%+ commit-to-close rate (Job 1) each quarter for Unified customers in Classic and Accelerate territories. Use repeatable IP/artifacts in delivery to drive efficiency and scale.</a:t>
                      </a:r>
                      <a:endParaRPr lang="en-US" sz="1200" kern="100">
                        <a:solidFill>
                          <a:schemeClr val="tx1"/>
                        </a:solidFill>
                        <a:effectLst/>
                      </a:endParaRPr>
                    </a:p>
                    <a:p>
                      <a:pPr marL="0" marR="0">
                        <a:lnSpc>
                          <a:spcPct val="100000"/>
                        </a:lnSpc>
                        <a:spcAft>
                          <a:spcPts val="600"/>
                        </a:spcAft>
                        <a:buNone/>
                      </a:pPr>
                      <a:r>
                        <a:rPr lang="en-US" sz="900" b="1" kern="1200">
                          <a:solidFill>
                            <a:schemeClr val="tx1"/>
                          </a:solidFill>
                          <a:effectLst/>
                        </a:rPr>
                        <a:t>5.2 Consumption/Usage Impact</a:t>
                      </a:r>
                      <a:r>
                        <a:rPr lang="en-US" sz="900" kern="1200">
                          <a:solidFill>
                            <a:schemeClr val="tx1"/>
                          </a:solidFill>
                          <a:effectLst/>
                        </a:rPr>
                        <a:t>: Apply a consultative approach to Job 2 to drive next best action execution and generate incremental pipeline (Job 2) from every delivery engagement. </a:t>
                      </a:r>
                    </a:p>
                    <a:p>
                      <a:pPr marL="0" marR="0">
                        <a:lnSpc>
                          <a:spcPct val="100000"/>
                        </a:lnSpc>
                        <a:spcAft>
                          <a:spcPts val="600"/>
                        </a:spcAft>
                        <a:buNone/>
                      </a:pPr>
                      <a:r>
                        <a:rPr lang="en-GB" sz="900" b="1" kern="1200">
                          <a:solidFill>
                            <a:schemeClr val="tx1"/>
                          </a:solidFill>
                          <a:effectLst/>
                        </a:rPr>
                        <a:t>5.3 Unified &amp; Enhanced Solutions</a:t>
                      </a:r>
                      <a:r>
                        <a:rPr lang="en-GB" sz="900" kern="1200">
                          <a:solidFill>
                            <a:schemeClr val="tx1"/>
                          </a:solidFill>
                          <a:effectLst/>
                        </a:rPr>
                        <a:t>: </a:t>
                      </a:r>
                      <a:r>
                        <a:rPr lang="en-US" sz="900" kern="1200">
                          <a:solidFill>
                            <a:schemeClr val="tx1"/>
                          </a:solidFill>
                          <a:effectLst/>
                        </a:rPr>
                        <a:t>Drive repeatable deliveries, leveraging Unified IP, to achieve targeted outcomes at each stage of the MCEM cycle to accelerate consumption. Prompt customer feedback and earn a VSAT score with each delive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870294767"/>
                  </a:ext>
                </a:extLst>
              </a:tr>
            </a:tbl>
          </a:graphicData>
        </a:graphic>
      </p:graphicFrame>
      <p:sp>
        <p:nvSpPr>
          <p:cNvPr id="4" name="Title 1">
            <a:extLst>
              <a:ext uri="{FF2B5EF4-FFF2-40B4-BE49-F238E27FC236}">
                <a16:creationId xmlns:a16="http://schemas.microsoft.com/office/drawing/2014/main" id="{F77203E8-5626-1266-DDF3-0CDAC6E1E4C4}"/>
              </a:ext>
            </a:extLst>
          </p:cNvPr>
          <p:cNvSpPr txBox="1">
            <a:spLocks/>
          </p:cNvSpPr>
          <p:nvPr/>
        </p:nvSpPr>
        <p:spPr>
          <a:xfrm>
            <a:off x="161580" y="696141"/>
            <a:ext cx="11315702"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lang="en-US" sz="3600" b="0" i="0" u="none" kern="1200" cap="none" spc="0" baseline="0">
                <a:ln w="3175">
                  <a:noFill/>
                </a:ln>
                <a:solidFill>
                  <a:srgbClr val="000000"/>
                </a:solidFill>
                <a:effectLst/>
                <a:latin typeface="+mj-lt"/>
                <a:ea typeface="+mj-ea"/>
                <a:cs typeface="+mj-cs"/>
                <a:sym typeface="Trebuchet MS" panose="020B0603020202020204" pitchFamily="34" charset="0"/>
              </a:defRPr>
            </a:lvl1pPr>
          </a:lstStyle>
          <a:p>
            <a:r>
              <a:rPr lang="en-US" sz="2400"/>
              <a:t>Core Priorities: Cloud &amp; AI Data - Cloud Solution Architect</a:t>
            </a:r>
          </a:p>
        </p:txBody>
      </p:sp>
      <p:grpSp>
        <p:nvGrpSpPr>
          <p:cNvPr id="23" name="Group 22">
            <a:extLst>
              <a:ext uri="{FF2B5EF4-FFF2-40B4-BE49-F238E27FC236}">
                <a16:creationId xmlns:a16="http://schemas.microsoft.com/office/drawing/2014/main" id="{3586C283-3B16-D361-CC71-A58C7D97477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4" name="Table 2 Cell 1, 1 to Text">
              <a:extLst>
                <a:ext uri="{FF2B5EF4-FFF2-40B4-BE49-F238E27FC236}">
                  <a16:creationId xmlns:a16="http://schemas.microsoft.com/office/drawing/2014/main" id="{977325B0-FC45-27EB-5EA9-01CB71B21A97}"/>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B1340DAB-2939-A03C-1099-DC021CBDC88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AF8F9B13-F26A-E07A-DB4A-BE3FE0B581A9}"/>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7" name="Table 2 Cell 4, 1 to Text">
              <a:extLst>
                <a:ext uri="{FF2B5EF4-FFF2-40B4-BE49-F238E27FC236}">
                  <a16:creationId xmlns:a16="http://schemas.microsoft.com/office/drawing/2014/main" id="{B087657B-144C-1472-BB64-B42C9EC74D8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8" name="Table 2 Cell 5, 1 to Text">
              <a:extLst>
                <a:ext uri="{FF2B5EF4-FFF2-40B4-BE49-F238E27FC236}">
                  <a16:creationId xmlns:a16="http://schemas.microsoft.com/office/drawing/2014/main" id="{A4FA534F-DFA9-72A4-9BC6-EC226444988B}"/>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29" name="Table 2 Cell 6, 1 to Text">
              <a:extLst>
                <a:ext uri="{FF2B5EF4-FFF2-40B4-BE49-F238E27FC236}">
                  <a16:creationId xmlns:a16="http://schemas.microsoft.com/office/drawing/2014/main" id="{4BB3334C-D0F3-B9F3-02BA-91E3B5939ECF}"/>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0" name="Table 2 Cell 7, 1 to Text">
              <a:extLst>
                <a:ext uri="{FF2B5EF4-FFF2-40B4-BE49-F238E27FC236}">
                  <a16:creationId xmlns:a16="http://schemas.microsoft.com/office/drawing/2014/main" id="{52CFF808-8332-DC50-3903-010E52B5B59B}"/>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1" name="Table 2 Cell 1, 2 to Text">
              <a:extLst>
                <a:ext uri="{FF2B5EF4-FFF2-40B4-BE49-F238E27FC236}">
                  <a16:creationId xmlns:a16="http://schemas.microsoft.com/office/drawing/2014/main" id="{FAF97913-8E07-448F-3E68-F41DFEB7D06E}"/>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32" name="Table 2 Cell 1, 3 to Text">
              <a:extLst>
                <a:ext uri="{FF2B5EF4-FFF2-40B4-BE49-F238E27FC236}">
                  <a16:creationId xmlns:a16="http://schemas.microsoft.com/office/drawing/2014/main" id="{F799D111-8C5D-6C7C-6AE7-63C74FD86132}"/>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33" name="Table 2 Cell 1, 4 to Text">
              <a:extLst>
                <a:ext uri="{FF2B5EF4-FFF2-40B4-BE49-F238E27FC236}">
                  <a16:creationId xmlns:a16="http://schemas.microsoft.com/office/drawing/2014/main" id="{FDD1698F-B6B4-6935-C0A0-7AEAE8C079FB}"/>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5.3 Core Priorities &amp; Key Habits</a:t>
              </a:r>
            </a:p>
          </p:txBody>
        </p:sp>
        <p:sp>
          <p:nvSpPr>
            <p:cNvPr id="34" name="Table 2 Cell 1, 5 to Text">
              <a:extLst>
                <a:ext uri="{FF2B5EF4-FFF2-40B4-BE49-F238E27FC236}">
                  <a16:creationId xmlns:a16="http://schemas.microsoft.com/office/drawing/2014/main" id="{F3F3CCB3-D269-60D2-704D-FAF0BACCF1BE}"/>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35" name="Table 2 Cell 1, 6 to Text">
              <a:extLst>
                <a:ext uri="{FF2B5EF4-FFF2-40B4-BE49-F238E27FC236}">
                  <a16:creationId xmlns:a16="http://schemas.microsoft.com/office/drawing/2014/main" id="{2A96035C-C7FB-61C4-CFA0-AC96C87EBB56}"/>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36" name="Table 2 Cell 1, 7 to Text">
              <a:extLst>
                <a:ext uri="{FF2B5EF4-FFF2-40B4-BE49-F238E27FC236}">
                  <a16:creationId xmlns:a16="http://schemas.microsoft.com/office/drawing/2014/main" id="{9748D34B-D181-265D-0B11-1380EA82B0A4}"/>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37" name="Table 2 Cell 1, 8 to Text">
              <a:extLst>
                <a:ext uri="{FF2B5EF4-FFF2-40B4-BE49-F238E27FC236}">
                  <a16:creationId xmlns:a16="http://schemas.microsoft.com/office/drawing/2014/main" id="{730AA2B4-4631-D92F-7DB5-FDAE57DB3CA9}"/>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27176576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DF3CF-6254-013F-F464-72E4213FE433}"/>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7148D7B-939F-B8D3-94A1-983182109821}"/>
              </a:ext>
              <a:ext uri="{C183D7F6-B498-43B3-948B-1728B52AA6E4}">
                <adec:decorative xmlns:adec="http://schemas.microsoft.com/office/drawing/2017/decorative" val="1"/>
              </a:ext>
            </a:extLst>
          </p:cNvPr>
          <p:cNvSpPr>
            <a:spLocks/>
          </p:cNvSpPr>
          <p:nvPr/>
        </p:nvSpPr>
        <p:spPr bwMode="auto">
          <a:xfrm>
            <a:off x="256478" y="1277769"/>
            <a:ext cx="11686478"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4" name="Rectangle: Rounded Corners 13">
            <a:extLst>
              <a:ext uri="{FF2B5EF4-FFF2-40B4-BE49-F238E27FC236}">
                <a16:creationId xmlns:a16="http://schemas.microsoft.com/office/drawing/2014/main" id="{077F66DA-A42D-A879-BF85-4B9612473F6D}"/>
              </a:ext>
            </a:extLst>
          </p:cNvPr>
          <p:cNvSpPr/>
          <p:nvPr/>
        </p:nvSpPr>
        <p:spPr bwMode="auto">
          <a:xfrm>
            <a:off x="390294" y="1377621"/>
            <a:ext cx="11385394" cy="4177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r>
              <a:rPr lang="en-US" b="1"/>
              <a:t>Successful CSAs Achieve results by:​</a:t>
            </a:r>
          </a:p>
        </p:txBody>
      </p:sp>
      <p:sp>
        <p:nvSpPr>
          <p:cNvPr id="17" name="Title 16">
            <a:extLst>
              <a:ext uri="{FF2B5EF4-FFF2-40B4-BE49-F238E27FC236}">
                <a16:creationId xmlns:a16="http://schemas.microsoft.com/office/drawing/2014/main" id="{69E7A889-6DCC-1825-A4AC-27A835F9A615}"/>
              </a:ext>
            </a:extLst>
          </p:cNvPr>
          <p:cNvSpPr>
            <a:spLocks noGrp="1"/>
          </p:cNvSpPr>
          <p:nvPr>
            <p:ph type="title"/>
          </p:nvPr>
        </p:nvSpPr>
        <p:spPr>
          <a:xfrm>
            <a:off x="390294" y="710096"/>
            <a:ext cx="11049000" cy="492443"/>
          </a:xfrm>
        </p:spPr>
        <p:txBody>
          <a:bodyPr/>
          <a:lstStyle/>
          <a:p>
            <a:pPr lvl="0"/>
            <a:r>
              <a:rPr lang="en-US" noProof="0"/>
              <a:t>Your key habits for success</a:t>
            </a:r>
          </a:p>
        </p:txBody>
      </p:sp>
      <p:sp>
        <p:nvSpPr>
          <p:cNvPr id="28" name="Rectangle: Rounded Corners 27">
            <a:extLst>
              <a:ext uri="{FF2B5EF4-FFF2-40B4-BE49-F238E27FC236}">
                <a16:creationId xmlns:a16="http://schemas.microsoft.com/office/drawing/2014/main" id="{5922C384-1E35-6C83-0FD0-E4816028DC27}"/>
              </a:ext>
            </a:extLst>
          </p:cNvPr>
          <p:cNvSpPr/>
          <p:nvPr/>
        </p:nvSpPr>
        <p:spPr bwMode="auto">
          <a:xfrm>
            <a:off x="4537283" y="6256545"/>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rgbClr val="FFFFFF"/>
                </a:solidFill>
                <a:latin typeface="Segoe Sans Display Semibold"/>
                <a:cs typeface="Segoe UI" pitchFamily="34" charset="0"/>
              </a:rPr>
              <a:t>See your role success guide at </a:t>
            </a:r>
            <a:r>
              <a:rPr lang="en-US" sz="1200">
                <a:solidFill>
                  <a:srgbClr val="FFFFFF"/>
                </a:solidFill>
                <a:latin typeface="Segoe Sans Display Semibold"/>
                <a:cs typeface="Segoe UI" pitchFamily="34" charset="0"/>
                <a:hlinkClick r:id="rId3">
                  <a:extLst>
                    <a:ext uri="{A12FA001-AC4F-418D-AE19-62706E023703}">
                      <ahyp:hlinkClr xmlns:ahyp="http://schemas.microsoft.com/office/drawing/2018/hyperlinkcolor" val="tx"/>
                    </a:ext>
                  </a:extLst>
                </a:hlinkClick>
              </a:rPr>
              <a:t>aka.ms/rain</a:t>
            </a:r>
            <a:endParaRPr lang="en-US" sz="1200">
              <a:solidFill>
                <a:srgbClr val="FFFFFF"/>
              </a:solidFill>
              <a:latin typeface="Segoe Sans Display Semibold"/>
              <a:cs typeface="Segoe UI" pitchFamily="34" charset="0"/>
            </a:endParaRPr>
          </a:p>
        </p:txBody>
      </p:sp>
      <p:sp>
        <p:nvSpPr>
          <p:cNvPr id="2" name="Rectangle: Rounded Corners 1">
            <a:extLst>
              <a:ext uri="{FF2B5EF4-FFF2-40B4-BE49-F238E27FC236}">
                <a16:creationId xmlns:a16="http://schemas.microsoft.com/office/drawing/2014/main" id="{07F24159-A069-E72F-F377-435998012501}"/>
              </a:ext>
              <a:ext uri="{C183D7F6-B498-43B3-948B-1728B52AA6E4}">
                <adec:decorative xmlns:adec="http://schemas.microsoft.com/office/drawing/2017/decorative" val="1"/>
              </a:ext>
            </a:extLst>
          </p:cNvPr>
          <p:cNvSpPr/>
          <p:nvPr/>
        </p:nvSpPr>
        <p:spPr bwMode="auto">
          <a:xfrm>
            <a:off x="349407"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 name="Rectangle: Rounded Corners 2">
            <a:extLst>
              <a:ext uri="{FF2B5EF4-FFF2-40B4-BE49-F238E27FC236}">
                <a16:creationId xmlns:a16="http://schemas.microsoft.com/office/drawing/2014/main" id="{30544EF6-F257-4BBC-FE85-601FBEDA7D06}"/>
              </a:ext>
              <a:ext uri="{C183D7F6-B498-43B3-948B-1728B52AA6E4}">
                <adec:decorative xmlns:adec="http://schemas.microsoft.com/office/drawing/2017/decorative" val="1"/>
              </a:ext>
            </a:extLst>
          </p:cNvPr>
          <p:cNvSpPr/>
          <p:nvPr/>
        </p:nvSpPr>
        <p:spPr>
          <a:xfrm>
            <a:off x="349407"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 name="Graphic 73">
            <a:extLst>
              <a:ext uri="{FF2B5EF4-FFF2-40B4-BE49-F238E27FC236}">
                <a16:creationId xmlns:a16="http://schemas.microsoft.com/office/drawing/2014/main" id="{C1D13498-0988-31F8-ECAB-F68896A57BED}"/>
              </a:ext>
              <a:ext uri="{C183D7F6-B498-43B3-948B-1728B52AA6E4}">
                <adec:decorative xmlns:adec="http://schemas.microsoft.com/office/drawing/2017/decorative" val="1"/>
              </a:ext>
            </a:extLst>
          </p:cNvPr>
          <p:cNvSpPr/>
          <p:nvPr/>
        </p:nvSpPr>
        <p:spPr>
          <a:xfrm>
            <a:off x="470052"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 name="TextBox 4">
            <a:extLst>
              <a:ext uri="{FF2B5EF4-FFF2-40B4-BE49-F238E27FC236}">
                <a16:creationId xmlns:a16="http://schemas.microsoft.com/office/drawing/2014/main" id="{D9182D30-F6C0-DE19-37AB-B883CB7E6116}"/>
              </a:ext>
            </a:extLst>
          </p:cNvPr>
          <p:cNvSpPr txBox="1"/>
          <p:nvPr/>
        </p:nvSpPr>
        <p:spPr>
          <a:xfrm>
            <a:off x="470052" y="2452003"/>
            <a:ext cx="2065343" cy="3359894"/>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1. </a:t>
            </a:r>
            <a:r>
              <a:rPr lang="en-US" sz="1400">
                <a:solidFill>
                  <a:srgbClr val="2A446F"/>
                </a:solidFill>
                <a:latin typeface="Segoe Sans Text Semibold"/>
              </a:rPr>
              <a:t>Embracing a Learn-It-All mindset</a:t>
            </a:r>
            <a:endParaRPr lang="en-US" sz="1200">
              <a:solidFill>
                <a:srgbClr val="2A446F"/>
              </a:solidFill>
              <a:latin typeface="Segoe Sans Text Semibold"/>
            </a:endParaRPr>
          </a:p>
          <a:p>
            <a:pPr>
              <a:spcBef>
                <a:spcPts val="300"/>
              </a:spcBef>
              <a:spcAft>
                <a:spcPts val="200"/>
              </a:spcAft>
              <a:defRPr/>
            </a:pPr>
            <a:r>
              <a:rPr lang="en-US" sz="1200">
                <a:solidFill>
                  <a:srgbClr val="2A446F"/>
                </a:solidFill>
                <a:latin typeface="Segoe Sans Text Semibold"/>
              </a:rPr>
              <a:t>S</a:t>
            </a:r>
            <a:r>
              <a:rPr lang="en-US" sz="1200"/>
              <a:t>tepping beyond your comfort zone to deepen technical mastery across Azure and their Solution Play, actively engaging in community-driven programs like </a:t>
            </a:r>
            <a:r>
              <a:rPr lang="en-US" sz="1200" err="1"/>
              <a:t>OpenHacks</a:t>
            </a:r>
            <a:r>
              <a:rPr lang="en-US" sz="1200"/>
              <a:t> and LevelUps, and partnering with your manager to align on a focused development plan that accelerates growth, sharpens impact, and positions you as a trusted advisor in the age of AI.</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6" name="Rectangle: Rounded Corners 5">
            <a:extLst>
              <a:ext uri="{FF2B5EF4-FFF2-40B4-BE49-F238E27FC236}">
                <a16:creationId xmlns:a16="http://schemas.microsoft.com/office/drawing/2014/main" id="{C854D88B-10B1-690A-33EE-2D4149126614}"/>
              </a:ext>
              <a:ext uri="{C183D7F6-B498-43B3-948B-1728B52AA6E4}">
                <adec:decorative xmlns:adec="http://schemas.microsoft.com/office/drawing/2017/decorative" val="1"/>
              </a:ext>
            </a:extLst>
          </p:cNvPr>
          <p:cNvSpPr/>
          <p:nvPr/>
        </p:nvSpPr>
        <p:spPr bwMode="auto">
          <a:xfrm>
            <a:off x="2654984"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7" name="Rectangle: Rounded Corners 6">
            <a:extLst>
              <a:ext uri="{FF2B5EF4-FFF2-40B4-BE49-F238E27FC236}">
                <a16:creationId xmlns:a16="http://schemas.microsoft.com/office/drawing/2014/main" id="{4D3BD400-A1B0-0630-6489-DF5769DBB257}"/>
              </a:ext>
              <a:ext uri="{C183D7F6-B498-43B3-948B-1728B52AA6E4}">
                <adec:decorative xmlns:adec="http://schemas.microsoft.com/office/drawing/2017/decorative" val="1"/>
              </a:ext>
            </a:extLst>
          </p:cNvPr>
          <p:cNvSpPr/>
          <p:nvPr/>
        </p:nvSpPr>
        <p:spPr>
          <a:xfrm>
            <a:off x="2654984"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 name="Graphic 73">
            <a:extLst>
              <a:ext uri="{FF2B5EF4-FFF2-40B4-BE49-F238E27FC236}">
                <a16:creationId xmlns:a16="http://schemas.microsoft.com/office/drawing/2014/main" id="{F9E459B0-204C-352F-0BAE-F385967EE4AB}"/>
              </a:ext>
              <a:ext uri="{C183D7F6-B498-43B3-948B-1728B52AA6E4}">
                <adec:decorative xmlns:adec="http://schemas.microsoft.com/office/drawing/2017/decorative" val="1"/>
              </a:ext>
            </a:extLst>
          </p:cNvPr>
          <p:cNvSpPr/>
          <p:nvPr/>
        </p:nvSpPr>
        <p:spPr>
          <a:xfrm>
            <a:off x="2775629"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 name="TextBox 8">
            <a:extLst>
              <a:ext uri="{FF2B5EF4-FFF2-40B4-BE49-F238E27FC236}">
                <a16:creationId xmlns:a16="http://schemas.microsoft.com/office/drawing/2014/main" id="{339F7544-004B-6B86-2F9C-57A4B3710E92}"/>
              </a:ext>
            </a:extLst>
          </p:cNvPr>
          <p:cNvSpPr txBox="1"/>
          <p:nvPr/>
        </p:nvSpPr>
        <p:spPr>
          <a:xfrm>
            <a:off x="2775629" y="2452003"/>
            <a:ext cx="2065343" cy="2067233"/>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2. </a:t>
            </a:r>
            <a:r>
              <a:rPr lang="en-US" sz="1400">
                <a:solidFill>
                  <a:srgbClr val="2A446F"/>
                </a:solidFill>
                <a:latin typeface="Segoe Sans Text Semibold"/>
              </a:rPr>
              <a:t>Owning their technical and professional growth</a:t>
            </a:r>
          </a:p>
          <a:p>
            <a:pPr>
              <a:spcBef>
                <a:spcPts val="300"/>
              </a:spcBef>
              <a:spcAft>
                <a:spcPts val="200"/>
              </a:spcAft>
              <a:defRPr/>
            </a:pPr>
            <a:r>
              <a:rPr lang="en-US" sz="1200"/>
              <a:t>Proactively using tools like the https://aka.ms/rolelibrary and Skills Inventory to plan and update skilling, certifications, and accreditations aligned to Microsoft and customer priorities.</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10" name="Rectangle: Rounded Corners 9">
            <a:extLst>
              <a:ext uri="{FF2B5EF4-FFF2-40B4-BE49-F238E27FC236}">
                <a16:creationId xmlns:a16="http://schemas.microsoft.com/office/drawing/2014/main" id="{39F1F945-6DA3-B5EC-581A-A87BA872B9F0}"/>
              </a:ext>
              <a:ext uri="{C183D7F6-B498-43B3-948B-1728B52AA6E4}">
                <adec:decorative xmlns:adec="http://schemas.microsoft.com/office/drawing/2017/decorative" val="1"/>
              </a:ext>
            </a:extLst>
          </p:cNvPr>
          <p:cNvSpPr/>
          <p:nvPr/>
        </p:nvSpPr>
        <p:spPr bwMode="auto">
          <a:xfrm>
            <a:off x="4960561" y="2120064"/>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1" name="Rectangle: Rounded Corners 10">
            <a:extLst>
              <a:ext uri="{FF2B5EF4-FFF2-40B4-BE49-F238E27FC236}">
                <a16:creationId xmlns:a16="http://schemas.microsoft.com/office/drawing/2014/main" id="{71785950-A370-3126-11F1-08F874A1E819}"/>
              </a:ext>
              <a:ext uri="{C183D7F6-B498-43B3-948B-1728B52AA6E4}">
                <adec:decorative xmlns:adec="http://schemas.microsoft.com/office/drawing/2017/decorative" val="1"/>
              </a:ext>
            </a:extLst>
          </p:cNvPr>
          <p:cNvSpPr/>
          <p:nvPr/>
        </p:nvSpPr>
        <p:spPr>
          <a:xfrm>
            <a:off x="4960561" y="2156976"/>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Graphic 73">
            <a:extLst>
              <a:ext uri="{FF2B5EF4-FFF2-40B4-BE49-F238E27FC236}">
                <a16:creationId xmlns:a16="http://schemas.microsoft.com/office/drawing/2014/main" id="{0DC5E4B0-5801-EF12-EED6-0A03EF49A5E4}"/>
              </a:ext>
              <a:ext uri="{C183D7F6-B498-43B3-948B-1728B52AA6E4}">
                <adec:decorative xmlns:adec="http://schemas.microsoft.com/office/drawing/2017/decorative" val="1"/>
              </a:ext>
            </a:extLst>
          </p:cNvPr>
          <p:cNvSpPr/>
          <p:nvPr/>
        </p:nvSpPr>
        <p:spPr>
          <a:xfrm>
            <a:off x="5081206" y="2235810"/>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TextBox 19">
            <a:extLst>
              <a:ext uri="{FF2B5EF4-FFF2-40B4-BE49-F238E27FC236}">
                <a16:creationId xmlns:a16="http://schemas.microsoft.com/office/drawing/2014/main" id="{051E8581-63E1-5F0C-5EF3-1572FB843D39}"/>
              </a:ext>
            </a:extLst>
          </p:cNvPr>
          <p:cNvSpPr txBox="1"/>
          <p:nvPr/>
        </p:nvSpPr>
        <p:spPr>
          <a:xfrm>
            <a:off x="5081206" y="2462091"/>
            <a:ext cx="2065343" cy="3454792"/>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3. </a:t>
            </a:r>
            <a:r>
              <a:rPr lang="en-US" sz="1400">
                <a:solidFill>
                  <a:srgbClr val="2A446F"/>
                </a:solidFill>
                <a:latin typeface="Segoe Sans Text Semibold"/>
              </a:rPr>
              <a:t>Driving customer outcomes through value-based delivery</a:t>
            </a:r>
            <a:endParaRPr lang="en-US" sz="1200">
              <a:solidFill>
                <a:srgbClr val="2A446F"/>
              </a:solidFill>
              <a:latin typeface="Segoe Sans Text Semibold"/>
            </a:endParaRPr>
          </a:p>
          <a:p>
            <a:pPr>
              <a:spcBef>
                <a:spcPts val="300"/>
              </a:spcBef>
              <a:spcAft>
                <a:spcPts val="200"/>
              </a:spcAft>
              <a:defRPr/>
            </a:pPr>
            <a:r>
              <a:rPr lang="en-US" sz="1200"/>
              <a:t>Demonstrating customer obsession by aligning Microsoft resources and repeatable IP to customer needs, identifying the key levers that impact business objectives and proactively mitigating risks that could hinder success</a:t>
            </a:r>
            <a:r>
              <a:rPr lang="en-US" sz="1200">
                <a:solidFill>
                  <a:schemeClr val="tx2"/>
                </a:solidFill>
              </a:rPr>
              <a:t>, </a:t>
            </a:r>
            <a:r>
              <a:rPr lang="en-US" sz="1200"/>
              <a:t>building confidence in our ability to help them achieve their business goals, including AI readiness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1" name="Rectangle: Rounded Corners 20">
            <a:extLst>
              <a:ext uri="{FF2B5EF4-FFF2-40B4-BE49-F238E27FC236}">
                <a16:creationId xmlns:a16="http://schemas.microsoft.com/office/drawing/2014/main" id="{19004102-15D6-9014-5C54-38E7DFF0D750}"/>
              </a:ext>
              <a:ext uri="{C183D7F6-B498-43B3-948B-1728B52AA6E4}">
                <adec:decorative xmlns:adec="http://schemas.microsoft.com/office/drawing/2017/decorative" val="1"/>
              </a:ext>
            </a:extLst>
          </p:cNvPr>
          <p:cNvSpPr/>
          <p:nvPr/>
        </p:nvSpPr>
        <p:spPr bwMode="auto">
          <a:xfrm>
            <a:off x="7275903"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2" name="Rectangle: Rounded Corners 21">
            <a:extLst>
              <a:ext uri="{FF2B5EF4-FFF2-40B4-BE49-F238E27FC236}">
                <a16:creationId xmlns:a16="http://schemas.microsoft.com/office/drawing/2014/main" id="{36E08C46-3F1C-9D03-A66B-2728C3193667}"/>
              </a:ext>
              <a:ext uri="{C183D7F6-B498-43B3-948B-1728B52AA6E4}">
                <adec:decorative xmlns:adec="http://schemas.microsoft.com/office/drawing/2017/decorative" val="1"/>
              </a:ext>
            </a:extLst>
          </p:cNvPr>
          <p:cNvSpPr/>
          <p:nvPr/>
        </p:nvSpPr>
        <p:spPr>
          <a:xfrm>
            <a:off x="7275903"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Graphic 73">
            <a:extLst>
              <a:ext uri="{FF2B5EF4-FFF2-40B4-BE49-F238E27FC236}">
                <a16:creationId xmlns:a16="http://schemas.microsoft.com/office/drawing/2014/main" id="{1CD4EB5B-DFCB-3096-9427-0A0C7747F105}"/>
              </a:ext>
              <a:ext uri="{C183D7F6-B498-43B3-948B-1728B52AA6E4}">
                <adec:decorative xmlns:adec="http://schemas.microsoft.com/office/drawing/2017/decorative" val="1"/>
              </a:ext>
            </a:extLst>
          </p:cNvPr>
          <p:cNvSpPr/>
          <p:nvPr/>
        </p:nvSpPr>
        <p:spPr>
          <a:xfrm>
            <a:off x="7396548"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TextBox 40">
            <a:extLst>
              <a:ext uri="{FF2B5EF4-FFF2-40B4-BE49-F238E27FC236}">
                <a16:creationId xmlns:a16="http://schemas.microsoft.com/office/drawing/2014/main" id="{B220007D-DB7C-40BC-9960-0E4667FB8327}"/>
              </a:ext>
            </a:extLst>
          </p:cNvPr>
          <p:cNvSpPr txBox="1"/>
          <p:nvPr/>
        </p:nvSpPr>
        <p:spPr>
          <a:xfrm>
            <a:off x="7396548" y="2452003"/>
            <a:ext cx="2065343" cy="2003112"/>
          </a:xfrm>
          <a:prstGeom prst="rect">
            <a:avLst/>
          </a:prstGeom>
          <a:noFill/>
        </p:spPr>
        <p:txBody>
          <a:bodyPr wrap="square" lIns="0" tIns="0" rIns="0" bIns="0">
            <a:spAutoFit/>
          </a:bodyPr>
          <a:lstStyle/>
          <a:p>
            <a:pPr>
              <a:spcBef>
                <a:spcPts val="300"/>
              </a:spcBef>
              <a:spcAft>
                <a:spcPts val="200"/>
              </a:spcAft>
              <a:defRPr/>
            </a:pPr>
            <a:r>
              <a:rPr lang="en-US" sz="1400">
                <a:solidFill>
                  <a:schemeClr val="tx2"/>
                </a:solidFill>
                <a:latin typeface="+mj-lt"/>
              </a:rPr>
              <a:t>4. Mastering the Dual Focus: Execution and Expansion</a:t>
            </a:r>
          </a:p>
          <a:p>
            <a:pPr>
              <a:spcBef>
                <a:spcPts val="300"/>
              </a:spcBef>
              <a:spcAft>
                <a:spcPts val="200"/>
              </a:spcAft>
              <a:defRPr/>
            </a:pPr>
            <a:r>
              <a:rPr lang="en-US" sz="1200" b="0" i="0">
                <a:solidFill>
                  <a:srgbClr val="424242"/>
                </a:solidFill>
                <a:effectLst/>
                <a:latin typeface="Segoe Sans"/>
              </a:rPr>
              <a:t>Driving milestone delivery on core commitments with excellence (Job 1), while actively identifying and advancing opportunities to expand impact (Job 2), all with a customer-first mindset.</a:t>
            </a:r>
            <a:endParaRPr lang="en-US" sz="1400">
              <a:solidFill>
                <a:schemeClr val="tx2"/>
              </a:solidFill>
              <a:latin typeface="+mj-lt"/>
            </a:endParaRPr>
          </a:p>
        </p:txBody>
      </p:sp>
      <p:sp>
        <p:nvSpPr>
          <p:cNvPr id="42" name="Rectangle: Rounded Corners 41">
            <a:extLst>
              <a:ext uri="{FF2B5EF4-FFF2-40B4-BE49-F238E27FC236}">
                <a16:creationId xmlns:a16="http://schemas.microsoft.com/office/drawing/2014/main" id="{4A3B8BFF-2C51-A472-40C8-F4A6B9CEF8AE}"/>
              </a:ext>
              <a:ext uri="{C183D7F6-B498-43B3-948B-1728B52AA6E4}">
                <adec:decorative xmlns:adec="http://schemas.microsoft.com/office/drawing/2017/decorative" val="1"/>
              </a:ext>
            </a:extLst>
          </p:cNvPr>
          <p:cNvSpPr/>
          <p:nvPr/>
        </p:nvSpPr>
        <p:spPr bwMode="auto">
          <a:xfrm>
            <a:off x="9591245" y="2100700"/>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43" name="Rectangle: Rounded Corners 42">
            <a:extLst>
              <a:ext uri="{FF2B5EF4-FFF2-40B4-BE49-F238E27FC236}">
                <a16:creationId xmlns:a16="http://schemas.microsoft.com/office/drawing/2014/main" id="{244F16CD-267E-17AA-7881-4B414A08EE70}"/>
              </a:ext>
              <a:ext uri="{C183D7F6-B498-43B3-948B-1728B52AA6E4}">
                <adec:decorative xmlns:adec="http://schemas.microsoft.com/office/drawing/2017/decorative" val="1"/>
              </a:ext>
            </a:extLst>
          </p:cNvPr>
          <p:cNvSpPr/>
          <p:nvPr/>
        </p:nvSpPr>
        <p:spPr>
          <a:xfrm>
            <a:off x="9591245" y="2137612"/>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Graphic 73">
            <a:extLst>
              <a:ext uri="{FF2B5EF4-FFF2-40B4-BE49-F238E27FC236}">
                <a16:creationId xmlns:a16="http://schemas.microsoft.com/office/drawing/2014/main" id="{101FF315-27AC-071A-6B8B-B64D54EC0263}"/>
              </a:ext>
              <a:ext uri="{C183D7F6-B498-43B3-948B-1728B52AA6E4}">
                <adec:decorative xmlns:adec="http://schemas.microsoft.com/office/drawing/2017/decorative" val="1"/>
              </a:ext>
            </a:extLst>
          </p:cNvPr>
          <p:cNvSpPr/>
          <p:nvPr/>
        </p:nvSpPr>
        <p:spPr>
          <a:xfrm>
            <a:off x="9711890" y="2216446"/>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TextBox 44">
            <a:extLst>
              <a:ext uri="{FF2B5EF4-FFF2-40B4-BE49-F238E27FC236}">
                <a16:creationId xmlns:a16="http://schemas.microsoft.com/office/drawing/2014/main" id="{BD8E6ED1-9155-1AE5-8C2B-A263867C0D28}"/>
              </a:ext>
            </a:extLst>
          </p:cNvPr>
          <p:cNvSpPr txBox="1"/>
          <p:nvPr/>
        </p:nvSpPr>
        <p:spPr>
          <a:xfrm>
            <a:off x="9711890" y="2442727"/>
            <a:ext cx="2065343" cy="1913344"/>
          </a:xfrm>
          <a:prstGeom prst="rect">
            <a:avLst/>
          </a:prstGeom>
          <a:noFill/>
        </p:spPr>
        <p:txBody>
          <a:bodyPr wrap="square" lIns="0" tIns="0" rIns="0" bIns="0">
            <a:spAutoFit/>
          </a:bodyPr>
          <a:lstStyle/>
          <a:p>
            <a:pPr>
              <a:spcBef>
                <a:spcPts val="300"/>
              </a:spcBef>
              <a:spcAft>
                <a:spcPts val="200"/>
              </a:spcAft>
              <a:defRPr/>
            </a:pPr>
            <a:r>
              <a:rPr lang="en-US" sz="1400">
                <a:solidFill>
                  <a:srgbClr val="2A446F"/>
                </a:solidFill>
                <a:latin typeface="Segoe Sans Text Semibold"/>
              </a:rPr>
              <a:t>5. Leading AI transformation for customers</a:t>
            </a:r>
            <a:endParaRPr lang="en-US" sz="1200">
              <a:solidFill>
                <a:srgbClr val="2A446F"/>
              </a:solidFill>
              <a:latin typeface="Segoe Sans Text Semibold"/>
            </a:endParaRPr>
          </a:p>
          <a:p>
            <a:pPr>
              <a:spcBef>
                <a:spcPts val="300"/>
              </a:spcBef>
              <a:spcAft>
                <a:spcPts val="200"/>
              </a:spcAft>
              <a:defRPr/>
            </a:pPr>
            <a:r>
              <a:rPr lang="en-US" sz="1200"/>
              <a:t>Upskilling in relevant workloads and scenarios to serve as trusted advisors who guide innovation with AI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grpSp>
        <p:nvGrpSpPr>
          <p:cNvPr id="46" name="Group 45">
            <a:extLst>
              <a:ext uri="{FF2B5EF4-FFF2-40B4-BE49-F238E27FC236}">
                <a16:creationId xmlns:a16="http://schemas.microsoft.com/office/drawing/2014/main" id="{0914A051-8135-E5B5-57EE-3BE8B0BA2526}"/>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7" name="Table 2 Cell 1, 1 to Text">
              <a:extLst>
                <a:ext uri="{FF2B5EF4-FFF2-40B4-BE49-F238E27FC236}">
                  <a16:creationId xmlns:a16="http://schemas.microsoft.com/office/drawing/2014/main" id="{E88BFE1D-9648-A440-41ED-69D475F088CF}"/>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8" name="Table 2 Cell 2, 1 to Text">
              <a:extLst>
                <a:ext uri="{FF2B5EF4-FFF2-40B4-BE49-F238E27FC236}">
                  <a16:creationId xmlns:a16="http://schemas.microsoft.com/office/drawing/2014/main" id="{AFD0EAB5-8A57-FF83-216B-CF1880200E89}"/>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9" name="Table 2 Cell 3, 1 to Text">
              <a:extLst>
                <a:ext uri="{FF2B5EF4-FFF2-40B4-BE49-F238E27FC236}">
                  <a16:creationId xmlns:a16="http://schemas.microsoft.com/office/drawing/2014/main" id="{A45DCEDE-EF2F-3646-2C92-7D3116F03F57}"/>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50" name="Table 2 Cell 4, 1 to Text">
              <a:extLst>
                <a:ext uri="{FF2B5EF4-FFF2-40B4-BE49-F238E27FC236}">
                  <a16:creationId xmlns:a16="http://schemas.microsoft.com/office/drawing/2014/main" id="{C0ED104C-A0E8-A20A-0CA5-39DC5601155B}"/>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51" name="Table 2 Cell 5, 1 to Text">
              <a:extLst>
                <a:ext uri="{FF2B5EF4-FFF2-40B4-BE49-F238E27FC236}">
                  <a16:creationId xmlns:a16="http://schemas.microsoft.com/office/drawing/2014/main" id="{D2C4127E-00D2-8069-2438-C348BDB91219}"/>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52" name="Table 2 Cell 6, 1 to Text">
              <a:extLst>
                <a:ext uri="{FF2B5EF4-FFF2-40B4-BE49-F238E27FC236}">
                  <a16:creationId xmlns:a16="http://schemas.microsoft.com/office/drawing/2014/main" id="{CACD395F-D15E-F863-41BF-0229ABD02A89}"/>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3" name="Table 2 Cell 7, 1 to Text">
              <a:extLst>
                <a:ext uri="{FF2B5EF4-FFF2-40B4-BE49-F238E27FC236}">
                  <a16:creationId xmlns:a16="http://schemas.microsoft.com/office/drawing/2014/main" id="{1A453E36-FA02-CB75-9C9C-DADE515BB203}"/>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54" name="Table 2 Cell 1, 2 to Text">
              <a:extLst>
                <a:ext uri="{FF2B5EF4-FFF2-40B4-BE49-F238E27FC236}">
                  <a16:creationId xmlns:a16="http://schemas.microsoft.com/office/drawing/2014/main" id="{D3E1031C-D6C8-40B4-B87D-840A04275AD5}"/>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55" name="Table 2 Cell 1, 3 to Text">
              <a:extLst>
                <a:ext uri="{FF2B5EF4-FFF2-40B4-BE49-F238E27FC236}">
                  <a16:creationId xmlns:a16="http://schemas.microsoft.com/office/drawing/2014/main" id="{835D0216-0A37-CDD3-BA03-22FAF2DB7DE9}"/>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71" name="Table 2 Cell 1, 4 to Text">
              <a:extLst>
                <a:ext uri="{FF2B5EF4-FFF2-40B4-BE49-F238E27FC236}">
                  <a16:creationId xmlns:a16="http://schemas.microsoft.com/office/drawing/2014/main" id="{2147E3A1-B438-C8DB-E8A4-81882CC35246}"/>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5.3 Core Priorities &amp; Key Habits</a:t>
              </a:r>
            </a:p>
          </p:txBody>
        </p:sp>
        <p:sp>
          <p:nvSpPr>
            <p:cNvPr id="72" name="Table 2 Cell 1, 5 to Text">
              <a:extLst>
                <a:ext uri="{FF2B5EF4-FFF2-40B4-BE49-F238E27FC236}">
                  <a16:creationId xmlns:a16="http://schemas.microsoft.com/office/drawing/2014/main" id="{425FCADA-7AFD-F6D7-5F0A-7428F5121ABF}"/>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73" name="Table 2 Cell 1, 6 to Text">
              <a:extLst>
                <a:ext uri="{FF2B5EF4-FFF2-40B4-BE49-F238E27FC236}">
                  <a16:creationId xmlns:a16="http://schemas.microsoft.com/office/drawing/2014/main" id="{B0190F0B-630F-43DB-BBFD-7F91CE7FAD46}"/>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74" name="Table 2 Cell 1, 7 to Text">
              <a:extLst>
                <a:ext uri="{FF2B5EF4-FFF2-40B4-BE49-F238E27FC236}">
                  <a16:creationId xmlns:a16="http://schemas.microsoft.com/office/drawing/2014/main" id="{E156AEC2-2A85-D4FB-BDBB-F48AD7089329}"/>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75" name="Table 2 Cell 1, 8 to Text">
              <a:extLst>
                <a:ext uri="{FF2B5EF4-FFF2-40B4-BE49-F238E27FC236}">
                  <a16:creationId xmlns:a16="http://schemas.microsoft.com/office/drawing/2014/main" id="{1095CE66-C748-D97E-AB35-AF40C2244BE7}"/>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37359253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3F8BF-8E1F-CCDE-EA51-95CA25475D54}"/>
            </a:ext>
          </a:extLst>
        </p:cNvPr>
        <p:cNvGrpSpPr/>
        <p:nvPr/>
      </p:nvGrpSpPr>
      <p:grpSpPr>
        <a:xfrm>
          <a:off x="0" y="0"/>
          <a:ext cx="0" cy="0"/>
          <a:chOff x="0" y="0"/>
          <a:chExt cx="0" cy="0"/>
        </a:xfrm>
      </p:grpSpPr>
      <p:sp>
        <p:nvSpPr>
          <p:cNvPr id="63" name="Rectangle: Rounded Corners 62">
            <a:extLst>
              <a:ext uri="{FF2B5EF4-FFF2-40B4-BE49-F238E27FC236}">
                <a16:creationId xmlns:a16="http://schemas.microsoft.com/office/drawing/2014/main" id="{D5B090A7-1318-AD26-62E9-82B9800C3896}"/>
              </a:ext>
              <a:ext uri="{C183D7F6-B498-43B3-948B-1728B52AA6E4}">
                <adec:decorative xmlns:adec="http://schemas.microsoft.com/office/drawing/2017/decorative" val="1"/>
              </a:ext>
            </a:extLst>
          </p:cNvPr>
          <p:cNvSpPr/>
          <p:nvPr/>
        </p:nvSpPr>
        <p:spPr bwMode="auto">
          <a:xfrm>
            <a:off x="5222109" y="2041660"/>
            <a:ext cx="1751526" cy="55399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65" name="Rectangle: Rounded Corners 64">
            <a:extLst>
              <a:ext uri="{FF2B5EF4-FFF2-40B4-BE49-F238E27FC236}">
                <a16:creationId xmlns:a16="http://schemas.microsoft.com/office/drawing/2014/main" id="{DA92AE40-2083-9705-4721-D78B590C97B4}"/>
              </a:ext>
              <a:ext uri="{C183D7F6-B498-43B3-948B-1728B52AA6E4}">
                <adec:decorative xmlns:adec="http://schemas.microsoft.com/office/drawing/2017/decorative" val="1"/>
              </a:ext>
            </a:extLst>
          </p:cNvPr>
          <p:cNvSpPr/>
          <p:nvPr/>
        </p:nvSpPr>
        <p:spPr bwMode="auto">
          <a:xfrm>
            <a:off x="8970915" y="2041660"/>
            <a:ext cx="1751526" cy="55399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62" name="Rectangle: Rounded Corners 61">
            <a:extLst>
              <a:ext uri="{FF2B5EF4-FFF2-40B4-BE49-F238E27FC236}">
                <a16:creationId xmlns:a16="http://schemas.microsoft.com/office/drawing/2014/main" id="{73253058-A8CA-E4A3-1EF5-380CA0A66576}"/>
              </a:ext>
              <a:ext uri="{C183D7F6-B498-43B3-948B-1728B52AA6E4}">
                <adec:decorative xmlns:adec="http://schemas.microsoft.com/office/drawing/2017/decorative" val="1"/>
              </a:ext>
            </a:extLst>
          </p:cNvPr>
          <p:cNvSpPr/>
          <p:nvPr/>
        </p:nvSpPr>
        <p:spPr bwMode="auto">
          <a:xfrm>
            <a:off x="1473304" y="2041660"/>
            <a:ext cx="1751526" cy="55399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0" name="Title 9">
            <a:extLst>
              <a:ext uri="{FF2B5EF4-FFF2-40B4-BE49-F238E27FC236}">
                <a16:creationId xmlns:a16="http://schemas.microsoft.com/office/drawing/2014/main" id="{9ED9EA48-D39D-09C1-0EB2-06F31B0D3318}"/>
              </a:ext>
            </a:extLst>
          </p:cNvPr>
          <p:cNvSpPr>
            <a:spLocks noGrp="1"/>
          </p:cNvSpPr>
          <p:nvPr>
            <p:ph type="title"/>
          </p:nvPr>
        </p:nvSpPr>
        <p:spPr>
          <a:xfrm>
            <a:off x="571500" y="778716"/>
            <a:ext cx="11049000" cy="430887"/>
          </a:xfrm>
        </p:spPr>
        <p:txBody>
          <a:bodyPr/>
          <a:lstStyle/>
          <a:p>
            <a:r>
              <a:rPr lang="en-US" sz="2800">
                <a:ea typeface="+mj-ea"/>
                <a:cs typeface="+mj-cs"/>
              </a:rPr>
              <a:t>Cloud &amp; AI Platforms FY26 Strategy</a:t>
            </a:r>
          </a:p>
        </p:txBody>
      </p:sp>
      <p:sp>
        <p:nvSpPr>
          <p:cNvPr id="45" name="Rectangle: Rounded Corners 44">
            <a:extLst>
              <a:ext uri="{FF2B5EF4-FFF2-40B4-BE49-F238E27FC236}">
                <a16:creationId xmlns:a16="http://schemas.microsoft.com/office/drawing/2014/main" id="{6144275A-2A72-30BC-096D-67419AAC4EC7}"/>
              </a:ext>
              <a:ext uri="{C183D7F6-B498-43B3-948B-1728B52AA6E4}">
                <adec:decorative xmlns:adec="http://schemas.microsoft.com/office/drawing/2017/decorative" val="1"/>
              </a:ext>
            </a:extLst>
          </p:cNvPr>
          <p:cNvSpPr>
            <a:spLocks/>
          </p:cNvSpPr>
          <p:nvPr/>
        </p:nvSpPr>
        <p:spPr bwMode="auto">
          <a:xfrm>
            <a:off x="588963" y="2084388"/>
            <a:ext cx="3520206" cy="4278312"/>
          </a:xfrm>
          <a:prstGeom prst="roundRect">
            <a:avLst>
              <a:gd name="adj" fmla="val 309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6" name="Rectangle: Rounded Corners 45">
            <a:extLst>
              <a:ext uri="{FF2B5EF4-FFF2-40B4-BE49-F238E27FC236}">
                <a16:creationId xmlns:a16="http://schemas.microsoft.com/office/drawing/2014/main" id="{0C7A6704-35A2-E513-0F80-76A7313C2FFB}"/>
              </a:ext>
              <a:ext uri="{C183D7F6-B498-43B3-948B-1728B52AA6E4}">
                <adec:decorative xmlns:adec="http://schemas.microsoft.com/office/drawing/2017/decorative" val="1"/>
              </a:ext>
            </a:extLst>
          </p:cNvPr>
          <p:cNvSpPr>
            <a:spLocks/>
          </p:cNvSpPr>
          <p:nvPr/>
        </p:nvSpPr>
        <p:spPr bwMode="auto">
          <a:xfrm>
            <a:off x="4337769" y="2084388"/>
            <a:ext cx="3520206" cy="4278312"/>
          </a:xfrm>
          <a:prstGeom prst="roundRect">
            <a:avLst>
              <a:gd name="adj" fmla="val 309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7" name="Rectangle: Rounded Corners 46">
            <a:extLst>
              <a:ext uri="{FF2B5EF4-FFF2-40B4-BE49-F238E27FC236}">
                <a16:creationId xmlns:a16="http://schemas.microsoft.com/office/drawing/2014/main" id="{DC2101F3-7D62-5516-B75C-8812B8AC7857}"/>
              </a:ext>
              <a:ext uri="{C183D7F6-B498-43B3-948B-1728B52AA6E4}">
                <adec:decorative xmlns:adec="http://schemas.microsoft.com/office/drawing/2017/decorative" val="1"/>
              </a:ext>
            </a:extLst>
          </p:cNvPr>
          <p:cNvSpPr>
            <a:spLocks/>
          </p:cNvSpPr>
          <p:nvPr/>
        </p:nvSpPr>
        <p:spPr bwMode="auto">
          <a:xfrm>
            <a:off x="8086575" y="2084388"/>
            <a:ext cx="3520206" cy="4278312"/>
          </a:xfrm>
          <a:prstGeom prst="roundRect">
            <a:avLst>
              <a:gd name="adj" fmla="val 309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8" name="Rectangle: Rounded Corners 47">
            <a:extLst>
              <a:ext uri="{FF2B5EF4-FFF2-40B4-BE49-F238E27FC236}">
                <a16:creationId xmlns:a16="http://schemas.microsoft.com/office/drawing/2014/main" id="{0EC6691E-E427-E4FF-F3A0-65708C84D6AC}"/>
              </a:ext>
            </a:extLst>
          </p:cNvPr>
          <p:cNvSpPr/>
          <p:nvPr/>
        </p:nvSpPr>
        <p:spPr bwMode="auto">
          <a:xfrm>
            <a:off x="698691" y="2194116"/>
            <a:ext cx="3300750" cy="917384"/>
          </a:xfrm>
          <a:prstGeom prst="roundRect">
            <a:avLst>
              <a:gd name="adj" fmla="val 778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a:ea typeface="+mn-ea"/>
                <a:cs typeface="+mn-cs"/>
              </a:rPr>
              <a:t>Accelerate AI Transformation with converging and connected customer conversations</a:t>
            </a:r>
          </a:p>
        </p:txBody>
      </p:sp>
      <p:sp>
        <p:nvSpPr>
          <p:cNvPr id="59" name="TextBox 58">
            <a:extLst>
              <a:ext uri="{FF2B5EF4-FFF2-40B4-BE49-F238E27FC236}">
                <a16:creationId xmlns:a16="http://schemas.microsoft.com/office/drawing/2014/main" id="{EDEA5A10-A954-75C6-553E-482859C2AEED}"/>
              </a:ext>
            </a:extLst>
          </p:cNvPr>
          <p:cNvSpPr txBox="1"/>
          <p:nvPr/>
        </p:nvSpPr>
        <p:spPr>
          <a:xfrm>
            <a:off x="971549" y="3275526"/>
            <a:ext cx="302789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hlinkClick r:id="rId3"/>
              </a:rPr>
              <a:t>Migrate and Modernize your Estate </a:t>
            </a:r>
            <a:r>
              <a:rPr kumimoji="0" lang="en-US" sz="1400" b="0" i="0" u="none" strike="noStrike" kern="1200" cap="none" spc="0" normalizeH="0" baseline="0" noProof="0">
                <a:ln>
                  <a:noFill/>
                </a:ln>
                <a:solidFill>
                  <a:srgbClr val="000000"/>
                </a:solidFill>
                <a:effectLst/>
                <a:uLnTx/>
                <a:uFillTx/>
                <a:latin typeface="Segoe Sans Text"/>
                <a:ea typeface="+mn-ea"/>
                <a:cs typeface="+mn-cs"/>
              </a:rPr>
              <a:t>with strong security foundations</a:t>
            </a:r>
          </a:p>
        </p:txBody>
      </p:sp>
      <p:sp>
        <p:nvSpPr>
          <p:cNvPr id="60" name="TextBox 59">
            <a:extLst>
              <a:ext uri="{FF2B5EF4-FFF2-40B4-BE49-F238E27FC236}">
                <a16:creationId xmlns:a16="http://schemas.microsoft.com/office/drawing/2014/main" id="{D5A76DA7-18D9-7F2F-4369-43AD9A51F17B}"/>
              </a:ext>
            </a:extLst>
          </p:cNvPr>
          <p:cNvSpPr txBox="1"/>
          <p:nvPr/>
        </p:nvSpPr>
        <p:spPr>
          <a:xfrm>
            <a:off x="971549" y="4034465"/>
            <a:ext cx="302789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hlinkClick r:id="rId3"/>
              </a:rPr>
              <a:t>Unify your data platform </a:t>
            </a:r>
            <a:r>
              <a:rPr kumimoji="0" lang="en-US" sz="1400" b="0" i="0" u="none" strike="noStrike" kern="1200" cap="none" spc="0" normalizeH="0" baseline="0" noProof="0">
                <a:ln>
                  <a:noFill/>
                </a:ln>
                <a:solidFill>
                  <a:srgbClr val="000000"/>
                </a:solidFill>
                <a:effectLst/>
                <a:uLnTx/>
                <a:uFillTx/>
                <a:latin typeface="Segoe Sans Text"/>
                <a:ea typeface="+mn-ea"/>
                <a:cs typeface="+mn-cs"/>
              </a:rPr>
              <a:t>with governance and security </a:t>
            </a:r>
          </a:p>
        </p:txBody>
      </p:sp>
      <p:sp>
        <p:nvSpPr>
          <p:cNvPr id="61" name="TextBox 60">
            <a:extLst>
              <a:ext uri="{FF2B5EF4-FFF2-40B4-BE49-F238E27FC236}">
                <a16:creationId xmlns:a16="http://schemas.microsoft.com/office/drawing/2014/main" id="{39363C49-C2F6-928B-B861-B81F2EC73896}"/>
              </a:ext>
            </a:extLst>
          </p:cNvPr>
          <p:cNvSpPr txBox="1"/>
          <p:nvPr/>
        </p:nvSpPr>
        <p:spPr>
          <a:xfrm>
            <a:off x="971549" y="4793404"/>
            <a:ext cx="3027891"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hlinkClick r:id="rId3"/>
              </a:rPr>
              <a:t>Drive innovation with AI Apps and Agents </a:t>
            </a:r>
            <a:r>
              <a:rPr kumimoji="0" lang="en-US" sz="1400" b="0" i="0" u="none" strike="noStrike" kern="1200" cap="none" spc="0" normalizeH="0" baseline="0" noProof="0">
                <a:ln>
                  <a:noFill/>
                </a:ln>
                <a:solidFill>
                  <a:srgbClr val="000000"/>
                </a:solidFill>
                <a:effectLst/>
                <a:uLnTx/>
                <a:uFillTx/>
                <a:latin typeface="Segoe Sans Text"/>
                <a:ea typeface="+mn-ea"/>
                <a:cs typeface="+mn-cs"/>
              </a:rPr>
              <a:t>and accelerating developer productivity</a:t>
            </a:r>
          </a:p>
        </p:txBody>
      </p:sp>
      <p:sp>
        <p:nvSpPr>
          <p:cNvPr id="50" name="Rectangle: Rounded Corners 49">
            <a:extLst>
              <a:ext uri="{FF2B5EF4-FFF2-40B4-BE49-F238E27FC236}">
                <a16:creationId xmlns:a16="http://schemas.microsoft.com/office/drawing/2014/main" id="{4DE9DCA4-C2CE-6577-E093-DD800683AE08}"/>
              </a:ext>
            </a:extLst>
          </p:cNvPr>
          <p:cNvSpPr/>
          <p:nvPr/>
        </p:nvSpPr>
        <p:spPr bwMode="auto">
          <a:xfrm>
            <a:off x="4447497" y="2194116"/>
            <a:ext cx="3300750" cy="917384"/>
          </a:xfrm>
          <a:prstGeom prst="roundRect">
            <a:avLst>
              <a:gd name="adj" fmla="val 778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a:ea typeface="+mn-ea"/>
                <a:cs typeface="+mn-cs"/>
              </a:rPr>
              <a:t>Engage more Deeply with Customers</a:t>
            </a:r>
          </a:p>
        </p:txBody>
      </p:sp>
      <p:sp>
        <p:nvSpPr>
          <p:cNvPr id="52" name="TextBox 51">
            <a:extLst>
              <a:ext uri="{FF2B5EF4-FFF2-40B4-BE49-F238E27FC236}">
                <a16:creationId xmlns:a16="http://schemas.microsoft.com/office/drawing/2014/main" id="{CBA76F70-7F9C-E3D2-8A3A-EBDBEC36DB2C}"/>
              </a:ext>
            </a:extLst>
          </p:cNvPr>
          <p:cNvSpPr txBox="1"/>
          <p:nvPr/>
        </p:nvSpPr>
        <p:spPr>
          <a:xfrm>
            <a:off x="4720355" y="3275526"/>
            <a:ext cx="302789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Simplified Azure sales model </a:t>
            </a:r>
            <a:r>
              <a:rPr kumimoji="0" lang="en-US" sz="1400" b="0" i="0" u="none" strike="noStrike" kern="1200" cap="none" spc="0" normalizeH="0" baseline="0" noProof="0">
                <a:ln>
                  <a:noFill/>
                </a:ln>
                <a:solidFill>
                  <a:srgbClr val="000000"/>
                </a:solidFill>
                <a:effectLst/>
                <a:uLnTx/>
                <a:uFillTx/>
                <a:latin typeface="Segoe Sans Text"/>
                <a:ea typeface="+mn-ea"/>
                <a:cs typeface="+mn-cs"/>
              </a:rPr>
              <a:t>with one Cloud &amp; AI Platform Specialist</a:t>
            </a:r>
          </a:p>
        </p:txBody>
      </p:sp>
      <p:sp>
        <p:nvSpPr>
          <p:cNvPr id="53" name="TextBox 52">
            <a:extLst>
              <a:ext uri="{FF2B5EF4-FFF2-40B4-BE49-F238E27FC236}">
                <a16:creationId xmlns:a16="http://schemas.microsoft.com/office/drawing/2014/main" id="{B9DB5DE0-3B80-5C70-782C-0753333B4F50}"/>
              </a:ext>
            </a:extLst>
          </p:cNvPr>
          <p:cNvSpPr txBox="1"/>
          <p:nvPr/>
        </p:nvSpPr>
        <p:spPr>
          <a:xfrm>
            <a:off x="4720355" y="4034465"/>
            <a:ext cx="302789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Improved</a:t>
            </a:r>
            <a:r>
              <a:rPr kumimoji="0" lang="en-US" sz="1400" b="0" i="0" u="none" strike="noStrike" kern="1200" cap="none" spc="0" normalizeH="0" baseline="0" noProof="0">
                <a:ln>
                  <a:noFill/>
                </a:ln>
                <a:solidFill>
                  <a:srgbClr val="000000"/>
                </a:solidFill>
                <a:effectLst/>
                <a:uLnTx/>
                <a:uFillTx/>
                <a:latin typeface="Segoe Sans Text"/>
                <a:ea typeface="+mn-ea"/>
                <a:cs typeface="+mn-cs"/>
              </a:rPr>
              <a:t> customer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focus</a:t>
            </a:r>
            <a:r>
              <a:rPr kumimoji="0" lang="en-US" sz="1400" b="0" i="0" u="none" strike="noStrike" kern="1200" cap="none" spc="0" normalizeH="0" baseline="0" noProof="0">
                <a:ln>
                  <a:noFill/>
                </a:ln>
                <a:solidFill>
                  <a:srgbClr val="000000"/>
                </a:solidFill>
                <a:effectLst/>
                <a:uLnTx/>
                <a:uFillTx/>
                <a:latin typeface="Segoe Sans Text"/>
                <a:ea typeface="+mn-ea"/>
                <a:cs typeface="+mn-cs"/>
              </a:rPr>
              <a:t> and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coverage</a:t>
            </a:r>
            <a:r>
              <a:rPr kumimoji="0" lang="en-US" sz="1400" b="0" i="0" u="none" strike="noStrike" kern="1200" cap="none" spc="0" normalizeH="0" baseline="0" noProof="0">
                <a:ln>
                  <a:noFill/>
                </a:ln>
                <a:solidFill>
                  <a:srgbClr val="000000"/>
                </a:solidFill>
                <a:effectLst/>
                <a:uLnTx/>
                <a:uFillTx/>
                <a:latin typeface="Segoe Sans Text"/>
                <a:ea typeface="+mn-ea"/>
                <a:cs typeface="+mn-cs"/>
              </a:rPr>
              <a:t> across all segments</a:t>
            </a:r>
          </a:p>
        </p:txBody>
      </p:sp>
      <p:sp>
        <p:nvSpPr>
          <p:cNvPr id="54" name="TextBox 53">
            <a:extLst>
              <a:ext uri="{FF2B5EF4-FFF2-40B4-BE49-F238E27FC236}">
                <a16:creationId xmlns:a16="http://schemas.microsoft.com/office/drawing/2014/main" id="{C1A14B2B-55E6-E2EF-6E4A-806519849F91}"/>
              </a:ext>
            </a:extLst>
          </p:cNvPr>
          <p:cNvSpPr txBox="1"/>
          <p:nvPr/>
        </p:nvSpPr>
        <p:spPr>
          <a:xfrm>
            <a:off x="4720355" y="4793404"/>
            <a:ext cx="3027891"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main depth and technical expertise with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Solution Engineers </a:t>
            </a:r>
            <a:r>
              <a:rPr kumimoji="0" lang="en-US" sz="1400" b="0" i="0" u="none" strike="noStrike" kern="1200" cap="none" spc="0" normalizeH="0" baseline="0" noProof="0">
                <a:ln>
                  <a:noFill/>
                </a:ln>
                <a:solidFill>
                  <a:srgbClr val="000000"/>
                </a:solidFill>
                <a:effectLst/>
                <a:uLnTx/>
                <a:uFillTx/>
                <a:latin typeface="Segoe Sans Text"/>
                <a:ea typeface="+mn-ea"/>
                <a:cs typeface="+mn-cs"/>
              </a:rPr>
              <a:t>and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Cloud Solution Architects</a:t>
            </a:r>
          </a:p>
        </p:txBody>
      </p:sp>
      <p:sp>
        <p:nvSpPr>
          <p:cNvPr id="55" name="TextBox 54">
            <a:extLst>
              <a:ext uri="{FF2B5EF4-FFF2-40B4-BE49-F238E27FC236}">
                <a16:creationId xmlns:a16="http://schemas.microsoft.com/office/drawing/2014/main" id="{8B273601-2524-76DB-2488-2FE8624CC9B5}"/>
              </a:ext>
            </a:extLst>
          </p:cNvPr>
          <p:cNvSpPr txBox="1"/>
          <p:nvPr/>
        </p:nvSpPr>
        <p:spPr>
          <a:xfrm>
            <a:off x="4720355" y="5767787"/>
            <a:ext cx="302789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calable offers via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Unified</a:t>
            </a: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Factory</a:t>
            </a:r>
            <a:r>
              <a:rPr kumimoji="0" lang="en-US" sz="1400" b="0" i="0" u="none" strike="noStrike" kern="1200" cap="none" spc="0" normalizeH="0" baseline="0" noProof="0">
                <a:ln>
                  <a:noFill/>
                </a:ln>
                <a:solidFill>
                  <a:srgbClr val="000000"/>
                </a:solidFill>
                <a:effectLst/>
                <a:uLnTx/>
                <a:uFillTx/>
                <a:latin typeface="Segoe Sans Text"/>
                <a:ea typeface="+mn-ea"/>
                <a:cs typeface="+mn-cs"/>
              </a:rPr>
              <a:t>, and </a:t>
            </a: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Azure Accelerate</a:t>
            </a:r>
          </a:p>
        </p:txBody>
      </p:sp>
      <p:sp>
        <p:nvSpPr>
          <p:cNvPr id="51" name="Rectangle: Rounded Corners 50">
            <a:extLst>
              <a:ext uri="{FF2B5EF4-FFF2-40B4-BE49-F238E27FC236}">
                <a16:creationId xmlns:a16="http://schemas.microsoft.com/office/drawing/2014/main" id="{4FE824FC-6789-58BB-C19D-95368015812E}"/>
              </a:ext>
            </a:extLst>
          </p:cNvPr>
          <p:cNvSpPr/>
          <p:nvPr/>
        </p:nvSpPr>
        <p:spPr bwMode="auto">
          <a:xfrm>
            <a:off x="8196303" y="2194116"/>
            <a:ext cx="3300750" cy="917384"/>
          </a:xfrm>
          <a:prstGeom prst="roundRect">
            <a:avLst>
              <a:gd name="adj" fmla="val 778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a:ea typeface="+mn-ea"/>
                <a:cs typeface="+mn-cs"/>
              </a:rPr>
              <a:t>Scale the Cloud &amp; AI Platforms </a:t>
            </a:r>
          </a:p>
        </p:txBody>
      </p:sp>
      <p:sp>
        <p:nvSpPr>
          <p:cNvPr id="56" name="TextBox 55">
            <a:extLst>
              <a:ext uri="{FF2B5EF4-FFF2-40B4-BE49-F238E27FC236}">
                <a16:creationId xmlns:a16="http://schemas.microsoft.com/office/drawing/2014/main" id="{5D45A651-1132-6BD9-C129-78D5729E30E6}"/>
              </a:ext>
            </a:extLst>
          </p:cNvPr>
          <p:cNvSpPr txBox="1"/>
          <p:nvPr/>
        </p:nvSpPr>
        <p:spPr>
          <a:xfrm>
            <a:off x="8469161" y="3275526"/>
            <a:ext cx="3027891"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Digital Native, SDC and ISV: </a:t>
            </a:r>
            <a:r>
              <a:rPr kumimoji="0" lang="en-US" sz="1400" b="0" i="0" u="none" strike="noStrike" kern="1200" cap="none" spc="0" normalizeH="0" baseline="0" noProof="0">
                <a:ln>
                  <a:noFill/>
                </a:ln>
                <a:solidFill>
                  <a:srgbClr val="000000"/>
                </a:solidFill>
                <a:effectLst/>
                <a:uLnTx/>
                <a:uFillTx/>
                <a:latin typeface="Segoe Sans Text"/>
                <a:ea typeface="+mn-ea"/>
                <a:cs typeface="+mn-cs"/>
              </a:rPr>
              <a:t>Make Azure the platform of choice for them and their customers</a:t>
            </a:r>
          </a:p>
        </p:txBody>
      </p:sp>
      <p:sp>
        <p:nvSpPr>
          <p:cNvPr id="57" name="TextBox 56">
            <a:extLst>
              <a:ext uri="{FF2B5EF4-FFF2-40B4-BE49-F238E27FC236}">
                <a16:creationId xmlns:a16="http://schemas.microsoft.com/office/drawing/2014/main" id="{DD276C3F-D888-7191-1E2A-167F7D9D70F5}"/>
              </a:ext>
            </a:extLst>
          </p:cNvPr>
          <p:cNvSpPr txBox="1"/>
          <p:nvPr/>
        </p:nvSpPr>
        <p:spPr>
          <a:xfrm>
            <a:off x="8469161" y="4208775"/>
            <a:ext cx="3027891"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SME&amp;C: </a:t>
            </a:r>
            <a:r>
              <a:rPr kumimoji="0" lang="en-US" sz="1400" b="0" i="0" u="none" strike="noStrike" kern="1200" cap="none" spc="0" normalizeH="0" baseline="0" noProof="0">
                <a:ln>
                  <a:noFill/>
                </a:ln>
                <a:solidFill>
                  <a:srgbClr val="000000"/>
                </a:solidFill>
                <a:effectLst/>
                <a:uLnTx/>
                <a:uFillTx/>
                <a:latin typeface="Segoe Sans Text"/>
                <a:ea typeface="+mn-ea"/>
                <a:cs typeface="+mn-cs"/>
              </a:rPr>
              <a:t>Acquire share and accelerate consumption with improved coverage and focus from Sales and Delivery resource investments</a:t>
            </a:r>
          </a:p>
        </p:txBody>
      </p:sp>
      <p:sp>
        <p:nvSpPr>
          <p:cNvPr id="58" name="TextBox 57">
            <a:extLst>
              <a:ext uri="{FF2B5EF4-FFF2-40B4-BE49-F238E27FC236}">
                <a16:creationId xmlns:a16="http://schemas.microsoft.com/office/drawing/2014/main" id="{A09531A1-16EE-1E5B-B0AE-204CC975F418}"/>
              </a:ext>
            </a:extLst>
          </p:cNvPr>
          <p:cNvSpPr txBox="1"/>
          <p:nvPr/>
        </p:nvSpPr>
        <p:spPr>
          <a:xfrm>
            <a:off x="8469161" y="5357467"/>
            <a:ext cx="3027891"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Text Semibold"/>
                <a:ea typeface="+mn-ea"/>
                <a:cs typeface="+mn-cs"/>
              </a:rPr>
              <a:t>Partner: </a:t>
            </a:r>
            <a:r>
              <a:rPr kumimoji="0" lang="en-US" sz="1400" b="0" i="0" u="none" strike="noStrike" kern="1200" cap="none" spc="0" normalizeH="0" baseline="0" noProof="0">
                <a:ln>
                  <a:noFill/>
                </a:ln>
                <a:solidFill>
                  <a:srgbClr val="000000"/>
                </a:solidFill>
                <a:effectLst/>
                <a:uLnTx/>
                <a:uFillTx/>
                <a:latin typeface="Segoe Sans Text"/>
                <a:ea typeface="+mn-ea"/>
                <a:cs typeface="+mn-cs"/>
              </a:rPr>
              <a:t>Accelerate partner growth through GTM optimization (simplified, competitive incentives, resource investments aligned to solution plays)</a:t>
            </a:r>
          </a:p>
        </p:txBody>
      </p:sp>
      <p:cxnSp>
        <p:nvCxnSpPr>
          <p:cNvPr id="69" name="Straight Connector 68">
            <a:extLst>
              <a:ext uri="{FF2B5EF4-FFF2-40B4-BE49-F238E27FC236}">
                <a16:creationId xmlns:a16="http://schemas.microsoft.com/office/drawing/2014/main" id="{D070ED14-B4B9-5898-B684-4504BE60FC81}"/>
              </a:ext>
              <a:ext uri="{C183D7F6-B498-43B3-948B-1728B52AA6E4}">
                <adec:decorative xmlns:adec="http://schemas.microsoft.com/office/drawing/2017/decorative" val="1"/>
              </a:ext>
            </a:extLst>
          </p:cNvPr>
          <p:cNvCxnSpPr>
            <a:cxnSpLocks/>
            <a:stCxn id="79" idx="4"/>
            <a:endCxn id="89" idx="0"/>
          </p:cNvCxnSpPr>
          <p:nvPr/>
        </p:nvCxnSpPr>
        <p:spPr>
          <a:xfrm>
            <a:off x="788318" y="3454780"/>
            <a:ext cx="0" cy="1367652"/>
          </a:xfrm>
          <a:prstGeom prst="line">
            <a:avLst/>
          </a:prstGeom>
          <a:ln w="19050">
            <a:solidFill>
              <a:schemeClr val="tx2">
                <a:lumMod val="20000"/>
                <a:lumOff val="80000"/>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6C2F6D23-B177-184B-7CB7-72DFD5857EAA}"/>
              </a:ext>
              <a:ext uri="{C183D7F6-B498-43B3-948B-1728B52AA6E4}">
                <adec:decorative xmlns:adec="http://schemas.microsoft.com/office/drawing/2017/decorative" val="1"/>
              </a:ext>
            </a:extLst>
          </p:cNvPr>
          <p:cNvGrpSpPr/>
          <p:nvPr/>
        </p:nvGrpSpPr>
        <p:grpSpPr>
          <a:xfrm>
            <a:off x="4720355" y="3870439"/>
            <a:ext cx="3027891" cy="1733322"/>
            <a:chOff x="4447497" y="3870439"/>
            <a:chExt cx="3300750" cy="1733322"/>
          </a:xfrm>
        </p:grpSpPr>
        <p:cxnSp>
          <p:nvCxnSpPr>
            <p:cNvPr id="71" name="Straight Connector 70">
              <a:extLst>
                <a:ext uri="{FF2B5EF4-FFF2-40B4-BE49-F238E27FC236}">
                  <a16:creationId xmlns:a16="http://schemas.microsoft.com/office/drawing/2014/main" id="{47BD41FD-A20E-C5D6-BEEA-939F61C2B7C2}"/>
                </a:ext>
              </a:extLst>
            </p:cNvPr>
            <p:cNvCxnSpPr>
              <a:cxnSpLocks/>
            </p:cNvCxnSpPr>
            <p:nvPr/>
          </p:nvCxnSpPr>
          <p:spPr>
            <a:xfrm>
              <a:off x="4447497" y="3870439"/>
              <a:ext cx="330075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3648712-11C8-441C-6AE8-ADF489FD4585}"/>
                </a:ext>
              </a:extLst>
            </p:cNvPr>
            <p:cNvCxnSpPr>
              <a:cxnSpLocks/>
            </p:cNvCxnSpPr>
            <p:nvPr/>
          </p:nvCxnSpPr>
          <p:spPr>
            <a:xfrm>
              <a:off x="4447497" y="4629378"/>
              <a:ext cx="330075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C5586E5-68DA-C5DF-B7E3-82BEFECDA294}"/>
                </a:ext>
              </a:extLst>
            </p:cNvPr>
            <p:cNvCxnSpPr>
              <a:cxnSpLocks/>
            </p:cNvCxnSpPr>
            <p:nvPr/>
          </p:nvCxnSpPr>
          <p:spPr>
            <a:xfrm>
              <a:off x="4447497" y="5603761"/>
              <a:ext cx="3300750"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 name="Oval 78">
            <a:extLst>
              <a:ext uri="{FF2B5EF4-FFF2-40B4-BE49-F238E27FC236}">
                <a16:creationId xmlns:a16="http://schemas.microsoft.com/office/drawing/2014/main" id="{4114260E-C5CC-12BC-1174-440BF79B58A1}"/>
              </a:ext>
              <a:ext uri="{C183D7F6-B498-43B3-948B-1728B52AA6E4}">
                <adec:decorative xmlns:adec="http://schemas.microsoft.com/office/drawing/2017/decorative" val="1"/>
              </a:ext>
            </a:extLst>
          </p:cNvPr>
          <p:cNvSpPr/>
          <p:nvPr/>
        </p:nvSpPr>
        <p:spPr bwMode="auto">
          <a:xfrm>
            <a:off x="713205" y="3304554"/>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80" name="Oval 79">
            <a:extLst>
              <a:ext uri="{FF2B5EF4-FFF2-40B4-BE49-F238E27FC236}">
                <a16:creationId xmlns:a16="http://schemas.microsoft.com/office/drawing/2014/main" id="{DFEAEF5C-C874-3DFB-98D7-6FADD121EA77}"/>
              </a:ext>
              <a:ext uri="{C183D7F6-B498-43B3-948B-1728B52AA6E4}">
                <adec:decorative xmlns:adec="http://schemas.microsoft.com/office/drawing/2017/decorative" val="1"/>
              </a:ext>
            </a:extLst>
          </p:cNvPr>
          <p:cNvSpPr/>
          <p:nvPr/>
        </p:nvSpPr>
        <p:spPr bwMode="auto">
          <a:xfrm>
            <a:off x="713205" y="4063493"/>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cxnSp>
        <p:nvCxnSpPr>
          <p:cNvPr id="83" name="Straight Connector 82">
            <a:extLst>
              <a:ext uri="{FF2B5EF4-FFF2-40B4-BE49-F238E27FC236}">
                <a16:creationId xmlns:a16="http://schemas.microsoft.com/office/drawing/2014/main" id="{5C244A26-E5C3-9FFD-9897-4ACFE5497D5E}"/>
              </a:ext>
              <a:ext uri="{C183D7F6-B498-43B3-948B-1728B52AA6E4}">
                <adec:decorative xmlns:adec="http://schemas.microsoft.com/office/drawing/2017/decorative" val="1"/>
              </a:ext>
            </a:extLst>
          </p:cNvPr>
          <p:cNvCxnSpPr>
            <a:cxnSpLocks/>
          </p:cNvCxnSpPr>
          <p:nvPr/>
        </p:nvCxnSpPr>
        <p:spPr>
          <a:xfrm>
            <a:off x="8469162" y="4065316"/>
            <a:ext cx="3027891"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F2C3EDE-6FF8-E2B0-D03B-C64D0F638175}"/>
              </a:ext>
              <a:ext uri="{C183D7F6-B498-43B3-948B-1728B52AA6E4}">
                <adec:decorative xmlns:adec="http://schemas.microsoft.com/office/drawing/2017/decorative" val="1"/>
              </a:ext>
            </a:extLst>
          </p:cNvPr>
          <p:cNvCxnSpPr>
            <a:cxnSpLocks/>
          </p:cNvCxnSpPr>
          <p:nvPr/>
        </p:nvCxnSpPr>
        <p:spPr>
          <a:xfrm>
            <a:off x="8469162" y="5214008"/>
            <a:ext cx="3027891"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2A4D2921-7E09-BD23-386D-76C631F77FCE}"/>
              </a:ext>
              <a:ext uri="{C183D7F6-B498-43B3-948B-1728B52AA6E4}">
                <adec:decorative xmlns:adec="http://schemas.microsoft.com/office/drawing/2017/decorative" val="1"/>
              </a:ext>
            </a:extLst>
          </p:cNvPr>
          <p:cNvSpPr/>
          <p:nvPr/>
        </p:nvSpPr>
        <p:spPr bwMode="auto">
          <a:xfrm>
            <a:off x="713205" y="4822432"/>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cxnSp>
        <p:nvCxnSpPr>
          <p:cNvPr id="92" name="Straight Connector 91">
            <a:extLst>
              <a:ext uri="{FF2B5EF4-FFF2-40B4-BE49-F238E27FC236}">
                <a16:creationId xmlns:a16="http://schemas.microsoft.com/office/drawing/2014/main" id="{F862DBDE-24D7-7415-BF90-F4CC3D202EB0}"/>
              </a:ext>
              <a:ext uri="{C183D7F6-B498-43B3-948B-1728B52AA6E4}">
                <adec:decorative xmlns:adec="http://schemas.microsoft.com/office/drawing/2017/decorative" val="1"/>
              </a:ext>
            </a:extLst>
          </p:cNvPr>
          <p:cNvCxnSpPr>
            <a:cxnSpLocks/>
            <a:stCxn id="70" idx="4"/>
            <a:endCxn id="78" idx="0"/>
          </p:cNvCxnSpPr>
          <p:nvPr/>
        </p:nvCxnSpPr>
        <p:spPr>
          <a:xfrm>
            <a:off x="4537125" y="3454780"/>
            <a:ext cx="0" cy="2342035"/>
          </a:xfrm>
          <a:prstGeom prst="line">
            <a:avLst/>
          </a:prstGeom>
          <a:ln w="19050">
            <a:solidFill>
              <a:schemeClr val="tx2">
                <a:lumMod val="20000"/>
                <a:lumOff val="80000"/>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BB6A6242-2E10-F88D-1ABA-59740B165B89}"/>
              </a:ext>
              <a:ext uri="{C183D7F6-B498-43B3-948B-1728B52AA6E4}">
                <adec:decorative xmlns:adec="http://schemas.microsoft.com/office/drawing/2017/decorative" val="1"/>
              </a:ext>
            </a:extLst>
          </p:cNvPr>
          <p:cNvSpPr/>
          <p:nvPr/>
        </p:nvSpPr>
        <p:spPr bwMode="auto">
          <a:xfrm>
            <a:off x="4462012" y="3304554"/>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76" name="Oval 75">
            <a:extLst>
              <a:ext uri="{FF2B5EF4-FFF2-40B4-BE49-F238E27FC236}">
                <a16:creationId xmlns:a16="http://schemas.microsoft.com/office/drawing/2014/main" id="{628A1DAF-B2A6-52E3-4273-804AE72EBA03}"/>
              </a:ext>
              <a:ext uri="{C183D7F6-B498-43B3-948B-1728B52AA6E4}">
                <adec:decorative xmlns:adec="http://schemas.microsoft.com/office/drawing/2017/decorative" val="1"/>
              </a:ext>
            </a:extLst>
          </p:cNvPr>
          <p:cNvSpPr/>
          <p:nvPr/>
        </p:nvSpPr>
        <p:spPr bwMode="auto">
          <a:xfrm>
            <a:off x="4462012" y="4063493"/>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77" name="Oval 76">
            <a:extLst>
              <a:ext uri="{FF2B5EF4-FFF2-40B4-BE49-F238E27FC236}">
                <a16:creationId xmlns:a16="http://schemas.microsoft.com/office/drawing/2014/main" id="{8E5B853A-5B1A-036E-0080-611C6F4C8291}"/>
              </a:ext>
              <a:ext uri="{C183D7F6-B498-43B3-948B-1728B52AA6E4}">
                <adec:decorative xmlns:adec="http://schemas.microsoft.com/office/drawing/2017/decorative" val="1"/>
              </a:ext>
            </a:extLst>
          </p:cNvPr>
          <p:cNvSpPr/>
          <p:nvPr/>
        </p:nvSpPr>
        <p:spPr bwMode="auto">
          <a:xfrm>
            <a:off x="4462012" y="4822432"/>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78" name="Oval 77">
            <a:extLst>
              <a:ext uri="{FF2B5EF4-FFF2-40B4-BE49-F238E27FC236}">
                <a16:creationId xmlns:a16="http://schemas.microsoft.com/office/drawing/2014/main" id="{4D0A678E-E93C-3806-39D5-770D38625B8F}"/>
              </a:ext>
              <a:ext uri="{C183D7F6-B498-43B3-948B-1728B52AA6E4}">
                <adec:decorative xmlns:adec="http://schemas.microsoft.com/office/drawing/2017/decorative" val="1"/>
              </a:ext>
            </a:extLst>
          </p:cNvPr>
          <p:cNvSpPr/>
          <p:nvPr/>
        </p:nvSpPr>
        <p:spPr bwMode="auto">
          <a:xfrm>
            <a:off x="4462012" y="5796815"/>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cxnSp>
        <p:nvCxnSpPr>
          <p:cNvPr id="97" name="Straight Connector 96">
            <a:extLst>
              <a:ext uri="{FF2B5EF4-FFF2-40B4-BE49-F238E27FC236}">
                <a16:creationId xmlns:a16="http://schemas.microsoft.com/office/drawing/2014/main" id="{84F5ADFB-8F42-0075-EFA4-0501DBA78799}"/>
              </a:ext>
              <a:ext uri="{C183D7F6-B498-43B3-948B-1728B52AA6E4}">
                <adec:decorative xmlns:adec="http://schemas.microsoft.com/office/drawing/2017/decorative" val="1"/>
              </a:ext>
            </a:extLst>
          </p:cNvPr>
          <p:cNvCxnSpPr>
            <a:cxnSpLocks/>
            <a:stCxn id="86" idx="4"/>
            <a:endCxn id="88" idx="0"/>
          </p:cNvCxnSpPr>
          <p:nvPr/>
        </p:nvCxnSpPr>
        <p:spPr>
          <a:xfrm>
            <a:off x="8285930" y="3454780"/>
            <a:ext cx="0" cy="1931715"/>
          </a:xfrm>
          <a:prstGeom prst="line">
            <a:avLst/>
          </a:prstGeom>
          <a:ln w="19050">
            <a:solidFill>
              <a:schemeClr val="tx2">
                <a:lumMod val="20000"/>
                <a:lumOff val="80000"/>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FFF1ADC9-6FCC-9DA7-AFE5-910925937B56}"/>
              </a:ext>
              <a:ext uri="{C183D7F6-B498-43B3-948B-1728B52AA6E4}">
                <adec:decorative xmlns:adec="http://schemas.microsoft.com/office/drawing/2017/decorative" val="1"/>
              </a:ext>
            </a:extLst>
          </p:cNvPr>
          <p:cNvSpPr/>
          <p:nvPr/>
        </p:nvSpPr>
        <p:spPr bwMode="auto">
          <a:xfrm>
            <a:off x="8210817" y="3304554"/>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87" name="Oval 86">
            <a:extLst>
              <a:ext uri="{FF2B5EF4-FFF2-40B4-BE49-F238E27FC236}">
                <a16:creationId xmlns:a16="http://schemas.microsoft.com/office/drawing/2014/main" id="{1FF1F84B-F582-0364-E023-D93F5B1E5388}"/>
              </a:ext>
              <a:ext uri="{C183D7F6-B498-43B3-948B-1728B52AA6E4}">
                <adec:decorative xmlns:adec="http://schemas.microsoft.com/office/drawing/2017/decorative" val="1"/>
              </a:ext>
            </a:extLst>
          </p:cNvPr>
          <p:cNvSpPr/>
          <p:nvPr/>
        </p:nvSpPr>
        <p:spPr bwMode="auto">
          <a:xfrm>
            <a:off x="8210817" y="4237803"/>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sp>
        <p:nvSpPr>
          <p:cNvPr id="88" name="Oval 87">
            <a:extLst>
              <a:ext uri="{FF2B5EF4-FFF2-40B4-BE49-F238E27FC236}">
                <a16:creationId xmlns:a16="http://schemas.microsoft.com/office/drawing/2014/main" id="{181FEEAA-E6C9-4C12-4C87-BB5D6D5D427E}"/>
              </a:ext>
              <a:ext uri="{C183D7F6-B498-43B3-948B-1728B52AA6E4}">
                <adec:decorative xmlns:adec="http://schemas.microsoft.com/office/drawing/2017/decorative" val="1"/>
              </a:ext>
            </a:extLst>
          </p:cNvPr>
          <p:cNvSpPr/>
          <p:nvPr/>
        </p:nvSpPr>
        <p:spPr bwMode="auto">
          <a:xfrm>
            <a:off x="8210817" y="5386495"/>
            <a:ext cx="150226" cy="150226"/>
          </a:xfrm>
          <a:prstGeom prst="ellipse">
            <a:avLst/>
          </a:prstGeom>
          <a:solidFill>
            <a:schemeClr val="tx2">
              <a:lumMod val="20000"/>
              <a:lumOff val="80000"/>
            </a:schemeClr>
          </a:solidFill>
          <a:ln w="6350">
            <a:solidFill>
              <a:schemeClr val="bg1"/>
            </a:solidFill>
            <a:headEnd type="none" w="med" len="med"/>
            <a:tailEnd type="none" w="med" len="med"/>
          </a:ln>
          <a:effectLst>
            <a:outerShdw blurRad="152400" dist="50800" dir="54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529889" rtl="0" eaLnBrk="1" fontAlgn="base" latinLnBrk="0" hangingPunct="1">
              <a:lnSpc>
                <a:spcPct val="100000"/>
              </a:lnSpc>
              <a:spcBef>
                <a:spcPts val="60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endParaRPr>
          </a:p>
        </p:txBody>
      </p:sp>
      <p:cxnSp>
        <p:nvCxnSpPr>
          <p:cNvPr id="102" name="Straight Connector 101">
            <a:extLst>
              <a:ext uri="{FF2B5EF4-FFF2-40B4-BE49-F238E27FC236}">
                <a16:creationId xmlns:a16="http://schemas.microsoft.com/office/drawing/2014/main" id="{5D5F7963-F7FE-614C-4F1F-391D33654E7C}"/>
              </a:ext>
              <a:ext uri="{C183D7F6-B498-43B3-948B-1728B52AA6E4}">
                <adec:decorative xmlns:adec="http://schemas.microsoft.com/office/drawing/2017/decorative" val="1"/>
              </a:ext>
            </a:extLst>
          </p:cNvPr>
          <p:cNvCxnSpPr>
            <a:cxnSpLocks/>
          </p:cNvCxnSpPr>
          <p:nvPr/>
        </p:nvCxnSpPr>
        <p:spPr>
          <a:xfrm>
            <a:off x="971549" y="3870439"/>
            <a:ext cx="3027891"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0A15398-5934-882A-81E5-0F0C7D417BEA}"/>
              </a:ext>
              <a:ext uri="{C183D7F6-B498-43B3-948B-1728B52AA6E4}">
                <adec:decorative xmlns:adec="http://schemas.microsoft.com/office/drawing/2017/decorative" val="1"/>
              </a:ext>
            </a:extLst>
          </p:cNvPr>
          <p:cNvCxnSpPr>
            <a:cxnSpLocks/>
          </p:cNvCxnSpPr>
          <p:nvPr/>
        </p:nvCxnSpPr>
        <p:spPr>
          <a:xfrm>
            <a:off x="971549" y="4629378"/>
            <a:ext cx="3027891"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7636916-8930-77C9-04C1-11FCA6D65D01}"/>
              </a:ext>
              <a:ext uri="{C183D7F6-B498-43B3-948B-1728B52AA6E4}">
                <adec:decorative xmlns:adec="http://schemas.microsoft.com/office/drawing/2017/decorative" val="1"/>
              </a:ext>
            </a:extLst>
          </p:cNvPr>
          <p:cNvGrpSpPr/>
          <p:nvPr/>
        </p:nvGrpSpPr>
        <p:grpSpPr>
          <a:xfrm>
            <a:off x="2042705" y="1319213"/>
            <a:ext cx="612723" cy="612719"/>
            <a:chOff x="2042705" y="1319213"/>
            <a:chExt cx="612723" cy="612719"/>
          </a:xfrm>
        </p:grpSpPr>
        <p:sp>
          <p:nvSpPr>
            <p:cNvPr id="66" name="Oval 65">
              <a:extLst>
                <a:ext uri="{FF2B5EF4-FFF2-40B4-BE49-F238E27FC236}">
                  <a16:creationId xmlns:a16="http://schemas.microsoft.com/office/drawing/2014/main" id="{0DBD9371-935C-F6B4-7619-AD03CE82C13C}"/>
                </a:ext>
              </a:extLst>
            </p:cNvPr>
            <p:cNvSpPr/>
            <p:nvPr/>
          </p:nvSpPr>
          <p:spPr bwMode="auto">
            <a:xfrm>
              <a:off x="2042705" y="1319213"/>
              <a:ext cx="612723" cy="612719"/>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8" name="Graphic 27" descr="Icon of a Speedometer">
              <a:extLst>
                <a:ext uri="{FF2B5EF4-FFF2-40B4-BE49-F238E27FC236}">
                  <a16:creationId xmlns:a16="http://schemas.microsoft.com/office/drawing/2014/main" id="{38136999-E3F9-A1D2-FE98-63194B48FEC3}"/>
                </a:ext>
              </a:extLst>
            </p:cNvPr>
            <p:cNvSpPr>
              <a:spLocks noChangeAspect="1"/>
            </p:cNvSpPr>
            <p:nvPr/>
          </p:nvSpPr>
          <p:spPr>
            <a:xfrm>
              <a:off x="2183432" y="1476505"/>
              <a:ext cx="331268" cy="298134"/>
            </a:xfrm>
            <a:custGeom>
              <a:avLst/>
              <a:gdLst>
                <a:gd name="connsiteX0" fmla="*/ 43274 w 190505"/>
                <a:gd name="connsiteY0" fmla="*/ 33171 h 171450"/>
                <a:gd name="connsiteX1" fmla="*/ 88106 w 190505"/>
                <a:gd name="connsiteY1" fmla="*/ 14598 h 171450"/>
                <a:gd name="connsiteX2" fmla="*/ 88106 w 190505"/>
                <a:gd name="connsiteY2" fmla="*/ 30956 h 171450"/>
                <a:gd name="connsiteX3" fmla="*/ 95250 w 190505"/>
                <a:gd name="connsiteY3" fmla="*/ 38100 h 171450"/>
                <a:gd name="connsiteX4" fmla="*/ 102394 w 190505"/>
                <a:gd name="connsiteY4" fmla="*/ 30956 h 171450"/>
                <a:gd name="connsiteX5" fmla="*/ 102394 w 190505"/>
                <a:gd name="connsiteY5" fmla="*/ 14598 h 171450"/>
                <a:gd name="connsiteX6" fmla="*/ 176074 w 190505"/>
                <a:gd name="connsiteY6" fmla="*/ 90488 h 171450"/>
                <a:gd name="connsiteX7" fmla="*/ 159544 w 190505"/>
                <a:gd name="connsiteY7" fmla="*/ 90488 h 171450"/>
                <a:gd name="connsiteX8" fmla="*/ 152400 w 190505"/>
                <a:gd name="connsiteY8" fmla="*/ 97631 h 171450"/>
                <a:gd name="connsiteX9" fmla="*/ 159544 w 190505"/>
                <a:gd name="connsiteY9" fmla="*/ 104775 h 171450"/>
                <a:gd name="connsiteX10" fmla="*/ 175683 w 190505"/>
                <a:gd name="connsiteY10" fmla="*/ 104775 h 171450"/>
                <a:gd name="connsiteX11" fmla="*/ 145509 w 190505"/>
                <a:gd name="connsiteY11" fmla="*/ 158766 h 171450"/>
                <a:gd name="connsiteX12" fmla="*/ 144478 w 190505"/>
                <a:gd name="connsiteY12" fmla="*/ 168816 h 171450"/>
                <a:gd name="connsiteX13" fmla="*/ 154529 w 190505"/>
                <a:gd name="connsiteY13" fmla="*/ 169847 h 171450"/>
                <a:gd name="connsiteX14" fmla="*/ 190447 w 190505"/>
                <a:gd name="connsiteY14" fmla="*/ 98558 h 171450"/>
                <a:gd name="connsiteX15" fmla="*/ 190506 w 190505"/>
                <a:gd name="connsiteY15" fmla="*/ 97631 h 171450"/>
                <a:gd name="connsiteX16" fmla="*/ 190484 w 190505"/>
                <a:gd name="connsiteY16" fmla="*/ 97066 h 171450"/>
                <a:gd name="connsiteX17" fmla="*/ 190500 w 190505"/>
                <a:gd name="connsiteY17" fmla="*/ 95250 h 171450"/>
                <a:gd name="connsiteX18" fmla="*/ 95250 w 190505"/>
                <a:gd name="connsiteY18" fmla="*/ 0 h 171450"/>
                <a:gd name="connsiteX19" fmla="*/ 0 w 190505"/>
                <a:gd name="connsiteY19" fmla="*/ 95250 h 171450"/>
                <a:gd name="connsiteX20" fmla="*/ 35908 w 190505"/>
                <a:gd name="connsiteY20" fmla="*/ 169795 h 171450"/>
                <a:gd name="connsiteX21" fmla="*/ 45969 w 190505"/>
                <a:gd name="connsiteY21" fmla="*/ 168879 h 171450"/>
                <a:gd name="connsiteX22" fmla="*/ 45055 w 190505"/>
                <a:gd name="connsiteY22" fmla="*/ 158818 h 171450"/>
                <a:gd name="connsiteX23" fmla="*/ 14837 w 190505"/>
                <a:gd name="connsiteY23" fmla="*/ 104775 h 171450"/>
                <a:gd name="connsiteX24" fmla="*/ 30953 w 190505"/>
                <a:gd name="connsiteY24" fmla="*/ 104775 h 171450"/>
                <a:gd name="connsiteX25" fmla="*/ 38096 w 190505"/>
                <a:gd name="connsiteY25" fmla="*/ 97631 h 171450"/>
                <a:gd name="connsiteX26" fmla="*/ 30953 w 190505"/>
                <a:gd name="connsiteY26" fmla="*/ 90488 h 171450"/>
                <a:gd name="connsiteX27" fmla="*/ 14425 w 190505"/>
                <a:gd name="connsiteY27" fmla="*/ 90488 h 171450"/>
                <a:gd name="connsiteX28" fmla="*/ 33171 w 190505"/>
                <a:gd name="connsiteY28" fmla="*/ 43274 h 171450"/>
                <a:gd name="connsiteX29" fmla="*/ 44955 w 190505"/>
                <a:gd name="connsiteY29" fmla="*/ 55058 h 171450"/>
                <a:gd name="connsiteX30" fmla="*/ 55058 w 190505"/>
                <a:gd name="connsiteY30" fmla="*/ 55058 h 171450"/>
                <a:gd name="connsiteX31" fmla="*/ 55058 w 190505"/>
                <a:gd name="connsiteY31" fmla="*/ 44955 h 171450"/>
                <a:gd name="connsiteX32" fmla="*/ 43274 w 190505"/>
                <a:gd name="connsiteY32" fmla="*/ 33171 h 171450"/>
                <a:gd name="connsiteX33" fmla="*/ 140579 w 190505"/>
                <a:gd name="connsiteY33" fmla="*/ 44140 h 171450"/>
                <a:gd name="connsiteX34" fmla="*/ 132889 w 190505"/>
                <a:gd name="connsiteY34" fmla="*/ 44285 h 171450"/>
                <a:gd name="connsiteX35" fmla="*/ 130820 w 190505"/>
                <a:gd name="connsiteY35" fmla="*/ 46022 h 171450"/>
                <a:gd name="connsiteX36" fmla="*/ 125338 w 190505"/>
                <a:gd name="connsiteY36" fmla="*/ 50636 h 171450"/>
                <a:gd name="connsiteX37" fmla="*/ 108419 w 190505"/>
                <a:gd name="connsiteY37" fmla="*/ 64988 h 171450"/>
                <a:gd name="connsiteX38" fmla="*/ 90675 w 190505"/>
                <a:gd name="connsiteY38" fmla="*/ 80342 h 171450"/>
                <a:gd name="connsiteX39" fmla="*/ 84115 w 190505"/>
                <a:gd name="connsiteY39" fmla="*/ 86255 h 171450"/>
                <a:gd name="connsiteX40" fmla="*/ 80117 w 190505"/>
                <a:gd name="connsiteY40" fmla="*/ 90285 h 171450"/>
                <a:gd name="connsiteX41" fmla="*/ 83090 w 190505"/>
                <a:gd name="connsiteY41" fmla="*/ 115231 h 171450"/>
                <a:gd name="connsiteX42" fmla="*/ 108587 w 190505"/>
                <a:gd name="connsiteY42" fmla="*/ 112322 h 171450"/>
                <a:gd name="connsiteX43" fmla="*/ 111676 w 190505"/>
                <a:gd name="connsiteY43" fmla="*/ 107588 h 171450"/>
                <a:gd name="connsiteX44" fmla="*/ 116048 w 190505"/>
                <a:gd name="connsiteY44" fmla="*/ 99981 h 171450"/>
                <a:gd name="connsiteX45" fmla="*/ 127240 w 190505"/>
                <a:gd name="connsiteY45" fmla="*/ 79555 h 171450"/>
                <a:gd name="connsiteX46" fmla="*/ 137623 w 190505"/>
                <a:gd name="connsiteY46" fmla="*/ 60144 h 171450"/>
                <a:gd name="connsiteX47" fmla="*/ 140951 w 190505"/>
                <a:gd name="connsiteY47" fmla="*/ 53863 h 171450"/>
                <a:gd name="connsiteX48" fmla="*/ 142203 w 190505"/>
                <a:gd name="connsiteY48" fmla="*/ 51494 h 171450"/>
                <a:gd name="connsiteX49" fmla="*/ 140579 w 190505"/>
                <a:gd name="connsiteY49" fmla="*/ 4414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90505" h="171450">
                  <a:moveTo>
                    <a:pt x="43274" y="33171"/>
                  </a:moveTo>
                  <a:cubicBezTo>
                    <a:pt x="55626" y="22818"/>
                    <a:pt x="71114" y="16084"/>
                    <a:pt x="88106" y="14598"/>
                  </a:cubicBezTo>
                  <a:lnTo>
                    <a:pt x="88106" y="30956"/>
                  </a:lnTo>
                  <a:cubicBezTo>
                    <a:pt x="88106" y="34902"/>
                    <a:pt x="91305" y="38100"/>
                    <a:pt x="95250" y="38100"/>
                  </a:cubicBezTo>
                  <a:cubicBezTo>
                    <a:pt x="99195" y="38100"/>
                    <a:pt x="102394" y="34902"/>
                    <a:pt x="102394" y="30956"/>
                  </a:cubicBezTo>
                  <a:lnTo>
                    <a:pt x="102394" y="14598"/>
                  </a:lnTo>
                  <a:cubicBezTo>
                    <a:pt x="142199" y="18078"/>
                    <a:pt x="173747" y="50363"/>
                    <a:pt x="176074" y="90488"/>
                  </a:cubicBezTo>
                  <a:lnTo>
                    <a:pt x="159544" y="90488"/>
                  </a:lnTo>
                  <a:cubicBezTo>
                    <a:pt x="155599" y="90488"/>
                    <a:pt x="152400" y="93686"/>
                    <a:pt x="152400" y="97631"/>
                  </a:cubicBezTo>
                  <a:cubicBezTo>
                    <a:pt x="152400" y="101577"/>
                    <a:pt x="155599" y="104775"/>
                    <a:pt x="159544" y="104775"/>
                  </a:cubicBezTo>
                  <a:lnTo>
                    <a:pt x="175683" y="104775"/>
                  </a:lnTo>
                  <a:cubicBezTo>
                    <a:pt x="173200" y="126793"/>
                    <a:pt x="162126" y="145240"/>
                    <a:pt x="145509" y="158766"/>
                  </a:cubicBezTo>
                  <a:cubicBezTo>
                    <a:pt x="142449" y="161256"/>
                    <a:pt x="141987" y="165756"/>
                    <a:pt x="144478" y="168816"/>
                  </a:cubicBezTo>
                  <a:cubicBezTo>
                    <a:pt x="146969" y="171876"/>
                    <a:pt x="151468" y="172338"/>
                    <a:pt x="154529" y="169847"/>
                  </a:cubicBezTo>
                  <a:cubicBezTo>
                    <a:pt x="175736" y="152585"/>
                    <a:pt x="189487" y="127999"/>
                    <a:pt x="190447" y="98558"/>
                  </a:cubicBezTo>
                  <a:cubicBezTo>
                    <a:pt x="190486" y="98254"/>
                    <a:pt x="190506" y="97946"/>
                    <a:pt x="190506" y="97631"/>
                  </a:cubicBezTo>
                  <a:cubicBezTo>
                    <a:pt x="190506" y="97442"/>
                    <a:pt x="190498" y="97253"/>
                    <a:pt x="190484" y="97066"/>
                  </a:cubicBezTo>
                  <a:cubicBezTo>
                    <a:pt x="190494" y="96463"/>
                    <a:pt x="190500" y="95858"/>
                    <a:pt x="190500" y="95250"/>
                  </a:cubicBezTo>
                  <a:cubicBezTo>
                    <a:pt x="190500" y="42645"/>
                    <a:pt x="147855" y="0"/>
                    <a:pt x="95250" y="0"/>
                  </a:cubicBezTo>
                  <a:cubicBezTo>
                    <a:pt x="42645" y="0"/>
                    <a:pt x="0" y="42645"/>
                    <a:pt x="0" y="95250"/>
                  </a:cubicBezTo>
                  <a:cubicBezTo>
                    <a:pt x="0" y="126227"/>
                    <a:pt x="14507" y="151960"/>
                    <a:pt x="35908" y="169795"/>
                  </a:cubicBezTo>
                  <a:cubicBezTo>
                    <a:pt x="38939" y="172320"/>
                    <a:pt x="43443" y="171910"/>
                    <a:pt x="45969" y="168879"/>
                  </a:cubicBezTo>
                  <a:cubicBezTo>
                    <a:pt x="48495" y="165848"/>
                    <a:pt x="48086" y="161344"/>
                    <a:pt x="45055" y="158818"/>
                  </a:cubicBezTo>
                  <a:cubicBezTo>
                    <a:pt x="28755" y="145235"/>
                    <a:pt x="17400" y="126748"/>
                    <a:pt x="14837" y="104775"/>
                  </a:cubicBezTo>
                  <a:lnTo>
                    <a:pt x="30953" y="104775"/>
                  </a:lnTo>
                  <a:cubicBezTo>
                    <a:pt x="34898" y="104775"/>
                    <a:pt x="38096" y="101577"/>
                    <a:pt x="38096" y="97631"/>
                  </a:cubicBezTo>
                  <a:cubicBezTo>
                    <a:pt x="38096" y="93686"/>
                    <a:pt x="34898" y="90488"/>
                    <a:pt x="30953" y="90488"/>
                  </a:cubicBezTo>
                  <a:lnTo>
                    <a:pt x="14425" y="90488"/>
                  </a:lnTo>
                  <a:cubicBezTo>
                    <a:pt x="15465" y="72562"/>
                    <a:pt x="22337" y="56201"/>
                    <a:pt x="33171" y="43274"/>
                  </a:cubicBezTo>
                  <a:lnTo>
                    <a:pt x="44955" y="55058"/>
                  </a:lnTo>
                  <a:cubicBezTo>
                    <a:pt x="47745" y="57847"/>
                    <a:pt x="52268" y="57847"/>
                    <a:pt x="55058" y="55058"/>
                  </a:cubicBezTo>
                  <a:cubicBezTo>
                    <a:pt x="57847" y="52268"/>
                    <a:pt x="57847" y="47745"/>
                    <a:pt x="55058" y="44955"/>
                  </a:cubicBezTo>
                  <a:lnTo>
                    <a:pt x="43274" y="33171"/>
                  </a:lnTo>
                  <a:close/>
                  <a:moveTo>
                    <a:pt x="140579" y="44140"/>
                  </a:moveTo>
                  <a:cubicBezTo>
                    <a:pt x="138310" y="42383"/>
                    <a:pt x="135087" y="42444"/>
                    <a:pt x="132889" y="44285"/>
                  </a:cubicBezTo>
                  <a:lnTo>
                    <a:pt x="130820" y="46022"/>
                  </a:lnTo>
                  <a:cubicBezTo>
                    <a:pt x="129502" y="47129"/>
                    <a:pt x="127615" y="48716"/>
                    <a:pt x="125338" y="50636"/>
                  </a:cubicBezTo>
                  <a:cubicBezTo>
                    <a:pt x="120785" y="54475"/>
                    <a:pt x="114668" y="59650"/>
                    <a:pt x="108419" y="64988"/>
                  </a:cubicBezTo>
                  <a:cubicBezTo>
                    <a:pt x="102175" y="70321"/>
                    <a:pt x="95779" y="75834"/>
                    <a:pt x="90675" y="80342"/>
                  </a:cubicBezTo>
                  <a:cubicBezTo>
                    <a:pt x="88126" y="82594"/>
                    <a:pt x="85875" y="84618"/>
                    <a:pt x="84115" y="86255"/>
                  </a:cubicBezTo>
                  <a:cubicBezTo>
                    <a:pt x="82480" y="87777"/>
                    <a:pt x="80949" y="89256"/>
                    <a:pt x="80117" y="90285"/>
                  </a:cubicBezTo>
                  <a:cubicBezTo>
                    <a:pt x="73897" y="97977"/>
                    <a:pt x="75228" y="109145"/>
                    <a:pt x="83090" y="115231"/>
                  </a:cubicBezTo>
                  <a:cubicBezTo>
                    <a:pt x="90952" y="121315"/>
                    <a:pt x="102367" y="120013"/>
                    <a:pt x="108587" y="112322"/>
                  </a:cubicBezTo>
                  <a:cubicBezTo>
                    <a:pt x="109419" y="111292"/>
                    <a:pt x="110539" y="109495"/>
                    <a:pt x="111676" y="107588"/>
                  </a:cubicBezTo>
                  <a:cubicBezTo>
                    <a:pt x="112899" y="105536"/>
                    <a:pt x="114394" y="102926"/>
                    <a:pt x="116048" y="99981"/>
                  </a:cubicBezTo>
                  <a:cubicBezTo>
                    <a:pt x="119359" y="94085"/>
                    <a:pt x="123371" y="86728"/>
                    <a:pt x="127240" y="79555"/>
                  </a:cubicBezTo>
                  <a:cubicBezTo>
                    <a:pt x="131111" y="72378"/>
                    <a:pt x="134851" y="65363"/>
                    <a:pt x="137623" y="60144"/>
                  </a:cubicBezTo>
                  <a:cubicBezTo>
                    <a:pt x="139009" y="57535"/>
                    <a:pt x="140153" y="55373"/>
                    <a:pt x="140951" y="53863"/>
                  </a:cubicBezTo>
                  <a:lnTo>
                    <a:pt x="142203" y="51494"/>
                  </a:lnTo>
                  <a:cubicBezTo>
                    <a:pt x="143527" y="48978"/>
                    <a:pt x="142847" y="45896"/>
                    <a:pt x="140579" y="44140"/>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grpSp>
        <p:nvGrpSpPr>
          <p:cNvPr id="4" name="Group 3">
            <a:extLst>
              <a:ext uri="{FF2B5EF4-FFF2-40B4-BE49-F238E27FC236}">
                <a16:creationId xmlns:a16="http://schemas.microsoft.com/office/drawing/2014/main" id="{A7CB4D1F-4300-DD53-1529-6DD55BE3A0E8}"/>
              </a:ext>
              <a:ext uri="{C183D7F6-B498-43B3-948B-1728B52AA6E4}">
                <adec:decorative xmlns:adec="http://schemas.microsoft.com/office/drawing/2017/decorative" val="1"/>
              </a:ext>
            </a:extLst>
          </p:cNvPr>
          <p:cNvGrpSpPr/>
          <p:nvPr/>
        </p:nvGrpSpPr>
        <p:grpSpPr>
          <a:xfrm>
            <a:off x="5791511" y="1319213"/>
            <a:ext cx="612723" cy="612719"/>
            <a:chOff x="5791511" y="1319213"/>
            <a:chExt cx="612723" cy="612719"/>
          </a:xfrm>
        </p:grpSpPr>
        <p:sp>
          <p:nvSpPr>
            <p:cNvPr id="67" name="Oval 66">
              <a:extLst>
                <a:ext uri="{FF2B5EF4-FFF2-40B4-BE49-F238E27FC236}">
                  <a16:creationId xmlns:a16="http://schemas.microsoft.com/office/drawing/2014/main" id="{AFE67146-8974-E8AC-40C3-1936A2203E42}"/>
                </a:ext>
              </a:extLst>
            </p:cNvPr>
            <p:cNvSpPr/>
            <p:nvPr/>
          </p:nvSpPr>
          <p:spPr bwMode="auto">
            <a:xfrm>
              <a:off x="5791511" y="1319213"/>
              <a:ext cx="612723" cy="612719"/>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19" name="Graphic 37" descr="Icon of a handshake">
              <a:extLst>
                <a:ext uri="{FF2B5EF4-FFF2-40B4-BE49-F238E27FC236}">
                  <a16:creationId xmlns:a16="http://schemas.microsoft.com/office/drawing/2014/main" id="{695D7CB3-C2CA-7314-06BB-EA6174688FC4}"/>
                </a:ext>
              </a:extLst>
            </p:cNvPr>
            <p:cNvSpPr/>
            <p:nvPr/>
          </p:nvSpPr>
          <p:spPr>
            <a:xfrm>
              <a:off x="5916390" y="1461515"/>
              <a:ext cx="362966" cy="328114"/>
            </a:xfrm>
            <a:custGeom>
              <a:avLst/>
              <a:gdLst>
                <a:gd name="connsiteX0" fmla="*/ 143312 w 279350"/>
                <a:gd name="connsiteY0" fmla="*/ 1 h 252526"/>
                <a:gd name="connsiteX1" fmla="*/ 135192 w 279350"/>
                <a:gd name="connsiteY1" fmla="*/ 3864 h 252526"/>
                <a:gd name="connsiteX2" fmla="*/ 134380 w 279350"/>
                <a:gd name="connsiteY2" fmla="*/ 4466 h 252526"/>
                <a:gd name="connsiteX3" fmla="*/ 46663 w 279350"/>
                <a:gd name="connsiteY3" fmla="*/ 26207 h 252526"/>
                <a:gd name="connsiteX4" fmla="*/ 22361 w 279350"/>
                <a:gd name="connsiteY4" fmla="*/ 103340 h 252526"/>
                <a:gd name="connsiteX5" fmla="*/ 22151 w 279350"/>
                <a:gd name="connsiteY5" fmla="*/ 103550 h 252526"/>
                <a:gd name="connsiteX6" fmla="*/ 8741 w 279350"/>
                <a:gd name="connsiteY6" fmla="*/ 116863 h 252526"/>
                <a:gd name="connsiteX7" fmla="*/ 8546 w 279350"/>
                <a:gd name="connsiteY7" fmla="*/ 158595 h 252526"/>
                <a:gd name="connsiteX8" fmla="*/ 8741 w 279350"/>
                <a:gd name="connsiteY8" fmla="*/ 158790 h 252526"/>
                <a:gd name="connsiteX9" fmla="*/ 33841 w 279350"/>
                <a:gd name="connsiteY9" fmla="*/ 167203 h 252526"/>
                <a:gd name="connsiteX10" fmla="*/ 60200 w 279350"/>
                <a:gd name="connsiteY10" fmla="*/ 189014 h 252526"/>
                <a:gd name="connsiteX11" fmla="*/ 88436 w 279350"/>
                <a:gd name="connsiteY11" fmla="*/ 216199 h 252526"/>
                <a:gd name="connsiteX12" fmla="*/ 97143 w 279350"/>
                <a:gd name="connsiteY12" fmla="*/ 235672 h 252526"/>
                <a:gd name="connsiteX13" fmla="*/ 136158 w 279350"/>
                <a:gd name="connsiteY13" fmla="*/ 238430 h 252526"/>
                <a:gd name="connsiteX14" fmla="*/ 141576 w 279350"/>
                <a:gd name="connsiteY14" fmla="*/ 243805 h 252526"/>
                <a:gd name="connsiteX15" fmla="*/ 183964 w 279350"/>
                <a:gd name="connsiteY15" fmla="*/ 243805 h 252526"/>
                <a:gd name="connsiteX16" fmla="*/ 192644 w 279350"/>
                <a:gd name="connsiteY16" fmla="*/ 225355 h 252526"/>
                <a:gd name="connsiteX17" fmla="*/ 219802 w 279350"/>
                <a:gd name="connsiteY17" fmla="*/ 198309 h 252526"/>
                <a:gd name="connsiteX18" fmla="*/ 245979 w 279350"/>
                <a:gd name="connsiteY18" fmla="*/ 175855 h 252526"/>
                <a:gd name="connsiteX19" fmla="*/ 270617 w 279350"/>
                <a:gd name="connsiteY19" fmla="*/ 167371 h 252526"/>
                <a:gd name="connsiteX20" fmla="*/ 270798 w 279350"/>
                <a:gd name="connsiteY20" fmla="*/ 125639 h 252526"/>
                <a:gd name="connsiteX21" fmla="*/ 270617 w 279350"/>
                <a:gd name="connsiteY21" fmla="*/ 125459 h 252526"/>
                <a:gd name="connsiteX22" fmla="*/ 258956 w 279350"/>
                <a:gd name="connsiteY22" fmla="*/ 113854 h 252526"/>
                <a:gd name="connsiteX23" fmla="*/ 261364 w 279350"/>
                <a:gd name="connsiteY23" fmla="*/ 104530 h 252526"/>
                <a:gd name="connsiteX24" fmla="*/ 254015 w 279350"/>
                <a:gd name="connsiteY24" fmla="*/ 44293 h 252526"/>
                <a:gd name="connsiteX25" fmla="*/ 179779 w 279350"/>
                <a:gd name="connsiteY25" fmla="*/ 57 h 252526"/>
                <a:gd name="connsiteX26" fmla="*/ 157283 w 279350"/>
                <a:gd name="connsiteY26" fmla="*/ 57 h 252526"/>
                <a:gd name="connsiteX27" fmla="*/ 154399 w 279350"/>
                <a:gd name="connsiteY27" fmla="*/ 1 h 252526"/>
                <a:gd name="connsiteX28" fmla="*/ 143326 w 279350"/>
                <a:gd name="connsiteY28" fmla="*/ 1 h 252526"/>
                <a:gd name="connsiteX29" fmla="*/ 184258 w 279350"/>
                <a:gd name="connsiteY29" fmla="*/ 69225 h 252526"/>
                <a:gd name="connsiteX30" fmla="*/ 232751 w 279350"/>
                <a:gd name="connsiteY30" fmla="*/ 117409 h 252526"/>
                <a:gd name="connsiteX31" fmla="*/ 232793 w 279350"/>
                <a:gd name="connsiteY31" fmla="*/ 117465 h 252526"/>
                <a:gd name="connsiteX32" fmla="*/ 232989 w 279350"/>
                <a:gd name="connsiteY32" fmla="*/ 117647 h 252526"/>
                <a:gd name="connsiteX33" fmla="*/ 255737 w 279350"/>
                <a:gd name="connsiteY33" fmla="*/ 140255 h 252526"/>
                <a:gd name="connsiteX34" fmla="*/ 255781 w 279350"/>
                <a:gd name="connsiteY34" fmla="*/ 152530 h 252526"/>
                <a:gd name="connsiteX35" fmla="*/ 255737 w 279350"/>
                <a:gd name="connsiteY35" fmla="*/ 152574 h 252526"/>
                <a:gd name="connsiteX36" fmla="*/ 243334 w 279350"/>
                <a:gd name="connsiteY36" fmla="*/ 152574 h 252526"/>
                <a:gd name="connsiteX37" fmla="*/ 220586 w 279350"/>
                <a:gd name="connsiteY37" fmla="*/ 129966 h 252526"/>
                <a:gd name="connsiteX38" fmla="*/ 205691 w 279350"/>
                <a:gd name="connsiteY38" fmla="*/ 129966 h 252526"/>
                <a:gd name="connsiteX39" fmla="*/ 205467 w 279350"/>
                <a:gd name="connsiteY39" fmla="*/ 130204 h 252526"/>
                <a:gd name="connsiteX40" fmla="*/ 205400 w 279350"/>
                <a:gd name="connsiteY40" fmla="*/ 144934 h 252526"/>
                <a:gd name="connsiteX41" fmla="*/ 205467 w 279350"/>
                <a:gd name="connsiteY41" fmla="*/ 145001 h 252526"/>
                <a:gd name="connsiteX42" fmla="*/ 223189 w 279350"/>
                <a:gd name="connsiteY42" fmla="*/ 162626 h 252526"/>
                <a:gd name="connsiteX43" fmla="*/ 223234 w 279350"/>
                <a:gd name="connsiteY43" fmla="*/ 174900 h 252526"/>
                <a:gd name="connsiteX44" fmla="*/ 223189 w 279350"/>
                <a:gd name="connsiteY44" fmla="*/ 174945 h 252526"/>
                <a:gd name="connsiteX45" fmla="*/ 211724 w 279350"/>
                <a:gd name="connsiteY45" fmla="*/ 175785 h 252526"/>
                <a:gd name="connsiteX46" fmla="*/ 197907 w 279350"/>
                <a:gd name="connsiteY46" fmla="*/ 176764 h 252526"/>
                <a:gd name="connsiteX47" fmla="*/ 197039 w 279350"/>
                <a:gd name="connsiteY47" fmla="*/ 190511 h 252526"/>
                <a:gd name="connsiteX48" fmla="*/ 196269 w 279350"/>
                <a:gd name="connsiteY48" fmla="*/ 201976 h 252526"/>
                <a:gd name="connsiteX49" fmla="*/ 184650 w 279350"/>
                <a:gd name="connsiteY49" fmla="*/ 202676 h 252526"/>
                <a:gd name="connsiteX50" fmla="*/ 170722 w 279350"/>
                <a:gd name="connsiteY50" fmla="*/ 203474 h 252526"/>
                <a:gd name="connsiteX51" fmla="*/ 169826 w 279350"/>
                <a:gd name="connsiteY51" fmla="*/ 217319 h 252526"/>
                <a:gd name="connsiteX52" fmla="*/ 169070 w 279350"/>
                <a:gd name="connsiteY52" fmla="*/ 228994 h 252526"/>
                <a:gd name="connsiteX53" fmla="*/ 156471 w 279350"/>
                <a:gd name="connsiteY53" fmla="*/ 228994 h 252526"/>
                <a:gd name="connsiteX54" fmla="*/ 151263 w 279350"/>
                <a:gd name="connsiteY54" fmla="*/ 223829 h 252526"/>
                <a:gd name="connsiteX55" fmla="*/ 152733 w 279350"/>
                <a:gd name="connsiteY55" fmla="*/ 222359 h 252526"/>
                <a:gd name="connsiteX56" fmla="*/ 152914 w 279350"/>
                <a:gd name="connsiteY56" fmla="*/ 180627 h 252526"/>
                <a:gd name="connsiteX57" fmla="*/ 152733 w 279350"/>
                <a:gd name="connsiteY57" fmla="*/ 180446 h 252526"/>
                <a:gd name="connsiteX58" fmla="*/ 133135 w 279350"/>
                <a:gd name="connsiteY58" fmla="*/ 171795 h 252526"/>
                <a:gd name="connsiteX59" fmla="*/ 105781 w 279350"/>
                <a:gd name="connsiteY59" fmla="*/ 143741 h 252526"/>
                <a:gd name="connsiteX60" fmla="*/ 97143 w 279350"/>
                <a:gd name="connsiteY60" fmla="*/ 125207 h 252526"/>
                <a:gd name="connsiteX61" fmla="*/ 72043 w 279350"/>
                <a:gd name="connsiteY61" fmla="*/ 116793 h 252526"/>
                <a:gd name="connsiteX62" fmla="*/ 42394 w 279350"/>
                <a:gd name="connsiteY62" fmla="*/ 94885 h 252526"/>
                <a:gd name="connsiteX63" fmla="*/ 61558 w 279350"/>
                <a:gd name="connsiteY63" fmla="*/ 40989 h 252526"/>
                <a:gd name="connsiteX64" fmla="*/ 111688 w 279350"/>
                <a:gd name="connsiteY64" fmla="*/ 21671 h 252526"/>
                <a:gd name="connsiteX65" fmla="*/ 90732 w 279350"/>
                <a:gd name="connsiteY65" fmla="*/ 37532 h 252526"/>
                <a:gd name="connsiteX66" fmla="*/ 84451 w 279350"/>
                <a:gd name="connsiteY66" fmla="*/ 82910 h 252526"/>
                <a:gd name="connsiteX67" fmla="*/ 84572 w 279350"/>
                <a:gd name="connsiteY67" fmla="*/ 83070 h 252526"/>
                <a:gd name="connsiteX68" fmla="*/ 130181 w 279350"/>
                <a:gd name="connsiteY68" fmla="*/ 89244 h 252526"/>
                <a:gd name="connsiteX69" fmla="*/ 156625 w 279350"/>
                <a:gd name="connsiteY69" fmla="*/ 69211 h 252526"/>
                <a:gd name="connsiteX70" fmla="*/ 184258 w 279350"/>
                <a:gd name="connsiteY70" fmla="*/ 69211 h 252526"/>
                <a:gd name="connsiteX71" fmla="*/ 103401 w 279350"/>
                <a:gd name="connsiteY71" fmla="*/ 54288 h 252526"/>
                <a:gd name="connsiteX72" fmla="*/ 147343 w 279350"/>
                <a:gd name="connsiteY72" fmla="*/ 20999 h 252526"/>
                <a:gd name="connsiteX73" fmla="*/ 154399 w 279350"/>
                <a:gd name="connsiteY73" fmla="*/ 20999 h 252526"/>
                <a:gd name="connsiteX74" fmla="*/ 157017 w 279350"/>
                <a:gd name="connsiteY74" fmla="*/ 21069 h 252526"/>
                <a:gd name="connsiteX75" fmla="*/ 179779 w 279350"/>
                <a:gd name="connsiteY75" fmla="*/ 21069 h 252526"/>
                <a:gd name="connsiteX76" fmla="*/ 235522 w 279350"/>
                <a:gd name="connsiteY76" fmla="*/ 54246 h 252526"/>
                <a:gd name="connsiteX77" fmla="*/ 241738 w 279350"/>
                <a:gd name="connsiteY77" fmla="*/ 96173 h 252526"/>
                <a:gd name="connsiteX78" fmla="*/ 196787 w 279350"/>
                <a:gd name="connsiteY78" fmla="*/ 51433 h 252526"/>
                <a:gd name="connsiteX79" fmla="*/ 189242 w 279350"/>
                <a:gd name="connsiteY79" fmla="*/ 48227 h 252526"/>
                <a:gd name="connsiteX80" fmla="*/ 153111 w 279350"/>
                <a:gd name="connsiteY80" fmla="*/ 48227 h 252526"/>
                <a:gd name="connsiteX81" fmla="*/ 146769 w 279350"/>
                <a:gd name="connsiteY81" fmla="*/ 50355 h 252526"/>
                <a:gd name="connsiteX82" fmla="*/ 117512 w 279350"/>
                <a:gd name="connsiteY82" fmla="*/ 72515 h 252526"/>
                <a:gd name="connsiteX83" fmla="*/ 101245 w 279350"/>
                <a:gd name="connsiteY83" fmla="*/ 70317 h 252526"/>
                <a:gd name="connsiteX84" fmla="*/ 103347 w 279350"/>
                <a:gd name="connsiteY84" fmla="*/ 54340 h 252526"/>
                <a:gd name="connsiteX85" fmla="*/ 103415 w 279350"/>
                <a:gd name="connsiteY85" fmla="*/ 54288 h 252526"/>
                <a:gd name="connsiteX86" fmla="*/ 56449 w 279350"/>
                <a:gd name="connsiteY86" fmla="*/ 165649 h 252526"/>
                <a:gd name="connsiteX87" fmla="*/ 56404 w 279350"/>
                <a:gd name="connsiteY87" fmla="*/ 153375 h 252526"/>
                <a:gd name="connsiteX88" fmla="*/ 56449 w 279350"/>
                <a:gd name="connsiteY88" fmla="*/ 153330 h 252526"/>
                <a:gd name="connsiteX89" fmla="*/ 69846 w 279350"/>
                <a:gd name="connsiteY89" fmla="*/ 140003 h 252526"/>
                <a:gd name="connsiteX90" fmla="*/ 82249 w 279350"/>
                <a:gd name="connsiteY90" fmla="*/ 140003 h 252526"/>
                <a:gd name="connsiteX91" fmla="*/ 82361 w 279350"/>
                <a:gd name="connsiteY91" fmla="*/ 152210 h 252526"/>
                <a:gd name="connsiteX92" fmla="*/ 82249 w 279350"/>
                <a:gd name="connsiteY92" fmla="*/ 152322 h 252526"/>
                <a:gd name="connsiteX93" fmla="*/ 68852 w 279350"/>
                <a:gd name="connsiteY93" fmla="*/ 165635 h 252526"/>
                <a:gd name="connsiteX94" fmla="*/ 68726 w 279350"/>
                <a:gd name="connsiteY94" fmla="*/ 165761 h 252526"/>
                <a:gd name="connsiteX95" fmla="*/ 56449 w 279350"/>
                <a:gd name="connsiteY95" fmla="*/ 165649 h 252526"/>
                <a:gd name="connsiteX96" fmla="*/ 49575 w 279350"/>
                <a:gd name="connsiteY96" fmla="*/ 118487 h 252526"/>
                <a:gd name="connsiteX97" fmla="*/ 49435 w 279350"/>
                <a:gd name="connsiteY97" fmla="*/ 130666 h 252526"/>
                <a:gd name="connsiteX98" fmla="*/ 36038 w 279350"/>
                <a:gd name="connsiteY98" fmla="*/ 143993 h 252526"/>
                <a:gd name="connsiteX99" fmla="*/ 23635 w 279350"/>
                <a:gd name="connsiteY99" fmla="*/ 143993 h 252526"/>
                <a:gd name="connsiteX100" fmla="*/ 23591 w 279350"/>
                <a:gd name="connsiteY100" fmla="*/ 131719 h 252526"/>
                <a:gd name="connsiteX101" fmla="*/ 23635 w 279350"/>
                <a:gd name="connsiteY101" fmla="*/ 131674 h 252526"/>
                <a:gd name="connsiteX102" fmla="*/ 37046 w 279350"/>
                <a:gd name="connsiteY102" fmla="*/ 118361 h 252526"/>
                <a:gd name="connsiteX103" fmla="*/ 49449 w 279350"/>
                <a:gd name="connsiteY103" fmla="*/ 118361 h 252526"/>
                <a:gd name="connsiteX104" fmla="*/ 49575 w 279350"/>
                <a:gd name="connsiteY104" fmla="*/ 118487 h 252526"/>
                <a:gd name="connsiteX105" fmla="*/ 124441 w 279350"/>
                <a:gd name="connsiteY105" fmla="*/ 220875 h 252526"/>
                <a:gd name="connsiteX106" fmla="*/ 112038 w 279350"/>
                <a:gd name="connsiteY106" fmla="*/ 220875 h 252526"/>
                <a:gd name="connsiteX107" fmla="*/ 111993 w 279350"/>
                <a:gd name="connsiteY107" fmla="*/ 208601 h 252526"/>
                <a:gd name="connsiteX108" fmla="*/ 112038 w 279350"/>
                <a:gd name="connsiteY108" fmla="*/ 208556 h 252526"/>
                <a:gd name="connsiteX109" fmla="*/ 125435 w 279350"/>
                <a:gd name="connsiteY109" fmla="*/ 195243 h 252526"/>
                <a:gd name="connsiteX110" fmla="*/ 137838 w 279350"/>
                <a:gd name="connsiteY110" fmla="*/ 195243 h 252526"/>
                <a:gd name="connsiteX111" fmla="*/ 137883 w 279350"/>
                <a:gd name="connsiteY111" fmla="*/ 207517 h 252526"/>
                <a:gd name="connsiteX112" fmla="*/ 137838 w 279350"/>
                <a:gd name="connsiteY112" fmla="*/ 207562 h 252526"/>
                <a:gd name="connsiteX113" fmla="*/ 124441 w 279350"/>
                <a:gd name="connsiteY113" fmla="*/ 220875 h 252526"/>
                <a:gd name="connsiteX114" fmla="*/ 96150 w 279350"/>
                <a:gd name="connsiteY114" fmla="*/ 192765 h 252526"/>
                <a:gd name="connsiteX115" fmla="*/ 83746 w 279350"/>
                <a:gd name="connsiteY115" fmla="*/ 192765 h 252526"/>
                <a:gd name="connsiteX116" fmla="*/ 83621 w 279350"/>
                <a:gd name="connsiteY116" fmla="*/ 180558 h 252526"/>
                <a:gd name="connsiteX117" fmla="*/ 83746 w 279350"/>
                <a:gd name="connsiteY117" fmla="*/ 180446 h 252526"/>
                <a:gd name="connsiteX118" fmla="*/ 97143 w 279350"/>
                <a:gd name="connsiteY118" fmla="*/ 167133 h 252526"/>
                <a:gd name="connsiteX119" fmla="*/ 97255 w 279350"/>
                <a:gd name="connsiteY119" fmla="*/ 167007 h 252526"/>
                <a:gd name="connsiteX120" fmla="*/ 109546 w 279350"/>
                <a:gd name="connsiteY120" fmla="*/ 167133 h 252526"/>
                <a:gd name="connsiteX121" fmla="*/ 109591 w 279350"/>
                <a:gd name="connsiteY121" fmla="*/ 179407 h 252526"/>
                <a:gd name="connsiteX122" fmla="*/ 109546 w 279350"/>
                <a:gd name="connsiteY122" fmla="*/ 179452 h 252526"/>
                <a:gd name="connsiteX123" fmla="*/ 96150 w 279350"/>
                <a:gd name="connsiteY123" fmla="*/ 192765 h 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79350" h="252526">
                  <a:moveTo>
                    <a:pt x="143312" y="1"/>
                  </a:moveTo>
                  <a:cubicBezTo>
                    <a:pt x="140162" y="2"/>
                    <a:pt x="137180" y="1421"/>
                    <a:pt x="135192" y="3864"/>
                  </a:cubicBezTo>
                  <a:lnTo>
                    <a:pt x="134380" y="4466"/>
                  </a:lnTo>
                  <a:cubicBezTo>
                    <a:pt x="103368" y="-4972"/>
                    <a:pt x="69678" y="3378"/>
                    <a:pt x="46663" y="26207"/>
                  </a:cubicBezTo>
                  <a:cubicBezTo>
                    <a:pt x="26337" y="46336"/>
                    <a:pt x="17244" y="75195"/>
                    <a:pt x="22361" y="103340"/>
                  </a:cubicBezTo>
                  <a:lnTo>
                    <a:pt x="22151" y="103550"/>
                  </a:lnTo>
                  <a:lnTo>
                    <a:pt x="8741" y="116863"/>
                  </a:lnTo>
                  <a:cubicBezTo>
                    <a:pt x="-2837" y="128334"/>
                    <a:pt x="-2924" y="147018"/>
                    <a:pt x="8546" y="158595"/>
                  </a:cubicBezTo>
                  <a:cubicBezTo>
                    <a:pt x="8611" y="158661"/>
                    <a:pt x="8676" y="158726"/>
                    <a:pt x="8741" y="158790"/>
                  </a:cubicBezTo>
                  <a:cubicBezTo>
                    <a:pt x="15342" y="165347"/>
                    <a:pt x="24621" y="168458"/>
                    <a:pt x="33841" y="167203"/>
                  </a:cubicBezTo>
                  <a:cubicBezTo>
                    <a:pt x="37164" y="179295"/>
                    <a:pt x="47700" y="188013"/>
                    <a:pt x="60200" y="189014"/>
                  </a:cubicBezTo>
                  <a:cubicBezTo>
                    <a:pt x="61498" y="203858"/>
                    <a:pt x="73554" y="215466"/>
                    <a:pt x="88436" y="216199"/>
                  </a:cubicBezTo>
                  <a:cubicBezTo>
                    <a:pt x="88800" y="223297"/>
                    <a:pt x="91698" y="230268"/>
                    <a:pt x="97143" y="235672"/>
                  </a:cubicBezTo>
                  <a:cubicBezTo>
                    <a:pt x="107783" y="246255"/>
                    <a:pt x="124469" y="247165"/>
                    <a:pt x="136158" y="238430"/>
                  </a:cubicBezTo>
                  <a:lnTo>
                    <a:pt x="141576" y="243805"/>
                  </a:lnTo>
                  <a:cubicBezTo>
                    <a:pt x="153313" y="255434"/>
                    <a:pt x="172228" y="255434"/>
                    <a:pt x="183964" y="243805"/>
                  </a:cubicBezTo>
                  <a:cubicBezTo>
                    <a:pt x="189144" y="238654"/>
                    <a:pt x="192042" y="232074"/>
                    <a:pt x="192644" y="225355"/>
                  </a:cubicBezTo>
                  <a:cubicBezTo>
                    <a:pt x="207064" y="224132"/>
                    <a:pt x="218521" y="212723"/>
                    <a:pt x="219802" y="198309"/>
                  </a:cubicBezTo>
                  <a:cubicBezTo>
                    <a:pt x="232413" y="197150"/>
                    <a:pt x="242914" y="188143"/>
                    <a:pt x="245979" y="175855"/>
                  </a:cubicBezTo>
                  <a:cubicBezTo>
                    <a:pt x="255058" y="176942"/>
                    <a:pt x="264133" y="173816"/>
                    <a:pt x="270617" y="167371"/>
                  </a:cubicBezTo>
                  <a:cubicBezTo>
                    <a:pt x="282192" y="155896"/>
                    <a:pt x="282272" y="137212"/>
                    <a:pt x="270798" y="125639"/>
                  </a:cubicBezTo>
                  <a:cubicBezTo>
                    <a:pt x="270738" y="125579"/>
                    <a:pt x="270678" y="125519"/>
                    <a:pt x="270617" y="125459"/>
                  </a:cubicBezTo>
                  <a:lnTo>
                    <a:pt x="258956" y="113854"/>
                  </a:lnTo>
                  <a:lnTo>
                    <a:pt x="261364" y="104530"/>
                  </a:lnTo>
                  <a:cubicBezTo>
                    <a:pt x="266573" y="84241"/>
                    <a:pt x="263950" y="62735"/>
                    <a:pt x="254015" y="44293"/>
                  </a:cubicBezTo>
                  <a:cubicBezTo>
                    <a:pt x="239288" y="17017"/>
                    <a:pt x="210776" y="27"/>
                    <a:pt x="179779" y="57"/>
                  </a:cubicBezTo>
                  <a:lnTo>
                    <a:pt x="157283" y="57"/>
                  </a:lnTo>
                  <a:cubicBezTo>
                    <a:pt x="156322" y="15"/>
                    <a:pt x="155361" y="-4"/>
                    <a:pt x="154399" y="1"/>
                  </a:cubicBezTo>
                  <a:lnTo>
                    <a:pt x="143326" y="1"/>
                  </a:lnTo>
                  <a:close/>
                  <a:moveTo>
                    <a:pt x="184258" y="69225"/>
                  </a:moveTo>
                  <a:lnTo>
                    <a:pt x="232751" y="117409"/>
                  </a:lnTo>
                  <a:lnTo>
                    <a:pt x="232793" y="117465"/>
                  </a:lnTo>
                  <a:lnTo>
                    <a:pt x="232989" y="117647"/>
                  </a:lnTo>
                  <a:lnTo>
                    <a:pt x="255737" y="140255"/>
                  </a:lnTo>
                  <a:cubicBezTo>
                    <a:pt x="259138" y="143632"/>
                    <a:pt x="259158" y="149128"/>
                    <a:pt x="255781" y="152530"/>
                  </a:cubicBezTo>
                  <a:cubicBezTo>
                    <a:pt x="255766" y="152545"/>
                    <a:pt x="255752" y="152559"/>
                    <a:pt x="255737" y="152574"/>
                  </a:cubicBezTo>
                  <a:cubicBezTo>
                    <a:pt x="252300" y="155972"/>
                    <a:pt x="246770" y="155972"/>
                    <a:pt x="243334" y="152574"/>
                  </a:cubicBezTo>
                  <a:lnTo>
                    <a:pt x="220586" y="129966"/>
                  </a:lnTo>
                  <a:cubicBezTo>
                    <a:pt x="216461" y="125881"/>
                    <a:pt x="209815" y="125881"/>
                    <a:pt x="205691" y="129966"/>
                  </a:cubicBezTo>
                  <a:lnTo>
                    <a:pt x="205467" y="130204"/>
                  </a:lnTo>
                  <a:cubicBezTo>
                    <a:pt x="201380" y="134253"/>
                    <a:pt x="201351" y="140848"/>
                    <a:pt x="205400" y="144934"/>
                  </a:cubicBezTo>
                  <a:cubicBezTo>
                    <a:pt x="205422" y="144956"/>
                    <a:pt x="205444" y="144979"/>
                    <a:pt x="205467" y="145001"/>
                  </a:cubicBezTo>
                  <a:lnTo>
                    <a:pt x="223189" y="162626"/>
                  </a:lnTo>
                  <a:cubicBezTo>
                    <a:pt x="226591" y="166002"/>
                    <a:pt x="226611" y="171498"/>
                    <a:pt x="223234" y="174900"/>
                  </a:cubicBezTo>
                  <a:cubicBezTo>
                    <a:pt x="223219" y="174915"/>
                    <a:pt x="223205" y="174929"/>
                    <a:pt x="223189" y="174945"/>
                  </a:cubicBezTo>
                  <a:cubicBezTo>
                    <a:pt x="220100" y="178019"/>
                    <a:pt x="215228" y="178376"/>
                    <a:pt x="211724" y="175785"/>
                  </a:cubicBezTo>
                  <a:cubicBezTo>
                    <a:pt x="207515" y="172633"/>
                    <a:pt x="201630" y="173051"/>
                    <a:pt x="197907" y="176764"/>
                  </a:cubicBezTo>
                  <a:cubicBezTo>
                    <a:pt x="194196" y="180474"/>
                    <a:pt x="193825" y="186365"/>
                    <a:pt x="197039" y="190511"/>
                  </a:cubicBezTo>
                  <a:cubicBezTo>
                    <a:pt x="199712" y="193980"/>
                    <a:pt x="199381" y="198897"/>
                    <a:pt x="196269" y="201976"/>
                  </a:cubicBezTo>
                  <a:cubicBezTo>
                    <a:pt x="193123" y="205095"/>
                    <a:pt x="188149" y="205395"/>
                    <a:pt x="184650" y="202676"/>
                  </a:cubicBezTo>
                  <a:cubicBezTo>
                    <a:pt x="180465" y="199410"/>
                    <a:pt x="174507" y="199752"/>
                    <a:pt x="170722" y="203474"/>
                  </a:cubicBezTo>
                  <a:cubicBezTo>
                    <a:pt x="166945" y="207190"/>
                    <a:pt x="166560" y="213148"/>
                    <a:pt x="169826" y="217319"/>
                  </a:cubicBezTo>
                  <a:cubicBezTo>
                    <a:pt x="172562" y="220841"/>
                    <a:pt x="172238" y="225854"/>
                    <a:pt x="169070" y="228994"/>
                  </a:cubicBezTo>
                  <a:cubicBezTo>
                    <a:pt x="165580" y="232446"/>
                    <a:pt x="159961" y="232446"/>
                    <a:pt x="156471" y="228994"/>
                  </a:cubicBezTo>
                  <a:lnTo>
                    <a:pt x="151263" y="223829"/>
                  </a:lnTo>
                  <a:lnTo>
                    <a:pt x="152733" y="222359"/>
                  </a:lnTo>
                  <a:cubicBezTo>
                    <a:pt x="164307" y="210884"/>
                    <a:pt x="164387" y="192200"/>
                    <a:pt x="152914" y="180627"/>
                  </a:cubicBezTo>
                  <a:cubicBezTo>
                    <a:pt x="152853" y="180567"/>
                    <a:pt x="152793" y="180506"/>
                    <a:pt x="152733" y="180446"/>
                  </a:cubicBezTo>
                  <a:cubicBezTo>
                    <a:pt x="147497" y="175234"/>
                    <a:pt x="140513" y="172152"/>
                    <a:pt x="133135" y="171795"/>
                  </a:cubicBezTo>
                  <a:cubicBezTo>
                    <a:pt x="132309" y="156922"/>
                    <a:pt x="120628" y="144942"/>
                    <a:pt x="105781" y="143741"/>
                  </a:cubicBezTo>
                  <a:cubicBezTo>
                    <a:pt x="105207" y="136729"/>
                    <a:pt x="102144" y="130155"/>
                    <a:pt x="97143" y="125207"/>
                  </a:cubicBezTo>
                  <a:cubicBezTo>
                    <a:pt x="90542" y="118650"/>
                    <a:pt x="81263" y="115539"/>
                    <a:pt x="72043" y="116793"/>
                  </a:cubicBezTo>
                  <a:cubicBezTo>
                    <a:pt x="68386" y="103534"/>
                    <a:pt x="56144" y="94487"/>
                    <a:pt x="42394" y="94885"/>
                  </a:cubicBezTo>
                  <a:cubicBezTo>
                    <a:pt x="40240" y="74939"/>
                    <a:pt x="47295" y="55098"/>
                    <a:pt x="61558" y="40989"/>
                  </a:cubicBezTo>
                  <a:cubicBezTo>
                    <a:pt x="74824" y="27811"/>
                    <a:pt x="93010" y="20803"/>
                    <a:pt x="111688" y="21671"/>
                  </a:cubicBezTo>
                  <a:lnTo>
                    <a:pt x="90732" y="37532"/>
                  </a:lnTo>
                  <a:cubicBezTo>
                    <a:pt x="76467" y="48328"/>
                    <a:pt x="73654" y="68645"/>
                    <a:pt x="84451" y="82910"/>
                  </a:cubicBezTo>
                  <a:cubicBezTo>
                    <a:pt x="84491" y="82964"/>
                    <a:pt x="84532" y="83017"/>
                    <a:pt x="84572" y="83070"/>
                  </a:cubicBezTo>
                  <a:cubicBezTo>
                    <a:pt x="95496" y="97310"/>
                    <a:pt x="115864" y="100067"/>
                    <a:pt x="130181" y="89244"/>
                  </a:cubicBezTo>
                  <a:lnTo>
                    <a:pt x="156625" y="69211"/>
                  </a:lnTo>
                  <a:lnTo>
                    <a:pt x="184258" y="69211"/>
                  </a:lnTo>
                  <a:close/>
                  <a:moveTo>
                    <a:pt x="103401" y="54288"/>
                  </a:moveTo>
                  <a:lnTo>
                    <a:pt x="147343" y="20999"/>
                  </a:lnTo>
                  <a:lnTo>
                    <a:pt x="154399" y="20999"/>
                  </a:lnTo>
                  <a:cubicBezTo>
                    <a:pt x="155272" y="20993"/>
                    <a:pt x="156144" y="21016"/>
                    <a:pt x="157017" y="21069"/>
                  </a:cubicBezTo>
                  <a:lnTo>
                    <a:pt x="179779" y="21069"/>
                  </a:lnTo>
                  <a:cubicBezTo>
                    <a:pt x="203046" y="21038"/>
                    <a:pt x="224455" y="33779"/>
                    <a:pt x="235522" y="54246"/>
                  </a:cubicBezTo>
                  <a:cubicBezTo>
                    <a:pt x="242452" y="67125"/>
                    <a:pt x="244622" y="81936"/>
                    <a:pt x="241738" y="96173"/>
                  </a:cubicBezTo>
                  <a:lnTo>
                    <a:pt x="196787" y="51433"/>
                  </a:lnTo>
                  <a:cubicBezTo>
                    <a:pt x="194811" y="49386"/>
                    <a:pt x="192088" y="48229"/>
                    <a:pt x="189242" y="48227"/>
                  </a:cubicBezTo>
                  <a:lnTo>
                    <a:pt x="153111" y="48227"/>
                  </a:lnTo>
                  <a:cubicBezTo>
                    <a:pt x="150822" y="48226"/>
                    <a:pt x="148595" y="48973"/>
                    <a:pt x="146769" y="50355"/>
                  </a:cubicBezTo>
                  <a:lnTo>
                    <a:pt x="117512" y="72515"/>
                  </a:lnTo>
                  <a:cubicBezTo>
                    <a:pt x="112405" y="76369"/>
                    <a:pt x="105146" y="75388"/>
                    <a:pt x="101245" y="70317"/>
                  </a:cubicBezTo>
                  <a:cubicBezTo>
                    <a:pt x="97414" y="65324"/>
                    <a:pt x="98355" y="58171"/>
                    <a:pt x="103347" y="54340"/>
                  </a:cubicBezTo>
                  <a:cubicBezTo>
                    <a:pt x="103370" y="54322"/>
                    <a:pt x="103392" y="54305"/>
                    <a:pt x="103415" y="54288"/>
                  </a:cubicBezTo>
                  <a:close/>
                  <a:moveTo>
                    <a:pt x="56449" y="165649"/>
                  </a:moveTo>
                  <a:cubicBezTo>
                    <a:pt x="53047" y="162273"/>
                    <a:pt x="53027" y="156777"/>
                    <a:pt x="56404" y="153375"/>
                  </a:cubicBezTo>
                  <a:cubicBezTo>
                    <a:pt x="56419" y="153360"/>
                    <a:pt x="56434" y="153346"/>
                    <a:pt x="56449" y="153330"/>
                  </a:cubicBezTo>
                  <a:lnTo>
                    <a:pt x="69846" y="140003"/>
                  </a:lnTo>
                  <a:cubicBezTo>
                    <a:pt x="73282" y="136606"/>
                    <a:pt x="78813" y="136606"/>
                    <a:pt x="82249" y="140003"/>
                  </a:cubicBezTo>
                  <a:cubicBezTo>
                    <a:pt x="85625" y="143355"/>
                    <a:pt x="85675" y="148798"/>
                    <a:pt x="82361" y="152210"/>
                  </a:cubicBezTo>
                  <a:lnTo>
                    <a:pt x="82249" y="152322"/>
                  </a:lnTo>
                  <a:lnTo>
                    <a:pt x="68852" y="165635"/>
                  </a:lnTo>
                  <a:lnTo>
                    <a:pt x="68726" y="165761"/>
                  </a:lnTo>
                  <a:cubicBezTo>
                    <a:pt x="65275" y="169047"/>
                    <a:pt x="59839" y="168997"/>
                    <a:pt x="56449" y="165649"/>
                  </a:cubicBezTo>
                  <a:close/>
                  <a:moveTo>
                    <a:pt x="49575" y="118487"/>
                  </a:moveTo>
                  <a:cubicBezTo>
                    <a:pt x="52878" y="121897"/>
                    <a:pt x="52816" y="127333"/>
                    <a:pt x="49435" y="130666"/>
                  </a:cubicBezTo>
                  <a:lnTo>
                    <a:pt x="36038" y="143993"/>
                  </a:lnTo>
                  <a:cubicBezTo>
                    <a:pt x="32602" y="147391"/>
                    <a:pt x="27071" y="147391"/>
                    <a:pt x="23635" y="143993"/>
                  </a:cubicBezTo>
                  <a:cubicBezTo>
                    <a:pt x="20233" y="140617"/>
                    <a:pt x="20214" y="135121"/>
                    <a:pt x="23591" y="131719"/>
                  </a:cubicBezTo>
                  <a:cubicBezTo>
                    <a:pt x="23606" y="131704"/>
                    <a:pt x="23620" y="131690"/>
                    <a:pt x="23635" y="131674"/>
                  </a:cubicBezTo>
                  <a:lnTo>
                    <a:pt x="37046" y="118361"/>
                  </a:lnTo>
                  <a:cubicBezTo>
                    <a:pt x="40482" y="114964"/>
                    <a:pt x="46013" y="114964"/>
                    <a:pt x="49449" y="118361"/>
                  </a:cubicBezTo>
                  <a:lnTo>
                    <a:pt x="49575" y="118487"/>
                  </a:lnTo>
                  <a:close/>
                  <a:moveTo>
                    <a:pt x="124441" y="220875"/>
                  </a:moveTo>
                  <a:cubicBezTo>
                    <a:pt x="121004" y="224272"/>
                    <a:pt x="115475" y="224272"/>
                    <a:pt x="112038" y="220875"/>
                  </a:cubicBezTo>
                  <a:cubicBezTo>
                    <a:pt x="108636" y="217498"/>
                    <a:pt x="108616" y="212002"/>
                    <a:pt x="111993" y="208601"/>
                  </a:cubicBezTo>
                  <a:cubicBezTo>
                    <a:pt x="112009" y="208585"/>
                    <a:pt x="112023" y="208571"/>
                    <a:pt x="112038" y="208556"/>
                  </a:cubicBezTo>
                  <a:lnTo>
                    <a:pt x="125435" y="195243"/>
                  </a:lnTo>
                  <a:cubicBezTo>
                    <a:pt x="128872" y="191845"/>
                    <a:pt x="134401" y="191845"/>
                    <a:pt x="137838" y="195243"/>
                  </a:cubicBezTo>
                  <a:cubicBezTo>
                    <a:pt x="141240" y="198620"/>
                    <a:pt x="141259" y="204115"/>
                    <a:pt x="137883" y="207517"/>
                  </a:cubicBezTo>
                  <a:cubicBezTo>
                    <a:pt x="137868" y="207533"/>
                    <a:pt x="137854" y="207547"/>
                    <a:pt x="137838" y="207562"/>
                  </a:cubicBezTo>
                  <a:lnTo>
                    <a:pt x="124441" y="220875"/>
                  </a:lnTo>
                  <a:close/>
                  <a:moveTo>
                    <a:pt x="96150" y="192765"/>
                  </a:moveTo>
                  <a:cubicBezTo>
                    <a:pt x="92717" y="196171"/>
                    <a:pt x="87179" y="196171"/>
                    <a:pt x="83746" y="192765"/>
                  </a:cubicBezTo>
                  <a:cubicBezTo>
                    <a:pt x="80366" y="189418"/>
                    <a:pt x="80310" y="183974"/>
                    <a:pt x="83621" y="180558"/>
                  </a:cubicBezTo>
                  <a:lnTo>
                    <a:pt x="83746" y="180446"/>
                  </a:lnTo>
                  <a:lnTo>
                    <a:pt x="97143" y="167133"/>
                  </a:lnTo>
                  <a:lnTo>
                    <a:pt x="97255" y="167007"/>
                  </a:lnTo>
                  <a:cubicBezTo>
                    <a:pt x="100712" y="163718"/>
                    <a:pt x="106158" y="163774"/>
                    <a:pt x="109546" y="167133"/>
                  </a:cubicBezTo>
                  <a:cubicBezTo>
                    <a:pt x="112948" y="170510"/>
                    <a:pt x="112968" y="176006"/>
                    <a:pt x="109591" y="179407"/>
                  </a:cubicBezTo>
                  <a:cubicBezTo>
                    <a:pt x="109576" y="179423"/>
                    <a:pt x="109561" y="179437"/>
                    <a:pt x="109546" y="179452"/>
                  </a:cubicBezTo>
                  <a:lnTo>
                    <a:pt x="96150" y="192765"/>
                  </a:ln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 name="Group 4">
            <a:extLst>
              <a:ext uri="{FF2B5EF4-FFF2-40B4-BE49-F238E27FC236}">
                <a16:creationId xmlns:a16="http://schemas.microsoft.com/office/drawing/2014/main" id="{493DACAD-B6D5-CDEB-7479-C49A02207759}"/>
              </a:ext>
              <a:ext uri="{C183D7F6-B498-43B3-948B-1728B52AA6E4}">
                <adec:decorative xmlns:adec="http://schemas.microsoft.com/office/drawing/2017/decorative" val="1"/>
              </a:ext>
            </a:extLst>
          </p:cNvPr>
          <p:cNvGrpSpPr/>
          <p:nvPr/>
        </p:nvGrpSpPr>
        <p:grpSpPr>
          <a:xfrm>
            <a:off x="9540317" y="1319213"/>
            <a:ext cx="612723" cy="612719"/>
            <a:chOff x="9540317" y="1319213"/>
            <a:chExt cx="612723" cy="612719"/>
          </a:xfrm>
        </p:grpSpPr>
        <p:sp>
          <p:nvSpPr>
            <p:cNvPr id="68" name="Oval 67">
              <a:extLst>
                <a:ext uri="{FF2B5EF4-FFF2-40B4-BE49-F238E27FC236}">
                  <a16:creationId xmlns:a16="http://schemas.microsoft.com/office/drawing/2014/main" id="{EB537B6C-477D-5769-4DC0-C012D7D4107F}"/>
                </a:ext>
              </a:extLst>
            </p:cNvPr>
            <p:cNvSpPr/>
            <p:nvPr/>
          </p:nvSpPr>
          <p:spPr bwMode="auto">
            <a:xfrm>
              <a:off x="9540317" y="1319213"/>
              <a:ext cx="612723" cy="612719"/>
            </a:xfrm>
            <a:prstGeom prst="ellipse">
              <a:avLst/>
            </a:prstGeom>
            <a:solidFill>
              <a:schemeClr val="bg1"/>
            </a:solidFill>
            <a:ln>
              <a:solidFill>
                <a:schemeClr val="accent1">
                  <a:lumMod val="20000"/>
                  <a:lumOff val="80000"/>
                </a:schemeClr>
              </a:solidFill>
              <a:headEnd type="none" w="med" len="med"/>
              <a:tailEnd type="none" w="med" len="med"/>
            </a:ln>
            <a:effectLst>
              <a:outerShdw blurRad="152400" dist="50800" dir="5400000" algn="ctr" rotWithShape="0">
                <a:schemeClr val="tx1">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20" name="Graphic 71" descr="Icon of two clouds">
              <a:extLst>
                <a:ext uri="{FF2B5EF4-FFF2-40B4-BE49-F238E27FC236}">
                  <a16:creationId xmlns:a16="http://schemas.microsoft.com/office/drawing/2014/main" id="{D1164F71-30E4-8E96-0992-12570CBF3D84}"/>
                </a:ext>
              </a:extLst>
            </p:cNvPr>
            <p:cNvSpPr/>
            <p:nvPr/>
          </p:nvSpPr>
          <p:spPr>
            <a:xfrm>
              <a:off x="9651189" y="1478925"/>
              <a:ext cx="390978" cy="293294"/>
            </a:xfrm>
            <a:custGeom>
              <a:avLst/>
              <a:gdLst>
                <a:gd name="connsiteX0" fmla="*/ 170062 w 309173"/>
                <a:gd name="connsiteY0" fmla="*/ 46511 h 231930"/>
                <a:gd name="connsiteX1" fmla="*/ 250867 w 309173"/>
                <a:gd name="connsiteY1" fmla="*/ 118082 h 231930"/>
                <a:gd name="connsiteX2" fmla="*/ 252103 w 309173"/>
                <a:gd name="connsiteY2" fmla="*/ 118082 h 231930"/>
                <a:gd name="connsiteX3" fmla="*/ 309174 w 309173"/>
                <a:gd name="connsiteY3" fmla="*/ 175007 h 231930"/>
                <a:gd name="connsiteX4" fmla="*/ 252103 w 309173"/>
                <a:gd name="connsiteY4" fmla="*/ 231931 h 231930"/>
                <a:gd name="connsiteX5" fmla="*/ 88022 w 309173"/>
                <a:gd name="connsiteY5" fmla="*/ 231931 h 231930"/>
                <a:gd name="connsiteX6" fmla="*/ 30950 w 309173"/>
                <a:gd name="connsiteY6" fmla="*/ 175007 h 231930"/>
                <a:gd name="connsiteX7" fmla="*/ 88022 w 309173"/>
                <a:gd name="connsiteY7" fmla="*/ 118082 h 231930"/>
                <a:gd name="connsiteX8" fmla="*/ 89258 w 309173"/>
                <a:gd name="connsiteY8" fmla="*/ 118082 h 231930"/>
                <a:gd name="connsiteX9" fmla="*/ 170062 w 309173"/>
                <a:gd name="connsiteY9" fmla="*/ 46511 h 231930"/>
                <a:gd name="connsiteX10" fmla="*/ 170062 w 309173"/>
                <a:gd name="connsiteY10" fmla="*/ 69661 h 231930"/>
                <a:gd name="connsiteX11" fmla="*/ 110137 w 309173"/>
                <a:gd name="connsiteY11" fmla="*/ 129779 h 231930"/>
                <a:gd name="connsiteX12" fmla="*/ 99561 w 309173"/>
                <a:gd name="connsiteY12" fmla="*/ 139640 h 231930"/>
                <a:gd name="connsiteX13" fmla="*/ 88887 w 309173"/>
                <a:gd name="connsiteY13" fmla="*/ 139640 h 231930"/>
                <a:gd name="connsiteX14" fmla="*/ 53593 w 309173"/>
                <a:gd name="connsiteY14" fmla="*/ 174211 h 231930"/>
                <a:gd name="connsiteX15" fmla="*/ 88887 w 309173"/>
                <a:gd name="connsiteY15" fmla="*/ 208781 h 231930"/>
                <a:gd name="connsiteX16" fmla="*/ 251238 w 309173"/>
                <a:gd name="connsiteY16" fmla="*/ 208781 h 231930"/>
                <a:gd name="connsiteX17" fmla="*/ 286531 w 309173"/>
                <a:gd name="connsiteY17" fmla="*/ 174211 h 231930"/>
                <a:gd name="connsiteX18" fmla="*/ 251238 w 309173"/>
                <a:gd name="connsiteY18" fmla="*/ 139640 h 231930"/>
                <a:gd name="connsiteX19" fmla="*/ 240564 w 309173"/>
                <a:gd name="connsiteY19" fmla="*/ 139640 h 231930"/>
                <a:gd name="connsiteX20" fmla="*/ 229988 w 309173"/>
                <a:gd name="connsiteY20" fmla="*/ 129779 h 231930"/>
                <a:gd name="connsiteX21" fmla="*/ 170062 w 309173"/>
                <a:gd name="connsiteY21" fmla="*/ 69661 h 231930"/>
                <a:gd name="connsiteX22" fmla="*/ 123663 w 309173"/>
                <a:gd name="connsiteY22" fmla="*/ 0 h 231930"/>
                <a:gd name="connsiteX23" fmla="*/ 183950 w 309173"/>
                <a:gd name="connsiteY23" fmla="*/ 31872 h 231930"/>
                <a:gd name="connsiteX24" fmla="*/ 170062 w 309173"/>
                <a:gd name="connsiteY24" fmla="*/ 31053 h 231930"/>
                <a:gd name="connsiteX25" fmla="*/ 152461 w 309173"/>
                <a:gd name="connsiteY25" fmla="*/ 32373 h 231930"/>
                <a:gd name="connsiteX26" fmla="*/ 123663 w 309173"/>
                <a:gd name="connsiteY26" fmla="*/ 23187 h 231930"/>
                <a:gd name="connsiteX27" fmla="*/ 74671 w 309173"/>
                <a:gd name="connsiteY27" fmla="*/ 64247 h 231930"/>
                <a:gd name="connsiteX28" fmla="*/ 73551 w 309173"/>
                <a:gd name="connsiteY28" fmla="*/ 70643 h 231930"/>
                <a:gd name="connsiteX29" fmla="*/ 58324 w 309173"/>
                <a:gd name="connsiteY29" fmla="*/ 83433 h 231930"/>
                <a:gd name="connsiteX30" fmla="*/ 50734 w 309173"/>
                <a:gd name="connsiteY30" fmla="*/ 83433 h 231930"/>
                <a:gd name="connsiteX31" fmla="*/ 23187 w 309173"/>
                <a:gd name="connsiteY31" fmla="*/ 110980 h 231930"/>
                <a:gd name="connsiteX32" fmla="*/ 31210 w 309173"/>
                <a:gd name="connsiteY32" fmla="*/ 130413 h 231930"/>
                <a:gd name="connsiteX33" fmla="*/ 19848 w 309173"/>
                <a:gd name="connsiteY33" fmla="*/ 151236 h 231930"/>
                <a:gd name="connsiteX34" fmla="*/ 0 w 309173"/>
                <a:gd name="connsiteY34" fmla="*/ 110980 h 231930"/>
                <a:gd name="connsiteX35" fmla="*/ 47855 w 309173"/>
                <a:gd name="connsiteY35" fmla="*/ 60326 h 231930"/>
                <a:gd name="connsiteX36" fmla="*/ 51832 w 309173"/>
                <a:gd name="connsiteY36" fmla="*/ 60246 h 231930"/>
                <a:gd name="connsiteX37" fmla="*/ 123663 w 309173"/>
                <a:gd name="connsiteY37" fmla="*/ 0 h 23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9173" h="231930">
                  <a:moveTo>
                    <a:pt x="170062" y="46511"/>
                  </a:moveTo>
                  <a:cubicBezTo>
                    <a:pt x="219041" y="46511"/>
                    <a:pt x="246826" y="78931"/>
                    <a:pt x="250867" y="118082"/>
                  </a:cubicBezTo>
                  <a:lnTo>
                    <a:pt x="252103" y="118082"/>
                  </a:lnTo>
                  <a:cubicBezTo>
                    <a:pt x="283622" y="118082"/>
                    <a:pt x="309174" y="143569"/>
                    <a:pt x="309174" y="175007"/>
                  </a:cubicBezTo>
                  <a:cubicBezTo>
                    <a:pt x="309174" y="206446"/>
                    <a:pt x="283622" y="231931"/>
                    <a:pt x="252103" y="231931"/>
                  </a:cubicBezTo>
                  <a:lnTo>
                    <a:pt x="88022" y="231931"/>
                  </a:lnTo>
                  <a:cubicBezTo>
                    <a:pt x="56502" y="231931"/>
                    <a:pt x="30950" y="206446"/>
                    <a:pt x="30950" y="175007"/>
                  </a:cubicBezTo>
                  <a:cubicBezTo>
                    <a:pt x="30950" y="143569"/>
                    <a:pt x="56502" y="118082"/>
                    <a:pt x="88022" y="118082"/>
                  </a:cubicBezTo>
                  <a:lnTo>
                    <a:pt x="89258" y="118082"/>
                  </a:lnTo>
                  <a:cubicBezTo>
                    <a:pt x="93322" y="78673"/>
                    <a:pt x="121084" y="46511"/>
                    <a:pt x="170062" y="46511"/>
                  </a:cubicBezTo>
                  <a:close/>
                  <a:moveTo>
                    <a:pt x="170062" y="69661"/>
                  </a:moveTo>
                  <a:cubicBezTo>
                    <a:pt x="138045" y="69661"/>
                    <a:pt x="110137" y="94906"/>
                    <a:pt x="110137" y="129779"/>
                  </a:cubicBezTo>
                  <a:cubicBezTo>
                    <a:pt x="110137" y="135306"/>
                    <a:pt x="105206" y="139641"/>
                    <a:pt x="99561" y="139640"/>
                  </a:cubicBezTo>
                  <a:lnTo>
                    <a:pt x="88887" y="139640"/>
                  </a:lnTo>
                  <a:cubicBezTo>
                    <a:pt x="69394" y="139640"/>
                    <a:pt x="53593" y="155118"/>
                    <a:pt x="53593" y="174211"/>
                  </a:cubicBezTo>
                  <a:cubicBezTo>
                    <a:pt x="53593" y="193303"/>
                    <a:pt x="69394" y="208781"/>
                    <a:pt x="88887" y="208781"/>
                  </a:cubicBezTo>
                  <a:lnTo>
                    <a:pt x="251238" y="208781"/>
                  </a:lnTo>
                  <a:cubicBezTo>
                    <a:pt x="270730" y="208781"/>
                    <a:pt x="286531" y="193303"/>
                    <a:pt x="286531" y="174211"/>
                  </a:cubicBezTo>
                  <a:cubicBezTo>
                    <a:pt x="286531" y="155118"/>
                    <a:pt x="270730" y="139640"/>
                    <a:pt x="251238" y="139640"/>
                  </a:cubicBezTo>
                  <a:lnTo>
                    <a:pt x="240564" y="139640"/>
                  </a:lnTo>
                  <a:cubicBezTo>
                    <a:pt x="234917" y="139641"/>
                    <a:pt x="229988" y="135306"/>
                    <a:pt x="229988" y="129779"/>
                  </a:cubicBezTo>
                  <a:cubicBezTo>
                    <a:pt x="229988" y="94460"/>
                    <a:pt x="202080" y="69661"/>
                    <a:pt x="170062" y="69661"/>
                  </a:cubicBezTo>
                  <a:close/>
                  <a:moveTo>
                    <a:pt x="123663" y="0"/>
                  </a:moveTo>
                  <a:cubicBezTo>
                    <a:pt x="148653" y="0"/>
                    <a:pt x="170795" y="12600"/>
                    <a:pt x="183950" y="31872"/>
                  </a:cubicBezTo>
                  <a:cubicBezTo>
                    <a:pt x="179464" y="31331"/>
                    <a:pt x="174830" y="31053"/>
                    <a:pt x="170062" y="31053"/>
                  </a:cubicBezTo>
                  <a:cubicBezTo>
                    <a:pt x="163969" y="31053"/>
                    <a:pt x="158095" y="31503"/>
                    <a:pt x="152461" y="32373"/>
                  </a:cubicBezTo>
                  <a:cubicBezTo>
                    <a:pt x="144296" y="26572"/>
                    <a:pt x="134325" y="23187"/>
                    <a:pt x="123663" y="23187"/>
                  </a:cubicBezTo>
                  <a:cubicBezTo>
                    <a:pt x="99443" y="23187"/>
                    <a:pt x="78805" y="40652"/>
                    <a:pt x="74671" y="64247"/>
                  </a:cubicBezTo>
                  <a:lnTo>
                    <a:pt x="73551" y="70643"/>
                  </a:lnTo>
                  <a:cubicBezTo>
                    <a:pt x="72255" y="78038"/>
                    <a:pt x="65832" y="83433"/>
                    <a:pt x="58324" y="83433"/>
                  </a:cubicBezTo>
                  <a:lnTo>
                    <a:pt x="50734" y="83433"/>
                  </a:lnTo>
                  <a:cubicBezTo>
                    <a:pt x="35520" y="83433"/>
                    <a:pt x="23187" y="95766"/>
                    <a:pt x="23187" y="110980"/>
                  </a:cubicBezTo>
                  <a:cubicBezTo>
                    <a:pt x="23187" y="118563"/>
                    <a:pt x="26252" y="125431"/>
                    <a:pt x="31210" y="130413"/>
                  </a:cubicBezTo>
                  <a:cubicBezTo>
                    <a:pt x="26342" y="136609"/>
                    <a:pt x="22481" y="143633"/>
                    <a:pt x="19848" y="151236"/>
                  </a:cubicBezTo>
                  <a:cubicBezTo>
                    <a:pt x="7785" y="141968"/>
                    <a:pt x="0" y="127383"/>
                    <a:pt x="0" y="110980"/>
                  </a:cubicBezTo>
                  <a:cubicBezTo>
                    <a:pt x="0" y="83926"/>
                    <a:pt x="21175" y="61819"/>
                    <a:pt x="47855" y="60326"/>
                  </a:cubicBezTo>
                  <a:lnTo>
                    <a:pt x="51832" y="60246"/>
                  </a:lnTo>
                  <a:cubicBezTo>
                    <a:pt x="57848" y="25909"/>
                    <a:pt x="87827" y="0"/>
                    <a:pt x="123663" y="0"/>
                  </a:cubicBezTo>
                  <a:close/>
                </a:path>
              </a:pathLst>
            </a:custGeom>
            <a:solidFill>
              <a:schemeClr val="tx2"/>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pitchFamily="2" charset="0"/>
                <a:ea typeface="+mn-ea"/>
                <a:cs typeface="+mn-cs"/>
              </a:endParaRPr>
            </a:p>
          </p:txBody>
        </p:sp>
      </p:grpSp>
      <p:grpSp>
        <p:nvGrpSpPr>
          <p:cNvPr id="6" name="Group 5">
            <a:extLst>
              <a:ext uri="{FF2B5EF4-FFF2-40B4-BE49-F238E27FC236}">
                <a16:creationId xmlns:a16="http://schemas.microsoft.com/office/drawing/2014/main" id="{1671CDED-A304-2B1B-B887-34D316D619EE}"/>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AE405567-FDEA-6818-BD05-D7157D9E9C9C}"/>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8" name="Table 2 Cell 2, 1 to Text">
              <a:extLst>
                <a:ext uri="{FF2B5EF4-FFF2-40B4-BE49-F238E27FC236}">
                  <a16:creationId xmlns:a16="http://schemas.microsoft.com/office/drawing/2014/main" id="{20A0F056-BA28-C771-5188-9B73C54107CD}"/>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9" name="Table 2 Cell 3, 1 to Text">
              <a:extLst>
                <a:ext uri="{FF2B5EF4-FFF2-40B4-BE49-F238E27FC236}">
                  <a16:creationId xmlns:a16="http://schemas.microsoft.com/office/drawing/2014/main" id="{AE700036-03E2-F507-D811-06F1336F408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1" name="Table 2 Cell 4, 1 to Text">
              <a:extLst>
                <a:ext uri="{FF2B5EF4-FFF2-40B4-BE49-F238E27FC236}">
                  <a16:creationId xmlns:a16="http://schemas.microsoft.com/office/drawing/2014/main" id="{4F2FA2CC-F985-F43B-FF67-77DB2B68A202}"/>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2" name="Table 2 Cell 5, 1 to Text">
              <a:extLst>
                <a:ext uri="{FF2B5EF4-FFF2-40B4-BE49-F238E27FC236}">
                  <a16:creationId xmlns:a16="http://schemas.microsoft.com/office/drawing/2014/main" id="{24DA99E3-7A4B-A0C4-E6F9-8323EC3579F8}"/>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3" name="Table 2 Cell 6, 1 to Text">
              <a:extLst>
                <a:ext uri="{FF2B5EF4-FFF2-40B4-BE49-F238E27FC236}">
                  <a16:creationId xmlns:a16="http://schemas.microsoft.com/office/drawing/2014/main" id="{CF6FF007-CD02-3908-D6A9-4FAAD5933E3E}"/>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5" name="Table 2 Cell 7, 1 to Text">
              <a:extLst>
                <a:ext uri="{FF2B5EF4-FFF2-40B4-BE49-F238E27FC236}">
                  <a16:creationId xmlns:a16="http://schemas.microsoft.com/office/drawing/2014/main" id="{9B872DDA-0CCB-4C7F-D193-C3475F89C088}"/>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7" name="Table 2 Cell 1, 2 to Text">
              <a:extLst>
                <a:ext uri="{FF2B5EF4-FFF2-40B4-BE49-F238E27FC236}">
                  <a16:creationId xmlns:a16="http://schemas.microsoft.com/office/drawing/2014/main" id="{FAF44A30-6ED7-8A1A-B98A-586DD2A7E0C2}"/>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30" name="Table 2 Cell 1, 3 to Text">
              <a:extLst>
                <a:ext uri="{FF2B5EF4-FFF2-40B4-BE49-F238E27FC236}">
                  <a16:creationId xmlns:a16="http://schemas.microsoft.com/office/drawing/2014/main" id="{B7D667FE-AA81-A3EE-6374-DE9A8C588FBE}"/>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chemeClr val="bg1"/>
                  </a:solidFill>
                </a:rPr>
                <a:t>2.2 Cloud &amp; AI Platforms Strategy</a:t>
              </a:r>
            </a:p>
          </p:txBody>
        </p:sp>
        <p:sp>
          <p:nvSpPr>
            <p:cNvPr id="31" name="Table 2 Cell 1, 4 to Text">
              <a:extLst>
                <a:ext uri="{FF2B5EF4-FFF2-40B4-BE49-F238E27FC236}">
                  <a16:creationId xmlns:a16="http://schemas.microsoft.com/office/drawing/2014/main" id="{B619AFCD-6030-8E31-A78B-B04E51672D93}"/>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3 CSU Delivery Strategy</a:t>
              </a:r>
            </a:p>
          </p:txBody>
        </p:sp>
        <p:sp>
          <p:nvSpPr>
            <p:cNvPr id="35" name="Table 2 Cell 1, 5 to Text">
              <a:extLst>
                <a:ext uri="{FF2B5EF4-FFF2-40B4-BE49-F238E27FC236}">
                  <a16:creationId xmlns:a16="http://schemas.microsoft.com/office/drawing/2014/main" id="{D48E46B0-9141-E059-2F05-9135BDD85D13}"/>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4 Sales Model &amp; Role Changes</a:t>
              </a:r>
            </a:p>
          </p:txBody>
        </p:sp>
        <p:sp>
          <p:nvSpPr>
            <p:cNvPr id="36" name="Table 2 Cell 1, 6 to Text">
              <a:extLst>
                <a:ext uri="{FF2B5EF4-FFF2-40B4-BE49-F238E27FC236}">
                  <a16:creationId xmlns:a16="http://schemas.microsoft.com/office/drawing/2014/main" id="{C9E1D2E4-BCAF-FBF7-EB89-90C9C1071B62}"/>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37" name="Table 2 Cell 1, 7 to Text">
              <a:extLst>
                <a:ext uri="{FF2B5EF4-FFF2-40B4-BE49-F238E27FC236}">
                  <a16:creationId xmlns:a16="http://schemas.microsoft.com/office/drawing/2014/main" id="{02EE0488-6A3C-B996-D670-020CB686DD6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38" name="Table 2 Cell 1, 8 to Text">
              <a:extLst>
                <a:ext uri="{FF2B5EF4-FFF2-40B4-BE49-F238E27FC236}">
                  <a16:creationId xmlns:a16="http://schemas.microsoft.com/office/drawing/2014/main" id="{D31DB713-4A4D-81D1-2692-4C4BD4AE2CA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2042784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200"/>
                                  </p:stCondLst>
                                  <p:childTnLst>
                                    <p:animMotion origin="layout" path="M 4.16667E-7 -2.22222E-6 L 4.16667E-7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grpId="1" nodeType="withEffect">
                                  <p:stCondLst>
                                    <p:cond delay="200"/>
                                  </p:stCondLst>
                                  <p:childTnLst>
                                    <p:animMotion origin="layout" path="M 4.16667E-7 -2.22222E-6 L 4.16667E-7 0.03542 " pathEditMode="relative" rAng="0" ptsTypes="AA">
                                      <p:cBhvr>
                                        <p:cTn id="14" dur="700" spd="-100000" fill="hold"/>
                                        <p:tgtEl>
                                          <p:spTgt spid="62"/>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42" presetClass="path" presetSubtype="0" decel="100000" fill="hold" grpId="1" nodeType="withEffect">
                                  <p:stCondLst>
                                    <p:cond delay="200"/>
                                  </p:stCondLst>
                                  <p:childTnLst>
                                    <p:animMotion origin="layout" path="M 4.16667E-7 -2.22222E-6 L 4.16667E-7 0.03542 " pathEditMode="relative" rAng="0" ptsTypes="AA">
                                      <p:cBhvr>
                                        <p:cTn id="19" dur="700" spd="-100000" fill="hold"/>
                                        <p:tgtEl>
                                          <p:spTgt spid="4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par>
                                <p:cTn id="23" presetID="42" presetClass="path" presetSubtype="0" decel="100000" fill="hold" grpId="1" nodeType="withEffect">
                                  <p:stCondLst>
                                    <p:cond delay="200"/>
                                  </p:stCondLst>
                                  <p:childTnLst>
                                    <p:animMotion origin="layout" path="M 4.16667E-7 -2.22222E-6 L 4.16667E-7 0.03542 " pathEditMode="relative" rAng="0" ptsTypes="AA">
                                      <p:cBhvr>
                                        <p:cTn id="24" dur="700" spd="-100000" fill="hold"/>
                                        <p:tgtEl>
                                          <p:spTgt spid="48"/>
                                        </p:tgtEl>
                                        <p:attrNameLst>
                                          <p:attrName>ppt_x</p:attrName>
                                          <p:attrName>ppt_y</p:attrName>
                                        </p:attrNameLst>
                                      </p:cBhvr>
                                      <p:rCtr x="0" y="1759"/>
                                    </p:animMotion>
                                  </p:childTnLst>
                                </p:cTn>
                              </p:par>
                              <p:par>
                                <p:cTn id="25" presetID="10" presetClass="entr" presetSubtype="0" fill="hold" nodeType="withEffect">
                                  <p:stCondLst>
                                    <p:cond delay="20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par>
                                <p:cTn id="28" presetID="42" presetClass="path" presetSubtype="0" decel="100000" fill="hold" nodeType="withEffect">
                                  <p:stCondLst>
                                    <p:cond delay="200"/>
                                  </p:stCondLst>
                                  <p:childTnLst>
                                    <p:animMotion origin="layout" path="M 4.16667E-7 -2.22222E-6 L 4.16667E-7 0.03542 " pathEditMode="relative" rAng="0" ptsTypes="AA">
                                      <p:cBhvr>
                                        <p:cTn id="29" dur="700" spd="-100000" fill="hold"/>
                                        <p:tgtEl>
                                          <p:spTgt spid="69"/>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500"/>
                                        <p:tgtEl>
                                          <p:spTgt spid="79"/>
                                        </p:tgtEl>
                                      </p:cBhvr>
                                    </p:animEffect>
                                  </p:childTnLst>
                                </p:cTn>
                              </p:par>
                              <p:par>
                                <p:cTn id="33" presetID="42" presetClass="path" presetSubtype="0" decel="100000" fill="hold" grpId="1" nodeType="withEffect">
                                  <p:stCondLst>
                                    <p:cond delay="200"/>
                                  </p:stCondLst>
                                  <p:childTnLst>
                                    <p:animMotion origin="layout" path="M 4.16667E-7 -2.22222E-6 L 4.16667E-7 0.03542 " pathEditMode="relative" rAng="0" ptsTypes="AA">
                                      <p:cBhvr>
                                        <p:cTn id="34" dur="700" spd="-100000" fill="hold"/>
                                        <p:tgtEl>
                                          <p:spTgt spid="79"/>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500"/>
                                        <p:tgtEl>
                                          <p:spTgt spid="59"/>
                                        </p:tgtEl>
                                      </p:cBhvr>
                                    </p:animEffect>
                                  </p:childTnLst>
                                </p:cTn>
                              </p:par>
                              <p:par>
                                <p:cTn id="38" presetID="42" presetClass="path" presetSubtype="0" decel="100000" fill="hold" grpId="1" nodeType="withEffect">
                                  <p:stCondLst>
                                    <p:cond delay="200"/>
                                  </p:stCondLst>
                                  <p:childTnLst>
                                    <p:animMotion origin="layout" path="M 4.16667E-7 -2.22222E-6 L 4.16667E-7 0.03542 " pathEditMode="relative" rAng="0" ptsTypes="AA">
                                      <p:cBhvr>
                                        <p:cTn id="39" dur="700" spd="-100000" fill="hold"/>
                                        <p:tgtEl>
                                          <p:spTgt spid="59"/>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102"/>
                                        </p:tgtEl>
                                        <p:attrNameLst>
                                          <p:attrName>style.visibility</p:attrName>
                                        </p:attrNameLst>
                                      </p:cBhvr>
                                      <p:to>
                                        <p:strVal val="visible"/>
                                      </p:to>
                                    </p:set>
                                    <p:animEffect transition="in" filter="fade">
                                      <p:cBhvr>
                                        <p:cTn id="42" dur="500"/>
                                        <p:tgtEl>
                                          <p:spTgt spid="102"/>
                                        </p:tgtEl>
                                      </p:cBhvr>
                                    </p:animEffect>
                                  </p:childTnLst>
                                </p:cTn>
                              </p:par>
                              <p:par>
                                <p:cTn id="43" presetID="42" presetClass="path" presetSubtype="0" decel="100000" fill="hold" nodeType="withEffect">
                                  <p:stCondLst>
                                    <p:cond delay="200"/>
                                  </p:stCondLst>
                                  <p:childTnLst>
                                    <p:animMotion origin="layout" path="M 4.16667E-7 -2.22222E-6 L 4.16667E-7 0.03542 " pathEditMode="relative" rAng="0" ptsTypes="AA">
                                      <p:cBhvr>
                                        <p:cTn id="44" dur="700" spd="-100000" fill="hold"/>
                                        <p:tgtEl>
                                          <p:spTgt spid="102"/>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80"/>
                                        </p:tgtEl>
                                        <p:attrNameLst>
                                          <p:attrName>style.visibility</p:attrName>
                                        </p:attrNameLst>
                                      </p:cBhvr>
                                      <p:to>
                                        <p:strVal val="visible"/>
                                      </p:to>
                                    </p:set>
                                    <p:animEffect transition="in" filter="fade">
                                      <p:cBhvr>
                                        <p:cTn id="47" dur="500"/>
                                        <p:tgtEl>
                                          <p:spTgt spid="80"/>
                                        </p:tgtEl>
                                      </p:cBhvr>
                                    </p:animEffect>
                                  </p:childTnLst>
                                </p:cTn>
                              </p:par>
                              <p:par>
                                <p:cTn id="48" presetID="42" presetClass="path" presetSubtype="0" decel="100000" fill="hold" grpId="1" nodeType="withEffect">
                                  <p:stCondLst>
                                    <p:cond delay="200"/>
                                  </p:stCondLst>
                                  <p:childTnLst>
                                    <p:animMotion origin="layout" path="M 4.16667E-7 -2.22222E-6 L 4.16667E-7 0.03542 " pathEditMode="relative" rAng="0" ptsTypes="AA">
                                      <p:cBhvr>
                                        <p:cTn id="49" dur="700" spd="-100000" fill="hold"/>
                                        <p:tgtEl>
                                          <p:spTgt spid="80"/>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60"/>
                                        </p:tgtEl>
                                        <p:attrNameLst>
                                          <p:attrName>style.visibility</p:attrName>
                                        </p:attrNameLst>
                                      </p:cBhvr>
                                      <p:to>
                                        <p:strVal val="visible"/>
                                      </p:to>
                                    </p:set>
                                    <p:animEffect transition="in" filter="fade">
                                      <p:cBhvr>
                                        <p:cTn id="52" dur="500"/>
                                        <p:tgtEl>
                                          <p:spTgt spid="60"/>
                                        </p:tgtEl>
                                      </p:cBhvr>
                                    </p:animEffect>
                                  </p:childTnLst>
                                </p:cTn>
                              </p:par>
                              <p:par>
                                <p:cTn id="53" presetID="42" presetClass="path" presetSubtype="0" decel="100000" fill="hold" grpId="1" nodeType="withEffect">
                                  <p:stCondLst>
                                    <p:cond delay="200"/>
                                  </p:stCondLst>
                                  <p:childTnLst>
                                    <p:animMotion origin="layout" path="M 4.16667E-7 -2.22222E-6 L 4.16667E-7 0.03542 " pathEditMode="relative" rAng="0" ptsTypes="AA">
                                      <p:cBhvr>
                                        <p:cTn id="54" dur="700" spd="-100000" fill="hold"/>
                                        <p:tgtEl>
                                          <p:spTgt spid="60"/>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103"/>
                                        </p:tgtEl>
                                        <p:attrNameLst>
                                          <p:attrName>style.visibility</p:attrName>
                                        </p:attrNameLst>
                                      </p:cBhvr>
                                      <p:to>
                                        <p:strVal val="visible"/>
                                      </p:to>
                                    </p:set>
                                    <p:animEffect transition="in" filter="fade">
                                      <p:cBhvr>
                                        <p:cTn id="57" dur="500"/>
                                        <p:tgtEl>
                                          <p:spTgt spid="103"/>
                                        </p:tgtEl>
                                      </p:cBhvr>
                                    </p:animEffect>
                                  </p:childTnLst>
                                </p:cTn>
                              </p:par>
                              <p:par>
                                <p:cTn id="58" presetID="42" presetClass="path" presetSubtype="0" decel="100000" fill="hold" nodeType="withEffect">
                                  <p:stCondLst>
                                    <p:cond delay="200"/>
                                  </p:stCondLst>
                                  <p:childTnLst>
                                    <p:animMotion origin="layout" path="M 4.16667E-7 -2.22222E-6 L 4.16667E-7 0.03542 " pathEditMode="relative" rAng="0" ptsTypes="AA">
                                      <p:cBhvr>
                                        <p:cTn id="59" dur="700" spd="-100000" fill="hold"/>
                                        <p:tgtEl>
                                          <p:spTgt spid="103"/>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89"/>
                                        </p:tgtEl>
                                        <p:attrNameLst>
                                          <p:attrName>style.visibility</p:attrName>
                                        </p:attrNameLst>
                                      </p:cBhvr>
                                      <p:to>
                                        <p:strVal val="visible"/>
                                      </p:to>
                                    </p:set>
                                    <p:animEffect transition="in" filter="fade">
                                      <p:cBhvr>
                                        <p:cTn id="62" dur="500"/>
                                        <p:tgtEl>
                                          <p:spTgt spid="89"/>
                                        </p:tgtEl>
                                      </p:cBhvr>
                                    </p:animEffect>
                                  </p:childTnLst>
                                </p:cTn>
                              </p:par>
                              <p:par>
                                <p:cTn id="63" presetID="42" presetClass="path" presetSubtype="0" decel="100000" fill="hold" grpId="1" nodeType="withEffect">
                                  <p:stCondLst>
                                    <p:cond delay="200"/>
                                  </p:stCondLst>
                                  <p:childTnLst>
                                    <p:animMotion origin="layout" path="M 4.16667E-7 -2.22222E-6 L 4.16667E-7 0.03542 " pathEditMode="relative" rAng="0" ptsTypes="AA">
                                      <p:cBhvr>
                                        <p:cTn id="64" dur="700" spd="-100000" fill="hold"/>
                                        <p:tgtEl>
                                          <p:spTgt spid="89"/>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61"/>
                                        </p:tgtEl>
                                        <p:attrNameLst>
                                          <p:attrName>style.visibility</p:attrName>
                                        </p:attrNameLst>
                                      </p:cBhvr>
                                      <p:to>
                                        <p:strVal val="visible"/>
                                      </p:to>
                                    </p:set>
                                    <p:animEffect transition="in" filter="fade">
                                      <p:cBhvr>
                                        <p:cTn id="67" dur="500"/>
                                        <p:tgtEl>
                                          <p:spTgt spid="61"/>
                                        </p:tgtEl>
                                      </p:cBhvr>
                                    </p:animEffect>
                                  </p:childTnLst>
                                </p:cTn>
                              </p:par>
                              <p:par>
                                <p:cTn id="68" presetID="42" presetClass="path" presetSubtype="0" decel="100000" fill="hold" grpId="1" nodeType="withEffect">
                                  <p:stCondLst>
                                    <p:cond delay="200"/>
                                  </p:stCondLst>
                                  <p:childTnLst>
                                    <p:animMotion origin="layout" path="M 4.16667E-7 -2.22222E-6 L 4.16667E-7 0.03542 " pathEditMode="relative" rAng="0" ptsTypes="AA">
                                      <p:cBhvr>
                                        <p:cTn id="69" dur="700" spd="-100000" fill="hold"/>
                                        <p:tgtEl>
                                          <p:spTgt spid="61"/>
                                        </p:tgtEl>
                                        <p:attrNameLst>
                                          <p:attrName>ppt_x</p:attrName>
                                          <p:attrName>ppt_y</p:attrName>
                                        </p:attrNameLst>
                                      </p:cBhvr>
                                      <p:rCtr x="0" y="1759"/>
                                    </p:animMotion>
                                  </p:childTnLst>
                                </p:cTn>
                              </p:par>
                              <p:par>
                                <p:cTn id="70" presetID="10" presetClass="entr" presetSubtype="0" fill="hold" nodeType="withEffect">
                                  <p:stCondLst>
                                    <p:cond delay="200"/>
                                  </p:stCondLst>
                                  <p:childTnLst>
                                    <p:set>
                                      <p:cBhvr>
                                        <p:cTn id="71" dur="1" fill="hold">
                                          <p:stCondLst>
                                            <p:cond delay="0"/>
                                          </p:stCondLst>
                                        </p:cTn>
                                        <p:tgtEl>
                                          <p:spTgt spid="4"/>
                                        </p:tgtEl>
                                        <p:attrNameLst>
                                          <p:attrName>style.visibility</p:attrName>
                                        </p:attrNameLst>
                                      </p:cBhvr>
                                      <p:to>
                                        <p:strVal val="visible"/>
                                      </p:to>
                                    </p:set>
                                    <p:animEffect transition="in" filter="fade">
                                      <p:cBhvr>
                                        <p:cTn id="72" dur="500"/>
                                        <p:tgtEl>
                                          <p:spTgt spid="4"/>
                                        </p:tgtEl>
                                      </p:cBhvr>
                                    </p:animEffect>
                                  </p:childTnLst>
                                </p:cTn>
                              </p:par>
                              <p:par>
                                <p:cTn id="73" presetID="42" presetClass="path" presetSubtype="0" decel="100000" fill="hold" nodeType="withEffect">
                                  <p:stCondLst>
                                    <p:cond delay="200"/>
                                  </p:stCondLst>
                                  <p:childTnLst>
                                    <p:animMotion origin="layout" path="M 4.16667E-7 -2.22222E-6 L 4.16667E-7 0.03542 " pathEditMode="relative" rAng="0" ptsTypes="AA">
                                      <p:cBhvr>
                                        <p:cTn id="74" dur="700" spd="-100000" fill="hold"/>
                                        <p:tgtEl>
                                          <p:spTgt spid="4"/>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63"/>
                                        </p:tgtEl>
                                        <p:attrNameLst>
                                          <p:attrName>style.visibility</p:attrName>
                                        </p:attrNameLst>
                                      </p:cBhvr>
                                      <p:to>
                                        <p:strVal val="visible"/>
                                      </p:to>
                                    </p:set>
                                    <p:animEffect transition="in" filter="fade">
                                      <p:cBhvr>
                                        <p:cTn id="77" dur="500"/>
                                        <p:tgtEl>
                                          <p:spTgt spid="63"/>
                                        </p:tgtEl>
                                      </p:cBhvr>
                                    </p:animEffect>
                                  </p:childTnLst>
                                </p:cTn>
                              </p:par>
                              <p:par>
                                <p:cTn id="78" presetID="42" presetClass="path" presetSubtype="0" decel="100000" fill="hold" grpId="1" nodeType="withEffect">
                                  <p:stCondLst>
                                    <p:cond delay="200"/>
                                  </p:stCondLst>
                                  <p:childTnLst>
                                    <p:animMotion origin="layout" path="M 4.16667E-7 -2.22222E-6 L 4.16667E-7 0.03542 " pathEditMode="relative" rAng="0" ptsTypes="AA">
                                      <p:cBhvr>
                                        <p:cTn id="79" dur="700" spd="-100000" fill="hold"/>
                                        <p:tgtEl>
                                          <p:spTgt spid="63"/>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46"/>
                                        </p:tgtEl>
                                        <p:attrNameLst>
                                          <p:attrName>style.visibility</p:attrName>
                                        </p:attrNameLst>
                                      </p:cBhvr>
                                      <p:to>
                                        <p:strVal val="visible"/>
                                      </p:to>
                                    </p:set>
                                    <p:animEffect transition="in" filter="fade">
                                      <p:cBhvr>
                                        <p:cTn id="82" dur="500"/>
                                        <p:tgtEl>
                                          <p:spTgt spid="46"/>
                                        </p:tgtEl>
                                      </p:cBhvr>
                                    </p:animEffect>
                                  </p:childTnLst>
                                </p:cTn>
                              </p:par>
                              <p:par>
                                <p:cTn id="83" presetID="42" presetClass="path" presetSubtype="0" decel="100000" fill="hold" grpId="1" nodeType="withEffect">
                                  <p:stCondLst>
                                    <p:cond delay="200"/>
                                  </p:stCondLst>
                                  <p:childTnLst>
                                    <p:animMotion origin="layout" path="M 4.16667E-7 -2.22222E-6 L 4.16667E-7 0.03542 " pathEditMode="relative" rAng="0" ptsTypes="AA">
                                      <p:cBhvr>
                                        <p:cTn id="84" dur="700" spd="-100000" fill="hold"/>
                                        <p:tgtEl>
                                          <p:spTgt spid="46"/>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50"/>
                                        </p:tgtEl>
                                        <p:attrNameLst>
                                          <p:attrName>style.visibility</p:attrName>
                                        </p:attrNameLst>
                                      </p:cBhvr>
                                      <p:to>
                                        <p:strVal val="visible"/>
                                      </p:to>
                                    </p:set>
                                    <p:animEffect transition="in" filter="fade">
                                      <p:cBhvr>
                                        <p:cTn id="87" dur="500"/>
                                        <p:tgtEl>
                                          <p:spTgt spid="50"/>
                                        </p:tgtEl>
                                      </p:cBhvr>
                                    </p:animEffect>
                                  </p:childTnLst>
                                </p:cTn>
                              </p:par>
                              <p:par>
                                <p:cTn id="88" presetID="42" presetClass="path" presetSubtype="0" decel="100000" fill="hold" grpId="1" nodeType="withEffect">
                                  <p:stCondLst>
                                    <p:cond delay="200"/>
                                  </p:stCondLst>
                                  <p:childTnLst>
                                    <p:animMotion origin="layout" path="M 4.16667E-7 -2.22222E-6 L 4.16667E-7 0.03542 " pathEditMode="relative" rAng="0" ptsTypes="AA">
                                      <p:cBhvr>
                                        <p:cTn id="89" dur="700" spd="-100000" fill="hold"/>
                                        <p:tgtEl>
                                          <p:spTgt spid="50"/>
                                        </p:tgtEl>
                                        <p:attrNameLst>
                                          <p:attrName>ppt_x</p:attrName>
                                          <p:attrName>ppt_y</p:attrName>
                                        </p:attrNameLst>
                                      </p:cBhvr>
                                      <p:rCtr x="0" y="1759"/>
                                    </p:animMotion>
                                  </p:childTnLst>
                                </p:cTn>
                              </p:par>
                              <p:par>
                                <p:cTn id="90" presetID="10" presetClass="entr" presetSubtype="0" fill="hold" nodeType="withEffect">
                                  <p:stCondLst>
                                    <p:cond delay="200"/>
                                  </p:stCondLst>
                                  <p:childTnLst>
                                    <p:set>
                                      <p:cBhvr>
                                        <p:cTn id="91" dur="1" fill="hold">
                                          <p:stCondLst>
                                            <p:cond delay="0"/>
                                          </p:stCondLst>
                                        </p:cTn>
                                        <p:tgtEl>
                                          <p:spTgt spid="92"/>
                                        </p:tgtEl>
                                        <p:attrNameLst>
                                          <p:attrName>style.visibility</p:attrName>
                                        </p:attrNameLst>
                                      </p:cBhvr>
                                      <p:to>
                                        <p:strVal val="visible"/>
                                      </p:to>
                                    </p:set>
                                    <p:animEffect transition="in" filter="fade">
                                      <p:cBhvr>
                                        <p:cTn id="92" dur="500"/>
                                        <p:tgtEl>
                                          <p:spTgt spid="92"/>
                                        </p:tgtEl>
                                      </p:cBhvr>
                                    </p:animEffect>
                                  </p:childTnLst>
                                </p:cTn>
                              </p:par>
                              <p:par>
                                <p:cTn id="93" presetID="42" presetClass="path" presetSubtype="0" decel="100000" fill="hold" nodeType="withEffect">
                                  <p:stCondLst>
                                    <p:cond delay="200"/>
                                  </p:stCondLst>
                                  <p:childTnLst>
                                    <p:animMotion origin="layout" path="M 4.16667E-7 -2.22222E-6 L 4.16667E-7 0.03542 " pathEditMode="relative" rAng="0" ptsTypes="AA">
                                      <p:cBhvr>
                                        <p:cTn id="94" dur="700" spd="-100000" fill="hold"/>
                                        <p:tgtEl>
                                          <p:spTgt spid="92"/>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70"/>
                                        </p:tgtEl>
                                        <p:attrNameLst>
                                          <p:attrName>style.visibility</p:attrName>
                                        </p:attrNameLst>
                                      </p:cBhvr>
                                      <p:to>
                                        <p:strVal val="visible"/>
                                      </p:to>
                                    </p:set>
                                    <p:animEffect transition="in" filter="fade">
                                      <p:cBhvr>
                                        <p:cTn id="97" dur="500"/>
                                        <p:tgtEl>
                                          <p:spTgt spid="70"/>
                                        </p:tgtEl>
                                      </p:cBhvr>
                                    </p:animEffect>
                                  </p:childTnLst>
                                </p:cTn>
                              </p:par>
                              <p:par>
                                <p:cTn id="98" presetID="42" presetClass="path" presetSubtype="0" decel="100000" fill="hold" grpId="1" nodeType="withEffect">
                                  <p:stCondLst>
                                    <p:cond delay="200"/>
                                  </p:stCondLst>
                                  <p:childTnLst>
                                    <p:animMotion origin="layout" path="M 4.16667E-7 -2.22222E-6 L 4.16667E-7 0.03542 " pathEditMode="relative" rAng="0" ptsTypes="AA">
                                      <p:cBhvr>
                                        <p:cTn id="99" dur="700" spd="-100000" fill="hold"/>
                                        <p:tgtEl>
                                          <p:spTgt spid="70"/>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52"/>
                                        </p:tgtEl>
                                        <p:attrNameLst>
                                          <p:attrName>style.visibility</p:attrName>
                                        </p:attrNameLst>
                                      </p:cBhvr>
                                      <p:to>
                                        <p:strVal val="visible"/>
                                      </p:to>
                                    </p:set>
                                    <p:animEffect transition="in" filter="fade">
                                      <p:cBhvr>
                                        <p:cTn id="102" dur="500"/>
                                        <p:tgtEl>
                                          <p:spTgt spid="52"/>
                                        </p:tgtEl>
                                      </p:cBhvr>
                                    </p:animEffect>
                                  </p:childTnLst>
                                </p:cTn>
                              </p:par>
                              <p:par>
                                <p:cTn id="103" presetID="42" presetClass="path" presetSubtype="0" decel="100000" fill="hold" grpId="1" nodeType="withEffect">
                                  <p:stCondLst>
                                    <p:cond delay="200"/>
                                  </p:stCondLst>
                                  <p:childTnLst>
                                    <p:animMotion origin="layout" path="M 4.16667E-7 -2.22222E-6 L 4.16667E-7 0.03542 " pathEditMode="relative" rAng="0" ptsTypes="AA">
                                      <p:cBhvr>
                                        <p:cTn id="104" dur="700" spd="-100000" fill="hold"/>
                                        <p:tgtEl>
                                          <p:spTgt spid="52"/>
                                        </p:tgtEl>
                                        <p:attrNameLst>
                                          <p:attrName>ppt_x</p:attrName>
                                          <p:attrName>ppt_y</p:attrName>
                                        </p:attrNameLst>
                                      </p:cBhvr>
                                      <p:rCtr x="0" y="1759"/>
                                    </p:animMotion>
                                  </p:childTnLst>
                                </p:cTn>
                              </p:par>
                              <p:par>
                                <p:cTn id="105" presetID="10" presetClass="entr" presetSubtype="0" fill="hold" grpId="0" nodeType="withEffect">
                                  <p:stCondLst>
                                    <p:cond delay="200"/>
                                  </p:stCondLst>
                                  <p:childTnLst>
                                    <p:set>
                                      <p:cBhvr>
                                        <p:cTn id="106" dur="1" fill="hold">
                                          <p:stCondLst>
                                            <p:cond delay="0"/>
                                          </p:stCondLst>
                                        </p:cTn>
                                        <p:tgtEl>
                                          <p:spTgt spid="76"/>
                                        </p:tgtEl>
                                        <p:attrNameLst>
                                          <p:attrName>style.visibility</p:attrName>
                                        </p:attrNameLst>
                                      </p:cBhvr>
                                      <p:to>
                                        <p:strVal val="visible"/>
                                      </p:to>
                                    </p:set>
                                    <p:animEffect transition="in" filter="fade">
                                      <p:cBhvr>
                                        <p:cTn id="107" dur="500"/>
                                        <p:tgtEl>
                                          <p:spTgt spid="76"/>
                                        </p:tgtEl>
                                      </p:cBhvr>
                                    </p:animEffect>
                                  </p:childTnLst>
                                </p:cTn>
                              </p:par>
                              <p:par>
                                <p:cTn id="108" presetID="42" presetClass="path" presetSubtype="0" decel="100000" fill="hold" grpId="1" nodeType="withEffect">
                                  <p:stCondLst>
                                    <p:cond delay="200"/>
                                  </p:stCondLst>
                                  <p:childTnLst>
                                    <p:animMotion origin="layout" path="M 4.16667E-7 -2.22222E-6 L 4.16667E-7 0.03542 " pathEditMode="relative" rAng="0" ptsTypes="AA">
                                      <p:cBhvr>
                                        <p:cTn id="109" dur="700" spd="-100000" fill="hold"/>
                                        <p:tgtEl>
                                          <p:spTgt spid="76"/>
                                        </p:tgtEl>
                                        <p:attrNameLst>
                                          <p:attrName>ppt_x</p:attrName>
                                          <p:attrName>ppt_y</p:attrName>
                                        </p:attrNameLst>
                                      </p:cBhvr>
                                      <p:rCtr x="0" y="1759"/>
                                    </p:animMotion>
                                  </p:childTnLst>
                                </p:cTn>
                              </p:par>
                              <p:par>
                                <p:cTn id="110" presetID="10" presetClass="entr" presetSubtype="0" fill="hold" grpId="0" nodeType="withEffect">
                                  <p:stCondLst>
                                    <p:cond delay="20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200"/>
                                  </p:stCondLst>
                                  <p:childTnLst>
                                    <p:animMotion origin="layout" path="M 4.16667E-7 -2.22222E-6 L 4.16667E-7 0.03542 " pathEditMode="relative" rAng="0" ptsTypes="AA">
                                      <p:cBhvr>
                                        <p:cTn id="114" dur="700" spd="-100000" fill="hold"/>
                                        <p:tgtEl>
                                          <p:spTgt spid="53"/>
                                        </p:tgtEl>
                                        <p:attrNameLst>
                                          <p:attrName>ppt_x</p:attrName>
                                          <p:attrName>ppt_y</p:attrName>
                                        </p:attrNameLst>
                                      </p:cBhvr>
                                      <p:rCtr x="0" y="1759"/>
                                    </p:animMotion>
                                  </p:childTnLst>
                                </p:cTn>
                              </p:par>
                              <p:par>
                                <p:cTn id="115" presetID="10" presetClass="entr" presetSubtype="0" fill="hold" nodeType="withEffect">
                                  <p:stCondLst>
                                    <p:cond delay="200"/>
                                  </p:stCondLst>
                                  <p:childTnLst>
                                    <p:set>
                                      <p:cBhvr>
                                        <p:cTn id="116" dur="1" fill="hold">
                                          <p:stCondLst>
                                            <p:cond delay="0"/>
                                          </p:stCondLst>
                                        </p:cTn>
                                        <p:tgtEl>
                                          <p:spTgt spid="81"/>
                                        </p:tgtEl>
                                        <p:attrNameLst>
                                          <p:attrName>style.visibility</p:attrName>
                                        </p:attrNameLst>
                                      </p:cBhvr>
                                      <p:to>
                                        <p:strVal val="visible"/>
                                      </p:to>
                                    </p:set>
                                    <p:animEffect transition="in" filter="fade">
                                      <p:cBhvr>
                                        <p:cTn id="117" dur="500"/>
                                        <p:tgtEl>
                                          <p:spTgt spid="81"/>
                                        </p:tgtEl>
                                      </p:cBhvr>
                                    </p:animEffect>
                                  </p:childTnLst>
                                </p:cTn>
                              </p:par>
                              <p:par>
                                <p:cTn id="118" presetID="42" presetClass="path" presetSubtype="0" decel="100000" fill="hold" nodeType="withEffect">
                                  <p:stCondLst>
                                    <p:cond delay="200"/>
                                  </p:stCondLst>
                                  <p:childTnLst>
                                    <p:animMotion origin="layout" path="M 1.875E-6 -7.40741E-7 L 1.875E-6 0.03542 " pathEditMode="relative" rAng="0" ptsTypes="AA">
                                      <p:cBhvr>
                                        <p:cTn id="119" dur="700" spd="-100000" fill="hold"/>
                                        <p:tgtEl>
                                          <p:spTgt spid="81"/>
                                        </p:tgtEl>
                                        <p:attrNameLst>
                                          <p:attrName>ppt_x</p:attrName>
                                          <p:attrName>ppt_y</p:attrName>
                                        </p:attrNameLst>
                                      </p:cBhvr>
                                      <p:rCtr x="0" y="1759"/>
                                    </p:animMotion>
                                  </p:childTnLst>
                                </p:cTn>
                              </p:par>
                              <p:par>
                                <p:cTn id="120" presetID="10" presetClass="entr" presetSubtype="0" fill="hold" grpId="0" nodeType="withEffect">
                                  <p:stCondLst>
                                    <p:cond delay="200"/>
                                  </p:stCondLst>
                                  <p:childTnLst>
                                    <p:set>
                                      <p:cBhvr>
                                        <p:cTn id="121" dur="1" fill="hold">
                                          <p:stCondLst>
                                            <p:cond delay="0"/>
                                          </p:stCondLst>
                                        </p:cTn>
                                        <p:tgtEl>
                                          <p:spTgt spid="77"/>
                                        </p:tgtEl>
                                        <p:attrNameLst>
                                          <p:attrName>style.visibility</p:attrName>
                                        </p:attrNameLst>
                                      </p:cBhvr>
                                      <p:to>
                                        <p:strVal val="visible"/>
                                      </p:to>
                                    </p:set>
                                    <p:animEffect transition="in" filter="fade">
                                      <p:cBhvr>
                                        <p:cTn id="122" dur="500"/>
                                        <p:tgtEl>
                                          <p:spTgt spid="77"/>
                                        </p:tgtEl>
                                      </p:cBhvr>
                                    </p:animEffect>
                                  </p:childTnLst>
                                </p:cTn>
                              </p:par>
                              <p:par>
                                <p:cTn id="123" presetID="42" presetClass="path" presetSubtype="0" decel="100000" fill="hold" grpId="1" nodeType="withEffect">
                                  <p:stCondLst>
                                    <p:cond delay="200"/>
                                  </p:stCondLst>
                                  <p:childTnLst>
                                    <p:animMotion origin="layout" path="M 4.16667E-7 -2.22222E-6 L 4.16667E-7 0.03542 " pathEditMode="relative" rAng="0" ptsTypes="AA">
                                      <p:cBhvr>
                                        <p:cTn id="124" dur="700" spd="-100000" fill="hold"/>
                                        <p:tgtEl>
                                          <p:spTgt spid="77"/>
                                        </p:tgtEl>
                                        <p:attrNameLst>
                                          <p:attrName>ppt_x</p:attrName>
                                          <p:attrName>ppt_y</p:attrName>
                                        </p:attrNameLst>
                                      </p:cBhvr>
                                      <p:rCtr x="0" y="1759"/>
                                    </p:animMotion>
                                  </p:childTnLst>
                                </p:cTn>
                              </p:par>
                              <p:par>
                                <p:cTn id="125" presetID="10" presetClass="entr" presetSubtype="0" fill="hold" grpId="0" nodeType="withEffect">
                                  <p:stCondLst>
                                    <p:cond delay="200"/>
                                  </p:stCondLst>
                                  <p:childTnLst>
                                    <p:set>
                                      <p:cBhvr>
                                        <p:cTn id="126" dur="1" fill="hold">
                                          <p:stCondLst>
                                            <p:cond delay="0"/>
                                          </p:stCondLst>
                                        </p:cTn>
                                        <p:tgtEl>
                                          <p:spTgt spid="54"/>
                                        </p:tgtEl>
                                        <p:attrNameLst>
                                          <p:attrName>style.visibility</p:attrName>
                                        </p:attrNameLst>
                                      </p:cBhvr>
                                      <p:to>
                                        <p:strVal val="visible"/>
                                      </p:to>
                                    </p:set>
                                    <p:animEffect transition="in" filter="fade">
                                      <p:cBhvr>
                                        <p:cTn id="127" dur="500"/>
                                        <p:tgtEl>
                                          <p:spTgt spid="54"/>
                                        </p:tgtEl>
                                      </p:cBhvr>
                                    </p:animEffect>
                                  </p:childTnLst>
                                </p:cTn>
                              </p:par>
                              <p:par>
                                <p:cTn id="128" presetID="42" presetClass="path" presetSubtype="0" decel="100000" fill="hold" grpId="1" nodeType="withEffect">
                                  <p:stCondLst>
                                    <p:cond delay="200"/>
                                  </p:stCondLst>
                                  <p:childTnLst>
                                    <p:animMotion origin="layout" path="M 4.16667E-7 -2.22222E-6 L 4.16667E-7 0.03542 " pathEditMode="relative" rAng="0" ptsTypes="AA">
                                      <p:cBhvr>
                                        <p:cTn id="129" dur="700" spd="-100000" fill="hold"/>
                                        <p:tgtEl>
                                          <p:spTgt spid="54"/>
                                        </p:tgtEl>
                                        <p:attrNameLst>
                                          <p:attrName>ppt_x</p:attrName>
                                          <p:attrName>ppt_y</p:attrName>
                                        </p:attrNameLst>
                                      </p:cBhvr>
                                      <p:rCtr x="0" y="1759"/>
                                    </p:animMotion>
                                  </p:childTnLst>
                                </p:cTn>
                              </p:par>
                              <p:par>
                                <p:cTn id="130" presetID="10" presetClass="entr" presetSubtype="0" fill="hold" grpId="0" nodeType="withEffect">
                                  <p:stCondLst>
                                    <p:cond delay="200"/>
                                  </p:stCondLst>
                                  <p:childTnLst>
                                    <p:set>
                                      <p:cBhvr>
                                        <p:cTn id="131" dur="1" fill="hold">
                                          <p:stCondLst>
                                            <p:cond delay="0"/>
                                          </p:stCondLst>
                                        </p:cTn>
                                        <p:tgtEl>
                                          <p:spTgt spid="78"/>
                                        </p:tgtEl>
                                        <p:attrNameLst>
                                          <p:attrName>style.visibility</p:attrName>
                                        </p:attrNameLst>
                                      </p:cBhvr>
                                      <p:to>
                                        <p:strVal val="visible"/>
                                      </p:to>
                                    </p:set>
                                    <p:animEffect transition="in" filter="fade">
                                      <p:cBhvr>
                                        <p:cTn id="132" dur="500"/>
                                        <p:tgtEl>
                                          <p:spTgt spid="78"/>
                                        </p:tgtEl>
                                      </p:cBhvr>
                                    </p:animEffect>
                                  </p:childTnLst>
                                </p:cTn>
                              </p:par>
                              <p:par>
                                <p:cTn id="133" presetID="42" presetClass="path" presetSubtype="0" decel="100000" fill="hold" grpId="1" nodeType="withEffect">
                                  <p:stCondLst>
                                    <p:cond delay="200"/>
                                  </p:stCondLst>
                                  <p:childTnLst>
                                    <p:animMotion origin="layout" path="M 4.16667E-7 -2.22222E-6 L 4.16667E-7 0.03542 " pathEditMode="relative" rAng="0" ptsTypes="AA">
                                      <p:cBhvr>
                                        <p:cTn id="134" dur="700" spd="-100000" fill="hold"/>
                                        <p:tgtEl>
                                          <p:spTgt spid="78"/>
                                        </p:tgtEl>
                                        <p:attrNameLst>
                                          <p:attrName>ppt_x</p:attrName>
                                          <p:attrName>ppt_y</p:attrName>
                                        </p:attrNameLst>
                                      </p:cBhvr>
                                      <p:rCtr x="0" y="1759"/>
                                    </p:animMotion>
                                  </p:childTnLst>
                                </p:cTn>
                              </p:par>
                              <p:par>
                                <p:cTn id="135" presetID="10" presetClass="entr" presetSubtype="0" fill="hold" grpId="0" nodeType="withEffect">
                                  <p:stCondLst>
                                    <p:cond delay="200"/>
                                  </p:stCondLst>
                                  <p:childTnLst>
                                    <p:set>
                                      <p:cBhvr>
                                        <p:cTn id="136" dur="1" fill="hold">
                                          <p:stCondLst>
                                            <p:cond delay="0"/>
                                          </p:stCondLst>
                                        </p:cTn>
                                        <p:tgtEl>
                                          <p:spTgt spid="55"/>
                                        </p:tgtEl>
                                        <p:attrNameLst>
                                          <p:attrName>style.visibility</p:attrName>
                                        </p:attrNameLst>
                                      </p:cBhvr>
                                      <p:to>
                                        <p:strVal val="visible"/>
                                      </p:to>
                                    </p:set>
                                    <p:animEffect transition="in" filter="fade">
                                      <p:cBhvr>
                                        <p:cTn id="137" dur="500"/>
                                        <p:tgtEl>
                                          <p:spTgt spid="55"/>
                                        </p:tgtEl>
                                      </p:cBhvr>
                                    </p:animEffect>
                                  </p:childTnLst>
                                </p:cTn>
                              </p:par>
                              <p:par>
                                <p:cTn id="138" presetID="42" presetClass="path" presetSubtype="0" decel="100000" fill="hold" grpId="1" nodeType="withEffect">
                                  <p:stCondLst>
                                    <p:cond delay="200"/>
                                  </p:stCondLst>
                                  <p:childTnLst>
                                    <p:animMotion origin="layout" path="M 4.16667E-7 -2.22222E-6 L 4.16667E-7 0.03542 " pathEditMode="relative" rAng="0" ptsTypes="AA">
                                      <p:cBhvr>
                                        <p:cTn id="139" dur="700" spd="-100000" fill="hold"/>
                                        <p:tgtEl>
                                          <p:spTgt spid="55"/>
                                        </p:tgtEl>
                                        <p:attrNameLst>
                                          <p:attrName>ppt_x</p:attrName>
                                          <p:attrName>ppt_y</p:attrName>
                                        </p:attrNameLst>
                                      </p:cBhvr>
                                      <p:rCtr x="0" y="1759"/>
                                    </p:animMotion>
                                  </p:childTnLst>
                                </p:cTn>
                              </p:par>
                              <p:par>
                                <p:cTn id="140" presetID="10" presetClass="entr" presetSubtype="0" fill="hold" nodeType="withEffect">
                                  <p:stCondLst>
                                    <p:cond delay="200"/>
                                  </p:stCondLst>
                                  <p:childTnLst>
                                    <p:set>
                                      <p:cBhvr>
                                        <p:cTn id="141" dur="1" fill="hold">
                                          <p:stCondLst>
                                            <p:cond delay="0"/>
                                          </p:stCondLst>
                                        </p:cTn>
                                        <p:tgtEl>
                                          <p:spTgt spid="5"/>
                                        </p:tgtEl>
                                        <p:attrNameLst>
                                          <p:attrName>style.visibility</p:attrName>
                                        </p:attrNameLst>
                                      </p:cBhvr>
                                      <p:to>
                                        <p:strVal val="visible"/>
                                      </p:to>
                                    </p:set>
                                    <p:animEffect transition="in" filter="fade">
                                      <p:cBhvr>
                                        <p:cTn id="142" dur="500"/>
                                        <p:tgtEl>
                                          <p:spTgt spid="5"/>
                                        </p:tgtEl>
                                      </p:cBhvr>
                                    </p:animEffect>
                                  </p:childTnLst>
                                </p:cTn>
                              </p:par>
                              <p:par>
                                <p:cTn id="143" presetID="42" presetClass="path" presetSubtype="0" decel="100000" fill="hold" nodeType="withEffect">
                                  <p:stCondLst>
                                    <p:cond delay="200"/>
                                  </p:stCondLst>
                                  <p:childTnLst>
                                    <p:animMotion origin="layout" path="M 4.16667E-7 -2.22222E-6 L 4.16667E-7 0.03542 " pathEditMode="relative" rAng="0" ptsTypes="AA">
                                      <p:cBhvr>
                                        <p:cTn id="144" dur="700" spd="-100000" fill="hold"/>
                                        <p:tgtEl>
                                          <p:spTgt spid="5"/>
                                        </p:tgtEl>
                                        <p:attrNameLst>
                                          <p:attrName>ppt_x</p:attrName>
                                          <p:attrName>ppt_y</p:attrName>
                                        </p:attrNameLst>
                                      </p:cBhvr>
                                      <p:rCtr x="0" y="1759"/>
                                    </p:animMotion>
                                  </p:childTnLst>
                                </p:cTn>
                              </p:par>
                              <p:par>
                                <p:cTn id="145" presetID="10" presetClass="entr" presetSubtype="0" fill="hold" grpId="0" nodeType="withEffect">
                                  <p:stCondLst>
                                    <p:cond delay="200"/>
                                  </p:stCondLst>
                                  <p:childTnLst>
                                    <p:set>
                                      <p:cBhvr>
                                        <p:cTn id="146" dur="1" fill="hold">
                                          <p:stCondLst>
                                            <p:cond delay="0"/>
                                          </p:stCondLst>
                                        </p:cTn>
                                        <p:tgtEl>
                                          <p:spTgt spid="65"/>
                                        </p:tgtEl>
                                        <p:attrNameLst>
                                          <p:attrName>style.visibility</p:attrName>
                                        </p:attrNameLst>
                                      </p:cBhvr>
                                      <p:to>
                                        <p:strVal val="visible"/>
                                      </p:to>
                                    </p:set>
                                    <p:animEffect transition="in" filter="fade">
                                      <p:cBhvr>
                                        <p:cTn id="147" dur="500"/>
                                        <p:tgtEl>
                                          <p:spTgt spid="65"/>
                                        </p:tgtEl>
                                      </p:cBhvr>
                                    </p:animEffect>
                                  </p:childTnLst>
                                </p:cTn>
                              </p:par>
                              <p:par>
                                <p:cTn id="148" presetID="42" presetClass="path" presetSubtype="0" decel="100000" fill="hold" grpId="1" nodeType="withEffect">
                                  <p:stCondLst>
                                    <p:cond delay="200"/>
                                  </p:stCondLst>
                                  <p:childTnLst>
                                    <p:animMotion origin="layout" path="M 4.16667E-7 -2.22222E-6 L 4.16667E-7 0.03542 " pathEditMode="relative" rAng="0" ptsTypes="AA">
                                      <p:cBhvr>
                                        <p:cTn id="149" dur="700" spd="-100000" fill="hold"/>
                                        <p:tgtEl>
                                          <p:spTgt spid="65"/>
                                        </p:tgtEl>
                                        <p:attrNameLst>
                                          <p:attrName>ppt_x</p:attrName>
                                          <p:attrName>ppt_y</p:attrName>
                                        </p:attrNameLst>
                                      </p:cBhvr>
                                      <p:rCtr x="0" y="1759"/>
                                    </p:animMotion>
                                  </p:childTnLst>
                                </p:cTn>
                              </p:par>
                              <p:par>
                                <p:cTn id="150" presetID="10" presetClass="entr" presetSubtype="0" fill="hold" grpId="0" nodeType="withEffect">
                                  <p:stCondLst>
                                    <p:cond delay="200"/>
                                  </p:stCondLst>
                                  <p:childTnLst>
                                    <p:set>
                                      <p:cBhvr>
                                        <p:cTn id="151" dur="1" fill="hold">
                                          <p:stCondLst>
                                            <p:cond delay="0"/>
                                          </p:stCondLst>
                                        </p:cTn>
                                        <p:tgtEl>
                                          <p:spTgt spid="47"/>
                                        </p:tgtEl>
                                        <p:attrNameLst>
                                          <p:attrName>style.visibility</p:attrName>
                                        </p:attrNameLst>
                                      </p:cBhvr>
                                      <p:to>
                                        <p:strVal val="visible"/>
                                      </p:to>
                                    </p:set>
                                    <p:animEffect transition="in" filter="fade">
                                      <p:cBhvr>
                                        <p:cTn id="152" dur="500"/>
                                        <p:tgtEl>
                                          <p:spTgt spid="47"/>
                                        </p:tgtEl>
                                      </p:cBhvr>
                                    </p:animEffect>
                                  </p:childTnLst>
                                </p:cTn>
                              </p:par>
                              <p:par>
                                <p:cTn id="153" presetID="42" presetClass="path" presetSubtype="0" decel="100000" fill="hold" grpId="1" nodeType="withEffect">
                                  <p:stCondLst>
                                    <p:cond delay="200"/>
                                  </p:stCondLst>
                                  <p:childTnLst>
                                    <p:animMotion origin="layout" path="M 4.16667E-7 -2.22222E-6 L 4.16667E-7 0.03542 " pathEditMode="relative" rAng="0" ptsTypes="AA">
                                      <p:cBhvr>
                                        <p:cTn id="154" dur="700" spd="-100000" fill="hold"/>
                                        <p:tgtEl>
                                          <p:spTgt spid="47"/>
                                        </p:tgtEl>
                                        <p:attrNameLst>
                                          <p:attrName>ppt_x</p:attrName>
                                          <p:attrName>ppt_y</p:attrName>
                                        </p:attrNameLst>
                                      </p:cBhvr>
                                      <p:rCtr x="0" y="1759"/>
                                    </p:animMotion>
                                  </p:childTnLst>
                                </p:cTn>
                              </p:par>
                              <p:par>
                                <p:cTn id="155" presetID="10" presetClass="entr" presetSubtype="0" fill="hold" grpId="0" nodeType="withEffect">
                                  <p:stCondLst>
                                    <p:cond delay="200"/>
                                  </p:stCondLst>
                                  <p:childTnLst>
                                    <p:set>
                                      <p:cBhvr>
                                        <p:cTn id="156" dur="1" fill="hold">
                                          <p:stCondLst>
                                            <p:cond delay="0"/>
                                          </p:stCondLst>
                                        </p:cTn>
                                        <p:tgtEl>
                                          <p:spTgt spid="51"/>
                                        </p:tgtEl>
                                        <p:attrNameLst>
                                          <p:attrName>style.visibility</p:attrName>
                                        </p:attrNameLst>
                                      </p:cBhvr>
                                      <p:to>
                                        <p:strVal val="visible"/>
                                      </p:to>
                                    </p:set>
                                    <p:animEffect transition="in" filter="fade">
                                      <p:cBhvr>
                                        <p:cTn id="157" dur="500"/>
                                        <p:tgtEl>
                                          <p:spTgt spid="51"/>
                                        </p:tgtEl>
                                      </p:cBhvr>
                                    </p:animEffect>
                                  </p:childTnLst>
                                </p:cTn>
                              </p:par>
                              <p:par>
                                <p:cTn id="158" presetID="42" presetClass="path" presetSubtype="0" decel="100000" fill="hold" grpId="1" nodeType="withEffect">
                                  <p:stCondLst>
                                    <p:cond delay="200"/>
                                  </p:stCondLst>
                                  <p:childTnLst>
                                    <p:animMotion origin="layout" path="M 4.16667E-7 -2.22222E-6 L 4.16667E-7 0.03542 " pathEditMode="relative" rAng="0" ptsTypes="AA">
                                      <p:cBhvr>
                                        <p:cTn id="159" dur="700" spd="-100000" fill="hold"/>
                                        <p:tgtEl>
                                          <p:spTgt spid="51"/>
                                        </p:tgtEl>
                                        <p:attrNameLst>
                                          <p:attrName>ppt_x</p:attrName>
                                          <p:attrName>ppt_y</p:attrName>
                                        </p:attrNameLst>
                                      </p:cBhvr>
                                      <p:rCtr x="0" y="1759"/>
                                    </p:animMotion>
                                  </p:childTnLst>
                                </p:cTn>
                              </p:par>
                              <p:par>
                                <p:cTn id="160" presetID="10" presetClass="entr" presetSubtype="0" fill="hold" nodeType="withEffect">
                                  <p:stCondLst>
                                    <p:cond delay="200"/>
                                  </p:stCondLst>
                                  <p:childTnLst>
                                    <p:set>
                                      <p:cBhvr>
                                        <p:cTn id="161" dur="1" fill="hold">
                                          <p:stCondLst>
                                            <p:cond delay="0"/>
                                          </p:stCondLst>
                                        </p:cTn>
                                        <p:tgtEl>
                                          <p:spTgt spid="97"/>
                                        </p:tgtEl>
                                        <p:attrNameLst>
                                          <p:attrName>style.visibility</p:attrName>
                                        </p:attrNameLst>
                                      </p:cBhvr>
                                      <p:to>
                                        <p:strVal val="visible"/>
                                      </p:to>
                                    </p:set>
                                    <p:animEffect transition="in" filter="fade">
                                      <p:cBhvr>
                                        <p:cTn id="162" dur="500"/>
                                        <p:tgtEl>
                                          <p:spTgt spid="97"/>
                                        </p:tgtEl>
                                      </p:cBhvr>
                                    </p:animEffect>
                                  </p:childTnLst>
                                </p:cTn>
                              </p:par>
                              <p:par>
                                <p:cTn id="163" presetID="42" presetClass="path" presetSubtype="0" decel="100000" fill="hold" nodeType="withEffect">
                                  <p:stCondLst>
                                    <p:cond delay="200"/>
                                  </p:stCondLst>
                                  <p:childTnLst>
                                    <p:animMotion origin="layout" path="M 4.16667E-7 -2.22222E-6 L 4.16667E-7 0.03542 " pathEditMode="relative" rAng="0" ptsTypes="AA">
                                      <p:cBhvr>
                                        <p:cTn id="164" dur="700" spd="-100000" fill="hold"/>
                                        <p:tgtEl>
                                          <p:spTgt spid="97"/>
                                        </p:tgtEl>
                                        <p:attrNameLst>
                                          <p:attrName>ppt_x</p:attrName>
                                          <p:attrName>ppt_y</p:attrName>
                                        </p:attrNameLst>
                                      </p:cBhvr>
                                      <p:rCtr x="0" y="1759"/>
                                    </p:animMotion>
                                  </p:childTnLst>
                                </p:cTn>
                              </p:par>
                              <p:par>
                                <p:cTn id="165" presetID="10" presetClass="entr" presetSubtype="0" fill="hold" grpId="0" nodeType="withEffect">
                                  <p:stCondLst>
                                    <p:cond delay="200"/>
                                  </p:stCondLst>
                                  <p:childTnLst>
                                    <p:set>
                                      <p:cBhvr>
                                        <p:cTn id="166" dur="1" fill="hold">
                                          <p:stCondLst>
                                            <p:cond delay="0"/>
                                          </p:stCondLst>
                                        </p:cTn>
                                        <p:tgtEl>
                                          <p:spTgt spid="86"/>
                                        </p:tgtEl>
                                        <p:attrNameLst>
                                          <p:attrName>style.visibility</p:attrName>
                                        </p:attrNameLst>
                                      </p:cBhvr>
                                      <p:to>
                                        <p:strVal val="visible"/>
                                      </p:to>
                                    </p:set>
                                    <p:animEffect transition="in" filter="fade">
                                      <p:cBhvr>
                                        <p:cTn id="167" dur="500"/>
                                        <p:tgtEl>
                                          <p:spTgt spid="86"/>
                                        </p:tgtEl>
                                      </p:cBhvr>
                                    </p:animEffect>
                                  </p:childTnLst>
                                </p:cTn>
                              </p:par>
                              <p:par>
                                <p:cTn id="168" presetID="42" presetClass="path" presetSubtype="0" decel="100000" fill="hold" grpId="1" nodeType="withEffect">
                                  <p:stCondLst>
                                    <p:cond delay="200"/>
                                  </p:stCondLst>
                                  <p:childTnLst>
                                    <p:animMotion origin="layout" path="M 4.16667E-7 -2.22222E-6 L 4.16667E-7 0.03542 " pathEditMode="relative" rAng="0" ptsTypes="AA">
                                      <p:cBhvr>
                                        <p:cTn id="169" dur="700" spd="-100000" fill="hold"/>
                                        <p:tgtEl>
                                          <p:spTgt spid="86"/>
                                        </p:tgtEl>
                                        <p:attrNameLst>
                                          <p:attrName>ppt_x</p:attrName>
                                          <p:attrName>ppt_y</p:attrName>
                                        </p:attrNameLst>
                                      </p:cBhvr>
                                      <p:rCtr x="0" y="1759"/>
                                    </p:animMotion>
                                  </p:childTnLst>
                                </p:cTn>
                              </p:par>
                              <p:par>
                                <p:cTn id="170" presetID="10" presetClass="entr" presetSubtype="0" fill="hold" grpId="0" nodeType="withEffect">
                                  <p:stCondLst>
                                    <p:cond delay="200"/>
                                  </p:stCondLst>
                                  <p:childTnLst>
                                    <p:set>
                                      <p:cBhvr>
                                        <p:cTn id="171" dur="1" fill="hold">
                                          <p:stCondLst>
                                            <p:cond delay="0"/>
                                          </p:stCondLst>
                                        </p:cTn>
                                        <p:tgtEl>
                                          <p:spTgt spid="56"/>
                                        </p:tgtEl>
                                        <p:attrNameLst>
                                          <p:attrName>style.visibility</p:attrName>
                                        </p:attrNameLst>
                                      </p:cBhvr>
                                      <p:to>
                                        <p:strVal val="visible"/>
                                      </p:to>
                                    </p:set>
                                    <p:animEffect transition="in" filter="fade">
                                      <p:cBhvr>
                                        <p:cTn id="172" dur="500"/>
                                        <p:tgtEl>
                                          <p:spTgt spid="56"/>
                                        </p:tgtEl>
                                      </p:cBhvr>
                                    </p:animEffect>
                                  </p:childTnLst>
                                </p:cTn>
                              </p:par>
                              <p:par>
                                <p:cTn id="173" presetID="42" presetClass="path" presetSubtype="0" decel="100000" fill="hold" grpId="1" nodeType="withEffect">
                                  <p:stCondLst>
                                    <p:cond delay="200"/>
                                  </p:stCondLst>
                                  <p:childTnLst>
                                    <p:animMotion origin="layout" path="M 4.16667E-7 -2.22222E-6 L 4.16667E-7 0.03542 " pathEditMode="relative" rAng="0" ptsTypes="AA">
                                      <p:cBhvr>
                                        <p:cTn id="174" dur="700" spd="-100000" fill="hold"/>
                                        <p:tgtEl>
                                          <p:spTgt spid="56"/>
                                        </p:tgtEl>
                                        <p:attrNameLst>
                                          <p:attrName>ppt_x</p:attrName>
                                          <p:attrName>ppt_y</p:attrName>
                                        </p:attrNameLst>
                                      </p:cBhvr>
                                      <p:rCtr x="0" y="1759"/>
                                    </p:animMotion>
                                  </p:childTnLst>
                                </p:cTn>
                              </p:par>
                              <p:par>
                                <p:cTn id="175" presetID="10" presetClass="entr" presetSubtype="0" fill="hold" grpId="0" nodeType="withEffect">
                                  <p:stCondLst>
                                    <p:cond delay="200"/>
                                  </p:stCondLst>
                                  <p:childTnLst>
                                    <p:set>
                                      <p:cBhvr>
                                        <p:cTn id="176" dur="1" fill="hold">
                                          <p:stCondLst>
                                            <p:cond delay="0"/>
                                          </p:stCondLst>
                                        </p:cTn>
                                        <p:tgtEl>
                                          <p:spTgt spid="87"/>
                                        </p:tgtEl>
                                        <p:attrNameLst>
                                          <p:attrName>style.visibility</p:attrName>
                                        </p:attrNameLst>
                                      </p:cBhvr>
                                      <p:to>
                                        <p:strVal val="visible"/>
                                      </p:to>
                                    </p:set>
                                    <p:animEffect transition="in" filter="fade">
                                      <p:cBhvr>
                                        <p:cTn id="177" dur="500"/>
                                        <p:tgtEl>
                                          <p:spTgt spid="87"/>
                                        </p:tgtEl>
                                      </p:cBhvr>
                                    </p:animEffect>
                                  </p:childTnLst>
                                </p:cTn>
                              </p:par>
                              <p:par>
                                <p:cTn id="178" presetID="42" presetClass="path" presetSubtype="0" decel="100000" fill="hold" grpId="1" nodeType="withEffect">
                                  <p:stCondLst>
                                    <p:cond delay="200"/>
                                  </p:stCondLst>
                                  <p:childTnLst>
                                    <p:animMotion origin="layout" path="M 4.16667E-7 -2.22222E-6 L 4.16667E-7 0.03542 " pathEditMode="relative" rAng="0" ptsTypes="AA">
                                      <p:cBhvr>
                                        <p:cTn id="179" dur="700" spd="-100000" fill="hold"/>
                                        <p:tgtEl>
                                          <p:spTgt spid="87"/>
                                        </p:tgtEl>
                                        <p:attrNameLst>
                                          <p:attrName>ppt_x</p:attrName>
                                          <p:attrName>ppt_y</p:attrName>
                                        </p:attrNameLst>
                                      </p:cBhvr>
                                      <p:rCtr x="0" y="1759"/>
                                    </p:animMotion>
                                  </p:childTnLst>
                                </p:cTn>
                              </p:par>
                              <p:par>
                                <p:cTn id="180" presetID="10" presetClass="entr" presetSubtype="0" fill="hold" grpId="0" nodeType="withEffect">
                                  <p:stCondLst>
                                    <p:cond delay="200"/>
                                  </p:stCondLst>
                                  <p:childTnLst>
                                    <p:set>
                                      <p:cBhvr>
                                        <p:cTn id="181" dur="1" fill="hold">
                                          <p:stCondLst>
                                            <p:cond delay="0"/>
                                          </p:stCondLst>
                                        </p:cTn>
                                        <p:tgtEl>
                                          <p:spTgt spid="57"/>
                                        </p:tgtEl>
                                        <p:attrNameLst>
                                          <p:attrName>style.visibility</p:attrName>
                                        </p:attrNameLst>
                                      </p:cBhvr>
                                      <p:to>
                                        <p:strVal val="visible"/>
                                      </p:to>
                                    </p:set>
                                    <p:animEffect transition="in" filter="fade">
                                      <p:cBhvr>
                                        <p:cTn id="182" dur="500"/>
                                        <p:tgtEl>
                                          <p:spTgt spid="57"/>
                                        </p:tgtEl>
                                      </p:cBhvr>
                                    </p:animEffect>
                                  </p:childTnLst>
                                </p:cTn>
                              </p:par>
                              <p:par>
                                <p:cTn id="183" presetID="42" presetClass="path" presetSubtype="0" decel="100000" fill="hold" grpId="1" nodeType="withEffect">
                                  <p:stCondLst>
                                    <p:cond delay="200"/>
                                  </p:stCondLst>
                                  <p:childTnLst>
                                    <p:animMotion origin="layout" path="M 4.16667E-7 -2.22222E-6 L 4.16667E-7 0.03542 " pathEditMode="relative" rAng="0" ptsTypes="AA">
                                      <p:cBhvr>
                                        <p:cTn id="184" dur="700" spd="-100000" fill="hold"/>
                                        <p:tgtEl>
                                          <p:spTgt spid="57"/>
                                        </p:tgtEl>
                                        <p:attrNameLst>
                                          <p:attrName>ppt_x</p:attrName>
                                          <p:attrName>ppt_y</p:attrName>
                                        </p:attrNameLst>
                                      </p:cBhvr>
                                      <p:rCtr x="0" y="1759"/>
                                    </p:animMotion>
                                  </p:childTnLst>
                                </p:cTn>
                              </p:par>
                              <p:par>
                                <p:cTn id="185" presetID="10" presetClass="entr" presetSubtype="0" fill="hold" nodeType="withEffect">
                                  <p:stCondLst>
                                    <p:cond delay="200"/>
                                  </p:stCondLst>
                                  <p:childTnLst>
                                    <p:set>
                                      <p:cBhvr>
                                        <p:cTn id="186" dur="1" fill="hold">
                                          <p:stCondLst>
                                            <p:cond delay="0"/>
                                          </p:stCondLst>
                                        </p:cTn>
                                        <p:tgtEl>
                                          <p:spTgt spid="84"/>
                                        </p:tgtEl>
                                        <p:attrNameLst>
                                          <p:attrName>style.visibility</p:attrName>
                                        </p:attrNameLst>
                                      </p:cBhvr>
                                      <p:to>
                                        <p:strVal val="visible"/>
                                      </p:to>
                                    </p:set>
                                    <p:animEffect transition="in" filter="fade">
                                      <p:cBhvr>
                                        <p:cTn id="187" dur="500"/>
                                        <p:tgtEl>
                                          <p:spTgt spid="84"/>
                                        </p:tgtEl>
                                      </p:cBhvr>
                                    </p:animEffect>
                                  </p:childTnLst>
                                </p:cTn>
                              </p:par>
                              <p:par>
                                <p:cTn id="188" presetID="42" presetClass="path" presetSubtype="0" decel="100000" fill="hold" nodeType="withEffect">
                                  <p:stCondLst>
                                    <p:cond delay="200"/>
                                  </p:stCondLst>
                                  <p:childTnLst>
                                    <p:animMotion origin="layout" path="M 4.16667E-7 -2.22222E-6 L 4.16667E-7 0.03542 " pathEditMode="relative" rAng="0" ptsTypes="AA">
                                      <p:cBhvr>
                                        <p:cTn id="189" dur="700" spd="-100000" fill="hold"/>
                                        <p:tgtEl>
                                          <p:spTgt spid="84"/>
                                        </p:tgtEl>
                                        <p:attrNameLst>
                                          <p:attrName>ppt_x</p:attrName>
                                          <p:attrName>ppt_y</p:attrName>
                                        </p:attrNameLst>
                                      </p:cBhvr>
                                      <p:rCtr x="0" y="1759"/>
                                    </p:animMotion>
                                  </p:childTnLst>
                                </p:cTn>
                              </p:par>
                              <p:par>
                                <p:cTn id="190" presetID="10" presetClass="entr" presetSubtype="0" fill="hold" nodeType="withEffect">
                                  <p:stCondLst>
                                    <p:cond delay="200"/>
                                  </p:stCondLst>
                                  <p:childTnLst>
                                    <p:set>
                                      <p:cBhvr>
                                        <p:cTn id="191" dur="1" fill="hold">
                                          <p:stCondLst>
                                            <p:cond delay="0"/>
                                          </p:stCondLst>
                                        </p:cTn>
                                        <p:tgtEl>
                                          <p:spTgt spid="83"/>
                                        </p:tgtEl>
                                        <p:attrNameLst>
                                          <p:attrName>style.visibility</p:attrName>
                                        </p:attrNameLst>
                                      </p:cBhvr>
                                      <p:to>
                                        <p:strVal val="visible"/>
                                      </p:to>
                                    </p:set>
                                    <p:animEffect transition="in" filter="fade">
                                      <p:cBhvr>
                                        <p:cTn id="192" dur="500"/>
                                        <p:tgtEl>
                                          <p:spTgt spid="83"/>
                                        </p:tgtEl>
                                      </p:cBhvr>
                                    </p:animEffect>
                                  </p:childTnLst>
                                </p:cTn>
                              </p:par>
                              <p:par>
                                <p:cTn id="193" presetID="42" presetClass="path" presetSubtype="0" decel="100000" fill="hold" nodeType="withEffect">
                                  <p:stCondLst>
                                    <p:cond delay="200"/>
                                  </p:stCondLst>
                                  <p:childTnLst>
                                    <p:animMotion origin="layout" path="M 4.16667E-7 -2.22222E-6 L 4.16667E-7 0.03542 " pathEditMode="relative" rAng="0" ptsTypes="AA">
                                      <p:cBhvr>
                                        <p:cTn id="194" dur="700" spd="-100000" fill="hold"/>
                                        <p:tgtEl>
                                          <p:spTgt spid="83"/>
                                        </p:tgtEl>
                                        <p:attrNameLst>
                                          <p:attrName>ppt_x</p:attrName>
                                          <p:attrName>ppt_y</p:attrName>
                                        </p:attrNameLst>
                                      </p:cBhvr>
                                      <p:rCtr x="0" y="1759"/>
                                    </p:animMotion>
                                  </p:childTnLst>
                                </p:cTn>
                              </p:par>
                              <p:par>
                                <p:cTn id="195" presetID="10" presetClass="entr" presetSubtype="0" fill="hold" grpId="0" nodeType="withEffect">
                                  <p:stCondLst>
                                    <p:cond delay="200"/>
                                  </p:stCondLst>
                                  <p:childTnLst>
                                    <p:set>
                                      <p:cBhvr>
                                        <p:cTn id="196" dur="1" fill="hold">
                                          <p:stCondLst>
                                            <p:cond delay="0"/>
                                          </p:stCondLst>
                                        </p:cTn>
                                        <p:tgtEl>
                                          <p:spTgt spid="88"/>
                                        </p:tgtEl>
                                        <p:attrNameLst>
                                          <p:attrName>style.visibility</p:attrName>
                                        </p:attrNameLst>
                                      </p:cBhvr>
                                      <p:to>
                                        <p:strVal val="visible"/>
                                      </p:to>
                                    </p:set>
                                    <p:animEffect transition="in" filter="fade">
                                      <p:cBhvr>
                                        <p:cTn id="197" dur="500"/>
                                        <p:tgtEl>
                                          <p:spTgt spid="88"/>
                                        </p:tgtEl>
                                      </p:cBhvr>
                                    </p:animEffect>
                                  </p:childTnLst>
                                </p:cTn>
                              </p:par>
                              <p:par>
                                <p:cTn id="198" presetID="42" presetClass="path" presetSubtype="0" decel="100000" fill="hold" grpId="1" nodeType="withEffect">
                                  <p:stCondLst>
                                    <p:cond delay="200"/>
                                  </p:stCondLst>
                                  <p:childTnLst>
                                    <p:animMotion origin="layout" path="M 4.16667E-7 -2.22222E-6 L 4.16667E-7 0.03542 " pathEditMode="relative" rAng="0" ptsTypes="AA">
                                      <p:cBhvr>
                                        <p:cTn id="199" dur="700" spd="-100000" fill="hold"/>
                                        <p:tgtEl>
                                          <p:spTgt spid="88"/>
                                        </p:tgtEl>
                                        <p:attrNameLst>
                                          <p:attrName>ppt_x</p:attrName>
                                          <p:attrName>ppt_y</p:attrName>
                                        </p:attrNameLst>
                                      </p:cBhvr>
                                      <p:rCtr x="0" y="1759"/>
                                    </p:animMotion>
                                  </p:childTnLst>
                                </p:cTn>
                              </p:par>
                              <p:par>
                                <p:cTn id="200" presetID="10" presetClass="entr" presetSubtype="0" fill="hold" grpId="0" nodeType="withEffect">
                                  <p:stCondLst>
                                    <p:cond delay="200"/>
                                  </p:stCondLst>
                                  <p:childTnLst>
                                    <p:set>
                                      <p:cBhvr>
                                        <p:cTn id="201" dur="1" fill="hold">
                                          <p:stCondLst>
                                            <p:cond delay="0"/>
                                          </p:stCondLst>
                                        </p:cTn>
                                        <p:tgtEl>
                                          <p:spTgt spid="58"/>
                                        </p:tgtEl>
                                        <p:attrNameLst>
                                          <p:attrName>style.visibility</p:attrName>
                                        </p:attrNameLst>
                                      </p:cBhvr>
                                      <p:to>
                                        <p:strVal val="visible"/>
                                      </p:to>
                                    </p:set>
                                    <p:animEffect transition="in" filter="fade">
                                      <p:cBhvr>
                                        <p:cTn id="202" dur="500"/>
                                        <p:tgtEl>
                                          <p:spTgt spid="58"/>
                                        </p:tgtEl>
                                      </p:cBhvr>
                                    </p:animEffect>
                                  </p:childTnLst>
                                </p:cTn>
                              </p:par>
                              <p:par>
                                <p:cTn id="203" presetID="42" presetClass="path" presetSubtype="0" decel="100000" fill="hold" grpId="1" nodeType="withEffect">
                                  <p:stCondLst>
                                    <p:cond delay="200"/>
                                  </p:stCondLst>
                                  <p:childTnLst>
                                    <p:animMotion origin="layout" path="M 4.16667E-7 -2.22222E-6 L 4.16667E-7 0.03542 " pathEditMode="relative" rAng="0" ptsTypes="AA">
                                      <p:cBhvr>
                                        <p:cTn id="204" dur="700" spd="-100000" fill="hold"/>
                                        <p:tgtEl>
                                          <p:spTgt spid="5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65" grpId="0" animBg="1"/>
      <p:bldP spid="65" grpId="1" animBg="1"/>
      <p:bldP spid="62" grpId="0" animBg="1"/>
      <p:bldP spid="62" grpId="1" animBg="1"/>
      <p:bldP spid="45" grpId="0" animBg="1"/>
      <p:bldP spid="45" grpId="1" animBg="1"/>
      <p:bldP spid="46" grpId="0" animBg="1"/>
      <p:bldP spid="46" grpId="1" animBg="1"/>
      <p:bldP spid="47" grpId="0" animBg="1"/>
      <p:bldP spid="47" grpId="1" animBg="1"/>
      <p:bldP spid="48" grpId="0" animBg="1"/>
      <p:bldP spid="48" grpId="1" animBg="1"/>
      <p:bldP spid="59" grpId="0"/>
      <p:bldP spid="59" grpId="1"/>
      <p:bldP spid="60" grpId="0"/>
      <p:bldP spid="60" grpId="1"/>
      <p:bldP spid="61" grpId="0"/>
      <p:bldP spid="61" grpId="1"/>
      <p:bldP spid="50" grpId="0" animBg="1"/>
      <p:bldP spid="50" grpId="1" animBg="1"/>
      <p:bldP spid="52" grpId="0"/>
      <p:bldP spid="52" grpId="1"/>
      <p:bldP spid="53" grpId="0"/>
      <p:bldP spid="53" grpId="1"/>
      <p:bldP spid="54" grpId="0"/>
      <p:bldP spid="54" grpId="1"/>
      <p:bldP spid="55" grpId="0"/>
      <p:bldP spid="55" grpId="1"/>
      <p:bldP spid="51" grpId="0" animBg="1"/>
      <p:bldP spid="51" grpId="1" animBg="1"/>
      <p:bldP spid="56" grpId="0"/>
      <p:bldP spid="56" grpId="1"/>
      <p:bldP spid="57" grpId="0"/>
      <p:bldP spid="57" grpId="1"/>
      <p:bldP spid="58" grpId="0"/>
      <p:bldP spid="58" grpId="1"/>
      <p:bldP spid="79" grpId="0" animBg="1"/>
      <p:bldP spid="79" grpId="1" animBg="1"/>
      <p:bldP spid="80" grpId="0" animBg="1"/>
      <p:bldP spid="80" grpId="1" animBg="1"/>
      <p:bldP spid="89" grpId="0" animBg="1"/>
      <p:bldP spid="89" grpId="1" animBg="1"/>
      <p:bldP spid="70" grpId="0" animBg="1"/>
      <p:bldP spid="70" grpId="1" animBg="1"/>
      <p:bldP spid="76" grpId="0" animBg="1"/>
      <p:bldP spid="76" grpId="1" animBg="1"/>
      <p:bldP spid="77" grpId="0" animBg="1"/>
      <p:bldP spid="77" grpId="1" animBg="1"/>
      <p:bldP spid="78" grpId="0" animBg="1"/>
      <p:bldP spid="78" grpId="1" animBg="1"/>
      <p:bldP spid="86" grpId="0" animBg="1"/>
      <p:bldP spid="86" grpId="1" animBg="1"/>
      <p:bldP spid="87" grpId="0" animBg="1"/>
      <p:bldP spid="87" grpId="1" animBg="1"/>
      <p:bldP spid="88" grpId="0" animBg="1"/>
      <p:bldP spid="88"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4946F-9557-3715-C9AD-4328568EFCA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6BDB44-9565-558E-433F-C54A9CEC599F}"/>
              </a:ext>
            </a:extLst>
          </p:cNvPr>
          <p:cNvSpPr>
            <a:spLocks noGrp="1"/>
          </p:cNvSpPr>
          <p:nvPr>
            <p:ph type="title"/>
          </p:nvPr>
        </p:nvSpPr>
        <p:spPr>
          <a:xfrm>
            <a:off x="571500" y="457200"/>
            <a:ext cx="11049000" cy="492443"/>
          </a:xfrm>
        </p:spPr>
        <p:txBody>
          <a:bodyPr>
            <a:normAutofit/>
          </a:bodyPr>
          <a:lstStyle/>
          <a:p>
            <a:r>
              <a:rPr lang="en-US" sz="2800">
                <a:solidFill>
                  <a:schemeClr val="accent1"/>
                </a:solidFill>
              </a:rPr>
              <a:t>FY26 Cloud &amp; AI CSU </a:t>
            </a:r>
            <a:r>
              <a:rPr lang="en-US" sz="2800"/>
              <a:t>| Technical Expectations</a:t>
            </a:r>
          </a:p>
        </p:txBody>
      </p:sp>
      <p:sp>
        <p:nvSpPr>
          <p:cNvPr id="6" name="TextBox 5">
            <a:extLst>
              <a:ext uri="{FF2B5EF4-FFF2-40B4-BE49-F238E27FC236}">
                <a16:creationId xmlns:a16="http://schemas.microsoft.com/office/drawing/2014/main" id="{F1B4208D-8D4E-B16E-CC96-378F11884875}"/>
              </a:ext>
            </a:extLst>
          </p:cNvPr>
          <p:cNvSpPr txBox="1"/>
          <p:nvPr/>
        </p:nvSpPr>
        <p:spPr>
          <a:xfrm>
            <a:off x="571500" y="6443671"/>
            <a:ext cx="280365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zure AI Foundry encapsulates AI Services, AOAI, Azure ML</a:t>
            </a:r>
          </a:p>
        </p:txBody>
      </p:sp>
      <p:sp>
        <p:nvSpPr>
          <p:cNvPr id="20" name="Rectangle: Rounded Corners 19">
            <a:extLst>
              <a:ext uri="{FF2B5EF4-FFF2-40B4-BE49-F238E27FC236}">
                <a16:creationId xmlns:a16="http://schemas.microsoft.com/office/drawing/2014/main" id="{ADCD8E51-1E48-CE0D-7641-4C36C8E4F3EA}"/>
              </a:ext>
              <a:ext uri="{C183D7F6-B498-43B3-948B-1728B52AA6E4}">
                <adec:decorative xmlns:adec="http://schemas.microsoft.com/office/drawing/2017/decorative" val="1"/>
              </a:ext>
            </a:extLst>
          </p:cNvPr>
          <p:cNvSpPr>
            <a:spLocks/>
          </p:cNvSpPr>
          <p:nvPr/>
        </p:nvSpPr>
        <p:spPr bwMode="auto">
          <a:xfrm>
            <a:off x="573880" y="1048994"/>
            <a:ext cx="3630168" cy="5363232"/>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1" name="Rectangle: Rounded Corners 20">
            <a:extLst>
              <a:ext uri="{FF2B5EF4-FFF2-40B4-BE49-F238E27FC236}">
                <a16:creationId xmlns:a16="http://schemas.microsoft.com/office/drawing/2014/main" id="{2A4B5421-9C35-6D70-52CB-27FFC55B0DE3}"/>
              </a:ext>
              <a:ext uri="{C183D7F6-B498-43B3-948B-1728B52AA6E4}">
                <adec:decorative xmlns:adec="http://schemas.microsoft.com/office/drawing/2017/decorative" val="1"/>
              </a:ext>
            </a:extLst>
          </p:cNvPr>
          <p:cNvSpPr>
            <a:spLocks/>
          </p:cNvSpPr>
          <p:nvPr/>
        </p:nvSpPr>
        <p:spPr bwMode="auto">
          <a:xfrm>
            <a:off x="4281342"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2" name="Rectangle: Rounded Corners 21">
            <a:extLst>
              <a:ext uri="{FF2B5EF4-FFF2-40B4-BE49-F238E27FC236}">
                <a16:creationId xmlns:a16="http://schemas.microsoft.com/office/drawing/2014/main" id="{DC71ECD7-2581-4993-D985-41A4C8B1EA66}"/>
              </a:ext>
              <a:ext uri="{C183D7F6-B498-43B3-948B-1728B52AA6E4}">
                <adec:decorative xmlns:adec="http://schemas.microsoft.com/office/drawing/2017/decorative" val="1"/>
              </a:ext>
            </a:extLst>
          </p:cNvPr>
          <p:cNvSpPr>
            <a:spLocks/>
          </p:cNvSpPr>
          <p:nvPr/>
        </p:nvSpPr>
        <p:spPr bwMode="auto">
          <a:xfrm>
            <a:off x="7988804" y="1048994"/>
            <a:ext cx="3630168" cy="5363232"/>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3" name="Rectangle: Rounded Corners 22">
            <a:extLst>
              <a:ext uri="{FF2B5EF4-FFF2-40B4-BE49-F238E27FC236}">
                <a16:creationId xmlns:a16="http://schemas.microsoft.com/office/drawing/2014/main" id="{88B3BB62-601D-7393-D73B-91469AC643DD}"/>
              </a:ext>
            </a:extLst>
          </p:cNvPr>
          <p:cNvSpPr/>
          <p:nvPr/>
        </p:nvSpPr>
        <p:spPr bwMode="auto">
          <a:xfrm>
            <a:off x="662937" y="1140434"/>
            <a:ext cx="3456814" cy="330677"/>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Infra CSA</a:t>
            </a:r>
          </a:p>
        </p:txBody>
      </p:sp>
      <p:sp>
        <p:nvSpPr>
          <p:cNvPr id="24" name="Rectangle: Rounded Corners 23">
            <a:extLst>
              <a:ext uri="{FF2B5EF4-FFF2-40B4-BE49-F238E27FC236}">
                <a16:creationId xmlns:a16="http://schemas.microsoft.com/office/drawing/2014/main" id="{75682B6A-12FD-BDCD-CE37-8F7C008EFA88}"/>
              </a:ext>
            </a:extLst>
          </p:cNvPr>
          <p:cNvSpPr/>
          <p:nvPr/>
        </p:nvSpPr>
        <p:spPr bwMode="auto">
          <a:xfrm>
            <a:off x="4368019"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Data CSA</a:t>
            </a:r>
          </a:p>
        </p:txBody>
      </p:sp>
      <p:sp>
        <p:nvSpPr>
          <p:cNvPr id="25" name="Rectangle: Rounded Corners 24">
            <a:extLst>
              <a:ext uri="{FF2B5EF4-FFF2-40B4-BE49-F238E27FC236}">
                <a16:creationId xmlns:a16="http://schemas.microsoft.com/office/drawing/2014/main" id="{E3BA499E-227E-FBA8-89F8-85105F3B88A9}"/>
              </a:ext>
            </a:extLst>
          </p:cNvPr>
          <p:cNvSpPr/>
          <p:nvPr/>
        </p:nvSpPr>
        <p:spPr bwMode="auto">
          <a:xfrm>
            <a:off x="8075481" y="1151864"/>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Apps CSA</a:t>
            </a:r>
          </a:p>
        </p:txBody>
      </p:sp>
      <p:sp>
        <p:nvSpPr>
          <p:cNvPr id="35" name="Rectangle: Top Corners Rounded 34">
            <a:extLst>
              <a:ext uri="{FF2B5EF4-FFF2-40B4-BE49-F238E27FC236}">
                <a16:creationId xmlns:a16="http://schemas.microsoft.com/office/drawing/2014/main" id="{37E318E9-5446-A1CF-FF05-92E71B62CF4B}"/>
              </a:ext>
              <a:ext uri="{C183D7F6-B498-43B3-948B-1728B52AA6E4}">
                <adec:decorative xmlns:adec="http://schemas.microsoft.com/office/drawing/2017/decorative" val="1"/>
              </a:ext>
            </a:extLst>
          </p:cNvPr>
          <p:cNvSpPr/>
          <p:nvPr/>
        </p:nvSpPr>
        <p:spPr bwMode="auto">
          <a:xfrm rot="16200000">
            <a:off x="-252730" y="5048700"/>
            <a:ext cx="1381758" cy="266698"/>
          </a:xfrm>
          <a:prstGeom prst="round2SameRect">
            <a:avLst>
              <a:gd name="adj1" fmla="val 21111"/>
              <a:gd name="adj2" fmla="val 0"/>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
        <p:nvSpPr>
          <p:cNvPr id="40" name="TextBox 39">
            <a:extLst>
              <a:ext uri="{FF2B5EF4-FFF2-40B4-BE49-F238E27FC236}">
                <a16:creationId xmlns:a16="http://schemas.microsoft.com/office/drawing/2014/main" id="{CB8C8911-AEA6-3917-12B8-3F0AACBDEE46}"/>
              </a:ext>
            </a:extLst>
          </p:cNvPr>
          <p:cNvSpPr txBox="1"/>
          <p:nvPr/>
        </p:nvSpPr>
        <p:spPr>
          <a:xfrm>
            <a:off x="765076"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Z-305</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 Engineer Associate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700</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 Foundation Certified System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LFC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rPr>
              <a:t>CKA</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ecurity Engineer Associate</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1" name="TextBox 40">
            <a:extLst>
              <a:ext uri="{FF2B5EF4-FFF2-40B4-BE49-F238E27FC236}">
                <a16:creationId xmlns:a16="http://schemas.microsoft.com/office/drawing/2014/main" id="{2D5A9F93-9E13-A8B3-13A8-FB95C0FE2B34}"/>
              </a:ext>
            </a:extLst>
          </p:cNvPr>
          <p:cNvSpPr txBox="1"/>
          <p:nvPr/>
        </p:nvSpPr>
        <p:spPr>
          <a:xfrm>
            <a:off x="765076"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42" name="TextBox 41">
            <a:extLst>
              <a:ext uri="{FF2B5EF4-FFF2-40B4-BE49-F238E27FC236}">
                <a16:creationId xmlns:a16="http://schemas.microsoft.com/office/drawing/2014/main" id="{06940F3B-904F-1099-045C-6F5ABBFB375E}"/>
              </a:ext>
            </a:extLst>
          </p:cNvPr>
          <p:cNvSpPr txBox="1"/>
          <p:nvPr/>
        </p:nvSpPr>
        <p:spPr>
          <a:xfrm>
            <a:off x="765076" y="3865374"/>
            <a:ext cx="3251684" cy="23314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Infra Migr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Windows Server VMs, Linux VMs, Azure Arc, Azure VMware Solution (AVS), Azure Arc, RISE with SAP, </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M-Series Azure VMs, HP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 Migration &am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SQL (SQL Server on Azure VMs, Azure SQL Managed Instance, Azure SQL Database), Azure Database for PostgreSQL, Azure Database for MySQL</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pp Modernization</a:t>
            </a:r>
            <a:r>
              <a:rPr kumimoji="0" lang="en-US" sz="900" b="0" i="0" u="none" strike="noStrike" kern="1200" cap="none" spc="0" normalizeH="0" baseline="0" noProof="0">
                <a:ln>
                  <a:noFill/>
                </a:ln>
                <a:solidFill>
                  <a:srgbClr val="000000"/>
                </a:solidFill>
                <a:effectLst/>
                <a:uLnTx/>
                <a:uFillTx/>
                <a:latin typeface="Segoe Sans Text"/>
                <a:ea typeface="+mn-ea"/>
                <a:cs typeface="+mn-cs"/>
              </a:rPr>
              <a:t>: Azure Kubernetes Service (AKS), ACA, App Service, Azure Red Hat OpenShift (ARO)</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Security</a:t>
            </a:r>
            <a:r>
              <a:rPr kumimoji="0" lang="en-US" sz="900" b="0" i="0" u="none" strike="noStrike" kern="1200" cap="none" spc="0" normalizeH="0" baseline="0" noProof="0">
                <a:ln>
                  <a:noFill/>
                </a:ln>
                <a:solidFill>
                  <a:srgbClr val="000000"/>
                </a:solidFill>
                <a:effectLst/>
                <a:uLnTx/>
                <a:uFillTx/>
                <a:latin typeface="Segoe Sans Text"/>
                <a:ea typeface="+mn-ea"/>
                <a:cs typeface="+mn-cs"/>
              </a:rPr>
              <a:t>: Defender for Cloud, Network Securit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AF + WAF </a:t>
            </a:r>
            <a:r>
              <a:rPr kumimoji="0" lang="en-US" sz="900" b="0" i="0" u="none" strike="noStrike" kern="1200" cap="none" spc="0" normalizeH="0" baseline="0" noProof="0">
                <a:ln>
                  <a:noFill/>
                </a:ln>
                <a:solidFill>
                  <a:srgbClr val="000000"/>
                </a:solidFill>
                <a:effectLst/>
                <a:uLnTx/>
                <a:uFillTx/>
                <a:latin typeface="Segoe Sans Text"/>
                <a:ea typeface="+mn-ea"/>
                <a:cs typeface="+mn-cs"/>
              </a:rPr>
              <a:t>(e.g. landing zones, WARA, networking, storage, monitor, backup/DR, resiliency etc.)</a:t>
            </a:r>
            <a:endParaRPr kumimoji="0" lang="en-US" sz="10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45" name="Straight Connector 44">
            <a:extLst>
              <a:ext uri="{FF2B5EF4-FFF2-40B4-BE49-F238E27FC236}">
                <a16:creationId xmlns:a16="http://schemas.microsoft.com/office/drawing/2014/main" id="{09AA686D-84CE-DC51-B773-F759CDE976D3}"/>
              </a:ext>
              <a:ext uri="{C183D7F6-B498-43B3-948B-1728B52AA6E4}">
                <adec:decorative xmlns:adec="http://schemas.microsoft.com/office/drawing/2017/decorative" val="1"/>
              </a:ext>
            </a:extLst>
          </p:cNvPr>
          <p:cNvCxnSpPr>
            <a:cxnSpLocks/>
          </p:cNvCxnSpPr>
          <p:nvPr/>
        </p:nvCxnSpPr>
        <p:spPr>
          <a:xfrm>
            <a:off x="813904"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572878-B42A-BDA6-C3F0-BD9753B28C0D}"/>
              </a:ext>
              <a:ext uri="{C183D7F6-B498-43B3-948B-1728B52AA6E4}">
                <adec:decorative xmlns:adec="http://schemas.microsoft.com/office/drawing/2017/decorative" val="1"/>
              </a:ext>
            </a:extLst>
          </p:cNvPr>
          <p:cNvCxnSpPr>
            <a:cxnSpLocks/>
          </p:cNvCxnSpPr>
          <p:nvPr/>
        </p:nvCxnSpPr>
        <p:spPr>
          <a:xfrm>
            <a:off x="813904"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ABC7E99-A159-95FB-A47E-9D6BB4A8CAA8}"/>
              </a:ext>
            </a:extLst>
          </p:cNvPr>
          <p:cNvSpPr txBox="1"/>
          <p:nvPr/>
        </p:nvSpPr>
        <p:spPr>
          <a:xfrm>
            <a:off x="4470158" y="1572848"/>
            <a:ext cx="3251684" cy="1623521"/>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Analytics Engineer Associate (DP-6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Data Engineer Associate (DP-7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bricks Certified Data Analytics Associate</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ower BI Data Analyst Associate (PL-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Cosmos DB Developer Specialty (DP-42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9" name="TextBox 48">
            <a:extLst>
              <a:ext uri="{FF2B5EF4-FFF2-40B4-BE49-F238E27FC236}">
                <a16:creationId xmlns:a16="http://schemas.microsoft.com/office/drawing/2014/main" id="{1DE1D0E6-0846-3C7F-7364-808043FD774E}"/>
              </a:ext>
            </a:extLst>
          </p:cNvPr>
          <p:cNvSpPr txBox="1"/>
          <p:nvPr/>
        </p:nvSpPr>
        <p:spPr>
          <a:xfrm>
            <a:off x="4470158" y="3353900"/>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I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I Fundamentals (AI-900) or higher</a:t>
            </a:r>
          </a:p>
        </p:txBody>
      </p:sp>
      <p:sp>
        <p:nvSpPr>
          <p:cNvPr id="50" name="TextBox 49">
            <a:extLst>
              <a:ext uri="{FF2B5EF4-FFF2-40B4-BE49-F238E27FC236}">
                <a16:creationId xmlns:a16="http://schemas.microsoft.com/office/drawing/2014/main" id="{04747CAD-94D6-8536-B11F-1C9D5DBD301F}"/>
              </a:ext>
            </a:extLst>
          </p:cNvPr>
          <p:cNvSpPr txBox="1"/>
          <p:nvPr/>
        </p:nvSpPr>
        <p:spPr>
          <a:xfrm>
            <a:off x="4470158" y="3865374"/>
            <a:ext cx="3251684" cy="17620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crosoft Fabric (Fabric DW, Real-Time Intelligence),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OneLake</a:t>
            </a:r>
            <a:r>
              <a:rPr kumimoji="0" lang="en-US" sz="900" b="0" i="0" u="none" strike="noStrike" kern="1200" cap="none" spc="0" normalizeH="0" baseline="0" noProof="0">
                <a:ln>
                  <a:noFill/>
                </a:ln>
                <a:solidFill>
                  <a:srgbClr val="000000"/>
                </a:solidFill>
                <a:effectLst/>
                <a:uLnTx/>
                <a:uFillTx/>
                <a:latin typeface="Segoe Sans Text"/>
                <a:ea typeface="+mn-ea"/>
                <a:cs typeface="+mn-cs"/>
              </a:rPr>
              <a:t>, Data Integration, Data Engineering, Copilot, Data Science)</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ricks</a:t>
            </a:r>
          </a:p>
          <a:p>
            <a:pPr marL="188913" indent="-131763">
              <a:spcAft>
                <a:spcPts val="600"/>
              </a:spcAft>
              <a:buClr>
                <a:srgbClr val="000000"/>
              </a:buClr>
              <a:buFont typeface="Arial" panose="020B0604020202020204" pitchFamily="34" charset="0"/>
              <a:buChar char="•"/>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Microsoft Purview</a:t>
            </a:r>
          </a:p>
          <a:p>
            <a:pPr marL="188913" indent="-131763">
              <a:spcAft>
                <a:spcPts val="600"/>
              </a:spcAft>
              <a:buClr>
                <a:srgbClr val="000000"/>
              </a:buClr>
              <a:buFont typeface="Arial" panose="020B0604020202020204" pitchFamily="34" charset="0"/>
              <a:buChar char="•"/>
              <a:defRPr/>
            </a:pPr>
            <a:r>
              <a:rPr lang="en-US" sz="900">
                <a:solidFill>
                  <a:srgbClr val="000000"/>
                </a:solidFill>
              </a:rPr>
              <a:t>Azure Databases (Azure SQL, Azure Postgres SQL, Azure MySQL, Cosmos DB)</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51" name="Straight Connector 50">
            <a:extLst>
              <a:ext uri="{FF2B5EF4-FFF2-40B4-BE49-F238E27FC236}">
                <a16:creationId xmlns:a16="http://schemas.microsoft.com/office/drawing/2014/main" id="{A623B35C-4F41-4E1F-2B43-67B8657EF727}"/>
              </a:ext>
              <a:ext uri="{C183D7F6-B498-43B3-948B-1728B52AA6E4}">
                <adec:decorative xmlns:adec="http://schemas.microsoft.com/office/drawing/2017/decorative" val="1"/>
              </a:ext>
            </a:extLst>
          </p:cNvPr>
          <p:cNvCxnSpPr>
            <a:cxnSpLocks/>
          </p:cNvCxnSpPr>
          <p:nvPr/>
        </p:nvCxnSpPr>
        <p:spPr>
          <a:xfrm>
            <a:off x="4470158" y="3775067"/>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5F3B3A9-2B42-E400-5BCD-AA0E6E3826B8}"/>
              </a:ext>
              <a:ext uri="{C183D7F6-B498-43B3-948B-1728B52AA6E4}">
                <adec:decorative xmlns:adec="http://schemas.microsoft.com/office/drawing/2017/decorative" val="1"/>
              </a:ext>
            </a:extLst>
          </p:cNvPr>
          <p:cNvCxnSpPr>
            <a:cxnSpLocks/>
          </p:cNvCxnSpPr>
          <p:nvPr/>
        </p:nvCxnSpPr>
        <p:spPr>
          <a:xfrm>
            <a:off x="4470158" y="3263593"/>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802F135-EBCE-D93E-822D-53ACCBF0CB49}"/>
              </a:ext>
              <a:ext uri="{C183D7F6-B498-43B3-948B-1728B52AA6E4}">
                <adec:decorative xmlns:adec="http://schemas.microsoft.com/office/drawing/2017/decorative" val="1"/>
              </a:ext>
            </a:extLst>
          </p:cNvPr>
          <p:cNvCxnSpPr>
            <a:cxnSpLocks/>
          </p:cNvCxnSpPr>
          <p:nvPr/>
        </p:nvCxnSpPr>
        <p:spPr>
          <a:xfrm>
            <a:off x="8165658" y="3699350"/>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DCFBF6F-ADB4-ED4C-B57E-B7091443EE48}"/>
              </a:ext>
              <a:ext uri="{C183D7F6-B498-43B3-948B-1728B52AA6E4}">
                <adec:decorative xmlns:adec="http://schemas.microsoft.com/office/drawing/2017/decorative" val="1"/>
              </a:ext>
            </a:extLst>
          </p:cNvPr>
          <p:cNvCxnSpPr>
            <a:cxnSpLocks/>
          </p:cNvCxnSpPr>
          <p:nvPr/>
        </p:nvCxnSpPr>
        <p:spPr>
          <a:xfrm>
            <a:off x="8165658" y="3238354"/>
            <a:ext cx="3148496" cy="0"/>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E59A1D62-1FBD-DFBB-B1F3-CC334DB959A7}"/>
              </a:ext>
            </a:extLst>
          </p:cNvPr>
          <p:cNvSpPr txBox="1"/>
          <p:nvPr/>
        </p:nvSpPr>
        <p:spPr>
          <a:xfrm>
            <a:off x="8165658" y="1572848"/>
            <a:ext cx="3251684" cy="1408078"/>
          </a:xfrm>
          <a:prstGeom prst="rect">
            <a:avLst/>
          </a:prstGeom>
          <a:noFill/>
        </p:spPr>
        <p:txBody>
          <a:bodyPr wrap="square" lIns="0" tIns="0" rIns="0" bIns="0" anchor="t">
            <a:spAutoFit/>
          </a:bodyPr>
          <a:lstStyle/>
          <a:p>
            <a:pPr lvl="0">
              <a:spcAft>
                <a:spcPts val="300"/>
              </a:spcAft>
              <a:defRPr/>
            </a:pPr>
            <a:r>
              <a:rPr lang="en-US" sz="1000">
                <a:solidFill>
                  <a:srgbClr val="2A446F"/>
                </a:solidFill>
                <a:latin typeface="Segoe Sans Text Semibold"/>
              </a:rPr>
              <a:t>Pass NEW or Maintain 1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eveloper Associate (AZ-204)</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AI Engineer Associate (AI-102)</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 Copilot Certifications</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vOps Engineer Expert (AZ-4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CKA)</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59" name="TextBox 58">
            <a:extLst>
              <a:ext uri="{FF2B5EF4-FFF2-40B4-BE49-F238E27FC236}">
                <a16:creationId xmlns:a16="http://schemas.microsoft.com/office/drawing/2014/main" id="{3F8F1C7E-875F-C0CA-ADD0-F5DD23546734}"/>
              </a:ext>
            </a:extLst>
          </p:cNvPr>
          <p:cNvSpPr txBox="1"/>
          <p:nvPr/>
        </p:nvSpPr>
        <p:spPr>
          <a:xfrm>
            <a:off x="8165658" y="3303422"/>
            <a:ext cx="3251684" cy="33086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Achieve new certification for Azure Fluency:</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Exam (AZ-305)</a:t>
            </a:r>
          </a:p>
        </p:txBody>
      </p:sp>
      <p:sp>
        <p:nvSpPr>
          <p:cNvPr id="60" name="TextBox 59">
            <a:extLst>
              <a:ext uri="{FF2B5EF4-FFF2-40B4-BE49-F238E27FC236}">
                <a16:creationId xmlns:a16="http://schemas.microsoft.com/office/drawing/2014/main" id="{B34CFF18-9E42-A56E-D779-E28D8F46D48C}"/>
              </a:ext>
            </a:extLst>
          </p:cNvPr>
          <p:cNvSpPr txBox="1"/>
          <p:nvPr/>
        </p:nvSpPr>
        <p:spPr>
          <a:xfrm>
            <a:off x="8165658" y="3764418"/>
            <a:ext cx="3251684" cy="25468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AI Foundry*​ </a:t>
            </a:r>
            <a:r>
              <a:rPr kumimoji="0" lang="en-US" sz="900" b="0" i="0" u="none" strike="noStrike" kern="1200" cap="none" spc="0" normalizeH="0" baseline="0" noProof="0">
                <a:ln>
                  <a:noFill/>
                </a:ln>
                <a:solidFill>
                  <a:srgbClr val="000000"/>
                </a:solidFill>
                <a:effectLst/>
                <a:uLnTx/>
                <a:uFillTx/>
                <a:latin typeface="Segoe Sans Text"/>
                <a:ea typeface="+mn-ea"/>
                <a:cs typeface="+mn-cs"/>
              </a:rPr>
              <a:t>(Models, Agent Service, Semantic Kernel, Search, ML, SDK)</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pilot Studio​</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err="1">
                <a:ln>
                  <a:noFill/>
                </a:ln>
                <a:solidFill>
                  <a:srgbClr val="000000"/>
                </a:solidFill>
                <a:effectLst/>
                <a:uLnTx/>
                <a:uFillTx/>
                <a:latin typeface="Segoe Sans Text Semibold"/>
                <a:ea typeface="+mn-ea"/>
                <a:cs typeface="+mn-cs"/>
              </a:rPr>
              <a:t>AppPlat</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Containers/Serverless </a:t>
            </a:r>
            <a:r>
              <a:rPr kumimoji="0" lang="en-US" sz="900" b="1" i="0" u="none" strike="noStrike" kern="1200" cap="none" spc="0" normalizeH="0" baseline="0" noProof="0">
                <a:ln>
                  <a:noFill/>
                </a:ln>
                <a:solidFill>
                  <a:srgbClr val="000000"/>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App Service, AKS, ACA, ARO, Function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Azure Integration Service </a:t>
            </a:r>
            <a:r>
              <a:rPr kumimoji="0" lang="en-US" sz="900" b="0" i="0" u="none" strike="noStrike" kern="1200" cap="none" spc="0" normalizeH="0" baseline="0" noProof="0">
                <a:ln>
                  <a:noFill/>
                </a:ln>
                <a:solidFill>
                  <a:srgbClr val="000000"/>
                </a:solidFill>
                <a:effectLst/>
                <a:uLnTx/>
                <a:uFillTx/>
                <a:latin typeface="Segoe Sans Text"/>
                <a:ea typeface="+mn-ea"/>
                <a:cs typeface="+mn-cs"/>
              </a:rPr>
              <a:t>(APIM, Logic App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evOps</a:t>
            </a:r>
            <a:r>
              <a:rPr kumimoji="0" lang="en-US" sz="900" b="0" i="0" u="none" strike="noStrike" kern="1200" cap="none" spc="0" normalizeH="0" baseline="0" noProof="0">
                <a:ln>
                  <a:noFill/>
                </a:ln>
                <a:solidFill>
                  <a:srgbClr val="000000"/>
                </a:solidFill>
                <a:effectLst/>
                <a:uLnTx/>
                <a:uFillTx/>
                <a:latin typeface="Segoe Sans Text"/>
                <a:ea typeface="+mn-ea"/>
                <a:cs typeface="+mn-cs"/>
              </a:rPr>
              <a:t> (CI/CD, Azure DevOp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DevSecOp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GitHub</a:t>
            </a:r>
            <a:r>
              <a:rPr kumimoji="0" lang="en-US" sz="900" b="0" i="0" u="none" strike="noStrike" kern="1200" cap="none" spc="0" normalizeH="0" baseline="0" noProof="0">
                <a:ln>
                  <a:noFill/>
                </a:ln>
                <a:solidFill>
                  <a:srgbClr val="000000"/>
                </a:solidFill>
                <a:effectLst/>
                <a:uLnTx/>
                <a:uFillTx/>
                <a:latin typeface="Segoe Sans Text"/>
                <a:ea typeface="+mn-ea"/>
                <a:cs typeface="+mn-cs"/>
              </a:rPr>
              <a:t> (Copilot, Enterprise, Adv Security, Actions, </a:t>
            </a:r>
            <a:r>
              <a:rPr kumimoji="0" lang="en-US" sz="900" b="0" i="0" u="none" strike="noStrike" kern="1200" cap="none" spc="0" normalizeH="0" baseline="0" noProof="0" err="1">
                <a:ln>
                  <a:noFill/>
                </a:ln>
                <a:solidFill>
                  <a:srgbClr val="000000"/>
                </a:solidFill>
                <a:effectLst/>
                <a:uLnTx/>
                <a:uFillTx/>
                <a:latin typeface="Segoe Sans Text"/>
                <a:ea typeface="+mn-ea"/>
                <a:cs typeface="+mn-cs"/>
              </a:rPr>
              <a:t>Codespace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3P GPU/AI Infra/BYOAIM</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Data</a:t>
            </a:r>
            <a:r>
              <a:rPr kumimoji="0" lang="en-US" sz="900" b="0" i="0" u="none" strike="noStrike" kern="1200" cap="none" spc="0" normalizeH="0" baseline="0" noProof="0">
                <a:ln>
                  <a:noFill/>
                </a:ln>
                <a:solidFill>
                  <a:srgbClr val="000000"/>
                </a:solidFill>
                <a:effectLst/>
                <a:uLnTx/>
                <a:uFillTx/>
                <a:latin typeface="Segoe Sans Text"/>
                <a:ea typeface="+mn-ea"/>
                <a:cs typeface="+mn-cs"/>
              </a:rPr>
              <a:t> (Cosmos DB, Azure SQL, Azure Database for PostgreSQL)</a:t>
            </a:r>
          </a:p>
        </p:txBody>
      </p:sp>
      <p:sp>
        <p:nvSpPr>
          <p:cNvPr id="9" name="TextBox 8">
            <a:extLst>
              <a:ext uri="{FF2B5EF4-FFF2-40B4-BE49-F238E27FC236}">
                <a16:creationId xmlns:a16="http://schemas.microsoft.com/office/drawing/2014/main" id="{2845C67A-6833-9F4D-5BE6-66A31BEAEE07}"/>
              </a:ext>
            </a:extLst>
          </p:cNvPr>
          <p:cNvSpPr txBox="1"/>
          <p:nvPr/>
        </p:nvSpPr>
        <p:spPr>
          <a:xfrm rot="16200000">
            <a:off x="-81226" y="5105105"/>
            <a:ext cx="1038746" cy="153888"/>
          </a:xfrm>
          <a:prstGeom prst="rect">
            <a:avLst/>
          </a:prstGeom>
          <a:noFill/>
        </p:spPr>
        <p:txBody>
          <a:bodyPr wrap="non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Sans Text Semibold"/>
                <a:ea typeface="+mn-ea"/>
                <a:cs typeface="+mn-cs"/>
              </a:rPr>
              <a:t>Advanced/ Expert</a:t>
            </a:r>
          </a:p>
        </p:txBody>
      </p:sp>
      <p:sp>
        <p:nvSpPr>
          <p:cNvPr id="2" name="Rectangle 1">
            <a:extLst>
              <a:ext uri="{FF2B5EF4-FFF2-40B4-BE49-F238E27FC236}">
                <a16:creationId xmlns:a16="http://schemas.microsoft.com/office/drawing/2014/main" id="{8D4BDCAB-6177-8A43-EC6B-0589DC115597}"/>
              </a:ext>
            </a:extLst>
          </p:cNvPr>
          <p:cNvSpPr/>
          <p:nvPr/>
        </p:nvSpPr>
        <p:spPr bwMode="auto">
          <a:xfrm>
            <a:off x="4263039" y="1048994"/>
            <a:ext cx="3610812" cy="5262275"/>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8FBF4B3E-17C9-CEA0-3BC4-EF6B486D89D6}"/>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3" name="Table 2 Cell 1, 1 to Text">
              <a:extLst>
                <a:ext uri="{FF2B5EF4-FFF2-40B4-BE49-F238E27FC236}">
                  <a16:creationId xmlns:a16="http://schemas.microsoft.com/office/drawing/2014/main" id="{D17A3ACE-CC8C-6916-F272-9BF1B63511CD}"/>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4" name="Table 2 Cell 2, 1 to Text">
              <a:extLst>
                <a:ext uri="{FF2B5EF4-FFF2-40B4-BE49-F238E27FC236}">
                  <a16:creationId xmlns:a16="http://schemas.microsoft.com/office/drawing/2014/main" id="{EF9EAAD5-013C-6297-5353-8FB7DD04EF05}"/>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7" name="Table 2 Cell 3, 1 to Text">
              <a:extLst>
                <a:ext uri="{FF2B5EF4-FFF2-40B4-BE49-F238E27FC236}">
                  <a16:creationId xmlns:a16="http://schemas.microsoft.com/office/drawing/2014/main" id="{C6515786-CCA6-FF54-B8FB-2508C1B3F8C5}"/>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53" name="Table 2 Cell 4, 1 to Text">
              <a:extLst>
                <a:ext uri="{FF2B5EF4-FFF2-40B4-BE49-F238E27FC236}">
                  <a16:creationId xmlns:a16="http://schemas.microsoft.com/office/drawing/2014/main" id="{0621B371-D552-249D-CC06-5FB799D74F70}"/>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54" name="Table 2 Cell 5, 1 to Text">
              <a:extLst>
                <a:ext uri="{FF2B5EF4-FFF2-40B4-BE49-F238E27FC236}">
                  <a16:creationId xmlns:a16="http://schemas.microsoft.com/office/drawing/2014/main" id="{6287272E-47EC-BA2C-408E-98320F6663C3}"/>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55" name="Table 2 Cell 6, 1 to Text">
              <a:extLst>
                <a:ext uri="{FF2B5EF4-FFF2-40B4-BE49-F238E27FC236}">
                  <a16:creationId xmlns:a16="http://schemas.microsoft.com/office/drawing/2014/main" id="{C0CADEFF-BAA4-F39A-AD9A-9BDB1C409BB1}"/>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1" name="Table 2 Cell 7, 1 to Text">
              <a:extLst>
                <a:ext uri="{FF2B5EF4-FFF2-40B4-BE49-F238E27FC236}">
                  <a16:creationId xmlns:a16="http://schemas.microsoft.com/office/drawing/2014/main" id="{6BDC0593-30E4-D191-9B9E-04123D086769}"/>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2" name="Table 2 Cell 1, 2 to Text">
              <a:extLst>
                <a:ext uri="{FF2B5EF4-FFF2-40B4-BE49-F238E27FC236}">
                  <a16:creationId xmlns:a16="http://schemas.microsoft.com/office/drawing/2014/main" id="{F80204FD-C5FF-E11D-E4C8-79D5FDBA310F}"/>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63" name="Table 2 Cell 1, 3 to Text">
              <a:extLst>
                <a:ext uri="{FF2B5EF4-FFF2-40B4-BE49-F238E27FC236}">
                  <a16:creationId xmlns:a16="http://schemas.microsoft.com/office/drawing/2014/main" id="{2DC2C675-9A0C-4705-C0FB-BF3F6C2D91EB}"/>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64" name="Table 2 Cell 1, 4 to Text">
              <a:extLst>
                <a:ext uri="{FF2B5EF4-FFF2-40B4-BE49-F238E27FC236}">
                  <a16:creationId xmlns:a16="http://schemas.microsoft.com/office/drawing/2014/main" id="{77B79C6E-385B-E0A9-EED7-BF481D84C129}"/>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65" name="Table 2 Cell 1, 5 to Text">
              <a:extLst>
                <a:ext uri="{FF2B5EF4-FFF2-40B4-BE49-F238E27FC236}">
                  <a16:creationId xmlns:a16="http://schemas.microsoft.com/office/drawing/2014/main" id="{C83CEFAE-6017-9DD9-0594-7DB99D8F8206}"/>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4 Technical Expectations</a:t>
              </a:r>
            </a:p>
          </p:txBody>
        </p:sp>
        <p:sp>
          <p:nvSpPr>
            <p:cNvPr id="66" name="Table 2 Cell 1, 6 to Text">
              <a:extLst>
                <a:ext uri="{FF2B5EF4-FFF2-40B4-BE49-F238E27FC236}">
                  <a16:creationId xmlns:a16="http://schemas.microsoft.com/office/drawing/2014/main" id="{8F0283B2-96DA-B66A-2B20-3638C1AA120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67" name="Table 2 Cell 1, 7 to Text">
              <a:extLst>
                <a:ext uri="{FF2B5EF4-FFF2-40B4-BE49-F238E27FC236}">
                  <a16:creationId xmlns:a16="http://schemas.microsoft.com/office/drawing/2014/main" id="{7B4A3DBF-EBD6-EEA0-8A35-A8D44F0709A5}"/>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68" name="Table 2 Cell 1, 8 to Text">
              <a:extLst>
                <a:ext uri="{FF2B5EF4-FFF2-40B4-BE49-F238E27FC236}">
                  <a16:creationId xmlns:a16="http://schemas.microsoft.com/office/drawing/2014/main" id="{D92ABA93-FCDF-6211-2092-880502202DCB}"/>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272043662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B73BE-A968-AC43-329F-F251410FD4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240C41-A67F-2EC6-BA12-5173E6967EA3}"/>
              </a:ext>
            </a:extLst>
          </p:cNvPr>
          <p:cNvSpPr>
            <a:spLocks noGrp="1"/>
          </p:cNvSpPr>
          <p:nvPr>
            <p:ph type="title"/>
          </p:nvPr>
        </p:nvSpPr>
        <p:spPr>
          <a:xfrm>
            <a:off x="586739" y="565176"/>
            <a:ext cx="11018520" cy="553998"/>
          </a:xfrm>
        </p:spPr>
        <p:txBody>
          <a:bodyPr/>
          <a:lstStyle/>
          <a:p>
            <a:r>
              <a:rPr lang="en-US" sz="2800"/>
              <a:t>Cloud &amp; AI Data CSA Impact Assessment</a:t>
            </a:r>
          </a:p>
        </p:txBody>
      </p:sp>
      <p:sp>
        <p:nvSpPr>
          <p:cNvPr id="13" name="Content Placeholder 12">
            <a:extLst>
              <a:ext uri="{FF2B5EF4-FFF2-40B4-BE49-F238E27FC236}">
                <a16:creationId xmlns:a16="http://schemas.microsoft.com/office/drawing/2014/main" id="{73A37757-5EA6-80C7-FEB2-F1C8F25D5338}"/>
              </a:ext>
            </a:extLst>
          </p:cNvPr>
          <p:cNvSpPr>
            <a:spLocks noGrp="1"/>
          </p:cNvSpPr>
          <p:nvPr>
            <p:ph sz="quarter" idx="11"/>
          </p:nvPr>
        </p:nvSpPr>
        <p:spPr/>
        <p:txBody>
          <a:bodyPr/>
          <a:lstStyle/>
          <a:p>
            <a:r>
              <a:rPr lang="en-US"/>
              <a:t>Cloud &amp; AI Data Cloud Solution Architect will need to…</a:t>
            </a:r>
          </a:p>
        </p:txBody>
      </p:sp>
      <p:sp>
        <p:nvSpPr>
          <p:cNvPr id="17" name="Content Placeholder 16">
            <a:extLst>
              <a:ext uri="{FF2B5EF4-FFF2-40B4-BE49-F238E27FC236}">
                <a16:creationId xmlns:a16="http://schemas.microsoft.com/office/drawing/2014/main" id="{392BA4CB-9672-EB16-2E07-A4E75D9ADD61}"/>
              </a:ext>
            </a:extLst>
          </p:cNvPr>
          <p:cNvSpPr>
            <a:spLocks noGrp="1"/>
          </p:cNvSpPr>
          <p:nvPr>
            <p:ph sz="quarter" idx="17"/>
          </p:nvPr>
        </p:nvSpPr>
        <p:spPr/>
        <p:txBody>
          <a:bodyPr/>
          <a:lstStyle/>
          <a:p>
            <a:pPr marL="115888" indent="-115888">
              <a:buFont typeface="Arial" panose="020B0604020202020204" pitchFamily="34" charset="0"/>
              <a:buChar char="•"/>
            </a:pPr>
            <a:r>
              <a:rPr lang="en-US"/>
              <a:t>Thinking across “Cloud &amp; AI”, </a:t>
            </a:r>
            <a:r>
              <a:rPr lang="en-US" i="1"/>
              <a:t>not in “Data &amp; AI”</a:t>
            </a:r>
          </a:p>
          <a:p>
            <a:pPr marL="115888" indent="-115888">
              <a:buFont typeface="Arial" panose="020B0604020202020204" pitchFamily="34" charset="0"/>
              <a:buChar char="•"/>
            </a:pPr>
            <a:r>
              <a:rPr lang="en-US"/>
              <a:t>Deep Skilling on delivery readiness for Cloud &amp; AI Data role specific workloads</a:t>
            </a:r>
          </a:p>
          <a:p>
            <a:pPr marL="115888" indent="-115888">
              <a:buFont typeface="Arial" panose="020B0604020202020204" pitchFamily="34" charset="0"/>
              <a:buChar char="•"/>
            </a:pPr>
            <a:r>
              <a:rPr lang="en-US"/>
              <a:t>By Q3 start delivering in your “new focus” workloads</a:t>
            </a:r>
          </a:p>
          <a:p>
            <a:pPr marL="115888" indent="-115888">
              <a:buFont typeface="Arial" panose="020B0604020202020204" pitchFamily="34" charset="0"/>
              <a:buChar char="•"/>
            </a:pPr>
            <a:r>
              <a:rPr lang="en-US"/>
              <a:t>Feel responsible for the </a:t>
            </a:r>
            <a:r>
              <a:rPr lang="en-US" i="1"/>
              <a:t>entire</a:t>
            </a:r>
            <a:r>
              <a:rPr lang="en-US"/>
              <a:t> Azure Consumption Plan, ensuring the completeness &amp; accuracy, not just the deliveries you are assigned to</a:t>
            </a:r>
          </a:p>
          <a:p>
            <a:pPr marL="285750" indent="-285750">
              <a:buFont typeface="Arial" panose="020B0604020202020204" pitchFamily="34" charset="0"/>
              <a:buChar char="•"/>
            </a:pPr>
            <a:endParaRPr lang="en-US"/>
          </a:p>
        </p:txBody>
      </p:sp>
      <p:sp>
        <p:nvSpPr>
          <p:cNvPr id="18" name="Content Placeholder 17">
            <a:extLst>
              <a:ext uri="{FF2B5EF4-FFF2-40B4-BE49-F238E27FC236}">
                <a16:creationId xmlns:a16="http://schemas.microsoft.com/office/drawing/2014/main" id="{70D619F3-C8CC-7116-8926-55782EA7B9ED}"/>
              </a:ext>
            </a:extLst>
          </p:cNvPr>
          <p:cNvSpPr>
            <a:spLocks noGrp="1"/>
          </p:cNvSpPr>
          <p:nvPr>
            <p:ph sz="quarter" idx="18"/>
          </p:nvPr>
        </p:nvSpPr>
        <p:spPr/>
        <p:txBody>
          <a:bodyPr/>
          <a:lstStyle/>
          <a:p>
            <a:pPr marL="115888" indent="-115888">
              <a:buFont typeface="Arial" panose="020B0604020202020204" pitchFamily="34" charset="0"/>
              <a:buChar char="•"/>
            </a:pPr>
            <a:r>
              <a:rPr lang="en-US"/>
              <a:t>Work directly with your manager to define your skilling plan aligned to your solution pla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Keep skills profile updated</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Position Unified Add-ons/ Unified Job 2; VAS for every opportunit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Drive Job 2 creation </a:t>
            </a:r>
            <a:r>
              <a:rPr lang="en-US" i="1">
                <a:solidFill>
                  <a:srgbClr val="000000"/>
                </a:solidFill>
              </a:rPr>
              <a:t>to completion</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Contribute towards champs &amp; VBD IP Development</a:t>
            </a:r>
          </a:p>
        </p:txBody>
      </p:sp>
      <p:sp>
        <p:nvSpPr>
          <p:cNvPr id="19" name="Content Placeholder 18">
            <a:extLst>
              <a:ext uri="{FF2B5EF4-FFF2-40B4-BE49-F238E27FC236}">
                <a16:creationId xmlns:a16="http://schemas.microsoft.com/office/drawing/2014/main" id="{42FDBE47-351A-4CCF-622C-277C87364238}"/>
              </a:ext>
            </a:extLst>
          </p:cNvPr>
          <p:cNvSpPr>
            <a:spLocks noGrp="1"/>
          </p:cNvSpPr>
          <p:nvPr>
            <p:ph sz="quarter" idx="19"/>
          </p:nvPr>
        </p:nvSpPr>
        <p:spPr/>
        <p:txBody>
          <a:bodyPr/>
          <a:lstStyle/>
          <a:p>
            <a:pPr marL="115888" indent="-115888">
              <a:buFont typeface="Arial" panose="020B0604020202020204" pitchFamily="34" charset="0"/>
              <a:buChar char="•"/>
            </a:pPr>
            <a:r>
              <a:rPr lang="en-US"/>
              <a:t>By Q3, Azure SQL Migration &amp; Modernization will be led by Cloud &amp; AI Infra CSAs. Only support these workloads to extend capacity </a:t>
            </a:r>
            <a:r>
              <a:rPr lang="en-US" i="1"/>
              <a:t>as needed.</a:t>
            </a:r>
          </a:p>
          <a:p>
            <a:pPr marL="115888" indent="-115888">
              <a:buFont typeface="Arial" panose="020B0604020202020204" pitchFamily="34" charset="0"/>
              <a:buChar char="•"/>
            </a:pPr>
            <a:r>
              <a:rPr lang="en-US"/>
              <a:t>Transition specific skills to Global Delivery as indicated in the Tech Maturity Model</a:t>
            </a:r>
          </a:p>
        </p:txBody>
      </p:sp>
      <p:sp>
        <p:nvSpPr>
          <p:cNvPr id="21" name="Content Placeholder 20">
            <a:extLst>
              <a:ext uri="{FF2B5EF4-FFF2-40B4-BE49-F238E27FC236}">
                <a16:creationId xmlns:a16="http://schemas.microsoft.com/office/drawing/2014/main" id="{71794C6F-7482-DDCF-5BA8-24EA335B78E3}"/>
              </a:ext>
            </a:extLst>
          </p:cNvPr>
          <p:cNvSpPr>
            <a:spLocks noGrp="1"/>
          </p:cNvSpPr>
          <p:nvPr>
            <p:ph sz="quarter" idx="16"/>
          </p:nvPr>
        </p:nvSpPr>
        <p:spPr>
          <a:xfrm>
            <a:off x="4853481" y="2256094"/>
            <a:ext cx="2485036" cy="246221"/>
          </a:xfrm>
        </p:spPr>
        <p:txBody>
          <a:bodyPr/>
          <a:lstStyle/>
          <a:p>
            <a:r>
              <a:rPr lang="en-US">
                <a:latin typeface="+mj-lt"/>
              </a:rPr>
              <a:t>PRIORITIZE</a:t>
            </a:r>
          </a:p>
        </p:txBody>
      </p:sp>
      <p:sp>
        <p:nvSpPr>
          <p:cNvPr id="25" name="Content Placeholder 24">
            <a:extLst>
              <a:ext uri="{FF2B5EF4-FFF2-40B4-BE49-F238E27FC236}">
                <a16:creationId xmlns:a16="http://schemas.microsoft.com/office/drawing/2014/main" id="{FDB49714-11EC-3B3C-12E7-1130DE78E72F}"/>
              </a:ext>
            </a:extLst>
          </p:cNvPr>
          <p:cNvSpPr>
            <a:spLocks noGrp="1"/>
          </p:cNvSpPr>
          <p:nvPr>
            <p:ph sz="quarter" idx="15"/>
          </p:nvPr>
        </p:nvSpPr>
        <p:spPr>
          <a:xfrm>
            <a:off x="8473476" y="2250727"/>
            <a:ext cx="2485036" cy="246221"/>
          </a:xfrm>
        </p:spPr>
        <p:txBody>
          <a:bodyPr/>
          <a:lstStyle/>
          <a:p>
            <a:r>
              <a:rPr lang="en-US">
                <a:latin typeface="+mj-lt"/>
              </a:rPr>
              <a:t>TRANSITION</a:t>
            </a:r>
          </a:p>
        </p:txBody>
      </p:sp>
      <p:sp>
        <p:nvSpPr>
          <p:cNvPr id="14" name="Content Placeholder 13">
            <a:extLst>
              <a:ext uri="{FF2B5EF4-FFF2-40B4-BE49-F238E27FC236}">
                <a16:creationId xmlns:a16="http://schemas.microsoft.com/office/drawing/2014/main" id="{ED9F8856-6942-787C-7E74-887C2A567681}"/>
              </a:ext>
            </a:extLst>
          </p:cNvPr>
          <p:cNvSpPr>
            <a:spLocks noGrp="1"/>
          </p:cNvSpPr>
          <p:nvPr>
            <p:ph sz="quarter" idx="14"/>
          </p:nvPr>
        </p:nvSpPr>
        <p:spPr/>
        <p:txBody>
          <a:bodyPr/>
          <a:lstStyle/>
          <a:p>
            <a:r>
              <a:rPr lang="en-US">
                <a:latin typeface="+mj-lt"/>
              </a:rPr>
              <a:t>START</a:t>
            </a:r>
          </a:p>
        </p:txBody>
      </p:sp>
      <p:grpSp>
        <p:nvGrpSpPr>
          <p:cNvPr id="40" name="Group 39">
            <a:extLst>
              <a:ext uri="{FF2B5EF4-FFF2-40B4-BE49-F238E27FC236}">
                <a16:creationId xmlns:a16="http://schemas.microsoft.com/office/drawing/2014/main" id="{50D3FF7D-36ED-9E4D-642B-37FC6992C55E}"/>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1" name="Table 2 Cell 1, 1 to Text">
              <a:extLst>
                <a:ext uri="{FF2B5EF4-FFF2-40B4-BE49-F238E27FC236}">
                  <a16:creationId xmlns:a16="http://schemas.microsoft.com/office/drawing/2014/main" id="{92B4A32D-F880-3EA8-09D0-FB75B3039113}"/>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2" name="Table 2 Cell 2, 1 to Text">
              <a:extLst>
                <a:ext uri="{FF2B5EF4-FFF2-40B4-BE49-F238E27FC236}">
                  <a16:creationId xmlns:a16="http://schemas.microsoft.com/office/drawing/2014/main" id="{32144842-4122-8049-BDD7-D78748F2AB62}"/>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3" name="Table 2 Cell 3, 1 to Text">
              <a:extLst>
                <a:ext uri="{FF2B5EF4-FFF2-40B4-BE49-F238E27FC236}">
                  <a16:creationId xmlns:a16="http://schemas.microsoft.com/office/drawing/2014/main" id="{E76EEE80-54BE-1A1E-06B4-461A3329F320}"/>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44" name="Table 2 Cell 4, 1 to Text">
              <a:extLst>
                <a:ext uri="{FF2B5EF4-FFF2-40B4-BE49-F238E27FC236}">
                  <a16:creationId xmlns:a16="http://schemas.microsoft.com/office/drawing/2014/main" id="{E8B88946-47B6-4961-8CE6-006A540C1214}"/>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45" name="Table 2 Cell 5, 1 to Text">
              <a:extLst>
                <a:ext uri="{FF2B5EF4-FFF2-40B4-BE49-F238E27FC236}">
                  <a16:creationId xmlns:a16="http://schemas.microsoft.com/office/drawing/2014/main" id="{5773F64F-4FE8-8D30-2083-7EE6B1052174}"/>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46" name="Table 2 Cell 6, 1 to Text">
              <a:extLst>
                <a:ext uri="{FF2B5EF4-FFF2-40B4-BE49-F238E27FC236}">
                  <a16:creationId xmlns:a16="http://schemas.microsoft.com/office/drawing/2014/main" id="{E4C24583-5FC8-D886-810E-F027BC69D51E}"/>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7" name="Table 2 Cell 7, 1 to Text">
              <a:extLst>
                <a:ext uri="{FF2B5EF4-FFF2-40B4-BE49-F238E27FC236}">
                  <a16:creationId xmlns:a16="http://schemas.microsoft.com/office/drawing/2014/main" id="{0DBE549E-B92E-1335-388A-D369A662A6B9}"/>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8" name="Table 2 Cell 1, 2 to Text">
              <a:extLst>
                <a:ext uri="{FF2B5EF4-FFF2-40B4-BE49-F238E27FC236}">
                  <a16:creationId xmlns:a16="http://schemas.microsoft.com/office/drawing/2014/main" id="{E96F6A4A-FC94-002D-0934-A4DB7CFE3229}"/>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49" name="Table 2 Cell 1, 3 to Text">
              <a:extLst>
                <a:ext uri="{FF2B5EF4-FFF2-40B4-BE49-F238E27FC236}">
                  <a16:creationId xmlns:a16="http://schemas.microsoft.com/office/drawing/2014/main" id="{71EEC8E2-512D-DEDA-6153-B08067AB80A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50" name="Table 2 Cell 1, 4 to Text">
              <a:extLst>
                <a:ext uri="{FF2B5EF4-FFF2-40B4-BE49-F238E27FC236}">
                  <a16:creationId xmlns:a16="http://schemas.microsoft.com/office/drawing/2014/main" id="{4601D8F0-09F9-6D88-44C7-3ECCFF4CB610}"/>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51" name="Table 2 Cell 1, 5 to Text">
              <a:extLst>
                <a:ext uri="{FF2B5EF4-FFF2-40B4-BE49-F238E27FC236}">
                  <a16:creationId xmlns:a16="http://schemas.microsoft.com/office/drawing/2014/main" id="{A593080F-F1DF-C036-5D9E-BDCF339B3564}"/>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52" name="Table 2 Cell 1, 6 to Text">
              <a:extLst>
                <a:ext uri="{FF2B5EF4-FFF2-40B4-BE49-F238E27FC236}">
                  <a16:creationId xmlns:a16="http://schemas.microsoft.com/office/drawing/2014/main" id="{860EB544-C3C9-7E6F-CC8A-E77BC59D4C22}"/>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5.5 Stop/Start/Do Differently</a:t>
              </a:r>
            </a:p>
          </p:txBody>
        </p:sp>
        <p:sp>
          <p:nvSpPr>
            <p:cNvPr id="53" name="Table 2 Cell 1, 7 to Text">
              <a:extLst>
                <a:ext uri="{FF2B5EF4-FFF2-40B4-BE49-F238E27FC236}">
                  <a16:creationId xmlns:a16="http://schemas.microsoft.com/office/drawing/2014/main" id="{4F27BEAD-874E-ECFA-1818-F60D9448EEA8}"/>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54" name="Table 2 Cell 1, 8 to Text">
              <a:extLst>
                <a:ext uri="{FF2B5EF4-FFF2-40B4-BE49-F238E27FC236}">
                  <a16:creationId xmlns:a16="http://schemas.microsoft.com/office/drawing/2014/main" id="{2A42552F-BB0C-C993-307B-B2A4D3E69B33}"/>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172109415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4706E-9364-9FE5-472E-425DE4D6955C}"/>
            </a:ext>
          </a:extLst>
        </p:cNvPr>
        <p:cNvGrpSpPr/>
        <p:nvPr/>
      </p:nvGrpSpPr>
      <p:grpSpPr>
        <a:xfrm>
          <a:off x="0" y="0"/>
          <a:ext cx="0" cy="0"/>
          <a:chOff x="0" y="0"/>
          <a:chExt cx="0" cy="0"/>
        </a:xfrm>
      </p:grpSpPr>
      <p:sp>
        <p:nvSpPr>
          <p:cNvPr id="54" name="Title 53">
            <a:extLst>
              <a:ext uri="{FF2B5EF4-FFF2-40B4-BE49-F238E27FC236}">
                <a16:creationId xmlns:a16="http://schemas.microsoft.com/office/drawing/2014/main" id="{9FED1AA0-5E7C-0E70-79E7-943717443239}"/>
              </a:ext>
            </a:extLst>
          </p:cNvPr>
          <p:cNvSpPr>
            <a:spLocks noGrp="1"/>
          </p:cNvSpPr>
          <p:nvPr>
            <p:ph type="title"/>
          </p:nvPr>
        </p:nvSpPr>
        <p:spPr>
          <a:xfrm>
            <a:off x="571500" y="457200"/>
            <a:ext cx="11049000" cy="430887"/>
          </a:xfrm>
        </p:spPr>
        <p:txBody>
          <a:bodyPr/>
          <a:lstStyle/>
          <a:p>
            <a:r>
              <a:rPr lang="en-US" sz="2800"/>
              <a:t>Solution Play Overview – </a:t>
            </a:r>
            <a:r>
              <a:rPr lang="en-US" sz="2800">
                <a:solidFill>
                  <a:schemeClr val="accent1"/>
                </a:solidFill>
              </a:rPr>
              <a:t>Unify Your Data Platform</a:t>
            </a:r>
          </a:p>
        </p:txBody>
      </p:sp>
      <p:sp>
        <p:nvSpPr>
          <p:cNvPr id="131" name="Rectangle: Rounded Corners 130">
            <a:extLst>
              <a:ext uri="{FF2B5EF4-FFF2-40B4-BE49-F238E27FC236}">
                <a16:creationId xmlns:a16="http://schemas.microsoft.com/office/drawing/2014/main" id="{405938A8-7899-0B83-1A1A-C9B578C5549E}"/>
              </a:ext>
              <a:ext uri="{C183D7F6-B498-43B3-948B-1728B52AA6E4}">
                <adec:decorative xmlns:adec="http://schemas.microsoft.com/office/drawing/2017/decorative" val="1"/>
              </a:ext>
            </a:extLst>
          </p:cNvPr>
          <p:cNvSpPr/>
          <p:nvPr/>
        </p:nvSpPr>
        <p:spPr bwMode="auto">
          <a:xfrm>
            <a:off x="571500" y="1103087"/>
            <a:ext cx="11049000" cy="5143500"/>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133" name="Freeform 52">
            <a:extLst>
              <a:ext uri="{FF2B5EF4-FFF2-40B4-BE49-F238E27FC236}">
                <a16:creationId xmlns:a16="http://schemas.microsoft.com/office/drawing/2014/main" id="{0E9E60E7-7010-38EB-3E01-E34DAF90538D}"/>
              </a:ext>
              <a:ext uri="{C183D7F6-B498-43B3-948B-1728B52AA6E4}">
                <adec:decorative xmlns:adec="http://schemas.microsoft.com/office/drawing/2017/decorative" val="1"/>
              </a:ext>
            </a:extLst>
          </p:cNvPr>
          <p:cNvSpPr/>
          <p:nvPr/>
        </p:nvSpPr>
        <p:spPr bwMode="auto">
          <a:xfrm>
            <a:off x="3722694" y="1199536"/>
            <a:ext cx="582027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132" name="Freeform 52">
            <a:extLst>
              <a:ext uri="{FF2B5EF4-FFF2-40B4-BE49-F238E27FC236}">
                <a16:creationId xmlns:a16="http://schemas.microsoft.com/office/drawing/2014/main" id="{1BAE81EF-9977-6033-8BE7-A5A7406D0A68}"/>
              </a:ext>
              <a:ext uri="{C183D7F6-B498-43B3-948B-1728B52AA6E4}">
                <adec:decorative xmlns:adec="http://schemas.microsoft.com/office/drawing/2017/decorative" val="1"/>
              </a:ext>
            </a:extLst>
          </p:cNvPr>
          <p:cNvSpPr/>
          <p:nvPr/>
        </p:nvSpPr>
        <p:spPr bwMode="auto">
          <a:xfrm>
            <a:off x="691702" y="1199536"/>
            <a:ext cx="294322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134" name="Text Placeholder 35">
            <a:extLst>
              <a:ext uri="{FF2B5EF4-FFF2-40B4-BE49-F238E27FC236}">
                <a16:creationId xmlns:a16="http://schemas.microsoft.com/office/drawing/2014/main" id="{16BEC20A-6BB3-DE66-A117-A260E4A7631F}"/>
              </a:ext>
            </a:extLst>
          </p:cNvPr>
          <p:cNvSpPr txBox="1">
            <a:spLocks/>
          </p:cNvSpPr>
          <p:nvPr/>
        </p:nvSpPr>
        <p:spPr>
          <a:xfrm>
            <a:off x="1715936" y="1261981"/>
            <a:ext cx="878292"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Priorities</a:t>
            </a:r>
          </a:p>
        </p:txBody>
      </p:sp>
      <p:sp>
        <p:nvSpPr>
          <p:cNvPr id="135" name="Text Placeholder 35">
            <a:extLst>
              <a:ext uri="{FF2B5EF4-FFF2-40B4-BE49-F238E27FC236}">
                <a16:creationId xmlns:a16="http://schemas.microsoft.com/office/drawing/2014/main" id="{3849184A-04BB-1E5E-CCB4-61ED3E072E92}"/>
              </a:ext>
            </a:extLst>
          </p:cNvPr>
          <p:cNvSpPr txBox="1">
            <a:spLocks/>
          </p:cNvSpPr>
          <p:nvPr/>
        </p:nvSpPr>
        <p:spPr>
          <a:xfrm>
            <a:off x="5482629" y="1261981"/>
            <a:ext cx="2315368"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Motions</a:t>
            </a:r>
          </a:p>
        </p:txBody>
      </p:sp>
      <p:sp>
        <p:nvSpPr>
          <p:cNvPr id="136" name="Freeform 52">
            <a:extLst>
              <a:ext uri="{FF2B5EF4-FFF2-40B4-BE49-F238E27FC236}">
                <a16:creationId xmlns:a16="http://schemas.microsoft.com/office/drawing/2014/main" id="{99DDDAB0-0869-295F-84ED-9EFFE6522F87}"/>
              </a:ext>
              <a:ext uri="{C183D7F6-B498-43B3-948B-1728B52AA6E4}">
                <adec:decorative xmlns:adec="http://schemas.microsoft.com/office/drawing/2017/decorative" val="1"/>
              </a:ext>
            </a:extLst>
          </p:cNvPr>
          <p:cNvSpPr/>
          <p:nvPr/>
        </p:nvSpPr>
        <p:spPr bwMode="auto">
          <a:xfrm>
            <a:off x="9630737" y="1199536"/>
            <a:ext cx="1894513" cy="340334"/>
          </a:xfrm>
          <a:prstGeom prst="roundRect">
            <a:avLst/>
          </a:prstGeom>
          <a:solidFill>
            <a:schemeClr val="tx2"/>
          </a:solidFill>
          <a:ln>
            <a:noFill/>
          </a:ln>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Post Grotesk Medium" panose="02000000000000000000" pitchFamily="2" charset="77"/>
              <a:ea typeface="Post Grotesk Medium" panose="02000000000000000000" pitchFamily="2" charset="77"/>
              <a:cs typeface="+mn-cs"/>
            </a:endParaRPr>
          </a:p>
        </p:txBody>
      </p:sp>
      <p:sp>
        <p:nvSpPr>
          <p:cNvPr id="137" name="Text Placeholder 35">
            <a:extLst>
              <a:ext uri="{FF2B5EF4-FFF2-40B4-BE49-F238E27FC236}">
                <a16:creationId xmlns:a16="http://schemas.microsoft.com/office/drawing/2014/main" id="{9B1B34A8-C6FE-29F4-0FF0-FDED960D9180}"/>
              </a:ext>
            </a:extLst>
          </p:cNvPr>
          <p:cNvSpPr txBox="1">
            <a:spLocks/>
          </p:cNvSpPr>
          <p:nvPr/>
        </p:nvSpPr>
        <p:spPr>
          <a:xfrm>
            <a:off x="9724262" y="1261981"/>
            <a:ext cx="1707465" cy="215444"/>
          </a:xfrm>
          <a:prstGeom prst="rect">
            <a:avLst/>
          </a:prstGeom>
          <a:noFill/>
          <a:ln>
            <a:noFill/>
          </a:ln>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UI" panose="020B0502040204020203" pitchFamily="34" charset="0"/>
              </a:rPr>
              <a:t>Customer Outcomes </a:t>
            </a:r>
          </a:p>
        </p:txBody>
      </p:sp>
      <p:sp>
        <p:nvSpPr>
          <p:cNvPr id="144" name="TextBox 143">
            <a:extLst>
              <a:ext uri="{FF2B5EF4-FFF2-40B4-BE49-F238E27FC236}">
                <a16:creationId xmlns:a16="http://schemas.microsoft.com/office/drawing/2014/main" id="{BCD360C7-39A6-1840-3726-B8BBC3CF2541}"/>
              </a:ext>
            </a:extLst>
          </p:cNvPr>
          <p:cNvSpPr txBox="1"/>
          <p:nvPr/>
        </p:nvSpPr>
        <p:spPr>
          <a:xfrm>
            <a:off x="9724262" y="1641388"/>
            <a:ext cx="1800988" cy="2816156"/>
          </a:xfrm>
          <a:prstGeom prst="rect">
            <a:avLst/>
          </a:prstGeom>
          <a:solidFill>
            <a:schemeClr val="bg1"/>
          </a:solidFill>
        </p:spPr>
        <p:txBody>
          <a:bodyPr wrap="square" lIns="0" tIns="0" rIns="0" bIns="0">
            <a:spAutoFit/>
          </a:bodyPr>
          <a:lstStyle/>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Scale AI use cases and provide sustainable ROI</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Increase business agility and ability to innovate with unified Data foundation</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Simplify data infrastructure for an efficient TCO</a:t>
            </a:r>
          </a:p>
          <a:p>
            <a:pPr marL="142875" marR="0" lvl="0" indent="-142875"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mpower internal businesses to consistently discover new insights </a:t>
            </a:r>
            <a:br>
              <a:rPr kumimoji="0" lang="en-US" sz="1200" b="0" i="0" u="none" strike="noStrike" kern="1200" cap="none" spc="0" normalizeH="0" baseline="0" noProof="0">
                <a:ln>
                  <a:noFill/>
                </a:ln>
                <a:solidFill>
                  <a:srgbClr val="000000"/>
                </a:solidFill>
                <a:effectLst/>
                <a:uLnTx/>
                <a:uFillTx/>
                <a:latin typeface="Segoe Sans Text"/>
                <a:ea typeface="+mn-ea"/>
                <a:cs typeface="+mn-cs"/>
              </a:rPr>
            </a:br>
            <a:r>
              <a:rPr kumimoji="0" lang="en-US" sz="1200" b="0" i="0" u="none" strike="noStrike" kern="1200" cap="none" spc="0" normalizeH="0" baseline="0" noProof="0">
                <a:ln>
                  <a:noFill/>
                </a:ln>
                <a:solidFill>
                  <a:srgbClr val="000000"/>
                </a:solidFill>
                <a:effectLst/>
                <a:uLnTx/>
                <a:uFillTx/>
                <a:latin typeface="Segoe Sans Text"/>
                <a:ea typeface="+mn-ea"/>
                <a:cs typeface="+mn-cs"/>
              </a:rPr>
              <a:t>leveraging AI</a:t>
            </a:r>
          </a:p>
        </p:txBody>
      </p:sp>
      <p:sp>
        <p:nvSpPr>
          <p:cNvPr id="142" name="Text Placeholder 35">
            <a:extLst>
              <a:ext uri="{FF2B5EF4-FFF2-40B4-BE49-F238E27FC236}">
                <a16:creationId xmlns:a16="http://schemas.microsoft.com/office/drawing/2014/main" id="{330C6F54-FB65-B658-71F2-A1A7FB2C12B4}"/>
              </a:ext>
            </a:extLst>
          </p:cNvPr>
          <p:cNvSpPr txBox="1">
            <a:spLocks/>
          </p:cNvSpPr>
          <p:nvPr/>
        </p:nvSpPr>
        <p:spPr>
          <a:xfrm>
            <a:off x="3722694" y="3927485"/>
            <a:ext cx="5820273" cy="1059636"/>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0955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Modernize 1</a:t>
            </a:r>
            <a:r>
              <a:rPr kumimoji="0" lang="en-US" sz="1000" b="0" i="0" u="none" strike="noStrike" kern="1200" cap="none" spc="0" normalizeH="0" baseline="30000" noProof="0">
                <a:ln>
                  <a:noFill/>
                </a:ln>
                <a:solidFill>
                  <a:srgbClr val="000000"/>
                </a:solidFill>
                <a:effectLst/>
                <a:uLnTx/>
                <a:uFillTx/>
                <a:latin typeface="Segoe Sans Text"/>
                <a:ea typeface="+mn-ea"/>
                <a:cs typeface="Segoe UI" pitchFamily="34" charset="0"/>
              </a:rPr>
              <a:t>st</a:t>
            </a: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 party Analytics solutions (Synapse, SQL DW) to Fabric</a:t>
            </a:r>
          </a:p>
          <a:p>
            <a:pPr marL="20955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Modernize 3</a:t>
            </a:r>
            <a:r>
              <a:rPr kumimoji="0" lang="en-US" sz="1000" b="0" i="0" u="none" strike="noStrike" kern="1200" cap="none" spc="0" normalizeH="0" baseline="30000" noProof="0">
                <a:ln>
                  <a:noFill/>
                </a:ln>
                <a:solidFill>
                  <a:srgbClr val="000000"/>
                </a:solidFill>
                <a:effectLst/>
                <a:uLnTx/>
                <a:uFillTx/>
                <a:latin typeface="Segoe Sans Text"/>
                <a:ea typeface="+mn-ea"/>
                <a:cs typeface="Segoe UI" pitchFamily="34" charset="0"/>
              </a:rPr>
              <a:t>rd</a:t>
            </a: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 party BI solutions (Qlik, Cognos, Tableau, Strategy) to Fabric</a:t>
            </a:r>
          </a:p>
        </p:txBody>
      </p:sp>
      <p:sp>
        <p:nvSpPr>
          <p:cNvPr id="143" name="Text Placeholder 35">
            <a:extLst>
              <a:ext uri="{FF2B5EF4-FFF2-40B4-BE49-F238E27FC236}">
                <a16:creationId xmlns:a16="http://schemas.microsoft.com/office/drawing/2014/main" id="{42AEF409-8F5C-CB1A-0FC4-425DE09DBA59}"/>
              </a:ext>
            </a:extLst>
          </p:cNvPr>
          <p:cNvSpPr txBox="1">
            <a:spLocks/>
          </p:cNvSpPr>
          <p:nvPr/>
        </p:nvSpPr>
        <p:spPr>
          <a:xfrm>
            <a:off x="691703" y="3927485"/>
            <a:ext cx="2882043" cy="1059636"/>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Modernize all legacy BI and Analytics Platforms </a:t>
            </a:r>
          </a:p>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Azure Databricks, Microsoft Fabric, Purview)</a:t>
            </a:r>
          </a:p>
        </p:txBody>
      </p:sp>
      <p:sp>
        <p:nvSpPr>
          <p:cNvPr id="140" name="Text Placeholder 35">
            <a:extLst>
              <a:ext uri="{FF2B5EF4-FFF2-40B4-BE49-F238E27FC236}">
                <a16:creationId xmlns:a16="http://schemas.microsoft.com/office/drawing/2014/main" id="{CDF700A6-C498-C0C7-8522-5ECD05D9C60D}"/>
              </a:ext>
            </a:extLst>
          </p:cNvPr>
          <p:cNvSpPr txBox="1">
            <a:spLocks/>
          </p:cNvSpPr>
          <p:nvPr/>
        </p:nvSpPr>
        <p:spPr>
          <a:xfrm>
            <a:off x="3722694" y="1631071"/>
            <a:ext cx="5820273" cy="1059636"/>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Win the data platform for AI transformations (AI-ready data foundation, MAAG Architecture, RTI) </a:t>
            </a:r>
          </a:p>
          <a:p>
            <a:pPr marL="152400" marR="0" lvl="0" indent="-152400" algn="l" defTabSz="932742"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Modernize 1st party BI solutions (PBI/PBI Pro) to Fabric </a:t>
            </a:r>
          </a:p>
          <a:p>
            <a:pPr marL="152400" marR="0" lvl="0" indent="-152400" algn="l" defTabSz="932742" rtl="0" eaLnBrk="1" fontAlgn="base" latinLnBrk="0" hangingPunct="1">
              <a:lnSpc>
                <a:spcPct val="100000"/>
              </a:lnSpc>
              <a:spcBef>
                <a:spcPts val="0"/>
              </a:spcBef>
              <a:spcAft>
                <a:spcPts val="3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Go offense on AWS/GCP/Snowflake (AWS) with clear differentiation based on </a:t>
            </a:r>
            <a:r>
              <a:rPr kumimoji="0" lang="en-US" sz="1000" b="0" i="0" u="none" strike="noStrike" kern="1200" cap="none" spc="0" normalizeH="0" baseline="0" noProof="0" err="1">
                <a:ln>
                  <a:noFill/>
                </a:ln>
                <a:solidFill>
                  <a:srgbClr val="000000"/>
                </a:solidFill>
                <a:effectLst/>
                <a:uLnTx/>
                <a:uFillTx/>
                <a:latin typeface="Segoe Sans Text"/>
                <a:ea typeface="+mn-ea"/>
                <a:cs typeface="Segoe UI" pitchFamily="34" charset="0"/>
              </a:rPr>
              <a:t>OneLake</a:t>
            </a: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 PBI+ </a:t>
            </a:r>
            <a:r>
              <a:rPr kumimoji="0" lang="en-US" sz="1000" b="0" i="0" u="none" strike="noStrike" kern="1200" cap="none" spc="0" normalizeH="0" baseline="0" noProof="0" err="1">
                <a:ln>
                  <a:noFill/>
                </a:ln>
                <a:solidFill>
                  <a:srgbClr val="000000"/>
                </a:solidFill>
                <a:effectLst/>
                <a:uLnTx/>
                <a:uFillTx/>
                <a:latin typeface="Segoe Sans Text"/>
                <a:ea typeface="+mn-ea"/>
                <a:cs typeface="Segoe UI" pitchFamily="34" charset="0"/>
              </a:rPr>
              <a:t>RTI+Copilot</a:t>
            </a:r>
            <a:endPar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endParaRPr>
          </a:p>
        </p:txBody>
      </p:sp>
      <p:sp>
        <p:nvSpPr>
          <p:cNvPr id="145" name="Text Placeholder 35">
            <a:extLst>
              <a:ext uri="{FF2B5EF4-FFF2-40B4-BE49-F238E27FC236}">
                <a16:creationId xmlns:a16="http://schemas.microsoft.com/office/drawing/2014/main" id="{43CD3C7D-7FD6-CC82-4EEB-305B8A3C6D48}"/>
              </a:ext>
            </a:extLst>
          </p:cNvPr>
          <p:cNvSpPr txBox="1">
            <a:spLocks/>
          </p:cNvSpPr>
          <p:nvPr/>
        </p:nvSpPr>
        <p:spPr>
          <a:xfrm>
            <a:off x="691703" y="1627316"/>
            <a:ext cx="2882043" cy="1067146"/>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Establish Fabric/</a:t>
            </a:r>
            <a:r>
              <a:rPr kumimoji="0" lang="en-US" sz="1200" b="0" i="0" u="none" strike="noStrike" kern="1200" cap="none" spc="0" normalizeH="0" baseline="0" noProof="0" err="1">
                <a:ln>
                  <a:noFill/>
                </a:ln>
                <a:solidFill>
                  <a:srgbClr val="000000"/>
                </a:solidFill>
                <a:effectLst/>
                <a:uLnTx/>
                <a:uFillTx/>
                <a:latin typeface="Segoe Sans Text Semibold"/>
                <a:ea typeface="+mn-ea"/>
                <a:cs typeface="Segoe UI" pitchFamily="34" charset="0"/>
              </a:rPr>
              <a:t>OneLake</a:t>
            </a: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 as the Data Foundation for AI Transformations</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Microsoft Fabric, </a:t>
            </a:r>
            <a:b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Purview)</a:t>
            </a:r>
          </a:p>
        </p:txBody>
      </p:sp>
      <p:sp>
        <p:nvSpPr>
          <p:cNvPr id="141" name="Text Placeholder 35">
            <a:extLst>
              <a:ext uri="{FF2B5EF4-FFF2-40B4-BE49-F238E27FC236}">
                <a16:creationId xmlns:a16="http://schemas.microsoft.com/office/drawing/2014/main" id="{8315AC3F-E229-0183-DCBD-29BFEAEA2561}"/>
              </a:ext>
            </a:extLst>
          </p:cNvPr>
          <p:cNvSpPr txBox="1">
            <a:spLocks/>
          </p:cNvSpPr>
          <p:nvPr/>
        </p:nvSpPr>
        <p:spPr>
          <a:xfrm>
            <a:off x="3722694" y="2779278"/>
            <a:ext cx="5820273" cy="1059636"/>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Accelerate Azure Databricks through Analytics Migrations, AI Foundry integration, and industry solution accelerators (Priority focus on Project Redfish &amp; P3 accounts to expand the consumption)</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Modernize EDW and Hadoop to Azure Databricks </a:t>
            </a:r>
          </a:p>
          <a:p>
            <a:pPr marL="15240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Bring SAP Data to Azure Databricks leveraging SAP integration in Azure SAP Business Data Cloud </a:t>
            </a:r>
          </a:p>
        </p:txBody>
      </p:sp>
      <p:sp>
        <p:nvSpPr>
          <p:cNvPr id="148" name="Text Placeholder 35">
            <a:extLst>
              <a:ext uri="{FF2B5EF4-FFF2-40B4-BE49-F238E27FC236}">
                <a16:creationId xmlns:a16="http://schemas.microsoft.com/office/drawing/2014/main" id="{B30C60BB-C7CE-494C-A29C-106488FD4041}"/>
              </a:ext>
            </a:extLst>
          </p:cNvPr>
          <p:cNvSpPr txBox="1">
            <a:spLocks/>
          </p:cNvSpPr>
          <p:nvPr/>
        </p:nvSpPr>
        <p:spPr>
          <a:xfrm>
            <a:off x="691703" y="2780419"/>
            <a:ext cx="2882043" cy="1057355"/>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Accelerate Azure Databricks growth through joint initiatives</a:t>
            </a:r>
          </a:p>
          <a:p>
            <a:pPr marL="0" marR="0" lvl="0" indent="0" algn="l" defTabSz="564085"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Azure Databricks, Microsoft Fabric, Purview)</a:t>
            </a:r>
          </a:p>
        </p:txBody>
      </p:sp>
      <p:sp>
        <p:nvSpPr>
          <p:cNvPr id="158" name="Text Placeholder 35">
            <a:extLst>
              <a:ext uri="{FF2B5EF4-FFF2-40B4-BE49-F238E27FC236}">
                <a16:creationId xmlns:a16="http://schemas.microsoft.com/office/drawing/2014/main" id="{82DBF546-137A-92A4-BA58-F5E143EA453A}"/>
              </a:ext>
            </a:extLst>
          </p:cNvPr>
          <p:cNvSpPr txBox="1">
            <a:spLocks/>
          </p:cNvSpPr>
          <p:nvPr/>
        </p:nvSpPr>
        <p:spPr>
          <a:xfrm>
            <a:off x="3722694" y="5075693"/>
            <a:ext cx="5820273" cy="1059636"/>
          </a:xfrm>
          <a:prstGeom prst="roundRect">
            <a:avLst>
              <a:gd name="adj" fmla="val 81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09550" marR="0" lvl="0" indent="-152400" algn="l" defTabSz="932742"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tab pos="2005013" algn="l"/>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Segoe UI" pitchFamily="34" charset="0"/>
              </a:rPr>
              <a:t>Position Database platform as a foundation for AI transformations to generate demand and execute through Migrate and Modernize &amp; AI Apps and Agents Solution Plays </a:t>
            </a:r>
          </a:p>
        </p:txBody>
      </p:sp>
      <p:sp>
        <p:nvSpPr>
          <p:cNvPr id="159" name="Text Placeholder 35">
            <a:extLst>
              <a:ext uri="{FF2B5EF4-FFF2-40B4-BE49-F238E27FC236}">
                <a16:creationId xmlns:a16="http://schemas.microsoft.com/office/drawing/2014/main" id="{5E81AE7D-C8E6-F9E1-3A83-68CBD11C6012}"/>
              </a:ext>
            </a:extLst>
          </p:cNvPr>
          <p:cNvSpPr txBox="1">
            <a:spLocks/>
          </p:cNvSpPr>
          <p:nvPr/>
        </p:nvSpPr>
        <p:spPr>
          <a:xfrm>
            <a:off x="691703" y="5075693"/>
            <a:ext cx="2882043" cy="1059636"/>
          </a:xfrm>
          <a:prstGeom prst="roundRect">
            <a:avLst>
              <a:gd name="adj" fmla="val 8152"/>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54000" rIns="14400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pitchFamily="34" charset="0"/>
              </a:rPr>
              <a:t>Win the end-to-end database estate to Azure</a:t>
            </a:r>
          </a:p>
          <a:p>
            <a:pPr marL="0" marR="0" lvl="0" indent="0" algn="l" defTabSz="564085"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Hero Products: Azure SQL, PostgreSQL &amp; MySQL, </a:t>
            </a:r>
            <a:r>
              <a:rPr kumimoji="0" lang="en-US" sz="1050" b="0" i="0" u="none" strike="noStrike" kern="1200" cap="none" spc="0" normalizeH="0" baseline="0" noProof="0" err="1">
                <a:ln>
                  <a:noFill/>
                </a:ln>
                <a:solidFill>
                  <a:srgbClr val="000000"/>
                </a:solidFill>
                <a:effectLst/>
                <a:uLnTx/>
                <a:uFillTx/>
                <a:latin typeface="Segoe Sans Text"/>
                <a:ea typeface="+mn-ea"/>
                <a:cs typeface="Segoe UI" pitchFamily="34" charset="0"/>
              </a:rPr>
              <a:t>CosmosDB</a:t>
            </a:r>
            <a:r>
              <a:rPr kumimoji="0" lang="en-US" sz="1050" b="0" i="0" u="none" strike="noStrike" kern="1200" cap="none" spc="0" normalizeH="0" baseline="0" noProof="0">
                <a:ln>
                  <a:noFill/>
                </a:ln>
                <a:solidFill>
                  <a:srgbClr val="000000"/>
                </a:solidFill>
                <a:effectLst/>
                <a:uLnTx/>
                <a:uFillTx/>
                <a:latin typeface="Segoe Sans Text"/>
                <a:ea typeface="+mn-ea"/>
                <a:cs typeface="Segoe UI" pitchFamily="34" charset="0"/>
              </a:rPr>
              <a:t>, Modern DBs)</a:t>
            </a:r>
          </a:p>
        </p:txBody>
      </p:sp>
      <p:sp>
        <p:nvSpPr>
          <p:cNvPr id="171" name="Star: 5 Points 170" descr="star">
            <a:extLst>
              <a:ext uri="{FF2B5EF4-FFF2-40B4-BE49-F238E27FC236}">
                <a16:creationId xmlns:a16="http://schemas.microsoft.com/office/drawing/2014/main" id="{1C8E3EBE-33F3-47BD-E97C-F4586D1D7FC3}"/>
              </a:ext>
            </a:extLst>
          </p:cNvPr>
          <p:cNvSpPr/>
          <p:nvPr/>
        </p:nvSpPr>
        <p:spPr bwMode="auto">
          <a:xfrm>
            <a:off x="3289763" y="2415099"/>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itchFamily="34" charset="0"/>
            </a:endParaRPr>
          </a:p>
        </p:txBody>
      </p:sp>
      <p:sp>
        <p:nvSpPr>
          <p:cNvPr id="172" name="Star: 5 Points 171" descr="star">
            <a:extLst>
              <a:ext uri="{FF2B5EF4-FFF2-40B4-BE49-F238E27FC236}">
                <a16:creationId xmlns:a16="http://schemas.microsoft.com/office/drawing/2014/main" id="{E944E97D-797F-5A3D-1059-B8EDBF32C3CB}"/>
              </a:ext>
            </a:extLst>
          </p:cNvPr>
          <p:cNvSpPr/>
          <p:nvPr/>
        </p:nvSpPr>
        <p:spPr bwMode="auto">
          <a:xfrm>
            <a:off x="3289763" y="4693675"/>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Sans Text"/>
              <a:ea typeface="+mn-ea"/>
              <a:cs typeface="Segoe UI" pitchFamily="34" charset="0"/>
            </a:endParaRPr>
          </a:p>
        </p:txBody>
      </p:sp>
      <p:sp>
        <p:nvSpPr>
          <p:cNvPr id="173" name="Rectangle: Rounded Corners 172">
            <a:extLst>
              <a:ext uri="{FF2B5EF4-FFF2-40B4-BE49-F238E27FC236}">
                <a16:creationId xmlns:a16="http://schemas.microsoft.com/office/drawing/2014/main" id="{5C450E24-E337-6EE6-7276-1A9A61CE547B}"/>
              </a:ext>
              <a:ext uri="{C183D7F6-B498-43B3-948B-1728B52AA6E4}">
                <adec:decorative xmlns:adec="http://schemas.microsoft.com/office/drawing/2017/decorative" val="1"/>
              </a:ext>
            </a:extLst>
          </p:cNvPr>
          <p:cNvSpPr/>
          <p:nvPr/>
        </p:nvSpPr>
        <p:spPr bwMode="auto">
          <a:xfrm>
            <a:off x="649123" y="1590675"/>
            <a:ext cx="2967202" cy="1136650"/>
          </a:xfrm>
          <a:prstGeom prst="roundRect">
            <a:avLst>
              <a:gd name="adj" fmla="val 9231"/>
            </a:avLst>
          </a:pr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Segoe UI" pitchFamily="34" charset="0"/>
              <a:cs typeface="Segoe UI" pitchFamily="34" charset="0"/>
            </a:endParaRPr>
          </a:p>
        </p:txBody>
      </p:sp>
      <p:sp>
        <p:nvSpPr>
          <p:cNvPr id="174" name="Rectangle: Rounded Corners 173">
            <a:extLst>
              <a:ext uri="{FF2B5EF4-FFF2-40B4-BE49-F238E27FC236}">
                <a16:creationId xmlns:a16="http://schemas.microsoft.com/office/drawing/2014/main" id="{6553B91B-EA8A-C7FD-4132-B467F0E3541F}"/>
              </a:ext>
              <a:ext uri="{C183D7F6-B498-43B3-948B-1728B52AA6E4}">
                <adec:decorative xmlns:adec="http://schemas.microsoft.com/office/drawing/2017/decorative" val="1"/>
              </a:ext>
            </a:extLst>
          </p:cNvPr>
          <p:cNvSpPr/>
          <p:nvPr/>
        </p:nvSpPr>
        <p:spPr bwMode="auto">
          <a:xfrm>
            <a:off x="649123" y="3888978"/>
            <a:ext cx="2967202" cy="1136650"/>
          </a:xfrm>
          <a:prstGeom prst="roundRect">
            <a:avLst>
              <a:gd name="adj" fmla="val 9231"/>
            </a:avLst>
          </a:pr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Segoe UI" pitchFamily="34" charset="0"/>
              <a:cs typeface="Segoe UI" pitchFamily="34" charset="0"/>
            </a:endParaRPr>
          </a:p>
        </p:txBody>
      </p:sp>
      <p:sp>
        <p:nvSpPr>
          <p:cNvPr id="175" name="TextBox 174">
            <a:extLst>
              <a:ext uri="{FF2B5EF4-FFF2-40B4-BE49-F238E27FC236}">
                <a16:creationId xmlns:a16="http://schemas.microsoft.com/office/drawing/2014/main" id="{21D39D4B-ABD5-7BE5-3457-31D671A02767}"/>
              </a:ext>
            </a:extLst>
          </p:cNvPr>
          <p:cNvSpPr txBox="1"/>
          <p:nvPr/>
        </p:nvSpPr>
        <p:spPr>
          <a:xfrm>
            <a:off x="865515" y="6384984"/>
            <a:ext cx="1476233"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Semibold"/>
                <a:ea typeface="+mn-ea"/>
                <a:cs typeface="+mn-cs"/>
              </a:rPr>
              <a:t>SME&amp;C</a:t>
            </a:r>
          </a:p>
        </p:txBody>
      </p:sp>
      <p:sp>
        <p:nvSpPr>
          <p:cNvPr id="176" name="Star: 5 Points 175" descr="star">
            <a:extLst>
              <a:ext uri="{FF2B5EF4-FFF2-40B4-BE49-F238E27FC236}">
                <a16:creationId xmlns:a16="http://schemas.microsoft.com/office/drawing/2014/main" id="{949909B3-69CF-8E0F-6AC5-96234E626363}"/>
              </a:ext>
            </a:extLst>
          </p:cNvPr>
          <p:cNvSpPr/>
          <p:nvPr/>
        </p:nvSpPr>
        <p:spPr bwMode="auto">
          <a:xfrm>
            <a:off x="571500" y="6362700"/>
            <a:ext cx="206150" cy="206150"/>
          </a:xfrm>
          <a:prstGeom prst="star5">
            <a:avLst/>
          </a:prstGeom>
          <a:solidFill>
            <a:srgbClr val="FFB9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grpSp>
        <p:nvGrpSpPr>
          <p:cNvPr id="17" name="Group 16">
            <a:extLst>
              <a:ext uri="{FF2B5EF4-FFF2-40B4-BE49-F238E27FC236}">
                <a16:creationId xmlns:a16="http://schemas.microsoft.com/office/drawing/2014/main" id="{74059494-894D-F4B9-AF7C-0863669C780D}"/>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8" name="Table 2 Cell 1, 1 to Text">
              <a:extLst>
                <a:ext uri="{FF2B5EF4-FFF2-40B4-BE49-F238E27FC236}">
                  <a16:creationId xmlns:a16="http://schemas.microsoft.com/office/drawing/2014/main" id="{BD0CFC2D-6CA9-CFEC-2EC4-0A92D1790F51}"/>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2" name="Table 2 Cell 2, 1 to Text">
              <a:extLst>
                <a:ext uri="{FF2B5EF4-FFF2-40B4-BE49-F238E27FC236}">
                  <a16:creationId xmlns:a16="http://schemas.microsoft.com/office/drawing/2014/main" id="{08749A18-3B4D-AA7E-788B-CCC2A9B08166}"/>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4" name="Table 2 Cell 3, 1 to Text">
              <a:extLst>
                <a:ext uri="{FF2B5EF4-FFF2-40B4-BE49-F238E27FC236}">
                  <a16:creationId xmlns:a16="http://schemas.microsoft.com/office/drawing/2014/main" id="{6503F88E-A893-D24B-9947-670D5CE5C8DE}"/>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5" name="Table 2 Cell 4, 1 to Text">
              <a:extLst>
                <a:ext uri="{FF2B5EF4-FFF2-40B4-BE49-F238E27FC236}">
                  <a16:creationId xmlns:a16="http://schemas.microsoft.com/office/drawing/2014/main" id="{87B4FE8A-FC11-DCE7-61D2-0258D2C7CF7C}"/>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6" name="Table 2 Cell 5, 1 to Text">
              <a:extLst>
                <a:ext uri="{FF2B5EF4-FFF2-40B4-BE49-F238E27FC236}">
                  <a16:creationId xmlns:a16="http://schemas.microsoft.com/office/drawing/2014/main" id="{11902C67-75ED-92CB-C055-3E8EFCEEF966}"/>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37" name="Table 2 Cell 6, 1 to Text">
              <a:extLst>
                <a:ext uri="{FF2B5EF4-FFF2-40B4-BE49-F238E27FC236}">
                  <a16:creationId xmlns:a16="http://schemas.microsoft.com/office/drawing/2014/main" id="{49574FFC-0618-2FEB-5796-70E1475D7219}"/>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38" name="Table 2 Cell 7, 1 to Text">
              <a:extLst>
                <a:ext uri="{FF2B5EF4-FFF2-40B4-BE49-F238E27FC236}">
                  <a16:creationId xmlns:a16="http://schemas.microsoft.com/office/drawing/2014/main" id="{6A6BB117-5B87-773B-E612-8EF121E96E4F}"/>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9" name="Table 2 Cell 1, 2 to Text">
              <a:extLst>
                <a:ext uri="{FF2B5EF4-FFF2-40B4-BE49-F238E27FC236}">
                  <a16:creationId xmlns:a16="http://schemas.microsoft.com/office/drawing/2014/main" id="{1D068102-0371-C9CA-0F25-2404C99CFE76}"/>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40" name="Table 2 Cell 1, 3 to Text">
              <a:extLst>
                <a:ext uri="{FF2B5EF4-FFF2-40B4-BE49-F238E27FC236}">
                  <a16:creationId xmlns:a16="http://schemas.microsoft.com/office/drawing/2014/main" id="{E1F1E216-BC4C-EE92-D082-BE9D4C5D7A42}"/>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41" name="Table 2 Cell 1, 4 to Text">
              <a:extLst>
                <a:ext uri="{FF2B5EF4-FFF2-40B4-BE49-F238E27FC236}">
                  <a16:creationId xmlns:a16="http://schemas.microsoft.com/office/drawing/2014/main" id="{9EBA9453-E320-66ED-DE3D-4D2E803C68E3}"/>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42" name="Table 2 Cell 1, 5 to Text">
              <a:extLst>
                <a:ext uri="{FF2B5EF4-FFF2-40B4-BE49-F238E27FC236}">
                  <a16:creationId xmlns:a16="http://schemas.microsoft.com/office/drawing/2014/main" id="{E2437C68-09FE-5AA9-670A-DD531A642D33}"/>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43" name="Table 2 Cell 1, 6 to Text">
              <a:extLst>
                <a:ext uri="{FF2B5EF4-FFF2-40B4-BE49-F238E27FC236}">
                  <a16:creationId xmlns:a16="http://schemas.microsoft.com/office/drawing/2014/main" id="{80214167-6874-97E7-795D-63F668ECE384}"/>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44" name="Table 2 Cell 1, 7 to Text">
              <a:extLst>
                <a:ext uri="{FF2B5EF4-FFF2-40B4-BE49-F238E27FC236}">
                  <a16:creationId xmlns:a16="http://schemas.microsoft.com/office/drawing/2014/main" id="{8B2E0EE4-E959-2AA9-5467-7833A171C9AA}"/>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750">
                  <a:solidFill>
                    <a:schemeClr val="bg1"/>
                  </a:solidFill>
                </a:rPr>
                <a:t>5.6 Unify your Data Platform Overview</a:t>
              </a:r>
            </a:p>
          </p:txBody>
        </p:sp>
        <p:sp>
          <p:nvSpPr>
            <p:cNvPr id="45" name="Table 2 Cell 1, 8 to Text">
              <a:extLst>
                <a:ext uri="{FF2B5EF4-FFF2-40B4-BE49-F238E27FC236}">
                  <a16:creationId xmlns:a16="http://schemas.microsoft.com/office/drawing/2014/main" id="{085EDF88-322F-B1DE-A7E5-2623E3081570}"/>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7 Delivery &amp; Success</a:t>
              </a:r>
            </a:p>
          </p:txBody>
        </p:sp>
      </p:grpSp>
    </p:spTree>
    <p:extLst>
      <p:ext uri="{BB962C8B-B14F-4D97-AF65-F5344CB8AC3E}">
        <p14:creationId xmlns:p14="http://schemas.microsoft.com/office/powerpoint/2010/main" val="373770964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C34B7-A11E-BB18-4F7D-B2B951D242C0}"/>
            </a:ext>
          </a:extLst>
        </p:cNvPr>
        <p:cNvGrpSpPr/>
        <p:nvPr/>
      </p:nvGrpSpPr>
      <p:grpSpPr>
        <a:xfrm>
          <a:off x="0" y="0"/>
          <a:ext cx="0" cy="0"/>
          <a:chOff x="0" y="0"/>
          <a:chExt cx="0" cy="0"/>
        </a:xfrm>
      </p:grpSpPr>
      <p:sp>
        <p:nvSpPr>
          <p:cNvPr id="48" name="Rectangle: Rounded Corners 47">
            <a:extLst>
              <a:ext uri="{FF2B5EF4-FFF2-40B4-BE49-F238E27FC236}">
                <a16:creationId xmlns:a16="http://schemas.microsoft.com/office/drawing/2014/main" id="{8B6FEFE3-9EF5-29CB-EF9E-E7850B26364B}"/>
              </a:ext>
              <a:ext uri="{C183D7F6-B498-43B3-948B-1728B52AA6E4}">
                <adec:decorative xmlns:adec="http://schemas.microsoft.com/office/drawing/2017/decorative" val="1"/>
              </a:ext>
            </a:extLst>
          </p:cNvPr>
          <p:cNvSpPr/>
          <p:nvPr/>
        </p:nvSpPr>
        <p:spPr bwMode="auto">
          <a:xfrm>
            <a:off x="571500" y="1066799"/>
            <a:ext cx="9772650" cy="5497513"/>
          </a:xfrm>
          <a:prstGeom prst="roundRect">
            <a:avLst>
              <a:gd name="adj" fmla="val 1728"/>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6" name="Title 45">
            <a:extLst>
              <a:ext uri="{FF2B5EF4-FFF2-40B4-BE49-F238E27FC236}">
                <a16:creationId xmlns:a16="http://schemas.microsoft.com/office/drawing/2014/main" id="{A333D97E-269D-6069-8467-5E14A2AC7863}"/>
              </a:ext>
            </a:extLst>
          </p:cNvPr>
          <p:cNvSpPr>
            <a:spLocks noGrp="1"/>
          </p:cNvSpPr>
          <p:nvPr>
            <p:ph type="title"/>
          </p:nvPr>
        </p:nvSpPr>
        <p:spPr>
          <a:xfrm>
            <a:off x="571500" y="457200"/>
            <a:ext cx="11049000" cy="430887"/>
          </a:xfrm>
        </p:spPr>
        <p:txBody>
          <a:bodyPr/>
          <a:lstStyle/>
          <a:p>
            <a:r>
              <a:rPr lang="en-US" sz="2800"/>
              <a:t>Delivery &amp; Success – </a:t>
            </a:r>
            <a:r>
              <a:rPr lang="en-US" sz="2800">
                <a:solidFill>
                  <a:schemeClr val="accent1"/>
                </a:solidFill>
              </a:rPr>
              <a:t>Unify your Data Platform</a:t>
            </a:r>
          </a:p>
        </p:txBody>
      </p:sp>
      <p:sp>
        <p:nvSpPr>
          <p:cNvPr id="20" name="Text Placeholder 35">
            <a:extLst>
              <a:ext uri="{FF2B5EF4-FFF2-40B4-BE49-F238E27FC236}">
                <a16:creationId xmlns:a16="http://schemas.microsoft.com/office/drawing/2014/main" id="{23FC00A4-C34B-C856-0F92-3D39196626B1}"/>
              </a:ext>
            </a:extLst>
          </p:cNvPr>
          <p:cNvSpPr txBox="1">
            <a:spLocks/>
          </p:cNvSpPr>
          <p:nvPr/>
        </p:nvSpPr>
        <p:spPr>
          <a:xfrm>
            <a:off x="657914" y="1170071"/>
            <a:ext cx="1238262" cy="2002054"/>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All Customers</a:t>
            </a:r>
          </a:p>
        </p:txBody>
      </p:sp>
      <p:sp>
        <p:nvSpPr>
          <p:cNvPr id="5" name="TextBox 4">
            <a:extLst>
              <a:ext uri="{FF2B5EF4-FFF2-40B4-BE49-F238E27FC236}">
                <a16:creationId xmlns:a16="http://schemas.microsoft.com/office/drawing/2014/main" id="{9E5D2949-F344-C9BB-E147-6814B180426B}"/>
              </a:ext>
            </a:extLst>
          </p:cNvPr>
          <p:cNvSpPr txBox="1"/>
          <p:nvPr/>
        </p:nvSpPr>
        <p:spPr>
          <a:xfrm>
            <a:off x="2003153" y="1170071"/>
            <a:ext cx="269717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FACTORY 101</a:t>
            </a:r>
          </a:p>
        </p:txBody>
      </p:sp>
      <p:sp>
        <p:nvSpPr>
          <p:cNvPr id="6" name="TextBox 5">
            <a:extLst>
              <a:ext uri="{FF2B5EF4-FFF2-40B4-BE49-F238E27FC236}">
                <a16:creationId xmlns:a16="http://schemas.microsoft.com/office/drawing/2014/main" id="{73D8768E-6FD9-67A3-68BE-1FD8EFA520A8}"/>
              </a:ext>
            </a:extLst>
          </p:cNvPr>
          <p:cNvSpPr txBox="1"/>
          <p:nvPr/>
        </p:nvSpPr>
        <p:spPr>
          <a:xfrm>
            <a:off x="2003153" y="1417557"/>
            <a:ext cx="3123202" cy="166712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Start with Unified &amp; Factory offerings for efficient delivery, accelerate the adoption and productionize these workloads:</a:t>
            </a:r>
          </a:p>
          <a:p>
            <a:pPr marL="133350" marR="0" lvl="0" indent="-133350" algn="l" defTabSz="932742" rtl="0" eaLnBrk="1" fontAlgn="t" latinLnBrk="0" hangingPunct="1">
              <a:lnSpc>
                <a:spcPct val="100000"/>
              </a:lnSpc>
              <a:spcBef>
                <a:spcPts val="60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Deploying Microsoft Fabric</a:t>
            </a:r>
          </a:p>
          <a:p>
            <a:pPr marL="271463" marR="0" lvl="1" indent="-112713" algn="l" defTabSz="932742" rtl="0" eaLnBrk="1" fontAlgn="t" latinLnBrk="0" hangingPunct="1">
              <a:lnSpc>
                <a:spcPct val="100000"/>
              </a:lnSpc>
              <a:spcBef>
                <a:spcPts val="0"/>
              </a:spcBef>
              <a:spcAft>
                <a:spcPts val="200"/>
              </a:spcAft>
              <a:buClrTx/>
              <a:buSzTx/>
              <a:buFont typeface="Segoe Sans Text" pitchFamily="2" charset="0"/>
              <a:buChar char="•"/>
              <a:tabLst/>
              <a:defRPr/>
            </a:pPr>
            <a:r>
              <a:rPr kumimoji="0" lang="en-US" sz="800" b="0" i="0" u="none" strike="noStrike" kern="1200" cap="none" spc="0" normalizeH="0" baseline="0" noProof="0">
                <a:ln>
                  <a:noFill/>
                </a:ln>
                <a:solidFill>
                  <a:srgbClr val="1A1A1A"/>
                </a:solidFill>
                <a:effectLst/>
                <a:uLnTx/>
                <a:uFillTx/>
                <a:latin typeface="Segoe Sans Text"/>
                <a:ea typeface="+mn-ea"/>
                <a:cs typeface="+mn-cs"/>
              </a:rPr>
              <a:t>Fabric Lakehouse &amp; Fabric Warehouse (1</a:t>
            </a:r>
            <a:r>
              <a:rPr kumimoji="0" lang="en-US" sz="800" b="0" i="0" u="none" strike="noStrike" kern="1200" cap="none" spc="0" normalizeH="0" baseline="20000" noProof="0">
                <a:ln>
                  <a:noFill/>
                </a:ln>
                <a:solidFill>
                  <a:srgbClr val="1A1A1A"/>
                </a:solidFill>
                <a:effectLst/>
                <a:uLnTx/>
                <a:uFillTx/>
                <a:latin typeface="Segoe Sans Text"/>
                <a:ea typeface="+mn-ea"/>
                <a:cs typeface="+mn-cs"/>
              </a:rPr>
              <a:t>st</a:t>
            </a:r>
            <a:r>
              <a:rPr kumimoji="0" lang="en-US" sz="800" b="0" i="0" u="none" strike="noStrike" kern="1200" cap="none" spc="0" normalizeH="0" baseline="0" noProof="0">
                <a:ln>
                  <a:noFill/>
                </a:ln>
                <a:solidFill>
                  <a:srgbClr val="1A1A1A"/>
                </a:solidFill>
                <a:effectLst/>
                <a:uLnTx/>
                <a:uFillTx/>
                <a:latin typeface="Segoe Sans Text"/>
                <a:ea typeface="+mn-ea"/>
                <a:cs typeface="+mn-cs"/>
              </a:rPr>
              <a:t> &amp; 3</a:t>
            </a:r>
            <a:r>
              <a:rPr kumimoji="0" lang="en-US" sz="800" b="0" i="0" u="none" strike="noStrike" kern="1200" cap="none" spc="0" normalizeH="0" baseline="20000" noProof="0">
                <a:ln>
                  <a:noFill/>
                </a:ln>
                <a:solidFill>
                  <a:srgbClr val="1A1A1A"/>
                </a:solidFill>
                <a:effectLst/>
                <a:uLnTx/>
                <a:uFillTx/>
                <a:latin typeface="Segoe Sans Text"/>
                <a:ea typeface="+mn-ea"/>
                <a:cs typeface="+mn-cs"/>
              </a:rPr>
              <a:t>rd</a:t>
            </a:r>
            <a:r>
              <a:rPr kumimoji="0" lang="en-US" sz="800" b="0" i="0" u="none" strike="noStrike" kern="1200" cap="none" spc="0" normalizeH="0" baseline="0" noProof="0">
                <a:ln>
                  <a:noFill/>
                </a:ln>
                <a:solidFill>
                  <a:srgbClr val="1A1A1A"/>
                </a:solidFill>
                <a:effectLst/>
                <a:uLnTx/>
                <a:uFillTx/>
                <a:latin typeface="Segoe Sans Text"/>
                <a:ea typeface="+mn-ea"/>
                <a:cs typeface="+mn-cs"/>
              </a:rPr>
              <a:t> party tools)</a:t>
            </a:r>
          </a:p>
          <a:p>
            <a:pPr marL="271463" marR="0" lvl="1" indent="-112713" algn="l" defTabSz="932742" rtl="0" eaLnBrk="1" fontAlgn="t" latinLnBrk="0" hangingPunct="1">
              <a:lnSpc>
                <a:spcPct val="100000"/>
              </a:lnSpc>
              <a:spcBef>
                <a:spcPts val="0"/>
              </a:spcBef>
              <a:spcAft>
                <a:spcPts val="0"/>
              </a:spcAft>
              <a:buClrTx/>
              <a:buSzTx/>
              <a:buFont typeface="Segoe Sans Text" pitchFamily="2" charset="0"/>
              <a:buChar char="•"/>
              <a:tabLst/>
              <a:defRPr/>
            </a:pPr>
            <a:r>
              <a:rPr kumimoji="0" lang="en-US" sz="800" b="0" i="0" u="none" strike="noStrike" kern="1200" cap="none" spc="0" normalizeH="0" baseline="0" noProof="0">
                <a:ln>
                  <a:noFill/>
                </a:ln>
                <a:solidFill>
                  <a:srgbClr val="1A1A1A"/>
                </a:solidFill>
                <a:effectLst/>
                <a:uLnTx/>
                <a:uFillTx/>
                <a:latin typeface="Segoe Sans Text"/>
                <a:ea typeface="+mn-ea"/>
                <a:cs typeface="+mn-cs"/>
              </a:rPr>
              <a:t>Building Solutions with Real Time Intelligence</a:t>
            </a:r>
          </a:p>
          <a:p>
            <a:pPr marL="133350" marR="0" lvl="0" indent="-133350" algn="l" defTabSz="932742" rtl="0" eaLnBrk="1" fontAlgn="t" latinLnBrk="0" hangingPunct="1">
              <a:lnSpc>
                <a:spcPct val="100000"/>
              </a:lnSpc>
              <a:spcBef>
                <a:spcPts val="60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Deploying Analytics with Scalable Lakehouse Architecture</a:t>
            </a:r>
          </a:p>
          <a:p>
            <a:pPr marL="271463" marR="0" lvl="1" indent="-112713" algn="l" defTabSz="932742" rtl="0" eaLnBrk="1" fontAlgn="t" latinLnBrk="0" hangingPunct="1">
              <a:lnSpc>
                <a:spcPct val="100000"/>
              </a:lnSpc>
              <a:spcBef>
                <a:spcPts val="0"/>
              </a:spcBef>
              <a:spcAft>
                <a:spcPts val="0"/>
              </a:spcAft>
              <a:buClrTx/>
              <a:buSzTx/>
              <a:buFont typeface="Segoe Sans Text" pitchFamily="2" charset="0"/>
              <a:buChar char="•"/>
              <a:tabLst/>
              <a:defRPr/>
            </a:pPr>
            <a:r>
              <a:rPr kumimoji="0" lang="en-US" sz="800" b="0" i="0" u="none" strike="noStrike" kern="1200" cap="none" spc="0" normalizeH="0" baseline="0" noProof="0">
                <a:ln>
                  <a:noFill/>
                </a:ln>
                <a:solidFill>
                  <a:srgbClr val="1A1A1A"/>
                </a:solidFill>
                <a:effectLst/>
                <a:uLnTx/>
                <a:uFillTx/>
                <a:latin typeface="Segoe Sans Text"/>
                <a:ea typeface="+mn-ea"/>
                <a:cs typeface="+mn-cs"/>
              </a:rPr>
              <a:t>P3 Acceleration &amp; Project Redfish </a:t>
            </a:r>
          </a:p>
          <a:p>
            <a:pPr marL="133350" marR="0" lvl="0" indent="-133350" algn="l" defTabSz="932742" rtl="0" eaLnBrk="1" fontAlgn="t" latinLnBrk="0" hangingPunct="1">
              <a:lnSpc>
                <a:spcPct val="100000"/>
              </a:lnSpc>
              <a:spcBef>
                <a:spcPts val="600"/>
              </a:spcBef>
              <a:spcAft>
                <a:spcPts val="200"/>
              </a:spcAft>
              <a:buClrTx/>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Deploying Power BI Analytics</a:t>
            </a:r>
          </a:p>
          <a:p>
            <a:pPr marL="271463" marR="0" lvl="1" indent="-112713" algn="l" defTabSz="932742" rtl="0" eaLnBrk="1" fontAlgn="t" latinLnBrk="0" hangingPunct="1">
              <a:lnSpc>
                <a:spcPct val="100000"/>
              </a:lnSpc>
              <a:spcBef>
                <a:spcPts val="0"/>
              </a:spcBef>
              <a:spcAft>
                <a:spcPts val="200"/>
              </a:spcAft>
              <a:buClrTx/>
              <a:buSzTx/>
              <a:buFont typeface="Segoe Sans Text" pitchFamily="2" charset="0"/>
              <a:buChar char="•"/>
              <a:tabLst/>
              <a:defRPr/>
            </a:pPr>
            <a:r>
              <a:rPr kumimoji="0" lang="en-US" sz="800" b="0" i="0" u="none" strike="noStrike" kern="1200" cap="none" spc="0" normalizeH="0" baseline="0" noProof="0">
                <a:ln>
                  <a:noFill/>
                </a:ln>
                <a:solidFill>
                  <a:srgbClr val="1A1A1A"/>
                </a:solidFill>
                <a:effectLst/>
                <a:uLnTx/>
                <a:uFillTx/>
                <a:latin typeface="Segoe Sans Text"/>
                <a:ea typeface="+mn-ea"/>
                <a:cs typeface="+mn-cs"/>
              </a:rPr>
              <a:t>P-F Migration &amp; SSRS to PBI &amp; AAS to PBI</a:t>
            </a:r>
          </a:p>
          <a:p>
            <a:pPr marL="271463" marR="0" lvl="1" indent="-112713" algn="l" defTabSz="932742" rtl="0" eaLnBrk="1" fontAlgn="t" latinLnBrk="0" hangingPunct="1">
              <a:lnSpc>
                <a:spcPct val="100000"/>
              </a:lnSpc>
              <a:spcBef>
                <a:spcPts val="0"/>
              </a:spcBef>
              <a:spcAft>
                <a:spcPts val="0"/>
              </a:spcAft>
              <a:buClrTx/>
              <a:buSzTx/>
              <a:buFont typeface="Segoe Sans Text" pitchFamily="2" charset="0"/>
              <a:buChar char="•"/>
              <a:tabLst/>
              <a:defRPr/>
            </a:pPr>
            <a:r>
              <a:rPr kumimoji="0" lang="en-US" sz="800" b="0" i="0" u="none" strike="noStrike" kern="1200" cap="none" spc="0" normalizeH="0" baseline="0" noProof="0">
                <a:ln>
                  <a:noFill/>
                </a:ln>
                <a:solidFill>
                  <a:srgbClr val="1A1A1A"/>
                </a:solidFill>
                <a:effectLst/>
                <a:uLnTx/>
                <a:uFillTx/>
                <a:latin typeface="Segoe Sans Text"/>
                <a:ea typeface="+mn-ea"/>
                <a:cs typeface="+mn-cs"/>
              </a:rPr>
              <a:t>Power BI Compete (MicroStrategy, Tableau, and others)</a:t>
            </a:r>
          </a:p>
        </p:txBody>
      </p:sp>
      <p:sp>
        <p:nvSpPr>
          <p:cNvPr id="7" name="TextBox 6">
            <a:extLst>
              <a:ext uri="{FF2B5EF4-FFF2-40B4-BE49-F238E27FC236}">
                <a16:creationId xmlns:a16="http://schemas.microsoft.com/office/drawing/2014/main" id="{D1DDF3DB-3B0D-3BDC-13E6-3017BD1663C0}"/>
              </a:ext>
            </a:extLst>
          </p:cNvPr>
          <p:cNvSpPr txBox="1"/>
          <p:nvPr/>
        </p:nvSpPr>
        <p:spPr>
          <a:xfrm>
            <a:off x="5319749" y="1185459"/>
            <a:ext cx="246882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RESILIENCY &amp; SECURITY</a:t>
            </a:r>
          </a:p>
        </p:txBody>
      </p:sp>
      <p:sp>
        <p:nvSpPr>
          <p:cNvPr id="8" name="TextBox 7">
            <a:extLst>
              <a:ext uri="{FF2B5EF4-FFF2-40B4-BE49-F238E27FC236}">
                <a16:creationId xmlns:a16="http://schemas.microsoft.com/office/drawing/2014/main" id="{22974360-E365-669B-4A19-3FEC6C1E3E6B}"/>
              </a:ext>
            </a:extLst>
          </p:cNvPr>
          <p:cNvSpPr txBox="1"/>
          <p:nvPr/>
        </p:nvSpPr>
        <p:spPr>
          <a:xfrm>
            <a:off x="5374152" y="1417557"/>
            <a:ext cx="2414417" cy="99770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Leverage the catalog of repeatable IP from the solution architect community:</a:t>
            </a:r>
          </a:p>
          <a:p>
            <a:pPr marL="133350" marR="0" lvl="0" indent="-133350" algn="l" defTabSz="932742" rtl="0" eaLnBrk="1" fontAlgn="t" latinLnBrk="0" hangingPunct="1">
              <a:lnSpc>
                <a:spcPct val="100000"/>
              </a:lnSpc>
              <a:spcBef>
                <a:spcPts val="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Platform, Security and Governance” VBDs for Microsoft Fabric.</a:t>
            </a:r>
          </a:p>
          <a:p>
            <a:pPr marL="133350" marR="0" lvl="0" indent="-133350" algn="l" defTabSz="932742" rtl="0" eaLnBrk="1" fontAlgn="t" latinLnBrk="0" hangingPunct="1">
              <a:lnSpc>
                <a:spcPct val="100000"/>
              </a:lnSpc>
              <a:spcBef>
                <a:spcPts val="6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Microsoft Fabric Security White Paper</a:t>
            </a:r>
            <a:r>
              <a:rPr kumimoji="0" lang="en-US" sz="900" b="0" i="0" u="none" strike="noStrike" kern="1200" cap="none" spc="0" normalizeH="0" baseline="0" noProof="0">
                <a:ln>
                  <a:noFill/>
                </a:ln>
                <a:solidFill>
                  <a:srgbClr val="0078D4"/>
                </a:solidFill>
                <a:effectLst/>
                <a:uLnTx/>
                <a:uFillTx/>
                <a:latin typeface="Segoe Sans Text"/>
                <a:ea typeface="+mn-ea"/>
                <a:cs typeface="+mn-cs"/>
              </a:rPr>
              <a:t> and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Fabric Security</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srgbClr val="1A1A1A"/>
                </a:solidFill>
                <a:effectLst/>
                <a:uLnTx/>
                <a:uFillTx/>
                <a:latin typeface="Segoe Sans Text"/>
                <a:ea typeface="+mn-ea"/>
                <a:cs typeface="+mn-cs"/>
              </a:rPr>
              <a:t>Landing Page.</a:t>
            </a:r>
          </a:p>
        </p:txBody>
      </p:sp>
      <p:sp>
        <p:nvSpPr>
          <p:cNvPr id="21" name="Text Placeholder 35">
            <a:extLst>
              <a:ext uri="{FF2B5EF4-FFF2-40B4-BE49-F238E27FC236}">
                <a16:creationId xmlns:a16="http://schemas.microsoft.com/office/drawing/2014/main" id="{2AA2B860-0FAC-88F7-6788-D1D96B7CAE40}"/>
              </a:ext>
            </a:extLst>
          </p:cNvPr>
          <p:cNvSpPr txBox="1">
            <a:spLocks/>
          </p:cNvSpPr>
          <p:nvPr/>
        </p:nvSpPr>
        <p:spPr>
          <a:xfrm>
            <a:off x="657914" y="3249037"/>
            <a:ext cx="1238262" cy="1903830"/>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Unified</a:t>
            </a:r>
          </a:p>
        </p:txBody>
      </p:sp>
      <p:sp>
        <p:nvSpPr>
          <p:cNvPr id="3" name="TextBox 2">
            <a:extLst>
              <a:ext uri="{FF2B5EF4-FFF2-40B4-BE49-F238E27FC236}">
                <a16:creationId xmlns:a16="http://schemas.microsoft.com/office/drawing/2014/main" id="{CAE4F057-0145-6A3B-1651-2D5AD234A29D}"/>
              </a:ext>
            </a:extLst>
          </p:cNvPr>
          <p:cNvSpPr txBox="1"/>
          <p:nvPr/>
        </p:nvSpPr>
        <p:spPr>
          <a:xfrm>
            <a:off x="2003153" y="3297167"/>
            <a:ext cx="26331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ENHANCED SOLUTIONS</a:t>
            </a:r>
          </a:p>
        </p:txBody>
      </p:sp>
      <p:sp>
        <p:nvSpPr>
          <p:cNvPr id="4" name="TextBox 3">
            <a:extLst>
              <a:ext uri="{FF2B5EF4-FFF2-40B4-BE49-F238E27FC236}">
                <a16:creationId xmlns:a16="http://schemas.microsoft.com/office/drawing/2014/main" id="{6F4DB7B8-5AB2-083F-DD52-ACDA26E6027F}"/>
              </a:ext>
            </a:extLst>
          </p:cNvPr>
          <p:cNvSpPr txBox="1"/>
          <p:nvPr/>
        </p:nvSpPr>
        <p:spPr>
          <a:xfrm>
            <a:off x="2003153" y="3547901"/>
            <a:ext cx="4337506" cy="7822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Position and deliver our Value Acceleration Services (VAS) portfolio to ensure we are accelerating our customer’s migration and modernization journey through Unified. </a:t>
            </a:r>
            <a:endParaRPr kumimoji="0" lang="en-US" sz="900" b="0" i="0" u="none" strike="noStrike" kern="1200" cap="none" spc="0" normalizeH="0" baseline="0" noProof="0">
              <a:ln>
                <a:noFill/>
              </a:ln>
              <a:solidFill>
                <a:prstClr val="black"/>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endParaRPr>
          </a:p>
          <a:p>
            <a:pPr marL="133350" marR="0" lvl="0" indent="-133350" algn="l" defTabSz="932742" rtl="0" eaLnBrk="1" fontAlgn="t" latinLnBrk="0" hangingPunct="1">
              <a:lnSpc>
                <a:spcPct val="100000"/>
              </a:lnSpc>
              <a:spcBef>
                <a:spcPts val="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rPr>
              <a:t>Data Analytics </a:t>
            </a:r>
            <a:r>
              <a:rPr kumimoji="0" lang="en-US" sz="900" b="0" i="0" u="none" strike="noStrike" kern="1200" cap="none" spc="0" normalizeH="0" baseline="0" noProof="0">
                <a:ln>
                  <a:noFill/>
                </a:ln>
                <a:solidFill>
                  <a:srgbClr val="0078D4"/>
                </a:solidFill>
                <a:effectLst/>
                <a:uLnTx/>
                <a:uFillTx/>
                <a:latin typeface="Segoe Sans Text"/>
                <a:ea typeface="+mn-ea"/>
                <a:cs typeface="+mn-cs"/>
              </a:rPr>
              <a:t>(Her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a:ln>
                <a:noFill/>
              </a:ln>
              <a:solidFill>
                <a:prstClr val="black"/>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Segoe Sans Text"/>
                <a:ea typeface="+mn-ea"/>
                <a:cs typeface="+mn-cs"/>
              </a:rPr>
              <a:t>View </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aka.ms/</a:t>
            </a:r>
            <a:r>
              <a:rPr kumimoji="0" lang="en-US" sz="900" b="0" i="1" u="none" strike="noStrike" kern="1200" cap="none" spc="0" normalizeH="0" baseline="0" noProof="0" err="1">
                <a:ln>
                  <a:noFill/>
                </a:ln>
                <a:solidFill>
                  <a:srgbClr val="0078D4"/>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UnifiedSolutionsGuide</a:t>
            </a:r>
            <a:r>
              <a:rPr kumimoji="0" lang="en-US" sz="900" b="0" i="1" u="none" strike="noStrike" kern="1200" cap="none" spc="0" normalizeH="0" baseline="0" noProof="0">
                <a:ln>
                  <a:noFill/>
                </a:ln>
                <a:solidFill>
                  <a:srgbClr val="0078D4"/>
                </a:solidFill>
                <a:effectLst/>
                <a:uLnTx/>
                <a:uFillTx/>
                <a:latin typeface="Segoe Sans Text"/>
                <a:ea typeface="+mn-ea"/>
                <a:cs typeface="+mn-cs"/>
              </a:rPr>
              <a:t> </a:t>
            </a:r>
            <a:r>
              <a:rPr kumimoji="0" lang="en-US" sz="900" b="0" i="1" u="none" strike="noStrike" kern="1200" cap="none" spc="0" normalizeH="0" baseline="0" noProof="0">
                <a:ln>
                  <a:noFill/>
                </a:ln>
                <a:solidFill>
                  <a:prstClr val="black"/>
                </a:solidFill>
                <a:effectLst/>
                <a:uLnTx/>
                <a:uFillTx/>
                <a:latin typeface="Segoe Sans Text"/>
                <a:ea typeface="+mn-ea"/>
                <a:cs typeface="+mn-cs"/>
              </a:rPr>
              <a:t>for full list of VAS offers.</a:t>
            </a:r>
          </a:p>
        </p:txBody>
      </p:sp>
      <p:sp>
        <p:nvSpPr>
          <p:cNvPr id="25" name="TextBox 24">
            <a:extLst>
              <a:ext uri="{FF2B5EF4-FFF2-40B4-BE49-F238E27FC236}">
                <a16:creationId xmlns:a16="http://schemas.microsoft.com/office/drawing/2014/main" id="{CDCAD95E-F38E-4299-EBA8-408DA21EA1E1}"/>
              </a:ext>
            </a:extLst>
          </p:cNvPr>
          <p:cNvSpPr txBox="1"/>
          <p:nvPr/>
        </p:nvSpPr>
        <p:spPr>
          <a:xfrm>
            <a:off x="6503962" y="3297167"/>
            <a:ext cx="327366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VBD PATHWAYS &amp; REPEATABLE IP</a:t>
            </a:r>
          </a:p>
        </p:txBody>
      </p:sp>
      <p:sp>
        <p:nvSpPr>
          <p:cNvPr id="27" name="TextBox 26">
            <a:extLst>
              <a:ext uri="{FF2B5EF4-FFF2-40B4-BE49-F238E27FC236}">
                <a16:creationId xmlns:a16="http://schemas.microsoft.com/office/drawing/2014/main" id="{4BB0B7B2-2864-12DD-6B05-1731F94DBA94}"/>
              </a:ext>
            </a:extLst>
          </p:cNvPr>
          <p:cNvSpPr txBox="1"/>
          <p:nvPr/>
        </p:nvSpPr>
        <p:spPr>
          <a:xfrm>
            <a:off x="6523653" y="3547901"/>
            <a:ext cx="3668415" cy="12259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Leverage our VBD Pathways and Repeatable IP (VBD Delivery Guides &amp; Learning Paths) to assist you in delivering Job 1 and Job 2. Examples include:</a:t>
            </a:r>
          </a:p>
          <a:p>
            <a:pPr marL="133350" marR="0" lvl="0" indent="-133350" algn="l" defTabSz="932742" rtl="0" eaLnBrk="1" fontAlgn="t" latinLnBrk="0" hangingPunct="1">
              <a:lnSpc>
                <a:spcPct val="100000"/>
              </a:lnSpc>
              <a:spcBef>
                <a:spcPts val="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ploying Microsoft Fabric</a:t>
            </a:r>
          </a:p>
          <a:p>
            <a:pPr marL="133350" marR="0" lvl="0" indent="-133350" algn="l" defTabSz="932742" rtl="0" eaLnBrk="1" fontAlgn="t" latinLnBrk="0" hangingPunct="1">
              <a:lnSpc>
                <a:spcPct val="100000"/>
              </a:lnSpc>
              <a:spcBef>
                <a:spcPts val="600"/>
              </a:spcBef>
              <a:spcAft>
                <a:spcPts val="200"/>
              </a:spcAft>
              <a:buClr>
                <a:srgbClr val="000000"/>
              </a:buClr>
              <a:buSzTx/>
              <a:buFont typeface="+mj-lt"/>
              <a:buAutoNum type="arabicPeriod"/>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ricks 360 Core</a:t>
            </a:r>
          </a:p>
          <a:p>
            <a:pPr marL="0" marR="0" lvl="0" indent="0" algn="l" defTabSz="914400" rtl="0" eaLnBrk="1" fontAlgn="auto" latinLnBrk="0" hangingPunct="1">
              <a:lnSpc>
                <a:spcPct val="100000"/>
              </a:lnSpc>
              <a:spcBef>
                <a:spcPts val="0"/>
              </a:spcBef>
              <a:spcAft>
                <a:spcPts val="500"/>
              </a:spcAft>
              <a:buClrTx/>
              <a:buSzTx/>
              <a:buFontTx/>
              <a:buNone/>
              <a:tabLst/>
              <a:defRPr/>
            </a:pPr>
            <a:endParaRPr kumimoji="0" lang="en-US" sz="900" b="0" i="1" u="none" strike="noStrike" kern="1200" cap="none" spc="0" normalizeH="0" baseline="0" noProof="0">
              <a:ln>
                <a:noFill/>
              </a:ln>
              <a:solidFill>
                <a:prstClr val="black"/>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1" u="none" strike="noStrike" kern="1200" cap="none" spc="0" normalizeH="0" baseline="0" noProof="0">
                <a:ln>
                  <a:noFill/>
                </a:ln>
                <a:solidFill>
                  <a:prstClr val="black"/>
                </a:solidFill>
                <a:effectLst/>
                <a:uLnTx/>
                <a:uFillTx/>
                <a:latin typeface="Segoe Sans Text"/>
                <a:ea typeface="+mn-ea"/>
                <a:cs typeface="+mn-cs"/>
              </a:rPr>
              <a:t>Go to </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a:t>
            </a:r>
            <a:r>
              <a:rPr kumimoji="0" lang="en-US" sz="900" b="0" i="1" u="none" strike="noStrike" kern="1200" cap="none" spc="0" normalizeH="0" baseline="0" noProof="0" err="1">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csudocs</a:t>
            </a:r>
            <a:r>
              <a:rPr kumimoji="0" lang="en-US" sz="900" b="0" i="1"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t>
            </a:r>
            <a:r>
              <a:rPr kumimoji="0" lang="en-US" sz="900" b="0" i="1" u="none" strike="noStrike" kern="1200" cap="none" spc="0" normalizeH="0" baseline="0" noProof="0" err="1">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zureCloudAI</a:t>
            </a:r>
            <a:r>
              <a:rPr kumimoji="0" lang="en-US" sz="900" b="0" i="1" u="none" strike="noStrike" kern="1200" cap="none" spc="0" normalizeH="0" baseline="0" noProof="0">
                <a:ln>
                  <a:noFill/>
                </a:ln>
                <a:solidFill>
                  <a:srgbClr val="0078D4"/>
                </a:solidFill>
                <a:effectLst/>
                <a:uLnTx/>
                <a:uFillTx/>
                <a:latin typeface="Segoe Sans Text"/>
                <a:ea typeface="+mn-ea"/>
                <a:cs typeface="+mn-cs"/>
              </a:rPr>
              <a:t> </a:t>
            </a:r>
            <a:r>
              <a:rPr kumimoji="0" lang="en-US" sz="900" b="0" i="1" u="none" strike="noStrike" kern="1200" cap="none" spc="0" normalizeH="0" baseline="0" noProof="0">
                <a:ln>
                  <a:noFill/>
                </a:ln>
                <a:solidFill>
                  <a:prstClr val="black"/>
                </a:solidFill>
                <a:effectLst/>
                <a:uLnTx/>
                <a:uFillTx/>
                <a:latin typeface="Segoe Sans Text"/>
                <a:ea typeface="+mn-ea"/>
                <a:cs typeface="+mn-cs"/>
              </a:rPr>
              <a:t>to view all VBD Delivery Guides.</a:t>
            </a:r>
          </a:p>
        </p:txBody>
      </p:sp>
      <p:sp>
        <p:nvSpPr>
          <p:cNvPr id="36" name="TextBox 35">
            <a:extLst>
              <a:ext uri="{FF2B5EF4-FFF2-40B4-BE49-F238E27FC236}">
                <a16:creationId xmlns:a16="http://schemas.microsoft.com/office/drawing/2014/main" id="{8DD1BFC8-5761-B3EC-251A-92C5B943D103}"/>
              </a:ext>
            </a:extLst>
          </p:cNvPr>
          <p:cNvSpPr txBox="1"/>
          <p:nvPr/>
        </p:nvSpPr>
        <p:spPr>
          <a:xfrm>
            <a:off x="7962231" y="1177361"/>
            <a:ext cx="19368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NEXT WORKLOAD</a:t>
            </a:r>
          </a:p>
        </p:txBody>
      </p:sp>
      <p:sp>
        <p:nvSpPr>
          <p:cNvPr id="37" name="TextBox 36">
            <a:extLst>
              <a:ext uri="{FF2B5EF4-FFF2-40B4-BE49-F238E27FC236}">
                <a16:creationId xmlns:a16="http://schemas.microsoft.com/office/drawing/2014/main" id="{7C51808C-42D7-4908-5040-96414CD00A72}"/>
              </a:ext>
            </a:extLst>
          </p:cNvPr>
          <p:cNvSpPr txBox="1"/>
          <p:nvPr/>
        </p:nvSpPr>
        <p:spPr>
          <a:xfrm>
            <a:off x="7981963" y="1417557"/>
            <a:ext cx="2333611" cy="158761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rive “next best workload”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Job2 for Analytics</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srgbClr val="000000"/>
                </a:solidFill>
                <a:effectLst/>
                <a:uLnTx/>
                <a:uFillTx/>
                <a:latin typeface="Segoe Sans Text"/>
                <a:ea typeface="+mn-ea"/>
                <a:cs typeface="+mn-cs"/>
              </a:rPr>
              <a:t>conversations with Expansion motions. Examples include driving Lakehouse deployments with Databricks, expanding consumption with Power BI analytics, and proactively growing Fabric capacity with usage excellence. Leverage dashboards, propensity lists, and Factory for Job 2 expansion.</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View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caiJob2</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prstClr val="black"/>
                </a:solidFill>
                <a:effectLst/>
                <a:uLnTx/>
                <a:uFillTx/>
                <a:latin typeface="Segoe Sans Text"/>
                <a:ea typeface="+mn-ea"/>
                <a:cs typeface="+mn-cs"/>
              </a:rPr>
              <a:t>for the full details on Expansion motions.</a:t>
            </a: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Text Placeholder 35">
            <a:extLst>
              <a:ext uri="{FF2B5EF4-FFF2-40B4-BE49-F238E27FC236}">
                <a16:creationId xmlns:a16="http://schemas.microsoft.com/office/drawing/2014/main" id="{44B7A8F2-E4E2-67A0-C6EC-52F779A19A87}"/>
              </a:ext>
            </a:extLst>
          </p:cNvPr>
          <p:cNvSpPr txBox="1">
            <a:spLocks/>
          </p:cNvSpPr>
          <p:nvPr/>
        </p:nvSpPr>
        <p:spPr>
          <a:xfrm>
            <a:off x="657914" y="5229780"/>
            <a:ext cx="1238262" cy="1249136"/>
          </a:xfrm>
          <a:prstGeom prst="roundRect">
            <a:avLst>
              <a:gd name="adj" fmla="val 385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000" rIns="91440" bIns="54000" numCol="1" spcCol="0" rtlCol="0" fromWordArt="0" anchor="ctr" anchorCtr="0" forceAA="0" compatLnSpc="1">
            <a:prstTxWarp prst="textNoShape">
              <a:avLst/>
            </a:prstTxWarp>
            <a:noAutofit/>
          </a:bodyPr>
          <a:lstStyle>
            <a:defPPr>
              <a:defRPr lang="en-US"/>
            </a:defPPr>
            <a:lvl1pPr marR="0" lvl="0" indent="0" defTabSz="564085" fontAlgn="base">
              <a:lnSpc>
                <a:spcPct val="100000"/>
              </a:lnSpc>
              <a:spcBef>
                <a:spcPts val="600"/>
              </a:spcBef>
              <a:spcAft>
                <a:spcPct val="0"/>
              </a:spcAft>
              <a:buClrTx/>
              <a:buSzTx/>
              <a:buFontTx/>
              <a:buNone/>
              <a:tabLst/>
              <a:defRPr kumimoji="0" sz="1200" b="0" i="0" u="none" strike="noStrike" cap="none" spc="0" normalizeH="0" baseline="0">
                <a:ln>
                  <a:noFill/>
                </a:ln>
                <a:gradFill>
                  <a:gsLst>
                    <a:gs pos="17557">
                      <a:srgbClr val="FFFFFF"/>
                    </a:gs>
                    <a:gs pos="55000">
                      <a:srgbClr val="FFFFFF"/>
                    </a:gs>
                  </a:gsLst>
                  <a:path path="circle">
                    <a:fillToRect l="100000" t="100000"/>
                  </a:path>
                </a:gradFill>
                <a:effectLst/>
                <a:uLnTx/>
                <a:uFillTx/>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564085" rtl="0" eaLnBrk="1" fontAlgn="auto"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mn-ea"/>
                <a:cs typeface="Segoe Sans Text" pitchFamily="2" charset="0"/>
              </a:rPr>
              <a:t>Non-Unified</a:t>
            </a:r>
          </a:p>
        </p:txBody>
      </p:sp>
      <p:sp>
        <p:nvSpPr>
          <p:cNvPr id="29" name="TextBox 28">
            <a:extLst>
              <a:ext uri="{FF2B5EF4-FFF2-40B4-BE49-F238E27FC236}">
                <a16:creationId xmlns:a16="http://schemas.microsoft.com/office/drawing/2014/main" id="{A0286E78-EF05-6D74-6C1D-F25BD928F96F}"/>
              </a:ext>
            </a:extLst>
          </p:cNvPr>
          <p:cNvSpPr txBox="1"/>
          <p:nvPr/>
        </p:nvSpPr>
        <p:spPr>
          <a:xfrm>
            <a:off x="2003153" y="5229780"/>
            <a:ext cx="409022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A446F"/>
                </a:solidFill>
                <a:effectLst/>
                <a:uLnTx/>
                <a:uFillTx/>
                <a:latin typeface="Segoe Sans Text Semibold"/>
                <a:ea typeface="+mn-ea"/>
                <a:cs typeface="+mn-cs"/>
              </a:rPr>
              <a:t>PARTNER, CUSTOMER IN-HOUSE, OR ISD</a:t>
            </a:r>
          </a:p>
        </p:txBody>
      </p:sp>
      <p:sp>
        <p:nvSpPr>
          <p:cNvPr id="30" name="TextBox 29">
            <a:extLst>
              <a:ext uri="{FF2B5EF4-FFF2-40B4-BE49-F238E27FC236}">
                <a16:creationId xmlns:a16="http://schemas.microsoft.com/office/drawing/2014/main" id="{6AE9D393-D7A9-941B-90D4-23BB3A0ECB1F}"/>
              </a:ext>
            </a:extLst>
          </p:cNvPr>
          <p:cNvSpPr txBox="1"/>
          <p:nvPr/>
        </p:nvSpPr>
        <p:spPr>
          <a:xfrm>
            <a:off x="2003153" y="5487078"/>
            <a:ext cx="8182248" cy="93358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Sans Text"/>
                <a:ea typeface="+mn-ea"/>
                <a:cs typeface="+mn-cs"/>
              </a:rPr>
              <a:t>Engage Pod aligned D-CSA resources for Top Non-Unified Corporate accounts to support deployment execution for committed milestones, help identify next best workload, and execute on low Azure consumption signals. D-CSA focus on non-Unified accounts w/ &gt;$240K ACR p.a. and may swam for &gt;$10K milestones in rest of Corporate. </a:t>
            </a: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Request CSU Investe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suinvested</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 </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GPS – How to find and engage partner (SIs/GSIs, SDCs and Channel)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FY26CAIPCosellPlaybook</a:t>
            </a:r>
            <a:endParaRPr kumimoji="0" lang="en-US" sz="900" b="0" i="0" u="none" strike="noStrike" kern="1200" cap="none" spc="0" normalizeH="0" baseline="0" noProof="0">
              <a:ln>
                <a:noFill/>
              </a:ln>
              <a:solidFill>
                <a:srgbClr val="0078D4"/>
              </a:solidFill>
              <a:effectLst/>
              <a:uLnTx/>
              <a:uFillTx/>
              <a:latin typeface="Segoe Sans Text"/>
              <a:ea typeface="+mn-ea"/>
              <a:cs typeface="+mn-cs"/>
            </a:endParaRPr>
          </a:p>
          <a:p>
            <a:pPr marL="0" marR="0" lvl="0" indent="0" algn="l" defTabSz="932742" rtl="0" eaLnBrk="1" fontAlgn="t"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1A1A1A"/>
                </a:solidFill>
                <a:effectLst/>
                <a:uLnTx/>
                <a:uFillTx/>
                <a:latin typeface="Segoe Sans Text"/>
                <a:ea typeface="+mn-ea"/>
                <a:cs typeface="+mn-cs"/>
              </a:rPr>
              <a:t>ISD – How to engage ISD –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aka.ms/</a:t>
            </a:r>
            <a:r>
              <a:rPr kumimoji="0" lang="en-US" sz="900" b="0" i="0" u="none" strike="noStrike" kern="1200" cap="none" spc="0" normalizeH="0" baseline="0" noProof="0" err="1">
                <a:ln>
                  <a:noFill/>
                </a:ln>
                <a:solidFill>
                  <a:srgbClr val="0078D4"/>
                </a:solidFill>
                <a:effectLst/>
                <a:uLnTx/>
                <a:uFillTx/>
                <a:latin typeface="Segoe Sans Text"/>
                <a:ea typeface="+mn-ea"/>
                <a:cs typeface="+mn-cs"/>
                <a:hlinkClick r:id="rId12">
                  <a:extLst>
                    <a:ext uri="{A12FA001-AC4F-418D-AE19-62706E023703}">
                      <ahyp:hlinkClr xmlns:ahyp="http://schemas.microsoft.com/office/drawing/2018/hyperlinkcolor" val="tx"/>
                    </a:ext>
                  </a:extLst>
                </a:hlinkClick>
              </a:rPr>
              <a:t>ISDServicesAssistance</a:t>
            </a:r>
            <a:r>
              <a:rPr kumimoji="0" lang="en-US" sz="900" b="0" i="0" u="none" strike="noStrike" kern="1200" cap="none" spc="0" normalizeH="0" baseline="0" noProof="0">
                <a:ln>
                  <a:noFill/>
                </a:ln>
                <a:solidFill>
                  <a:srgbClr val="0078D4"/>
                </a:solidFill>
                <a:effectLst/>
                <a:uLnTx/>
                <a:uFillTx/>
                <a:latin typeface="Segoe Sans Text"/>
                <a:ea typeface="+mn-ea"/>
                <a:cs typeface="+mn-cs"/>
              </a:rPr>
              <a:t> </a:t>
            </a:r>
            <a:r>
              <a:rPr kumimoji="0" lang="en-US" sz="900" b="0" i="0" u="none" strike="noStrike" kern="1200" cap="none" spc="0" normalizeH="0" baseline="0" noProof="0">
                <a:ln>
                  <a:noFill/>
                </a:ln>
                <a:solidFill>
                  <a:srgbClr val="1A1A1A"/>
                </a:solidFill>
                <a:effectLst/>
                <a:uLnTx/>
                <a:uFillTx/>
                <a:latin typeface="Segoe Sans Text"/>
                <a:ea typeface="+mn-ea"/>
                <a:cs typeface="+mn-cs"/>
              </a:rPr>
              <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13">
                  <a:extLst>
                    <a:ext uri="{A12FA001-AC4F-418D-AE19-62706E023703}">
                      <ahyp:hlinkClr xmlns:ahyp="http://schemas.microsoft.com/office/drawing/2018/hyperlinkcolor" val="tx"/>
                    </a:ext>
                  </a:extLst>
                </a:hlinkClick>
              </a:rPr>
              <a:t>offers in Catalog</a:t>
            </a:r>
          </a:p>
        </p:txBody>
      </p:sp>
      <p:cxnSp>
        <p:nvCxnSpPr>
          <p:cNvPr id="18" name="Straight Connector 17">
            <a:extLst>
              <a:ext uri="{FF2B5EF4-FFF2-40B4-BE49-F238E27FC236}">
                <a16:creationId xmlns:a16="http://schemas.microsoft.com/office/drawing/2014/main" id="{E08E25B2-7D3A-9EC1-53E3-22D4BA426AF1}"/>
              </a:ext>
              <a:ext uri="{C183D7F6-B498-43B3-948B-1728B52AA6E4}">
                <adec:decorative xmlns:adec="http://schemas.microsoft.com/office/drawing/2017/decorative" val="1"/>
              </a:ext>
            </a:extLst>
          </p:cNvPr>
          <p:cNvCxnSpPr>
            <a:cxnSpLocks/>
          </p:cNvCxnSpPr>
          <p:nvPr/>
        </p:nvCxnSpPr>
        <p:spPr>
          <a:xfrm>
            <a:off x="657913" y="3210581"/>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45E9A-6D0A-EF88-431D-4C3F6A607388}"/>
              </a:ext>
              <a:ext uri="{C183D7F6-B498-43B3-948B-1728B52AA6E4}">
                <adec:decorative xmlns:adec="http://schemas.microsoft.com/office/drawing/2017/decorative" val="1"/>
              </a:ext>
            </a:extLst>
          </p:cNvPr>
          <p:cNvCxnSpPr>
            <a:cxnSpLocks/>
          </p:cNvCxnSpPr>
          <p:nvPr/>
        </p:nvCxnSpPr>
        <p:spPr>
          <a:xfrm>
            <a:off x="657913" y="5191323"/>
            <a:ext cx="9614799"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Top Corners Rounded 57">
            <a:extLst>
              <a:ext uri="{FF2B5EF4-FFF2-40B4-BE49-F238E27FC236}">
                <a16:creationId xmlns:a16="http://schemas.microsoft.com/office/drawing/2014/main" id="{F902628F-E25E-9B67-8FD7-82BDF84D6E2D}"/>
              </a:ext>
              <a:ext uri="{C183D7F6-B498-43B3-948B-1728B52AA6E4}">
                <adec:decorative xmlns:adec="http://schemas.microsoft.com/office/drawing/2017/decorative" val="1"/>
              </a:ext>
            </a:extLst>
          </p:cNvPr>
          <p:cNvSpPr/>
          <p:nvPr/>
        </p:nvSpPr>
        <p:spPr bwMode="auto">
          <a:xfrm rot="5400000">
            <a:off x="8558963" y="2931280"/>
            <a:ext cx="5497515" cy="1768558"/>
          </a:xfrm>
          <a:prstGeom prst="round2SameRect">
            <a:avLst>
              <a:gd name="adj1" fmla="val 0"/>
              <a:gd name="adj2" fmla="val 340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0" name="TextBox 9">
            <a:extLst>
              <a:ext uri="{FF2B5EF4-FFF2-40B4-BE49-F238E27FC236}">
                <a16:creationId xmlns:a16="http://schemas.microsoft.com/office/drawing/2014/main" id="{5EBA0F9B-D8DA-7FDE-B8A7-462A176D4463}"/>
              </a:ext>
            </a:extLst>
          </p:cNvPr>
          <p:cNvSpPr txBox="1"/>
          <p:nvPr/>
        </p:nvSpPr>
        <p:spPr>
          <a:xfrm>
            <a:off x="10542962" y="2918001"/>
            <a:ext cx="1351857" cy="135421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PRODUCT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icrosoft Fabric</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ower BI</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zure Databricks</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zure Cosmos DB</a:t>
            </a:r>
          </a:p>
          <a:p>
            <a:pPr marL="168275"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solidFill>
                  <a:srgbClr val="000000"/>
                </a:solidFill>
                <a:latin typeface="Segoe Sans Text"/>
              </a:rPr>
              <a:t>Microsoft Purview</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 name="TextBox 10">
            <a:extLst>
              <a:ext uri="{FF2B5EF4-FFF2-40B4-BE49-F238E27FC236}">
                <a16:creationId xmlns:a16="http://schemas.microsoft.com/office/drawing/2014/main" id="{A557BC1B-A6D6-473A-EB9C-9CBEF1A210D2}"/>
              </a:ext>
            </a:extLst>
          </p:cNvPr>
          <p:cNvSpPr txBox="1"/>
          <p:nvPr/>
        </p:nvSpPr>
        <p:spPr>
          <a:xfrm>
            <a:off x="10542962" y="4493180"/>
            <a:ext cx="1351857" cy="112338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SKILLING</a:t>
            </a:r>
          </a:p>
          <a:p>
            <a:pPr marL="168275" marR="0" lvl="0" indent="-1190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14300" algn="l"/>
              </a:tabLst>
              <a:defRPr/>
            </a:pPr>
            <a:r>
              <a:rPr kumimoji="0" lang="en-US" sz="1100" b="0" i="0" u="none" strike="noStrike" kern="1200" cap="none" spc="0" normalizeH="0" baseline="0" noProof="0">
                <a:ln>
                  <a:noFill/>
                </a:ln>
                <a:solidFill>
                  <a:srgbClr val="0078D4"/>
                </a:solidFill>
                <a:effectLst/>
                <a:uLnTx/>
                <a:uFillTx/>
                <a:latin typeface="Segoe Sans Text"/>
                <a:ea typeface="+mn-ea"/>
                <a:cs typeface="+mn-cs"/>
                <a:hlinkClick r:id="rId14">
                  <a:extLst>
                    <a:ext uri="{A12FA001-AC4F-418D-AE19-62706E023703}">
                      <ahyp:hlinkClr xmlns:ahyp="http://schemas.microsoft.com/office/drawing/2018/hyperlinkcolor" val="tx"/>
                    </a:ext>
                  </a:extLst>
                </a:hlinkClick>
              </a:rPr>
              <a:t>FY26 Skilling Strategy </a:t>
            </a:r>
            <a:endParaRPr kumimoji="0" lang="en-US" sz="1100" b="0" i="0" u="none" strike="noStrike" kern="1200" cap="none" spc="0" normalizeH="0" baseline="0" noProof="0">
              <a:ln>
                <a:noFill/>
              </a:ln>
              <a:solidFill>
                <a:srgbClr val="0078D4"/>
              </a:solidFill>
              <a:effectLst/>
              <a:uLnTx/>
              <a:uFillTx/>
              <a:latin typeface="Segoe Sans Text"/>
              <a:ea typeface="+mn-ea"/>
              <a:cs typeface="+mn-cs"/>
            </a:endParaRPr>
          </a:p>
          <a:p>
            <a:pPr marL="168275" marR="0" lvl="0" indent="-1190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14300" algn="l"/>
              </a:tabLst>
              <a:defRPr/>
            </a:pPr>
            <a:r>
              <a:rPr kumimoji="0" lang="en-US" sz="1100" b="0" i="0" u="none" strike="noStrike" kern="1200" cap="none" spc="0" normalizeH="0" baseline="0" noProof="0">
                <a:ln>
                  <a:noFill/>
                </a:ln>
                <a:solidFill>
                  <a:srgbClr val="0078D4"/>
                </a:solidFill>
                <a:effectLst/>
                <a:uLnTx/>
                <a:uFillTx/>
                <a:latin typeface="Segoe Sans Text"/>
                <a:ea typeface="+mn-ea"/>
                <a:cs typeface="+mn-cs"/>
                <a:hlinkClick r:id="rId15">
                  <a:extLst>
                    <a:ext uri="{A12FA001-AC4F-418D-AE19-62706E023703}">
                      <ahyp:hlinkClr xmlns:ahyp="http://schemas.microsoft.com/office/drawing/2018/hyperlinkcolor" val="tx"/>
                    </a:ext>
                  </a:extLst>
                </a:hlinkClick>
              </a:rPr>
              <a:t>Copilot Agent </a:t>
            </a:r>
            <a:br>
              <a:rPr kumimoji="0" lang="en-US" sz="1100" b="0" i="0" u="none" strike="noStrike" kern="1200" cap="none" spc="0" normalizeH="0" baseline="0" noProof="0">
                <a:ln>
                  <a:noFill/>
                </a:ln>
                <a:solidFill>
                  <a:srgbClr val="0078D4"/>
                </a:solidFill>
                <a:effectLst/>
                <a:uLnTx/>
                <a:uFillTx/>
                <a:latin typeface="Segoe Sans Text"/>
                <a:ea typeface="+mn-ea"/>
                <a:cs typeface="+mn-cs"/>
                <a:hlinkClick r:id="rId15">
                  <a:extLst>
                    <a:ext uri="{A12FA001-AC4F-418D-AE19-62706E023703}">
                      <ahyp:hlinkClr xmlns:ahyp="http://schemas.microsoft.com/office/drawing/2018/hyperlinkcolor" val="tx"/>
                    </a:ext>
                  </a:extLst>
                </a:hlinkClick>
              </a:rPr>
            </a:br>
            <a:r>
              <a:rPr kumimoji="0" lang="en-US" sz="1100" b="0" i="0" u="none" strike="noStrike" kern="1200" cap="none" spc="0" normalizeH="0" baseline="0" noProof="0">
                <a:ln>
                  <a:noFill/>
                </a:ln>
                <a:solidFill>
                  <a:srgbClr val="0078D4"/>
                </a:solidFill>
                <a:effectLst/>
                <a:uLnTx/>
                <a:uFillTx/>
                <a:latin typeface="Segoe Sans Text"/>
                <a:ea typeface="+mn-ea"/>
                <a:cs typeface="+mn-cs"/>
                <a:hlinkClick r:id="rId15">
                  <a:extLst>
                    <a:ext uri="{A12FA001-AC4F-418D-AE19-62706E023703}">
                      <ahyp:hlinkClr xmlns:ahyp="http://schemas.microsoft.com/office/drawing/2018/hyperlinkcolor" val="tx"/>
                    </a:ext>
                  </a:extLst>
                </a:hlinkClick>
              </a:rPr>
              <a:t>L100–L400 by Workload</a:t>
            </a:r>
            <a:endParaRPr kumimoji="0" lang="en-US" sz="11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34" name="TextBox 33">
            <a:extLst>
              <a:ext uri="{FF2B5EF4-FFF2-40B4-BE49-F238E27FC236}">
                <a16:creationId xmlns:a16="http://schemas.microsoft.com/office/drawing/2014/main" id="{C86344D5-F7A9-877A-E35B-1151F07E7ABD}"/>
              </a:ext>
            </a:extLst>
          </p:cNvPr>
          <p:cNvSpPr txBox="1"/>
          <p:nvPr/>
        </p:nvSpPr>
        <p:spPr>
          <a:xfrm>
            <a:off x="10542962" y="1177361"/>
            <a:ext cx="1351857"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150" normalizeH="0" baseline="0" noProof="0">
                <a:ln>
                  <a:noFill/>
                </a:ln>
                <a:solidFill>
                  <a:srgbClr val="2A446F"/>
                </a:solidFill>
                <a:effectLst/>
                <a:uLnTx/>
                <a:uFillTx/>
                <a:latin typeface="Segoe Sans Text Semibold"/>
                <a:ea typeface="+mn-ea"/>
                <a:cs typeface="+mn-cs"/>
              </a:rPr>
              <a:t>AZURE CONSUMPTION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Sans Text"/>
                <a:ea typeface="+mn-ea"/>
                <a:cs typeface="+mn-cs"/>
              </a:rPr>
              <a:t>Review the Azure consumption plan and validate the completeness and accuracy across </a:t>
            </a:r>
            <a:r>
              <a:rPr kumimoji="0" lang="en-US" sz="1100" b="0" i="1" u="none" strike="noStrike" kern="1200" cap="none" spc="0" normalizeH="0" baseline="0" noProof="0">
                <a:ln>
                  <a:noFill/>
                </a:ln>
                <a:solidFill>
                  <a:prstClr val="black"/>
                </a:solidFill>
                <a:effectLst/>
                <a:uLnTx/>
                <a:uFillTx/>
                <a:latin typeface="Segoe Sans Text"/>
                <a:ea typeface="+mn-ea"/>
                <a:cs typeface="+mn-cs"/>
              </a:rPr>
              <a:t>all</a:t>
            </a:r>
            <a:r>
              <a:rPr kumimoji="0" lang="en-US" sz="1100" b="0" i="0" u="none" strike="noStrike" kern="1200" cap="none" spc="0" normalizeH="0" baseline="0" noProof="0">
                <a:ln>
                  <a:noFill/>
                </a:ln>
                <a:solidFill>
                  <a:prstClr val="black"/>
                </a:solidFill>
                <a:effectLst/>
                <a:uLnTx/>
                <a:uFillTx/>
                <a:latin typeface="Segoe Sans Text"/>
                <a:ea typeface="+mn-ea"/>
                <a:cs typeface="+mn-cs"/>
              </a:rPr>
              <a:t> Azure workloads.</a:t>
            </a:r>
          </a:p>
        </p:txBody>
      </p:sp>
      <p:grpSp>
        <p:nvGrpSpPr>
          <p:cNvPr id="53" name="Group 52">
            <a:extLst>
              <a:ext uri="{FF2B5EF4-FFF2-40B4-BE49-F238E27FC236}">
                <a16:creationId xmlns:a16="http://schemas.microsoft.com/office/drawing/2014/main" id="{41F3571A-3E47-4BE5-A9C1-3C9F41885893}"/>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54" name="Table 2 Cell 1, 1 to Text">
              <a:extLst>
                <a:ext uri="{FF2B5EF4-FFF2-40B4-BE49-F238E27FC236}">
                  <a16:creationId xmlns:a16="http://schemas.microsoft.com/office/drawing/2014/main" id="{4AEFD82A-D575-DCF2-EC32-511A3C6751F5}"/>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5" name="Table 2 Cell 2, 1 to Text">
              <a:extLst>
                <a:ext uri="{FF2B5EF4-FFF2-40B4-BE49-F238E27FC236}">
                  <a16:creationId xmlns:a16="http://schemas.microsoft.com/office/drawing/2014/main" id="{486176CF-F16F-870C-FAA8-55449A4128D6}"/>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56" name="Table 2 Cell 3, 1 to Text">
              <a:extLst>
                <a:ext uri="{FF2B5EF4-FFF2-40B4-BE49-F238E27FC236}">
                  <a16:creationId xmlns:a16="http://schemas.microsoft.com/office/drawing/2014/main" id="{C5C469F2-377F-AC11-0D07-A6BBB7CF9E8B}"/>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57" name="Table 2 Cell 4, 1 to Text">
              <a:extLst>
                <a:ext uri="{FF2B5EF4-FFF2-40B4-BE49-F238E27FC236}">
                  <a16:creationId xmlns:a16="http://schemas.microsoft.com/office/drawing/2014/main" id="{C906EBD9-6500-9C59-E0B4-B4A89CF2C40C}"/>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59" name="Table 2 Cell 5, 1 to Text">
              <a:extLst>
                <a:ext uri="{FF2B5EF4-FFF2-40B4-BE49-F238E27FC236}">
                  <a16:creationId xmlns:a16="http://schemas.microsoft.com/office/drawing/2014/main" id="{D84125D5-1E79-1A50-98E5-A736682E1A72}"/>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60" name="Table 2 Cell 6, 1 to Text">
              <a:extLst>
                <a:ext uri="{FF2B5EF4-FFF2-40B4-BE49-F238E27FC236}">
                  <a16:creationId xmlns:a16="http://schemas.microsoft.com/office/drawing/2014/main" id="{C09FE6B9-FD9E-959F-B094-FA612644B52A}"/>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1" name="Table 2 Cell 7, 1 to Text">
              <a:extLst>
                <a:ext uri="{FF2B5EF4-FFF2-40B4-BE49-F238E27FC236}">
                  <a16:creationId xmlns:a16="http://schemas.microsoft.com/office/drawing/2014/main" id="{2FC27387-9A5C-2161-C6D1-04EA4D3037F5}"/>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2" name="Table 2 Cell 1, 2 to Text">
              <a:extLst>
                <a:ext uri="{FF2B5EF4-FFF2-40B4-BE49-F238E27FC236}">
                  <a16:creationId xmlns:a16="http://schemas.microsoft.com/office/drawing/2014/main" id="{A9F8BC04-FB65-3942-BAB7-54F3D44D8228}"/>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63" name="Table 2 Cell 1, 3 to Text">
              <a:extLst>
                <a:ext uri="{FF2B5EF4-FFF2-40B4-BE49-F238E27FC236}">
                  <a16:creationId xmlns:a16="http://schemas.microsoft.com/office/drawing/2014/main" id="{8E88D156-1594-52DC-5556-892FE3B610F3}"/>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64" name="Table 2 Cell 1, 4 to Text">
              <a:extLst>
                <a:ext uri="{FF2B5EF4-FFF2-40B4-BE49-F238E27FC236}">
                  <a16:creationId xmlns:a16="http://schemas.microsoft.com/office/drawing/2014/main" id="{7C9A97F8-5AB2-F9CE-B087-38FF76365A95}"/>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65" name="Table 2 Cell 1, 5 to Text">
              <a:extLst>
                <a:ext uri="{FF2B5EF4-FFF2-40B4-BE49-F238E27FC236}">
                  <a16:creationId xmlns:a16="http://schemas.microsoft.com/office/drawing/2014/main" id="{967097B3-04BD-704B-85CE-771FFA1CADB6}"/>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66" name="Table 2 Cell 1, 6 to Text">
              <a:extLst>
                <a:ext uri="{FF2B5EF4-FFF2-40B4-BE49-F238E27FC236}">
                  <a16:creationId xmlns:a16="http://schemas.microsoft.com/office/drawing/2014/main" id="{47C4AFAD-E838-AD4B-85BE-6B29751FBD5C}"/>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67" name="Table 2 Cell 1, 7 to Text">
              <a:extLst>
                <a:ext uri="{FF2B5EF4-FFF2-40B4-BE49-F238E27FC236}">
                  <a16:creationId xmlns:a16="http://schemas.microsoft.com/office/drawing/2014/main" id="{A9B2AA11-7B34-0250-03B8-2AA43492D7DB}"/>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68" name="Table 2 Cell 1, 8 to Text">
              <a:extLst>
                <a:ext uri="{FF2B5EF4-FFF2-40B4-BE49-F238E27FC236}">
                  <a16:creationId xmlns:a16="http://schemas.microsoft.com/office/drawing/2014/main" id="{49898EAE-829D-C970-FEEA-19DEEA8D22A3}"/>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5.7 Delivery &amp; Success</a:t>
              </a:r>
            </a:p>
          </p:txBody>
        </p:sp>
      </p:grpSp>
    </p:spTree>
    <p:extLst>
      <p:ext uri="{BB962C8B-B14F-4D97-AF65-F5344CB8AC3E}">
        <p14:creationId xmlns:p14="http://schemas.microsoft.com/office/powerpoint/2010/main" val="40365459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B1AD1-854F-461A-D460-EA6E8C19D8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5B6D7A-3FDB-2CC6-0A3A-65532DA2D733}"/>
              </a:ext>
            </a:extLst>
          </p:cNvPr>
          <p:cNvSpPr>
            <a:spLocks noGrp="1"/>
          </p:cNvSpPr>
          <p:nvPr>
            <p:ph type="title"/>
          </p:nvPr>
        </p:nvSpPr>
        <p:spPr>
          <a:xfrm>
            <a:off x="326803" y="601380"/>
            <a:ext cx="11049000" cy="369332"/>
          </a:xfrm>
        </p:spPr>
        <p:txBody>
          <a:bodyPr/>
          <a:lstStyle/>
          <a:p>
            <a:r>
              <a:rPr lang="en-US" sz="2400" spc="-51">
                <a:solidFill>
                  <a:srgbClr val="0070C0"/>
                </a:solidFill>
                <a:latin typeface="Segoe UI Semibold"/>
              </a:rPr>
              <a:t>FY26 J2 Cloud + AI: Unify your Data Platform  </a:t>
            </a:r>
            <a:endParaRPr lang="en-US" sz="2400"/>
          </a:p>
        </p:txBody>
      </p:sp>
      <p:graphicFrame>
        <p:nvGraphicFramePr>
          <p:cNvPr id="5" name="Content Placeholder 3">
            <a:extLst>
              <a:ext uri="{FF2B5EF4-FFF2-40B4-BE49-F238E27FC236}">
                <a16:creationId xmlns:a16="http://schemas.microsoft.com/office/drawing/2014/main" id="{D19DA251-5E79-50C3-EA16-D63644F067CA}"/>
              </a:ext>
            </a:extLst>
          </p:cNvPr>
          <p:cNvGraphicFramePr>
            <a:graphicFrameLocks/>
          </p:cNvGraphicFramePr>
          <p:nvPr>
            <p:extLst>
              <p:ext uri="{D42A27DB-BD31-4B8C-83A1-F6EECF244321}">
                <p14:modId xmlns:p14="http://schemas.microsoft.com/office/powerpoint/2010/main" val="4029074445"/>
              </p:ext>
            </p:extLst>
          </p:nvPr>
        </p:nvGraphicFramePr>
        <p:xfrm>
          <a:off x="194946" y="1093823"/>
          <a:ext cx="11868423" cy="5349240"/>
        </p:xfrm>
        <a:graphic>
          <a:graphicData uri="http://schemas.openxmlformats.org/drawingml/2006/table">
            <a:tbl>
              <a:tblPr firstRow="1" bandRow="1">
                <a:tableStyleId>{5940675A-B579-460E-94D1-54222C63F5DA}</a:tableStyleId>
              </a:tblPr>
              <a:tblGrid>
                <a:gridCol w="585230">
                  <a:extLst>
                    <a:ext uri="{9D8B030D-6E8A-4147-A177-3AD203B41FA5}">
                      <a16:colId xmlns:a16="http://schemas.microsoft.com/office/drawing/2014/main" val="508227146"/>
                    </a:ext>
                  </a:extLst>
                </a:gridCol>
                <a:gridCol w="1870745">
                  <a:extLst>
                    <a:ext uri="{9D8B030D-6E8A-4147-A177-3AD203B41FA5}">
                      <a16:colId xmlns:a16="http://schemas.microsoft.com/office/drawing/2014/main" val="1970924299"/>
                    </a:ext>
                  </a:extLst>
                </a:gridCol>
                <a:gridCol w="2944536">
                  <a:extLst>
                    <a:ext uri="{9D8B030D-6E8A-4147-A177-3AD203B41FA5}">
                      <a16:colId xmlns:a16="http://schemas.microsoft.com/office/drawing/2014/main" val="1484795938"/>
                    </a:ext>
                  </a:extLst>
                </a:gridCol>
                <a:gridCol w="1879134">
                  <a:extLst>
                    <a:ext uri="{9D8B030D-6E8A-4147-A177-3AD203B41FA5}">
                      <a16:colId xmlns:a16="http://schemas.microsoft.com/office/drawing/2014/main" val="2593303890"/>
                    </a:ext>
                  </a:extLst>
                </a:gridCol>
                <a:gridCol w="1744910">
                  <a:extLst>
                    <a:ext uri="{9D8B030D-6E8A-4147-A177-3AD203B41FA5}">
                      <a16:colId xmlns:a16="http://schemas.microsoft.com/office/drawing/2014/main" val="761956431"/>
                    </a:ext>
                  </a:extLst>
                </a:gridCol>
                <a:gridCol w="1578506">
                  <a:extLst>
                    <a:ext uri="{9D8B030D-6E8A-4147-A177-3AD203B41FA5}">
                      <a16:colId xmlns:a16="http://schemas.microsoft.com/office/drawing/2014/main" val="735718340"/>
                    </a:ext>
                  </a:extLst>
                </a:gridCol>
                <a:gridCol w="1265362">
                  <a:extLst>
                    <a:ext uri="{9D8B030D-6E8A-4147-A177-3AD203B41FA5}">
                      <a16:colId xmlns:a16="http://schemas.microsoft.com/office/drawing/2014/main" val="575951266"/>
                    </a:ext>
                  </a:extLst>
                </a:gridCol>
              </a:tblGrid>
              <a:tr h="502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mj-lt"/>
                          <a:ea typeface="+mn-ea"/>
                          <a:cs typeface="Segoe UI"/>
                        </a:rPr>
                        <a:t>FY26 SP</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j-lt"/>
                          <a:ea typeface="+mn-ea"/>
                          <a:cs typeface="Segoe UI"/>
                        </a:rPr>
                        <a:t>PRIORITIE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1200" b="0" i="0" u="none" strike="noStrike" kern="1200" cap="none" spc="0" normalizeH="0" baseline="0" dirty="0">
                          <a:ln>
                            <a:noFill/>
                          </a:ln>
                          <a:solidFill>
                            <a:schemeClr val="bg1"/>
                          </a:solidFill>
                          <a:effectLst/>
                          <a:uLnTx/>
                          <a:uFillTx/>
                          <a:latin typeface="+mj-lt"/>
                          <a:ea typeface="+mn-ea"/>
                          <a:cs typeface="Segoe UI"/>
                        </a:rPr>
                        <a:t>FY26 Motions </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1200" b="0" i="0" u="none" strike="noStrike" kern="1200" cap="none" spc="0" normalizeH="0" baseline="0" dirty="0">
                          <a:ln>
                            <a:noFill/>
                          </a:ln>
                          <a:solidFill>
                            <a:schemeClr val="bg1"/>
                          </a:solidFill>
                          <a:effectLst/>
                          <a:uLnTx/>
                          <a:uFillTx/>
                          <a:latin typeface="+mj-lt"/>
                          <a:ea typeface="+mn-ea"/>
                          <a:cs typeface="Segoe UI"/>
                        </a:rPr>
                        <a:t>Sub Motions </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7724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mj-lt"/>
                          <a:ea typeface="+mn-ea"/>
                          <a:cs typeface="Segoe UI"/>
                        </a:rPr>
                        <a:t>VALUE PROP/ CUSTOMER BENEFIT </a:t>
                      </a:r>
                    </a:p>
                    <a:p>
                      <a:endParaRPr kumimoji="0" lang="en-US" sz="1200" b="0" i="0" u="none" strike="noStrike" kern="1200" cap="none" spc="0" normalizeH="0" baseline="0">
                        <a:ln>
                          <a:noFill/>
                        </a:ln>
                        <a:solidFill>
                          <a:schemeClr val="bg1"/>
                        </a:solidFill>
                        <a:effectLst/>
                        <a:uLnTx/>
                        <a:uFillTx/>
                        <a:latin typeface="+mj-lt"/>
                        <a:ea typeface="+mn-ea"/>
                        <a:cs typeface="Segoe UI"/>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1200" b="0" i="0" u="none" strike="noStrike" kern="1200" cap="none" spc="0" normalizeH="0" baseline="0" dirty="0">
                          <a:ln>
                            <a:noFill/>
                          </a:ln>
                          <a:solidFill>
                            <a:schemeClr val="bg1"/>
                          </a:solidFill>
                          <a:effectLst/>
                          <a:uLnTx/>
                          <a:uFillTx/>
                          <a:latin typeface="+mj-lt"/>
                          <a:ea typeface="+mn-ea"/>
                          <a:cs typeface="Segoe UI"/>
                        </a:rPr>
                        <a:t>HOW TO EXECUTE/TIMELIN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kumimoji="0" lang="en-US" sz="1200" b="0" i="0" u="none" strike="noStrike" kern="1200" cap="none" spc="0" normalizeH="0" baseline="0" dirty="0">
                          <a:ln>
                            <a:noFill/>
                          </a:ln>
                          <a:solidFill>
                            <a:schemeClr val="bg1"/>
                          </a:solidFill>
                          <a:effectLst/>
                          <a:uLnTx/>
                          <a:uFillTx/>
                          <a:latin typeface="+mj-lt"/>
                          <a:ea typeface="+mn-ea"/>
                          <a:cs typeface="Segoe UI"/>
                        </a:rPr>
                        <a:t>METRICS </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4154869616"/>
                  </a:ext>
                </a:extLst>
              </a:tr>
              <a:tr h="553235">
                <a:tc rowSpan="5">
                  <a:txBody>
                    <a:bodyPr/>
                    <a:lstStyle/>
                    <a:p>
                      <a:pPr marL="0" marR="0" lvl="0" indent="0" algn="ctr"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bg1"/>
                          </a:solidFill>
                          <a:effectLst/>
                          <a:uLnTx/>
                          <a:uFillTx/>
                          <a:latin typeface="+mj-lt"/>
                          <a:ea typeface="+mn-ea"/>
                          <a:cs typeface="Segoe UI"/>
                        </a:rPr>
                        <a:t>UNIFY YOUR DATA PLATFORM</a:t>
                      </a:r>
                    </a:p>
                  </a:txBody>
                  <a:tcPr vert="vert27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a:lnSpc>
                          <a:spcPct val="100000"/>
                        </a:lnSpc>
                        <a:spcBef>
                          <a:spcPts val="0"/>
                        </a:spcBef>
                        <a:spcAft>
                          <a:spcPts val="0"/>
                        </a:spcAft>
                        <a:buClr>
                          <a:srgbClr val="000000"/>
                        </a:buClr>
                        <a:buSzTx/>
                        <a:buFont typeface="+mj-lt"/>
                        <a:buNone/>
                      </a:pPr>
                      <a:r>
                        <a:rPr lang="en-US" sz="900" b="1" i="0" u="none" strike="noStrike" kern="1200" noProof="0" dirty="0">
                          <a:solidFill>
                            <a:srgbClr val="000000"/>
                          </a:solidFill>
                          <a:latin typeface="+mn-lt"/>
                        </a:rPr>
                        <a:t>Establish Fabric as the Data Foundation for AI Transformations</a:t>
                      </a:r>
                      <a:endParaRPr lang="en-US" sz="900" b="1" dirty="0">
                        <a:latin typeface="+mn-lt"/>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724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1" i="0" u="none" strike="noStrike" kern="1200" cap="none" spc="0" normalizeH="0" baseline="0" noProof="0" dirty="0">
                          <a:ln>
                            <a:noFill/>
                          </a:ln>
                          <a:solidFill>
                            <a:srgbClr val="1A1A1A"/>
                          </a:solidFill>
                          <a:effectLst/>
                          <a:uLnTx/>
                          <a:uFillTx/>
                          <a:latin typeface="+mn-lt"/>
                          <a:ea typeface="+mn-ea"/>
                          <a:cs typeface="+mn-cs"/>
                        </a:rPr>
                        <a:t>Priority for Q1: </a:t>
                      </a:r>
                      <a:r>
                        <a:rPr lang="en-US" sz="900" b="0" i="0" u="none" strike="noStrike" kern="1200" cap="none" spc="0" normalizeH="0" baseline="0" noProof="0" dirty="0">
                          <a:ln>
                            <a:noFill/>
                          </a:ln>
                          <a:solidFill>
                            <a:srgbClr val="1A1A1A"/>
                          </a:solidFill>
                          <a:effectLst/>
                          <a:uLnTx/>
                          <a:uFillTx/>
                          <a:latin typeface="+mn-lt"/>
                          <a:ea typeface="+mn-ea"/>
                          <a:cs typeface="+mn-cs"/>
                        </a:rPr>
                        <a:t>Usage Excellence</a:t>
                      </a:r>
                      <a:endParaRPr lang="en-US" sz="900" b="1" i="0" u="none" strike="noStrike" kern="1200" cap="none" spc="0" normalizeH="0" baseline="0" noProof="0" dirty="0">
                        <a:ln>
                          <a:noFill/>
                        </a:ln>
                        <a:solidFill>
                          <a:srgbClr val="1A1A1A"/>
                        </a:solidFill>
                        <a:effectLst/>
                        <a:uLnTx/>
                        <a:uFillTx/>
                        <a:latin typeface="+mn-lt"/>
                        <a:ea typeface="+mn-ea"/>
                        <a:cs typeface="+mn-cs"/>
                      </a:endParaRPr>
                    </a:p>
                    <a:p>
                      <a:pPr marL="557530" marR="0" lvl="1" indent="-171450" algn="l" defTabSz="7724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spc="0" normalizeH="0" baseline="0" noProof="0" dirty="0">
                          <a:ln>
                            <a:noFill/>
                          </a:ln>
                          <a:solidFill>
                            <a:srgbClr val="1A1A1A"/>
                          </a:solidFill>
                          <a:effectLst/>
                          <a:uLnTx/>
                          <a:uFillTx/>
                          <a:latin typeface="+mn-lt"/>
                          <a:ea typeface="+mn-ea"/>
                          <a:cs typeface="+mn-cs"/>
                        </a:rPr>
                        <a:t>Synapse to Fabric migration</a:t>
                      </a:r>
                      <a:endParaRPr kumimoji="0" lang="en-US" sz="900" b="0" i="0" u="none" strike="noStrike" kern="1200" cap="none" spc="0" normalizeH="0" baseline="0" noProof="0" dirty="0">
                        <a:ln>
                          <a:noFill/>
                        </a:ln>
                        <a:solidFill>
                          <a:srgbClr val="1A1A1A"/>
                        </a:solidFill>
                        <a:effectLst/>
                        <a:uLnTx/>
                        <a:uFillTx/>
                        <a:latin typeface="+mn-lt"/>
                        <a:ea typeface="+mn-ea"/>
                        <a:cs typeface="+mn-cs"/>
                      </a:endParaRPr>
                    </a:p>
                    <a:p>
                      <a:pPr marL="557530" marR="0" lvl="1" indent="-171450" algn="l" rtl="0" eaLnBrk="1" fontAlgn="t" latinLnBrk="0" hangingPunct="1">
                        <a:lnSpc>
                          <a:spcPct val="100000"/>
                        </a:lnSpc>
                        <a:spcBef>
                          <a:spcPts val="0"/>
                        </a:spcBef>
                        <a:spcAft>
                          <a:spcPts val="0"/>
                        </a:spcAft>
                        <a:buClrTx/>
                        <a:buSzTx/>
                        <a:buFont typeface="Arial" panose="020B0604020202020204" pitchFamily="34" charset="0"/>
                        <a:buChar char="•"/>
                      </a:pPr>
                      <a:r>
                        <a:rPr kumimoji="0" lang="en-US" sz="900" b="0" i="0" u="none" strike="noStrike" kern="1200" cap="none" spc="0" normalizeH="0" baseline="0" noProof="0" dirty="0">
                          <a:ln>
                            <a:noFill/>
                          </a:ln>
                          <a:solidFill>
                            <a:srgbClr val="1A1A1A"/>
                          </a:solidFill>
                          <a:effectLst/>
                          <a:uLnTx/>
                          <a:uFillTx/>
                          <a:latin typeface="+mn-lt"/>
                          <a:ea typeface="+mn-ea"/>
                          <a:cs typeface="+mn-cs"/>
                        </a:rPr>
                        <a:t>Building Solutions with Real Time Intelligence</a:t>
                      </a:r>
                      <a:endParaRPr lang="en-US" sz="900" b="0" i="0" u="none" strike="noStrike" kern="1200" cap="none" spc="0" normalizeH="0" baseline="0" noProof="0" dirty="0">
                        <a:ln>
                          <a:noFill/>
                        </a:ln>
                        <a:solidFill>
                          <a:srgbClr val="1A1A1A"/>
                        </a:solidFill>
                        <a:effectLst/>
                        <a:uLnTx/>
                        <a:uFillTx/>
                        <a:latin typeface="+mn-lt"/>
                        <a:ea typeface="+mn-ea"/>
                        <a:cs typeface="+mn-cs"/>
                      </a:endParaRPr>
                    </a:p>
                    <a:p>
                      <a:pPr marL="557530" marR="0" lvl="1"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Leverage Fabric data Agents to enrich the data and pipeline optimization &amp; Debugging.</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Fabric Lakehouse</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kumimoji="0" lang="en-US" sz="900" b="0" i="0" u="none" strike="noStrike" kern="1200" cap="none" spc="0" normalizeH="0" baseline="0" noProof="0" dirty="0">
                          <a:ln>
                            <a:noFill/>
                          </a:ln>
                          <a:solidFill>
                            <a:srgbClr val="1A1A1A"/>
                          </a:solidFill>
                          <a:effectLst/>
                          <a:uLnTx/>
                          <a:uFillTx/>
                          <a:latin typeface="+mn-lt"/>
                          <a:ea typeface="+mn-ea"/>
                          <a:cs typeface="+mn-cs"/>
                        </a:rPr>
                        <a:t>Fabric Warehouse (1st Party and 3</a:t>
                      </a:r>
                      <a:r>
                        <a:rPr kumimoji="0" lang="en-US" sz="900" b="0" i="0" u="none" strike="noStrike" kern="1200" cap="none" spc="0" normalizeH="0" baseline="30000" noProof="0" dirty="0">
                          <a:ln>
                            <a:noFill/>
                          </a:ln>
                          <a:solidFill>
                            <a:srgbClr val="1A1A1A"/>
                          </a:solidFill>
                          <a:effectLst/>
                          <a:uLnTx/>
                          <a:uFillTx/>
                          <a:latin typeface="+mn-lt"/>
                          <a:ea typeface="+mn-ea"/>
                          <a:cs typeface="+mn-cs"/>
                        </a:rPr>
                        <a:t>rd</a:t>
                      </a:r>
                      <a:r>
                        <a:rPr kumimoji="0" lang="en-US" sz="900" b="0" i="0" u="none" strike="noStrike" kern="1200" cap="none" spc="0" normalizeH="0" baseline="0" noProof="0" dirty="0">
                          <a:ln>
                            <a:noFill/>
                          </a:ln>
                          <a:solidFill>
                            <a:srgbClr val="1A1A1A"/>
                          </a:solidFill>
                          <a:effectLst/>
                          <a:uLnTx/>
                          <a:uFillTx/>
                          <a:latin typeface="+mn-lt"/>
                          <a:ea typeface="+mn-ea"/>
                          <a:cs typeface="+mn-cs"/>
                        </a:rPr>
                        <a:t> Party tools</a:t>
                      </a:r>
                      <a:r>
                        <a:rPr lang="en-US" sz="900" b="0" i="0" u="none" strike="noStrike" kern="1200" cap="none" spc="0" normalizeH="0" baseline="0" noProof="0" dirty="0">
                          <a:ln>
                            <a:noFill/>
                          </a:ln>
                          <a:solidFill>
                            <a:srgbClr val="1A1A1A"/>
                          </a:solidFill>
                          <a:effectLst/>
                          <a:uLnTx/>
                          <a:uFillTx/>
                          <a:latin typeface="+mn-lt"/>
                          <a:ea typeface="+mn-ea"/>
                          <a:cs typeface="+mn-cs"/>
                        </a:rPr>
                        <a:t> for Synapse to Fabric Migration</a:t>
                      </a:r>
                      <a:r>
                        <a:rPr kumimoji="0" lang="en-US" sz="900" b="0" i="0" u="none" strike="noStrike" kern="1200" cap="none" spc="0" normalizeH="0" baseline="0" noProof="0" dirty="0">
                          <a:ln>
                            <a:noFill/>
                          </a:ln>
                          <a:solidFill>
                            <a:srgbClr val="1A1A1A"/>
                          </a:solidFill>
                          <a:effectLst/>
                          <a:uLnTx/>
                          <a:uFillTx/>
                          <a:latin typeface="+mn-lt"/>
                          <a:ea typeface="+mn-ea"/>
                          <a:cs typeface="+mn-cs"/>
                        </a:rPr>
                        <a:t>)</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Fabric Pipeline /ADF</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Fabric Real Time Intelligenc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Successful migration and modernizing the analytics platform</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Usage Expansion</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Factory</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VBD</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DE/EDE</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5">
                  <a:txBody>
                    <a:bodyPr/>
                    <a:lstStyle/>
                    <a:p>
                      <a:pPr marL="0" marR="0" lvl="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endParaRPr lang="en-SG" sz="900" dirty="0"/>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4908807"/>
                  </a:ext>
                </a:extLst>
              </a:tr>
              <a:tr h="553235">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a:lnSpc>
                          <a:spcPct val="100000"/>
                        </a:lnSpc>
                        <a:spcBef>
                          <a:spcPts val="0"/>
                        </a:spcBef>
                        <a:spcAft>
                          <a:spcPts val="0"/>
                        </a:spcAft>
                        <a:buClr>
                          <a:srgbClr val="000000"/>
                        </a:buClr>
                        <a:buSzTx/>
                        <a:buFont typeface="+mj-lt"/>
                        <a:buNone/>
                      </a:pPr>
                      <a:r>
                        <a:rPr lang="en-US" sz="900" b="1" i="0" u="none" strike="noStrike" kern="1200" noProof="0" dirty="0">
                          <a:solidFill>
                            <a:srgbClr val="000000"/>
                          </a:solidFill>
                          <a:latin typeface="+mn-lt"/>
                        </a:rPr>
                        <a:t>Accelerate Azure Databricks growth through joint sales and marketing initiatives</a:t>
                      </a:r>
                      <a:endParaRPr lang="en-US" sz="900" b="1" dirty="0">
                        <a:latin typeface="+mn-lt"/>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dirty="0">
                          <a:ln>
                            <a:noFill/>
                          </a:ln>
                          <a:solidFill>
                            <a:srgbClr val="1A1A1A"/>
                          </a:solidFill>
                          <a:effectLst/>
                          <a:uLnTx/>
                          <a:uFillTx/>
                          <a:latin typeface="+mn-lt"/>
                          <a:ea typeface="+mn-ea"/>
                          <a:cs typeface="+mn-cs"/>
                        </a:rPr>
                        <a:t>Priority for Q1: </a:t>
                      </a:r>
                      <a:r>
                        <a:rPr lang="en-US" sz="900" b="0" i="0" u="none" strike="noStrike" kern="1200" cap="none" spc="0" normalizeH="0" baseline="0" noProof="0" dirty="0">
                          <a:ln>
                            <a:noFill/>
                          </a:ln>
                          <a:solidFill>
                            <a:srgbClr val="1A1A1A"/>
                          </a:solidFill>
                          <a:effectLst/>
                          <a:uLnTx/>
                          <a:uFillTx/>
                          <a:latin typeface="+mn-lt"/>
                          <a:ea typeface="+mn-ea"/>
                          <a:cs typeface="+mn-cs"/>
                        </a:rPr>
                        <a:t>Accelerate Consumption</a:t>
                      </a:r>
                      <a:endParaRPr lang="en-US" sz="900" b="1" i="0" u="none" strike="noStrike" kern="1200" cap="none" spc="0" normalizeH="0" baseline="0" noProof="0" dirty="0">
                        <a:ln>
                          <a:noFill/>
                        </a:ln>
                        <a:solidFill>
                          <a:srgbClr val="1A1A1A"/>
                        </a:solidFill>
                        <a:effectLst/>
                        <a:uLnTx/>
                        <a:uFillTx/>
                        <a:latin typeface="+mn-lt"/>
                        <a:ea typeface="+mn-ea"/>
                        <a:cs typeface="+mn-cs"/>
                      </a:endParaRPr>
                    </a:p>
                    <a:p>
                      <a:pPr marL="557530" marR="0" lvl="1"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P3 Acceleration</a:t>
                      </a:r>
                    </a:p>
                    <a:p>
                      <a:pPr marL="557530" marR="0" lvl="1"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Project </a:t>
                      </a:r>
                      <a:r>
                        <a:rPr lang="en-US" sz="900" b="0" i="0" u="none" strike="noStrike" kern="1200" cap="none" spc="0" normalizeH="0" baseline="0" noProof="0" dirty="0" err="1">
                          <a:ln>
                            <a:noFill/>
                          </a:ln>
                          <a:solidFill>
                            <a:srgbClr val="1A1A1A"/>
                          </a:solidFill>
                          <a:effectLst/>
                          <a:uLnTx/>
                          <a:uFillTx/>
                          <a:latin typeface="+mn-lt"/>
                          <a:ea typeface="+mn-ea"/>
                          <a:cs typeface="+mn-cs"/>
                        </a:rPr>
                        <a:t>RedFish</a:t>
                      </a:r>
                      <a:endParaRPr lang="en-US" sz="900" b="0" i="0" u="none" strike="noStrike" kern="1200" cap="none" spc="0" normalizeH="0" baseline="0" noProof="0" dirty="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Deploy</a:t>
                      </a:r>
                      <a:r>
                        <a:rPr kumimoji="0" lang="en-US" sz="900" b="0" i="0" u="none" strike="noStrike" kern="1200" cap="none" spc="0" normalizeH="0" baseline="0" noProof="0" dirty="0">
                          <a:ln>
                            <a:noFill/>
                          </a:ln>
                          <a:solidFill>
                            <a:srgbClr val="1A1A1A"/>
                          </a:solidFill>
                          <a:effectLst/>
                          <a:uLnTx/>
                          <a:uFillTx/>
                          <a:latin typeface="+mn-lt"/>
                          <a:ea typeface="+mn-ea"/>
                          <a:cs typeface="+mn-cs"/>
                        </a:rPr>
                        <a:t> Analytics with Scalable Lakehouse Architecture</a:t>
                      </a:r>
                      <a:r>
                        <a:rPr lang="en-US" sz="900" b="0" i="0" u="none" strike="noStrike" kern="1200" cap="none" spc="0" normalizeH="0" baseline="0" noProof="0" dirty="0">
                          <a:ln>
                            <a:noFill/>
                          </a:ln>
                          <a:solidFill>
                            <a:srgbClr val="1A1A1A"/>
                          </a:solidFill>
                          <a:effectLst/>
                          <a:uLnTx/>
                          <a:uFillTx/>
                          <a:latin typeface="+mn-lt"/>
                          <a:ea typeface="+mn-ea"/>
                          <a:cs typeface="+mn-cs"/>
                        </a:rPr>
                        <a:t>. </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Upgrade with Unity Catalog with Serverless</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Better together with Fabric workload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Successful P3 contract utilization</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Accelerate Databricks consumption thru Project Redfish</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Execution excellence with Databricks core team</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Factory</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VBD</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DE/ED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5400558"/>
                  </a:ext>
                </a:extLst>
              </a:tr>
              <a:tr h="402353">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rtl="0" eaLnBrk="1" fontAlgn="auto" latinLnBrk="0" hangingPunct="1">
                        <a:lnSpc>
                          <a:spcPct val="100000"/>
                        </a:lnSpc>
                        <a:spcBef>
                          <a:spcPts val="0"/>
                        </a:spcBef>
                        <a:spcAft>
                          <a:spcPts val="0"/>
                        </a:spcAft>
                        <a:buClrTx/>
                        <a:buSzTx/>
                        <a:buFont typeface="+mj-lt"/>
                        <a:buNone/>
                      </a:pPr>
                      <a:r>
                        <a:rPr lang="en-US" sz="900" b="1" i="0" u="none" strike="noStrike" kern="1200" noProof="0" dirty="0">
                          <a:solidFill>
                            <a:srgbClr val="000000"/>
                          </a:solidFill>
                          <a:latin typeface="+mn-lt"/>
                        </a:rPr>
                        <a:t>Modernize all legacy BI and Analytics Platforms with CoPilot</a:t>
                      </a:r>
                      <a:endParaRPr kumimoji="0" lang="en-US" sz="900" b="1" i="0" u="none" strike="noStrike" kern="1200" cap="none" spc="0" normalizeH="0" baseline="0" noProof="0" dirty="0">
                        <a:ln>
                          <a:noFill/>
                        </a:ln>
                        <a:solidFill>
                          <a:srgbClr val="1A1A1A"/>
                        </a:solidFill>
                        <a:effectLst/>
                        <a:uLnTx/>
                        <a:uFillTx/>
                        <a:latin typeface="+mn-lt"/>
                        <a:ea typeface="+mn-ea"/>
                        <a:cs typeface="Segoe UI"/>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724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1" i="0" u="none" strike="noStrike" kern="1200" cap="none" spc="0" normalizeH="0" baseline="0" noProof="0" dirty="0">
                          <a:ln>
                            <a:noFill/>
                          </a:ln>
                          <a:solidFill>
                            <a:srgbClr val="1A1A1A"/>
                          </a:solidFill>
                          <a:effectLst/>
                          <a:uLnTx/>
                          <a:uFillTx/>
                          <a:latin typeface="+mn-lt"/>
                          <a:ea typeface="+mn-ea"/>
                          <a:cs typeface="+mn-cs"/>
                        </a:rPr>
                        <a:t>Priority for Q1: </a:t>
                      </a:r>
                      <a:r>
                        <a:rPr lang="en-US" sz="900" b="0" i="0" u="none" strike="noStrike" kern="1200" cap="none" spc="0" normalizeH="0" baseline="0" noProof="0" dirty="0">
                          <a:ln>
                            <a:noFill/>
                          </a:ln>
                          <a:solidFill>
                            <a:srgbClr val="1A1A1A"/>
                          </a:solidFill>
                          <a:effectLst/>
                          <a:uLnTx/>
                          <a:uFillTx/>
                          <a:latin typeface="+mn-lt"/>
                          <a:ea typeface="+mn-ea"/>
                          <a:cs typeface="+mn-cs"/>
                        </a:rPr>
                        <a:t>Modernize Power BI</a:t>
                      </a:r>
                    </a:p>
                    <a:p>
                      <a:pPr marL="557530" marR="0" lvl="1" indent="-171450" algn="l" defTabSz="7724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spc="0" normalizeH="0" baseline="0" noProof="0" dirty="0">
                          <a:ln>
                            <a:noFill/>
                          </a:ln>
                          <a:solidFill>
                            <a:srgbClr val="1A1A1A"/>
                          </a:solidFill>
                          <a:effectLst/>
                          <a:uLnTx/>
                          <a:uFillTx/>
                          <a:latin typeface="+mn-lt"/>
                          <a:ea typeface="+mn-ea"/>
                          <a:cs typeface="+mn-cs"/>
                        </a:rPr>
                        <a:t>Power BI compete migrations (Tableau, Qlik and etc.,)</a:t>
                      </a:r>
                    </a:p>
                    <a:p>
                      <a:pPr marL="557530" marR="0" lvl="1" indent="-171450" algn="l" defTabSz="7724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spc="0" normalizeH="0" baseline="0" noProof="0" dirty="0">
                          <a:ln>
                            <a:noFill/>
                          </a:ln>
                          <a:solidFill>
                            <a:srgbClr val="1A1A1A"/>
                          </a:solidFill>
                          <a:effectLst/>
                          <a:uLnTx/>
                          <a:uFillTx/>
                          <a:latin typeface="+mn-lt"/>
                          <a:ea typeface="+mn-ea"/>
                          <a:cs typeface="+mn-cs"/>
                        </a:rPr>
                        <a:t>Power BI Datamart to Fabric</a:t>
                      </a:r>
                    </a:p>
                    <a:p>
                      <a:pPr marL="557530" marR="0" lvl="1"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Power BI CoPilot</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P-F Migration</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SSRS to PBI</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AAS to PBI</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kumimoji="0" lang="en-US" sz="900" b="0" i="0" u="none" strike="noStrike" kern="1200" cap="none" spc="0" normalizeH="0" baseline="0" noProof="0" dirty="0">
                          <a:ln>
                            <a:noFill/>
                          </a:ln>
                          <a:solidFill>
                            <a:srgbClr val="1A1A1A"/>
                          </a:solidFill>
                          <a:effectLst/>
                          <a:uLnTx/>
                          <a:uFillTx/>
                          <a:latin typeface="+mn-lt"/>
                          <a:ea typeface="+mn-ea"/>
                          <a:cs typeface="+mn-cs"/>
                        </a:rPr>
                        <a:t>Power BI Compete (</a:t>
                      </a:r>
                      <a:r>
                        <a:rPr lang="en-US" sz="900" b="0" i="0" u="none" strike="noStrike" kern="1200" cap="none" spc="0" normalizeH="0" baseline="0" noProof="0" dirty="0">
                          <a:ln>
                            <a:noFill/>
                          </a:ln>
                          <a:solidFill>
                            <a:srgbClr val="1A1A1A"/>
                          </a:solidFill>
                          <a:effectLst/>
                          <a:uLnTx/>
                          <a:uFillTx/>
                          <a:latin typeface="+mn-lt"/>
                          <a:ea typeface="+mn-ea"/>
                          <a:cs typeface="+mn-cs"/>
                        </a:rPr>
                        <a:t>Qlik, MicroStrategy</a:t>
                      </a:r>
                      <a:r>
                        <a:rPr kumimoji="0" lang="en-US" sz="900" b="0" i="0" u="none" strike="noStrike" kern="1200" cap="none" spc="0" normalizeH="0" baseline="0" noProof="0" dirty="0">
                          <a:ln>
                            <a:noFill/>
                          </a:ln>
                          <a:solidFill>
                            <a:srgbClr val="1A1A1A"/>
                          </a:solidFill>
                          <a:effectLst/>
                          <a:uLnTx/>
                          <a:uFillTx/>
                          <a:latin typeface="+mn-lt"/>
                          <a:ea typeface="+mn-ea"/>
                          <a:cs typeface="+mn-cs"/>
                        </a:rPr>
                        <a:t>, Tableau, and others)</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CoPilot Integration</a:t>
                      </a:r>
                      <a:endParaRPr kumimoji="0" lang="en-US" sz="900" b="0" i="0" u="none" strike="noStrike" kern="1200" cap="none" spc="0" normalizeH="0" baseline="0" noProof="0" dirty="0">
                        <a:ln>
                          <a:noFill/>
                        </a:ln>
                        <a:solidFill>
                          <a:srgbClr val="1A1A1A"/>
                        </a:solidFill>
                        <a:effectLst/>
                        <a:uLnTx/>
                        <a:uFillTx/>
                        <a:latin typeface="+mn-lt"/>
                        <a:ea typeface="+mn-ea"/>
                        <a:cs typeface="+mn-cs"/>
                      </a:endParaRP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endParaRPr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Modernize BI platform</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Upgrade customers to F-SKU and accelerate workload expansion</a:t>
                      </a:r>
                    </a:p>
                    <a:p>
                      <a:pPr marL="0" marR="0" lvl="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Factory</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VBD</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DE/ED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9102333"/>
                  </a:ext>
                </a:extLst>
              </a:tr>
              <a:tr h="402353">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mj-lt"/>
                        <a:buNone/>
                      </a:pPr>
                      <a:r>
                        <a:rPr lang="en-US" sz="900" b="1" i="0" u="none" strike="noStrike" kern="1200" noProof="0" dirty="0">
                          <a:solidFill>
                            <a:srgbClr val="000000"/>
                          </a:solidFill>
                          <a:latin typeface="+mn-lt"/>
                        </a:rPr>
                        <a:t>Win the end-to-end database estate to Azure</a:t>
                      </a:r>
                      <a:endParaRPr lang="en-US" sz="900" b="1" dirty="0">
                        <a:latin typeface="+mn-lt"/>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PostgreSQL +Azure Managed Redis (AMR)</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Performance &amp; Scalability</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Optimization</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Advanced patterns/use case</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mn-lt"/>
                          <a:ea typeface="+mn-ea"/>
                          <a:cs typeface="+mn-cs"/>
                        </a:rPr>
                        <a:t>Resiliency &amp; Flexibility</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pPr>
                      <a:endParaRPr kumimoji="0" lang="en-US" sz="900" b="0" i="0" u="none" strike="noStrike" kern="1200" cap="none" spc="0" normalizeH="0" baseline="0" noProof="0">
                        <a:ln>
                          <a:noFill/>
                        </a:ln>
                        <a:solidFill>
                          <a:srgbClr val="1A1A1A"/>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61739387"/>
                  </a:ext>
                </a:extLst>
              </a:tr>
              <a:tr h="402353">
                <a:tc vMerge="1">
                  <a:txBody>
                    <a:bodyPr/>
                    <a:lstStyle/>
                    <a:p>
                      <a:pPr defTabSz="772442">
                        <a:tabLst/>
                        <a:defRPr/>
                      </a:pPr>
                      <a:endParaRPr kumimoji="0" lang="en-US"/>
                    </a:p>
                  </a:txBody>
                  <a:tcPr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mj-lt"/>
                        <a:buNone/>
                      </a:pPr>
                      <a:r>
                        <a:rPr lang="en-US" sz="900" b="1" dirty="0">
                          <a:latin typeface="+mn-lt"/>
                        </a:rPr>
                        <a:t>Microsoft Purview</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a:lnSpc>
                          <a:spcPct val="100000"/>
                        </a:lnSpc>
                        <a:spcBef>
                          <a:spcPts val="0"/>
                        </a:spcBef>
                        <a:spcAft>
                          <a:spcPts val="0"/>
                        </a:spcAft>
                        <a:buFont typeface="Arial"/>
                        <a:buChar char="•"/>
                      </a:pPr>
                      <a:r>
                        <a:rPr kumimoji="0" lang="en-US" sz="900" b="0" i="0" u="none" strike="noStrike" kern="1200" cap="none" spc="0" normalizeH="0" baseline="0" noProof="0" dirty="0">
                          <a:ln>
                            <a:noFill/>
                          </a:ln>
                          <a:solidFill>
                            <a:srgbClr val="1A1A1A"/>
                          </a:solidFill>
                          <a:effectLst/>
                          <a:uLnTx/>
                          <a:uFillTx/>
                          <a:latin typeface="+mn-lt"/>
                          <a:ea typeface="+mn-ea"/>
                          <a:cs typeface="+mn-cs"/>
                        </a:rPr>
                        <a:t>Unify your data estate, Transform data for powerful AI solutions, Empower everyone with analytics and insights, Seamlessly govern and protect. </a:t>
                      </a:r>
                      <a:endParaRPr kumimoji="0" lang="en-US" sz="900" b="0" i="0" u="none" strike="noStrike" kern="1200" cap="none" spc="0" normalizeH="0" baseline="0" dirty="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Data Catalog</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Security and Governance</a:t>
                      </a:r>
                      <a:endParaRPr kumimoji="0" lang="en-US" sz="900" b="0" i="0" u="none" strike="noStrike" kern="1200" cap="none" spc="0" normalizeH="0" baseline="0" noProof="0" dirty="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Data Catalog</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Data Classification</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M365 Sensitive Label</a:t>
                      </a:r>
                    </a:p>
                    <a:p>
                      <a:pPr marL="171450" marR="0" lvl="0" indent="-17145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dirty="0">
                          <a:ln>
                            <a:noFill/>
                          </a:ln>
                          <a:solidFill>
                            <a:srgbClr val="1A1A1A"/>
                          </a:solidFill>
                          <a:effectLst/>
                          <a:uLnTx/>
                          <a:uFillTx/>
                          <a:latin typeface="+mn-lt"/>
                          <a:ea typeface="+mn-ea"/>
                          <a:cs typeface="+mn-cs"/>
                        </a:rPr>
                        <a:t>RLS &amp; CLS</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spc="0" normalizeH="0" baseline="0" noProof="0" dirty="0">
                          <a:ln>
                            <a:noFill/>
                          </a:ln>
                          <a:solidFill>
                            <a:srgbClr val="1A1A1A"/>
                          </a:solidFill>
                          <a:effectLst/>
                          <a:uLnTx/>
                          <a:uFillTx/>
                          <a:latin typeface="+mn-lt"/>
                          <a:ea typeface="+mn-ea"/>
                          <a:cs typeface="+mn-cs"/>
                        </a:rPr>
                        <a:t>VBD</a:t>
                      </a:r>
                      <a:endParaRPr kumimoji="0" lang="en-US" sz="900" b="0" i="0" u="none" strike="noStrike" kern="1200" cap="none" spc="0" normalizeH="0" baseline="0" noProof="0" dirty="0">
                        <a:ln>
                          <a:noFill/>
                        </a:ln>
                        <a:solidFill>
                          <a:srgbClr val="1A1A1A"/>
                        </a:solidFill>
                        <a:effectLst/>
                        <a:uLnTx/>
                        <a:uFillTx/>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171450" marR="0" lvl="0" indent="-171450" algn="l" rtl="0" eaLnBrk="1" fontAlgn="t" latinLnBrk="0" hangingPunct="1">
                        <a:lnSpc>
                          <a:spcPct val="100000"/>
                        </a:lnSpc>
                        <a:spcBef>
                          <a:spcPts val="0"/>
                        </a:spcBef>
                        <a:spcAft>
                          <a:spcPts val="0"/>
                        </a:spcAft>
                        <a:buClr>
                          <a:srgbClr val="1A1A1A"/>
                        </a:buClr>
                        <a:buSzTx/>
                        <a:buFont typeface="Arial,Sans-Serif" panose="020B0604020202020204" pitchFamily="34" charset="0"/>
                        <a:buChar char="•"/>
                      </a:pPr>
                      <a:endParaRPr kumimoji="0"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803445"/>
                  </a:ext>
                </a:extLst>
              </a:tr>
            </a:tbl>
          </a:graphicData>
        </a:graphic>
      </p:graphicFrame>
      <p:grpSp>
        <p:nvGrpSpPr>
          <p:cNvPr id="6" name="Group 5">
            <a:extLst>
              <a:ext uri="{FF2B5EF4-FFF2-40B4-BE49-F238E27FC236}">
                <a16:creationId xmlns:a16="http://schemas.microsoft.com/office/drawing/2014/main" id="{64B3AF88-AC49-34BA-26B1-FB6E5507534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EFEDB8C1-6979-DE20-5501-D618AC340410}"/>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8" name="Table 2 Cell 2, 1 to Text">
              <a:extLst>
                <a:ext uri="{FF2B5EF4-FFF2-40B4-BE49-F238E27FC236}">
                  <a16:creationId xmlns:a16="http://schemas.microsoft.com/office/drawing/2014/main" id="{7C729805-43B6-A4A3-147C-98B39BB69470}"/>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9" name="Table 2 Cell 3, 1 to Text">
              <a:extLst>
                <a:ext uri="{FF2B5EF4-FFF2-40B4-BE49-F238E27FC236}">
                  <a16:creationId xmlns:a16="http://schemas.microsoft.com/office/drawing/2014/main" id="{B8E44B48-3B3B-C26F-50DE-548E0A39EE8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0" name="Table 2 Cell 4, 1 to Text">
              <a:extLst>
                <a:ext uri="{FF2B5EF4-FFF2-40B4-BE49-F238E27FC236}">
                  <a16:creationId xmlns:a16="http://schemas.microsoft.com/office/drawing/2014/main" id="{23CF60CB-5C45-3907-7CD6-DFBDDEAF423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1" name="Table 2 Cell 5, 1 to Text">
              <a:extLst>
                <a:ext uri="{FF2B5EF4-FFF2-40B4-BE49-F238E27FC236}">
                  <a16:creationId xmlns:a16="http://schemas.microsoft.com/office/drawing/2014/main" id="{5D018478-2CD5-F927-23DB-A85927C005BF}"/>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5. Cloud &amp; AI Data CSA</a:t>
              </a:r>
            </a:p>
          </p:txBody>
        </p:sp>
        <p:sp>
          <p:nvSpPr>
            <p:cNvPr id="12" name="Table 2 Cell 6, 1 to Text">
              <a:extLst>
                <a:ext uri="{FF2B5EF4-FFF2-40B4-BE49-F238E27FC236}">
                  <a16:creationId xmlns:a16="http://schemas.microsoft.com/office/drawing/2014/main" id="{C1E7BC85-F1D3-7228-338E-930997DA8030}"/>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3" name="Table 2 Cell 7, 1 to Text">
              <a:extLst>
                <a:ext uri="{FF2B5EF4-FFF2-40B4-BE49-F238E27FC236}">
                  <a16:creationId xmlns:a16="http://schemas.microsoft.com/office/drawing/2014/main" id="{37035398-8014-8136-6C72-C33E454A7902}"/>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4" name="Table 2 Cell 1, 2 to Text">
              <a:extLst>
                <a:ext uri="{FF2B5EF4-FFF2-40B4-BE49-F238E27FC236}">
                  <a16:creationId xmlns:a16="http://schemas.microsoft.com/office/drawing/2014/main" id="{85461638-54A8-A12E-58CA-466889BCF667}"/>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1 Role Overview - Enterprise</a:t>
              </a:r>
            </a:p>
          </p:txBody>
        </p:sp>
        <p:sp>
          <p:nvSpPr>
            <p:cNvPr id="15" name="Table 2 Cell 1, 3 to Text">
              <a:extLst>
                <a:ext uri="{FF2B5EF4-FFF2-40B4-BE49-F238E27FC236}">
                  <a16:creationId xmlns:a16="http://schemas.microsoft.com/office/drawing/2014/main" id="{5C4D62BC-4D8B-5C55-B3CF-3E27995BE043}"/>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5.2 Role Overview – SME&amp;C</a:t>
              </a:r>
            </a:p>
          </p:txBody>
        </p:sp>
        <p:sp>
          <p:nvSpPr>
            <p:cNvPr id="16" name="Table 2 Cell 1, 4 to Text">
              <a:extLst>
                <a:ext uri="{FF2B5EF4-FFF2-40B4-BE49-F238E27FC236}">
                  <a16:creationId xmlns:a16="http://schemas.microsoft.com/office/drawing/2014/main" id="{F2939898-4F3F-81A5-7230-951E3C36828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5.3 Core Priorities &amp; Key Habits</a:t>
              </a:r>
            </a:p>
          </p:txBody>
        </p:sp>
        <p:sp>
          <p:nvSpPr>
            <p:cNvPr id="17" name="Table 2 Cell 1, 5 to Text">
              <a:extLst>
                <a:ext uri="{FF2B5EF4-FFF2-40B4-BE49-F238E27FC236}">
                  <a16:creationId xmlns:a16="http://schemas.microsoft.com/office/drawing/2014/main" id="{386F6EEA-8320-9D63-DD68-43E412A424BD}"/>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4 Technical Expectations</a:t>
              </a:r>
            </a:p>
          </p:txBody>
        </p:sp>
        <p:sp>
          <p:nvSpPr>
            <p:cNvPr id="18" name="Table 2 Cell 1, 6 to Text">
              <a:extLst>
                <a:ext uri="{FF2B5EF4-FFF2-40B4-BE49-F238E27FC236}">
                  <a16:creationId xmlns:a16="http://schemas.microsoft.com/office/drawing/2014/main" id="{26E8D908-7D10-8E8C-F450-B49D592D3A1A}"/>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5.5 Stop/Start/Do Differently</a:t>
              </a:r>
            </a:p>
          </p:txBody>
        </p:sp>
        <p:sp>
          <p:nvSpPr>
            <p:cNvPr id="19" name="Table 2 Cell 1, 7 to Text">
              <a:extLst>
                <a:ext uri="{FF2B5EF4-FFF2-40B4-BE49-F238E27FC236}">
                  <a16:creationId xmlns:a16="http://schemas.microsoft.com/office/drawing/2014/main" id="{4D1185EA-ABD9-B459-5078-5A70919DD86D}"/>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5.6 Unify your Data Platform Overview</a:t>
              </a:r>
            </a:p>
          </p:txBody>
        </p:sp>
        <p:sp>
          <p:nvSpPr>
            <p:cNvPr id="20" name="Table 2 Cell 1, 8 to Text">
              <a:extLst>
                <a:ext uri="{FF2B5EF4-FFF2-40B4-BE49-F238E27FC236}">
                  <a16:creationId xmlns:a16="http://schemas.microsoft.com/office/drawing/2014/main" id="{BFF8ECAE-A6BE-1C9E-41BB-7BDB7214F9B9}"/>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5.7 Delivery &amp; Success</a:t>
              </a:r>
            </a:p>
          </p:txBody>
        </p:sp>
      </p:grpSp>
      <p:sp>
        <p:nvSpPr>
          <p:cNvPr id="4" name="TextBox 3">
            <a:extLst>
              <a:ext uri="{FF2B5EF4-FFF2-40B4-BE49-F238E27FC236}">
                <a16:creationId xmlns:a16="http://schemas.microsoft.com/office/drawing/2014/main" id="{B6FE8873-9F7A-242A-CDFD-A60DCC8C687B}"/>
              </a:ext>
            </a:extLst>
          </p:cNvPr>
          <p:cNvSpPr txBox="1"/>
          <p:nvPr/>
        </p:nvSpPr>
        <p:spPr>
          <a:xfrm>
            <a:off x="10903679" y="3833318"/>
            <a:ext cx="2743200"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SG" sz="900" u="sng">
                <a:solidFill>
                  <a:srgbClr val="0078D4"/>
                </a:solidFill>
                <a:cs typeface="Segoe UI"/>
                <a:hlinkClick r:id="rId2"/>
              </a:rPr>
              <a:t>FY26_AzureJob2.pptx</a:t>
            </a:r>
            <a:endParaRPr lang="en-US"/>
          </a:p>
        </p:txBody>
      </p:sp>
    </p:spTree>
    <p:extLst>
      <p:ext uri="{BB962C8B-B14F-4D97-AF65-F5344CB8AC3E}">
        <p14:creationId xmlns:p14="http://schemas.microsoft.com/office/powerpoint/2010/main" val="100574423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708D4-674C-19D3-A9DC-C18269288853}"/>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7FCF10C5-2D43-8572-6295-5B19D4EEF3DA}"/>
              </a:ext>
            </a:extLst>
          </p:cNvPr>
          <p:cNvSpPr txBox="1">
            <a:spLocks noGrp="1"/>
          </p:cNvSpPr>
          <p:nvPr>
            <p:ph type="title"/>
          </p:nvPr>
        </p:nvSpPr>
        <p:spPr>
          <a:xfrm>
            <a:off x="327930" y="450397"/>
            <a:ext cx="8247674" cy="332399"/>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Cloud Solution Architect</a:t>
            </a:r>
          </a:p>
        </p:txBody>
      </p:sp>
      <p:sp>
        <p:nvSpPr>
          <p:cNvPr id="60" name="Rectangle: Rounded Corners 59">
            <a:extLst>
              <a:ext uri="{FF2B5EF4-FFF2-40B4-BE49-F238E27FC236}">
                <a16:creationId xmlns:a16="http://schemas.microsoft.com/office/drawing/2014/main" id="{BA7693AE-03FE-5AE3-5EC0-3168130F6314}"/>
              </a:ext>
              <a:ext uri="{C183D7F6-B498-43B3-948B-1728B52AA6E4}">
                <adec:decorative xmlns:adec="http://schemas.microsoft.com/office/drawing/2017/decorative" val="0"/>
              </a:ext>
            </a:extLst>
          </p:cNvPr>
          <p:cNvSpPr/>
          <p:nvPr/>
        </p:nvSpPr>
        <p:spPr>
          <a:xfrm>
            <a:off x="9906970" y="442913"/>
            <a:ext cx="198851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NEW ROLE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Solution Architect </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 </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ENT – Pinned to specific </a:t>
            </a:r>
            <a:r>
              <a:rPr kumimoji="0" lang="en-US" sz="800" b="0" i="0" u="none" strike="noStrike" kern="1200" cap="none" spc="-30" normalizeH="0" baseline="0" noProof="0">
                <a:ln w="3175">
                  <a:noFill/>
                </a:ln>
                <a:solidFill>
                  <a:srgbClr val="000000"/>
                </a:solidFill>
                <a:effectLst/>
                <a:uLnTx/>
                <a:uFillTx/>
                <a:latin typeface="Segoe Sans Text"/>
                <a:ea typeface="+mn-ea"/>
                <a:cs typeface="+mn-cs"/>
              </a:rPr>
              <a:t> </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Classic Accounts</a:t>
            </a:r>
          </a:p>
        </p:txBody>
      </p:sp>
      <p:sp>
        <p:nvSpPr>
          <p:cNvPr id="25" name="Rectangle: Rounded Corners 24">
            <a:extLst>
              <a:ext uri="{FF2B5EF4-FFF2-40B4-BE49-F238E27FC236}">
                <a16:creationId xmlns:a16="http://schemas.microsoft.com/office/drawing/2014/main" id="{C3977D1D-B885-85FE-539D-CE657D5A771A}"/>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8" name="Rectangle: Rounded Corners 27">
            <a:extLst>
              <a:ext uri="{FF2B5EF4-FFF2-40B4-BE49-F238E27FC236}">
                <a16:creationId xmlns:a16="http://schemas.microsoft.com/office/drawing/2014/main" id="{E159D129-51CD-D2EC-3FEB-7F664DB342E9}"/>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6" name="Rectangle: Rounded Corners 35">
            <a:extLst>
              <a:ext uri="{FF2B5EF4-FFF2-40B4-BE49-F238E27FC236}">
                <a16:creationId xmlns:a16="http://schemas.microsoft.com/office/drawing/2014/main" id="{F4E96A19-4DFA-E918-93AE-810E2B35F4E3}"/>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4AEEFA76-EE08-EC43-B889-7F4CBCCC498A}"/>
              </a:ext>
            </a:extLst>
          </p:cNvPr>
          <p:cNvSpPr/>
          <p:nvPr/>
        </p:nvSpPr>
        <p:spPr>
          <a:xfrm>
            <a:off x="304799" y="1200266"/>
            <a:ext cx="3268982"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9144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CSA is the most senior Azure delivery and strategy expert, deeply skilled across all Azure workloads, advising CS Leaders and engaging C-level execs to drive AI, Infra, Apps, and Data strategy, leading consumption and success plans to optimize and recapture large or underperforming MACCs</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0" marR="0" lvl="0" indent="0" algn="l" defTabSz="914400" rtl="0" eaLnBrk="1" fontAlgn="auto" latinLnBrk="0" hangingPunct="1">
              <a:lnSpc>
                <a:spcPct val="100000"/>
              </a:lnSpc>
              <a:spcBef>
                <a:spcPts val="0"/>
              </a:spcBef>
              <a:spcAft>
                <a:spcPts val="4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exceed customer expectations on the depth and breadth of Azure expertise and ensure healthy MACC/Unified portfolios with strategic execution</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New Azure and Unified opportunities across all Cloud &amp; AI</a:t>
            </a:r>
          </a:p>
        </p:txBody>
      </p:sp>
      <p:sp>
        <p:nvSpPr>
          <p:cNvPr id="40" name="Rectangle 39">
            <a:extLst>
              <a:ext uri="{FF2B5EF4-FFF2-40B4-BE49-F238E27FC236}">
                <a16:creationId xmlns:a16="http://schemas.microsoft.com/office/drawing/2014/main" id="{F4C9B1D9-2A08-7779-48C6-20F87AEDD787}"/>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8" name="TextBox 37">
            <a:extLst>
              <a:ext uri="{FF2B5EF4-FFF2-40B4-BE49-F238E27FC236}">
                <a16:creationId xmlns:a16="http://schemas.microsoft.com/office/drawing/2014/main" id="{2C8B49CE-8376-C955-C41F-86B99BEA3CD9}"/>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sp>
        <p:nvSpPr>
          <p:cNvPr id="41" name="Graphic 13">
            <a:extLst>
              <a:ext uri="{FF2B5EF4-FFF2-40B4-BE49-F238E27FC236}">
                <a16:creationId xmlns:a16="http://schemas.microsoft.com/office/drawing/2014/main" id="{4D77340F-145C-6FCC-791A-F0D518B2425F}"/>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2" name="Graphic 41">
            <a:extLst>
              <a:ext uri="{FF2B5EF4-FFF2-40B4-BE49-F238E27FC236}">
                <a16:creationId xmlns:a16="http://schemas.microsoft.com/office/drawing/2014/main" id="{64F3510E-E9D7-3473-8353-AE8543BDC6D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graphicFrame>
        <p:nvGraphicFramePr>
          <p:cNvPr id="75" name="Table 74">
            <a:extLst>
              <a:ext uri="{FF2B5EF4-FFF2-40B4-BE49-F238E27FC236}">
                <a16:creationId xmlns:a16="http://schemas.microsoft.com/office/drawing/2014/main" id="{6A1BA8B0-BE4A-03B9-A47B-DA709A2F4877}"/>
              </a:ext>
            </a:extLst>
          </p:cNvPr>
          <p:cNvGraphicFramePr>
            <a:graphicFrameLocks noGrp="1"/>
          </p:cNvGraphicFramePr>
          <p:nvPr>
            <p:extLst>
              <p:ext uri="{D42A27DB-BD31-4B8C-83A1-F6EECF244321}">
                <p14:modId xmlns:p14="http://schemas.microsoft.com/office/powerpoint/2010/main" val="230956509"/>
              </p:ext>
            </p:extLst>
          </p:nvPr>
        </p:nvGraphicFramePr>
        <p:xfrm>
          <a:off x="3674366" y="1569445"/>
          <a:ext cx="8241409" cy="2425774"/>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584200">
                  <a:extLst>
                    <a:ext uri="{9D8B030D-6E8A-4147-A177-3AD203B41FA5}">
                      <a16:colId xmlns:a16="http://schemas.microsoft.com/office/drawing/2014/main" val="88879238"/>
                    </a:ext>
                  </a:extLst>
                </a:gridCol>
                <a:gridCol w="7003415">
                  <a:extLst>
                    <a:ext uri="{9D8B030D-6E8A-4147-A177-3AD203B41FA5}">
                      <a16:colId xmlns:a16="http://schemas.microsoft.com/office/drawing/2014/main" val="707651252"/>
                    </a:ext>
                  </a:extLst>
                </a:gridCol>
              </a:tblGrid>
              <a:tr h="186100">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0" marR="18288"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27432" marR="0"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913167">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0000"/>
                        </a:lnSpc>
                        <a:spcBef>
                          <a:spcPts val="0"/>
                        </a:spcBef>
                        <a:spcAft>
                          <a:spcPts val="200"/>
                        </a:spcAft>
                        <a:buClrTx/>
                        <a:buSzPct val="100000"/>
                        <a:buFont typeface="+mj-lt"/>
                        <a:buNone/>
                      </a:pPr>
                      <a:r>
                        <a:rPr lang="en-US" sz="700" b="0" i="0" u="none" strike="noStrike" kern="1200" cap="none" spc="0" normalizeH="0" baseline="0">
                          <a:solidFill>
                            <a:schemeClr val="tx1"/>
                          </a:solidFill>
                          <a:latin typeface="+mn-lt"/>
                          <a:ea typeface="+mn-ea"/>
                          <a:cs typeface="Segoe Sans Text" pitchFamily="2" charset="0"/>
                        </a:rPr>
                        <a:t>N/A</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gaged on defined set of Classic accounts (large MACCs $10M+ or underperforming MACC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gages at Senior/Executive (e.g., CTO, CIO) level with large enterprise customers to help define their transformative Cloud &amp; AI strategy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Is the trusted technical advisor to the CS Leader</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Accelerate and lead Azure consumption plan and aligned customer success plan to burn existing MACCs and drive recapt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Protect ACR base and create conditions for MACC and Unified renewals through consumption excellence across all Azure Solution Plays, success measured by MACC Health and Unified Health</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Leverage CSU engines left-to-right (Factory, Unified) with delivery oversight and escalation support </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91316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0000"/>
                        </a:lnSpc>
                        <a:spcBef>
                          <a:spcPts val="0"/>
                        </a:spcBef>
                        <a:spcAft>
                          <a:spcPts val="200"/>
                        </a:spcAft>
                        <a:buClrTx/>
                        <a:buSzPct val="100000"/>
                        <a:buFont typeface="+mj-lt"/>
                        <a:buNone/>
                      </a:pPr>
                      <a:r>
                        <a:rPr lang="en-US" sz="700" b="0" i="0" u="none" strike="noStrike" kern="1200" cap="none" spc="0" normalizeH="0" baseline="0">
                          <a:solidFill>
                            <a:schemeClr val="tx1"/>
                          </a:solidFill>
                          <a:latin typeface="+mn-lt"/>
                          <a:ea typeface="+mn-ea"/>
                          <a:cs typeface="Segoe Sans Text" pitchFamily="2" charset="0"/>
                        </a:rPr>
                        <a:t>N/A</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technical and thought leadership across Cloud &amp; AI with demonstrated mastery of AI Apps, Infra, Data</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Quality assurance of architecture solutions E2E, gate keeper for architecture design with key customers to ensure resiliency alignment with best practices health, resiliency, security, &amp; optimization of customer’s mission critical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data estate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Support ATU/STU/Partner to design delivery proposals with the Delivery order of operation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Acts as a technical spokesperson across internal and external communiti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gages actively in mentoring the technical community</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r h="36125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200"/>
                        </a:spcAft>
                        <a:buClrTx/>
                        <a:buSzPct val="100000"/>
                        <a:buFont typeface="+mj-lt"/>
                        <a:buNone/>
                        <a:tabLst/>
                        <a:defRPr/>
                      </a:pPr>
                      <a:r>
                        <a:rPr lang="en-US" sz="700" b="0" i="0" u="none" strike="noStrike" kern="1200" cap="none" spc="0" normalizeH="0" baseline="0">
                          <a:solidFill>
                            <a:schemeClr val="tx1"/>
                          </a:solidFill>
                          <a:latin typeface="+mn-lt"/>
                          <a:ea typeface="+mn-ea"/>
                          <a:cs typeface="Segoe Sans Text" pitchFamily="2" charset="0"/>
                        </a:rPr>
                        <a:t>N/A</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Most senior delivery &amp; strategy experts across Azure with demonstrated mastery of AI Apps, Infra, Data</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ustomer champion in Area to elevate adoption issues and accelerate resolutio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Accredited &amp; Certified to deliver with Advanced &amp; Expert level proficiency in priority workloads across Azure</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3358557567"/>
                  </a:ext>
                </a:extLst>
              </a:tr>
            </a:tbl>
          </a:graphicData>
        </a:graphic>
      </p:graphicFrame>
      <p:sp>
        <p:nvSpPr>
          <p:cNvPr id="17" name="Rectangle: Rounded Corners 16">
            <a:extLst>
              <a:ext uri="{FF2B5EF4-FFF2-40B4-BE49-F238E27FC236}">
                <a16:creationId xmlns:a16="http://schemas.microsoft.com/office/drawing/2014/main" id="{545CEF78-B457-F37D-279C-D84F77A2E271}"/>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8" name="Rectangle: Rounded Corners 17">
            <a:extLst>
              <a:ext uri="{FF2B5EF4-FFF2-40B4-BE49-F238E27FC236}">
                <a16:creationId xmlns:a16="http://schemas.microsoft.com/office/drawing/2014/main" id="{D63312A6-EFC0-FC44-F4AD-0ED0BBC4DCCD}"/>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Rectangle 19">
            <a:extLst>
              <a:ext uri="{FF2B5EF4-FFF2-40B4-BE49-F238E27FC236}">
                <a16:creationId xmlns:a16="http://schemas.microsoft.com/office/drawing/2014/main" id="{50AD4CDE-9A0D-772E-71B5-2CD9D2C186B6}"/>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45" name="TextBox 44">
            <a:extLst>
              <a:ext uri="{FF2B5EF4-FFF2-40B4-BE49-F238E27FC236}">
                <a16:creationId xmlns:a16="http://schemas.microsoft.com/office/drawing/2014/main" id="{A9112127-2DCA-4DA2-145B-723964613AF6}"/>
              </a:ext>
            </a:extLst>
          </p:cNvPr>
          <p:cNvSpPr txBox="1"/>
          <p:nvPr/>
        </p:nvSpPr>
        <p:spPr>
          <a:xfrm>
            <a:off x="425445" y="4478878"/>
            <a:ext cx="1917705"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ll Azure Solution Plays</a:t>
            </a:r>
            <a:r>
              <a:rPr kumimoji="0" lang="en-US" sz="800" b="0" i="0" u="none" strike="noStrike" kern="1200" cap="none" spc="0" normalizeH="0" baseline="0" noProof="0">
                <a:ln>
                  <a:noFill/>
                </a:ln>
                <a:solidFill>
                  <a:srgbClr val="2A446F"/>
                </a:solidFill>
                <a:effectLst/>
                <a:uLnTx/>
                <a:uFillTx/>
                <a:latin typeface="Segoe Sans Text Semibold"/>
                <a:ea typeface="+mn-ea"/>
                <a:cs typeface="+mn-cs"/>
              </a:rPr>
              <a:t> </a:t>
            </a:r>
            <a:endParaRPr kumimoji="0" lang="en-US" sz="9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76" name="TextBox 75">
            <a:extLst>
              <a:ext uri="{FF2B5EF4-FFF2-40B4-BE49-F238E27FC236}">
                <a16:creationId xmlns:a16="http://schemas.microsoft.com/office/drawing/2014/main" id="{F25C7263-0F6B-10E1-BA29-6DCA1DDD4E0B}"/>
              </a:ext>
            </a:extLst>
          </p:cNvPr>
          <p:cNvSpPr txBox="1"/>
          <p:nvPr/>
        </p:nvSpPr>
        <p:spPr>
          <a:xfrm>
            <a:off x="425445" y="4712087"/>
            <a:ext cx="1998668"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cloudaicsu</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2DDE9F8F-BF35-A8F6-69D3-0FA892248D50}"/>
              </a:ext>
            </a:extLst>
          </p:cNvPr>
          <p:cNvSpPr txBox="1"/>
          <p:nvPr/>
        </p:nvSpPr>
        <p:spPr>
          <a:xfrm>
            <a:off x="425445" y="5068407"/>
            <a:ext cx="185579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SAP RAP, GitHub, Proactive Resiliency Initiative, Azure Essentials</a:t>
            </a:r>
          </a:p>
        </p:txBody>
      </p:sp>
      <p:sp>
        <p:nvSpPr>
          <p:cNvPr id="3" name="TextBox 2">
            <a:extLst>
              <a:ext uri="{FF2B5EF4-FFF2-40B4-BE49-F238E27FC236}">
                <a16:creationId xmlns:a16="http://schemas.microsoft.com/office/drawing/2014/main" id="{010E70E7-5BA9-3242-F99C-7C168F8AB776}"/>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Tools/Repor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22" name="Graphic 73">
            <a:extLst>
              <a:ext uri="{FF2B5EF4-FFF2-40B4-BE49-F238E27FC236}">
                <a16:creationId xmlns:a16="http://schemas.microsoft.com/office/drawing/2014/main" id="{DD930191-5869-042E-1CC9-3964603F96AA}"/>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Rectangle: Rounded Corners 28">
            <a:extLst>
              <a:ext uri="{FF2B5EF4-FFF2-40B4-BE49-F238E27FC236}">
                <a16:creationId xmlns:a16="http://schemas.microsoft.com/office/drawing/2014/main" id="{1BF31632-25FA-9608-259D-DA2055C23DCD}"/>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1" name="Rectangle: Rounded Corners 30">
            <a:extLst>
              <a:ext uri="{FF2B5EF4-FFF2-40B4-BE49-F238E27FC236}">
                <a16:creationId xmlns:a16="http://schemas.microsoft.com/office/drawing/2014/main" id="{370A8CA5-FB56-79FA-1B03-081F5095682B}"/>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Rectangle: Rounded Corners 32">
            <a:extLst>
              <a:ext uri="{FF2B5EF4-FFF2-40B4-BE49-F238E27FC236}">
                <a16:creationId xmlns:a16="http://schemas.microsoft.com/office/drawing/2014/main" id="{709120E9-386E-9838-FABE-6844D8A08ECF}"/>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4" name="Rectangle: Rounded Corners 33">
            <a:extLst>
              <a:ext uri="{FF2B5EF4-FFF2-40B4-BE49-F238E27FC236}">
                <a16:creationId xmlns:a16="http://schemas.microsoft.com/office/drawing/2014/main" id="{E3912870-DD7D-8CD0-BE86-89225627825B}"/>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Rectangle 34">
            <a:extLst>
              <a:ext uri="{FF2B5EF4-FFF2-40B4-BE49-F238E27FC236}">
                <a16:creationId xmlns:a16="http://schemas.microsoft.com/office/drawing/2014/main" id="{A06F47E8-F4DB-B49E-AA2A-2B07E57FED27}"/>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pic>
        <p:nvPicPr>
          <p:cNvPr id="64" name="Graphic 63">
            <a:extLst>
              <a:ext uri="{FF2B5EF4-FFF2-40B4-BE49-F238E27FC236}">
                <a16:creationId xmlns:a16="http://schemas.microsoft.com/office/drawing/2014/main" id="{B840D3FE-9FCC-E343-202F-B37E93056D27}"/>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65" name="Group 64">
            <a:extLst>
              <a:ext uri="{FF2B5EF4-FFF2-40B4-BE49-F238E27FC236}">
                <a16:creationId xmlns:a16="http://schemas.microsoft.com/office/drawing/2014/main" id="{1DEBFEE6-1A9D-7366-A6DC-86308A6A7BCD}"/>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66" name="Rectangle 65">
              <a:extLst>
                <a:ext uri="{FF2B5EF4-FFF2-40B4-BE49-F238E27FC236}">
                  <a16:creationId xmlns:a16="http://schemas.microsoft.com/office/drawing/2014/main" id="{4B6937CA-624C-CCF0-61D5-3BE669FE2979}"/>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67" name="Graphic 66">
              <a:extLst>
                <a:ext uri="{FF2B5EF4-FFF2-40B4-BE49-F238E27FC236}">
                  <a16:creationId xmlns:a16="http://schemas.microsoft.com/office/drawing/2014/main" id="{2A963585-1DC9-AA1C-54B9-86465E062944}"/>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4" name="TextBox 53">
            <a:extLst>
              <a:ext uri="{FF2B5EF4-FFF2-40B4-BE49-F238E27FC236}">
                <a16:creationId xmlns:a16="http://schemas.microsoft.com/office/drawing/2014/main" id="{066E840D-A78E-1D5B-B298-81B1AB2EA4B4}"/>
              </a:ext>
            </a:extLst>
          </p:cNvPr>
          <p:cNvSpPr txBox="1"/>
          <p:nvPr/>
        </p:nvSpPr>
        <p:spPr>
          <a:xfrm>
            <a:off x="2777298" y="4497928"/>
            <a:ext cx="4671251" cy="4103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1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a:t>
            </a:r>
          </a:p>
        </p:txBody>
      </p:sp>
      <p:sp>
        <p:nvSpPr>
          <p:cNvPr id="55" name="TextBox 54">
            <a:extLst>
              <a:ext uri="{FF2B5EF4-FFF2-40B4-BE49-F238E27FC236}">
                <a16:creationId xmlns:a16="http://schemas.microsoft.com/office/drawing/2014/main" id="{4361346E-224B-AA91-9288-535E9E730532}"/>
              </a:ext>
            </a:extLst>
          </p:cNvPr>
          <p:cNvSpPr txBox="1"/>
          <p:nvPr/>
        </p:nvSpPr>
        <p:spPr>
          <a:xfrm>
            <a:off x="2777299" y="4903709"/>
            <a:ext cx="5062604" cy="1561966"/>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Job 1: 95% C2C rate; 95% own of C2C milestone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lvl="1" indent="-90170">
              <a:spcAft>
                <a:spcPts val="200"/>
              </a:spcAft>
              <a:buClr>
                <a:srgbClr val="000000"/>
              </a:buClr>
              <a:buSzPct val="100000"/>
              <a:buFont typeface="Arial" panose="020B0604020202020204" pitchFamily="34" charset="0"/>
              <a:buChar char="•"/>
              <a:defRPr/>
            </a:pPr>
            <a:r>
              <a:rPr lang="en-US" sz="800">
                <a:solidFill>
                  <a:srgbClr val="000000"/>
                </a:solidFill>
                <a:ea typeface="Calibri"/>
                <a:cs typeface="Calibri"/>
              </a:rPr>
              <a:t>Contribute to 20% for total Completed Pipeline created against quarterly Net New Required budget by territory</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ctively engage in pipe scrums to enable attach of Hero VA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Ensure positive MACC Pipeline Based Outlook (FY PBO VTT) and Variance to Expectation (Life to FY PBO VTE) </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in EOU: Customer Funded delivery Mix VTT &gt; 0; Repeatable Delivery VTT &gt; 0; On Strategy delivery mix VTT &gt; 0</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Factory Oversight: Shared accountability for Factory Target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3B1E1F7A-AB9D-9034-20D9-DFBC42F5E8F3}"/>
              </a:ext>
            </a:extLst>
          </p:cNvPr>
          <p:cNvSpPr txBox="1"/>
          <p:nvPr/>
        </p:nvSpPr>
        <p:spPr>
          <a:xfrm>
            <a:off x="8100059" y="4497928"/>
            <a:ext cx="3533141" cy="964367"/>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2 role aligned certifications</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Infra</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Migration and Modernization of: Infra, SAP, Databases, Apps; Security; WAF/CAF; Resiliency; AI ready</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AI App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rPr>
              <a:t>AppPlat</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Native, DevOps, GitHub, AI Infra, Copilot Studio, AI Foundry, Integration, Modern Database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Data</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atabase platform, Analytics, Databricks, Fabric, Purview</a:t>
            </a:r>
          </a:p>
        </p:txBody>
      </p:sp>
      <p:grpSp>
        <p:nvGrpSpPr>
          <p:cNvPr id="51" name="Group 50">
            <a:extLst>
              <a:ext uri="{FF2B5EF4-FFF2-40B4-BE49-F238E27FC236}">
                <a16:creationId xmlns:a16="http://schemas.microsoft.com/office/drawing/2014/main" id="{D2DF028E-F004-A48E-346B-01DE1D369A98}"/>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52" name="Table 2 Cell 1, 1 to Text">
              <a:extLst>
                <a:ext uri="{FF2B5EF4-FFF2-40B4-BE49-F238E27FC236}">
                  <a16:creationId xmlns:a16="http://schemas.microsoft.com/office/drawing/2014/main" id="{136D7F9D-6093-B45A-C187-7D0D93DC7E95}"/>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3" name="Table 2 Cell 2, 1 to Text">
              <a:extLst>
                <a:ext uri="{FF2B5EF4-FFF2-40B4-BE49-F238E27FC236}">
                  <a16:creationId xmlns:a16="http://schemas.microsoft.com/office/drawing/2014/main" id="{0936BCCF-AC68-0E4E-C225-FB0452E317EF}"/>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56" name="Table 2 Cell 3, 1 to Text">
              <a:extLst>
                <a:ext uri="{FF2B5EF4-FFF2-40B4-BE49-F238E27FC236}">
                  <a16:creationId xmlns:a16="http://schemas.microsoft.com/office/drawing/2014/main" id="{512BEB0B-5628-BF22-9E48-60A44299B8F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57" name="Table 2 Cell 4, 1 to Text">
              <a:extLst>
                <a:ext uri="{FF2B5EF4-FFF2-40B4-BE49-F238E27FC236}">
                  <a16:creationId xmlns:a16="http://schemas.microsoft.com/office/drawing/2014/main" id="{E4CABA25-000C-C55E-5196-39B9C1C09FB0}"/>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58" name="Table 2 Cell 5, 1 to Text">
              <a:extLst>
                <a:ext uri="{FF2B5EF4-FFF2-40B4-BE49-F238E27FC236}">
                  <a16:creationId xmlns:a16="http://schemas.microsoft.com/office/drawing/2014/main" id="{790BE1F3-44F1-0B88-C75E-6B14FD2B4132}"/>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59" name="Table 2 Cell 6, 1 to Text">
              <a:extLst>
                <a:ext uri="{FF2B5EF4-FFF2-40B4-BE49-F238E27FC236}">
                  <a16:creationId xmlns:a16="http://schemas.microsoft.com/office/drawing/2014/main" id="{53CE8858-5F90-D900-1677-2171BEA8D7AA}"/>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61" name="Table 2 Cell 7, 1 to Text">
              <a:extLst>
                <a:ext uri="{FF2B5EF4-FFF2-40B4-BE49-F238E27FC236}">
                  <a16:creationId xmlns:a16="http://schemas.microsoft.com/office/drawing/2014/main" id="{8AD99501-AE80-9F16-7CD4-2C4025722684}"/>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2" name="Table 2 Cell 1, 2 to Text">
              <a:extLst>
                <a:ext uri="{FF2B5EF4-FFF2-40B4-BE49-F238E27FC236}">
                  <a16:creationId xmlns:a16="http://schemas.microsoft.com/office/drawing/2014/main" id="{C66506E1-47EB-D25C-52E6-4829C6D4A212}"/>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6.1 Role Overview - Enterprise</a:t>
              </a:r>
            </a:p>
          </p:txBody>
        </p:sp>
        <p:sp>
          <p:nvSpPr>
            <p:cNvPr id="63" name="Table 2 Cell 1, 3 to Text">
              <a:extLst>
                <a:ext uri="{FF2B5EF4-FFF2-40B4-BE49-F238E27FC236}">
                  <a16:creationId xmlns:a16="http://schemas.microsoft.com/office/drawing/2014/main" id="{85E95A81-3820-29C7-347E-EADC12364C6C}"/>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68" name="Table 2 Cell 1, 4 to Text">
              <a:extLst>
                <a:ext uri="{FF2B5EF4-FFF2-40B4-BE49-F238E27FC236}">
                  <a16:creationId xmlns:a16="http://schemas.microsoft.com/office/drawing/2014/main" id="{1D140F99-5366-6309-1B83-21FD95523B8D}"/>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69" name="Table 2 Cell 1, 5 to Text">
              <a:extLst>
                <a:ext uri="{FF2B5EF4-FFF2-40B4-BE49-F238E27FC236}">
                  <a16:creationId xmlns:a16="http://schemas.microsoft.com/office/drawing/2014/main" id="{8DB5C50F-FD85-6680-A705-341797FC307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70" name="Table 2 Cell 1, 6 to Text">
              <a:extLst>
                <a:ext uri="{FF2B5EF4-FFF2-40B4-BE49-F238E27FC236}">
                  <a16:creationId xmlns:a16="http://schemas.microsoft.com/office/drawing/2014/main" id="{3022F460-EEBB-39CE-E757-6A2C27A4FB54}"/>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5 Azure Solution Plays Overview</a:t>
              </a:r>
            </a:p>
          </p:txBody>
        </p:sp>
      </p:grpSp>
    </p:spTree>
    <p:extLst>
      <p:ext uri="{BB962C8B-B14F-4D97-AF65-F5344CB8AC3E}">
        <p14:creationId xmlns:p14="http://schemas.microsoft.com/office/powerpoint/2010/main" val="198447697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CA3E0C-56A5-8663-F9F9-8E1397306288}"/>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C01311F-498D-1689-7886-1F1812F69D6F}"/>
              </a:ext>
            </a:extLst>
          </p:cNvPr>
          <p:cNvSpPr/>
          <p:nvPr/>
        </p:nvSpPr>
        <p:spPr bwMode="auto">
          <a:xfrm>
            <a:off x="161580" y="955354"/>
            <a:ext cx="11868839" cy="3651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endParaRPr lang="en-US" b="1"/>
          </a:p>
        </p:txBody>
      </p:sp>
      <p:graphicFrame>
        <p:nvGraphicFramePr>
          <p:cNvPr id="5" name="Object 4" hidden="1">
            <a:extLst>
              <a:ext uri="{FF2B5EF4-FFF2-40B4-BE49-F238E27FC236}">
                <a16:creationId xmlns:a16="http://schemas.microsoft.com/office/drawing/2014/main" id="{4088ACCC-1A0C-7D6A-D696-264101CB1865}"/>
              </a:ext>
            </a:extLst>
          </p:cNvPr>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5" name="Object 4" hidden="1">
                        <a:extLst>
                          <a:ext uri="{FF2B5EF4-FFF2-40B4-BE49-F238E27FC236}">
                            <a16:creationId xmlns:a16="http://schemas.microsoft.com/office/drawing/2014/main" id="{4088ACCC-1A0C-7D6A-D696-264101CB1865}"/>
                          </a:ext>
                        </a:extLst>
                      </p:cNvPr>
                      <p:cNvPicPr/>
                      <p:nvPr/>
                    </p:nvPicPr>
                    <p:blipFill>
                      <a:blip r:embed="rId5"/>
                      <a:stretch>
                        <a:fillRect/>
                      </a:stretch>
                    </p:blipFill>
                    <p:spPr>
                      <a:xfrm>
                        <a:off x="3177" y="1589"/>
                        <a:ext cx="1587" cy="1587"/>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EF3453C-729E-E14D-E76E-844B51C2139F}"/>
              </a:ext>
            </a:extLst>
          </p:cNvPr>
          <p:cNvSpPr>
            <a:spLocks noGrp="1"/>
          </p:cNvSpPr>
          <p:nvPr>
            <p:ph type="title"/>
          </p:nvPr>
        </p:nvSpPr>
        <p:spPr>
          <a:xfrm>
            <a:off x="913023" y="774019"/>
            <a:ext cx="11049000" cy="1615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1050">
                <a:solidFill>
                  <a:schemeClr val="tx2"/>
                </a:solidFill>
                <a:latin typeface="+mn-lt"/>
                <a:ea typeface="Arial Unicode MS"/>
                <a:cs typeface="Arial Unicode MS"/>
              </a:rPr>
              <a:t>FY26 Core Priorities FINAL – CSA IC – RSG Name: </a:t>
            </a:r>
            <a:r>
              <a:rPr kumimoji="0" lang="en-US" sz="1050" u="none" strike="noStrike" kern="1200" cap="none" spc="0" normalizeH="0" baseline="0" noProof="0">
                <a:ln>
                  <a:noFill/>
                </a:ln>
                <a:solidFill>
                  <a:schemeClr val="tx2"/>
                </a:solidFill>
                <a:effectLst/>
                <a:uLnTx/>
                <a:uFillTx/>
                <a:latin typeface="+mn-lt"/>
                <a:cs typeface="+mn-cs"/>
              </a:rPr>
              <a:t>Cloud Solution Architecture IC;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Qual 1: N/A</a:t>
            </a:r>
            <a:r>
              <a:rPr lang="en-US" sz="1050" kern="1200">
                <a:solidFill>
                  <a:schemeClr val="tx2"/>
                </a:solidFill>
                <a:highlight>
                  <a:srgbClr val="FFFF00"/>
                </a:highlight>
                <a:latin typeface="+mn-lt"/>
                <a:cs typeface="+mn-cs"/>
              </a:rPr>
              <a:t> Qual 2: </a:t>
            </a:r>
            <a:r>
              <a:rPr kumimoji="0" lang="en-US" sz="1050" u="none" strike="noStrike" kern="1200" cap="none" spc="0" normalizeH="0" baseline="0" noProof="0">
                <a:ln>
                  <a:noFill/>
                </a:ln>
                <a:solidFill>
                  <a:schemeClr val="tx2"/>
                </a:solidFill>
                <a:effectLst/>
                <a:highlight>
                  <a:srgbClr val="FFFF00"/>
                </a:highlight>
                <a:uLnTx/>
                <a:uFillTx/>
                <a:latin typeface="+mn-lt"/>
                <a:cs typeface="+mn-cs"/>
              </a:rPr>
              <a:t>Cloud &amp; AI </a:t>
            </a:r>
            <a:r>
              <a:rPr kumimoji="0" lang="en-US" sz="1050" u="none" strike="noStrike" kern="1200" cap="none" spc="0" normalizeH="0" baseline="0" noProof="0">
                <a:ln>
                  <a:noFill/>
                </a:ln>
                <a:solidFill>
                  <a:schemeClr val="tx2"/>
                </a:solidFill>
                <a:effectLst/>
                <a:uLnTx/>
                <a:uFillTx/>
                <a:latin typeface="+mn-lt"/>
                <a:cs typeface="+mn-cs"/>
              </a:rPr>
              <a:t>| Role Owner: Samantha Wilder</a:t>
            </a:r>
            <a:endParaRPr lang="en-CA" sz="1050">
              <a:solidFill>
                <a:schemeClr val="tx2"/>
              </a:solidFill>
              <a:latin typeface="+mn-lt"/>
            </a:endParaRPr>
          </a:p>
        </p:txBody>
      </p:sp>
      <p:graphicFrame>
        <p:nvGraphicFramePr>
          <p:cNvPr id="3" name="Table 2">
            <a:extLst>
              <a:ext uri="{FF2B5EF4-FFF2-40B4-BE49-F238E27FC236}">
                <a16:creationId xmlns:a16="http://schemas.microsoft.com/office/drawing/2014/main" id="{E842E227-8B9E-8603-4878-ECE421BDB7A7}"/>
              </a:ext>
            </a:extLst>
          </p:cNvPr>
          <p:cNvGraphicFramePr>
            <a:graphicFrameLocks noGrp="1"/>
          </p:cNvGraphicFramePr>
          <p:nvPr>
            <p:extLst>
              <p:ext uri="{D42A27DB-BD31-4B8C-83A1-F6EECF244321}">
                <p14:modId xmlns:p14="http://schemas.microsoft.com/office/powerpoint/2010/main" val="356534188"/>
              </p:ext>
            </p:extLst>
          </p:nvPr>
        </p:nvGraphicFramePr>
        <p:xfrm>
          <a:off x="161580" y="935602"/>
          <a:ext cx="11868839" cy="5730153"/>
        </p:xfrm>
        <a:graphic>
          <a:graphicData uri="http://schemas.openxmlformats.org/drawingml/2006/table">
            <a:tbl>
              <a:tblPr firstRow="1" bandRow="1">
                <a:tableStyleId>{2D5ABB26-0587-4C30-8999-92F81FD0307C}</a:tableStyleId>
              </a:tblPr>
              <a:tblGrid>
                <a:gridCol w="307149">
                  <a:extLst>
                    <a:ext uri="{9D8B030D-6E8A-4147-A177-3AD203B41FA5}">
                      <a16:colId xmlns:a16="http://schemas.microsoft.com/office/drawing/2014/main" val="4195672858"/>
                    </a:ext>
                  </a:extLst>
                </a:gridCol>
                <a:gridCol w="1239390">
                  <a:extLst>
                    <a:ext uri="{9D8B030D-6E8A-4147-A177-3AD203B41FA5}">
                      <a16:colId xmlns:a16="http://schemas.microsoft.com/office/drawing/2014/main" val="2870045406"/>
                    </a:ext>
                  </a:extLst>
                </a:gridCol>
                <a:gridCol w="2527723">
                  <a:extLst>
                    <a:ext uri="{9D8B030D-6E8A-4147-A177-3AD203B41FA5}">
                      <a16:colId xmlns:a16="http://schemas.microsoft.com/office/drawing/2014/main" val="913734882"/>
                    </a:ext>
                  </a:extLst>
                </a:gridCol>
                <a:gridCol w="7794577">
                  <a:extLst>
                    <a:ext uri="{9D8B030D-6E8A-4147-A177-3AD203B41FA5}">
                      <a16:colId xmlns:a16="http://schemas.microsoft.com/office/drawing/2014/main" val="3900489793"/>
                    </a:ext>
                  </a:extLst>
                </a:gridCol>
              </a:tblGrid>
              <a:tr h="375833">
                <a:tc>
                  <a:txBody>
                    <a:bodyPr/>
                    <a:lstStyle/>
                    <a:p>
                      <a:pPr algn="ctr"/>
                      <a:r>
                        <a:rPr lang="en-US" sz="1000">
                          <a:solidFill>
                            <a:schemeClr val="bg1"/>
                          </a:solidFill>
                          <a:latin typeface="+mj-lt"/>
                        </a:rPr>
                        <a:t>#</a:t>
                      </a:r>
                    </a:p>
                  </a:txBody>
                  <a:tcPr anchor="ctr"/>
                </a:tc>
                <a:tc>
                  <a:txBody>
                    <a:bodyPr/>
                    <a:lstStyle/>
                    <a:p>
                      <a:pPr algn="ctr"/>
                      <a:r>
                        <a:rPr lang="en-US" sz="1000">
                          <a:solidFill>
                            <a:schemeClr val="bg1"/>
                          </a:solidFill>
                          <a:latin typeface="+mj-lt"/>
                        </a:rPr>
                        <a:t>Core Priority Title</a:t>
                      </a:r>
                    </a:p>
                  </a:txBody>
                  <a:tcPr anchor="ctr"/>
                </a:tc>
                <a:tc>
                  <a:txBody>
                    <a:bodyPr/>
                    <a:lstStyle/>
                    <a:p>
                      <a:pPr algn="ctr"/>
                      <a:r>
                        <a:rPr lang="en-US" sz="1000">
                          <a:solidFill>
                            <a:schemeClr val="bg1"/>
                          </a:solidFill>
                          <a:latin typeface="+mj-lt"/>
                        </a:rPr>
                        <a:t>Core Priority</a:t>
                      </a:r>
                    </a:p>
                  </a:txBody>
                  <a:tcPr anchor="ctr"/>
                </a:tc>
                <a:tc>
                  <a:txBody>
                    <a:bodyPr/>
                    <a:lstStyle/>
                    <a:p>
                      <a:pPr algn="ctr"/>
                      <a:r>
                        <a:rPr lang="en-US" sz="1000">
                          <a:solidFill>
                            <a:schemeClr val="bg1"/>
                          </a:solidFill>
                          <a:latin typeface="+mj-lt"/>
                        </a:rPr>
                        <a:t>CSA Critical Indicators of Success  (How will you measure success?)</a:t>
                      </a:r>
                    </a:p>
                  </a:txBody>
                  <a:tcPr anchor="ctr"/>
                </a:tc>
                <a:extLst>
                  <a:ext uri="{0D108BD9-81ED-4DB2-BD59-A6C34878D82A}">
                    <a16:rowId xmlns:a16="http://schemas.microsoft.com/office/drawing/2014/main" val="3117565343"/>
                  </a:ext>
                </a:extLst>
              </a:tr>
              <a:tr h="124714">
                <a:tc>
                  <a:txBody>
                    <a:bodyPr/>
                    <a:lstStyle/>
                    <a:p>
                      <a:r>
                        <a:rPr lang="en-US" sz="900">
                          <a:solidFill>
                            <a:schemeClr val="tx2"/>
                          </a:solidFill>
                        </a:rPr>
                        <a:t>1</a:t>
                      </a:r>
                    </a:p>
                  </a:txBody>
                  <a:tcPr>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u="none" strike="noStrike" baseline="0" noProof="0">
                          <a:solidFill>
                            <a:srgbClr val="000000"/>
                          </a:solidFill>
                        </a:rPr>
                        <a:t>Unleash our talent to unlock customer/partner value </a:t>
                      </a:r>
                      <a:endParaRPr lang="en-US" sz="900" b="1">
                        <a:solidFill>
                          <a:schemeClr val="tx1"/>
                        </a:solidFill>
                      </a:endParaRPr>
                    </a:p>
                  </a:txBody>
                  <a:tcPr>
                    <a:lnB w="9525" cap="flat" cmpd="sng" algn="ctr">
                      <a:solidFill>
                        <a:schemeClr val="bg1">
                          <a:lumMod val="85000"/>
                        </a:schemeClr>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GB" sz="900" b="0" u="none" strike="noStrike" baseline="0" noProof="0">
                          <a:solidFill>
                            <a:srgbClr val="000000"/>
                          </a:solidFill>
                          <a:effectLst/>
                        </a:rPr>
                        <a:t>Bring deep customer/partner and domain understanding—product, technical, business, and industry—enabling us to drive customer/partner value</a:t>
                      </a:r>
                      <a:endParaRPr lang="en-GB" sz="900" b="0"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txBody>
                  <a:tcPr>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Bef>
                          <a:spcPts val="0"/>
                        </a:spcBef>
                        <a:spcAft>
                          <a:spcPts val="400"/>
                        </a:spcAft>
                        <a:buNone/>
                      </a:pPr>
                      <a:r>
                        <a:rPr lang="en-GB" sz="900" b="1" kern="1200">
                          <a:solidFill>
                            <a:schemeClr val="tx1"/>
                          </a:solidFill>
                          <a:effectLst/>
                        </a:rPr>
                        <a:t>1.1 AI Trusted Advisor: </a:t>
                      </a:r>
                      <a:r>
                        <a:rPr lang="en-GB" sz="900" kern="1200">
                          <a:solidFill>
                            <a:schemeClr val="tx1"/>
                          </a:solidFill>
                          <a:effectLst/>
                        </a:rPr>
                        <a:t>Complete AI training and leverage AI architecture best practices to accelerate AI adoption. </a:t>
                      </a:r>
                    </a:p>
                    <a:p>
                      <a:pPr marL="0" marR="0">
                        <a:lnSpc>
                          <a:spcPct val="100000"/>
                        </a:lnSpc>
                        <a:spcBef>
                          <a:spcPts val="0"/>
                        </a:spcBef>
                        <a:spcAft>
                          <a:spcPts val="400"/>
                        </a:spcAft>
                        <a:buNone/>
                      </a:pPr>
                      <a:r>
                        <a:rPr lang="en-GB" sz="900" b="1" kern="1200">
                          <a:solidFill>
                            <a:schemeClr val="tx1"/>
                          </a:solidFill>
                          <a:effectLst/>
                        </a:rPr>
                        <a:t>1.2 Technical Intensity</a:t>
                      </a:r>
                      <a:r>
                        <a:rPr lang="en-GB" sz="900" kern="1200">
                          <a:solidFill>
                            <a:schemeClr val="tx1"/>
                          </a:solidFill>
                          <a:effectLst/>
                        </a:rPr>
                        <a:t>: </a:t>
                      </a:r>
                      <a:r>
                        <a:rPr lang="en-US" sz="900" kern="1200">
                          <a:solidFill>
                            <a:schemeClr val="tx1"/>
                          </a:solidFill>
                          <a:effectLst/>
                        </a:rPr>
                        <a:t>Complete Required quarterly Cloud &amp; AI training, achieve certifications, accreditations, and skills to deliver with Advanced (L300) and Expert (L400) level proficiency in priority workloads in Azure. Maintain skills inventory. </a:t>
                      </a:r>
                      <a:r>
                        <a:rPr lang="en-US" sz="900" b="0">
                          <a:solidFill>
                            <a:schemeClr val="tx1"/>
                          </a:solidFill>
                        </a:rPr>
                        <a:t>Drive technical and thought leadership across Cloud &amp; AI with demonstrated mastery of AI Apps, Infra, Data</a:t>
                      </a:r>
                      <a:endParaRPr lang="en-US" sz="900" kern="1200">
                        <a:solidFill>
                          <a:schemeClr val="tx1"/>
                        </a:solidFill>
                        <a:effectLst/>
                      </a:endParaRPr>
                    </a:p>
                    <a:p>
                      <a:pPr marL="0" marR="0">
                        <a:lnSpc>
                          <a:spcPct val="100000"/>
                        </a:lnSpc>
                        <a:spcBef>
                          <a:spcPts val="0"/>
                        </a:spcBef>
                        <a:spcAft>
                          <a:spcPts val="400"/>
                        </a:spcAft>
                        <a:buNone/>
                      </a:pPr>
                      <a:r>
                        <a:rPr lang="en-US" sz="900" b="1" kern="1200">
                          <a:solidFill>
                            <a:schemeClr val="tx1"/>
                          </a:solidFill>
                          <a:effectLst/>
                        </a:rPr>
                        <a:t>1.3 </a:t>
                      </a:r>
                      <a:r>
                        <a:rPr lang="en-GB" sz="900" b="1" kern="1200">
                          <a:solidFill>
                            <a:schemeClr val="tx1"/>
                          </a:solidFill>
                          <a:effectLst/>
                        </a:rPr>
                        <a:t>Community Engagement &amp; IP</a:t>
                      </a:r>
                      <a:r>
                        <a:rPr lang="en-GB" sz="900" kern="1200">
                          <a:solidFill>
                            <a:schemeClr val="tx1"/>
                          </a:solidFill>
                          <a:effectLst/>
                        </a:rPr>
                        <a:t>: </a:t>
                      </a:r>
                      <a:r>
                        <a:rPr lang="en-US" sz="900" b="0" kern="1200">
                          <a:solidFill>
                            <a:schemeClr val="tx1"/>
                          </a:solidFill>
                        </a:rPr>
                        <a:t>Engage actively as mentor to the Cloud &amp; AI technical community </a:t>
                      </a:r>
                      <a:r>
                        <a:rPr lang="en-US" sz="900" kern="1200">
                          <a:solidFill>
                            <a:schemeClr val="tx1"/>
                          </a:solidFill>
                          <a:effectLst/>
                        </a:rPr>
                        <a:t>and IP development with engineering. Participate in Shadow program.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57263">
                <a:tc>
                  <a:txBody>
                    <a:bodyPr/>
                    <a:lstStyle/>
                    <a:p>
                      <a:r>
                        <a:rPr lang="en-US" sz="900">
                          <a:solidFill>
                            <a:schemeClr val="tx2"/>
                          </a:solidFill>
                        </a:rPr>
                        <a:t>2</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US" sz="900" b="1" u="none" strike="noStrike" baseline="0" noProof="0">
                          <a:solidFill>
                            <a:srgbClr val="000000"/>
                          </a:solidFill>
                        </a:rPr>
                        <a:t>Build trust through product excellence </a:t>
                      </a:r>
                      <a:endParaRPr lang="en-US" sz="900" b="1" i="0" u="none" strike="noStrike" baseline="0" noProof="0">
                        <a:solidFill>
                          <a:srgbClr val="000000"/>
                        </a:solidFill>
                        <a:latin typeface="Segoe UI"/>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Build foundational trust through reliable, resilient, and secure solutions and champion customer/partner feedback to continuously improve the products and solutions we deliver. </a:t>
                      </a:r>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Bef>
                          <a:spcPts val="0"/>
                        </a:spcBef>
                        <a:spcAft>
                          <a:spcPts val="400"/>
                        </a:spcAft>
                        <a:buNone/>
                      </a:pPr>
                      <a:r>
                        <a:rPr lang="en-US" sz="900" b="1" kern="1200">
                          <a:solidFill>
                            <a:schemeClr val="tx1"/>
                          </a:solidFill>
                          <a:effectLst/>
                        </a:rPr>
                        <a:t>2.1 Security #1 Priority</a:t>
                      </a:r>
                      <a:r>
                        <a:rPr lang="en-US" sz="900" kern="1200">
                          <a:solidFill>
                            <a:schemeClr val="tx1"/>
                          </a:solidFill>
                          <a:effectLst/>
                        </a:rPr>
                        <a:t>: Deliver Secure Azure architectures, prioritizing Defender for Cloud and Network Security </a:t>
                      </a:r>
                      <a:endParaRPr lang="en-US" sz="1200" kern="100">
                        <a:solidFill>
                          <a:schemeClr val="tx1"/>
                        </a:solidFill>
                        <a:effectLst/>
                      </a:endParaRPr>
                    </a:p>
                    <a:p>
                      <a:pPr marL="0" marR="0">
                        <a:lnSpc>
                          <a:spcPct val="100000"/>
                        </a:lnSpc>
                        <a:spcBef>
                          <a:spcPts val="0"/>
                        </a:spcBef>
                        <a:spcAft>
                          <a:spcPts val="400"/>
                        </a:spcAft>
                        <a:buNone/>
                      </a:pPr>
                      <a:r>
                        <a:rPr lang="en-US" sz="900" b="1" kern="1200">
                          <a:solidFill>
                            <a:schemeClr val="tx1"/>
                          </a:solidFill>
                          <a:effectLst/>
                        </a:rPr>
                        <a:t>2.2 Reliable, resilient, optimized solutions</a:t>
                      </a:r>
                      <a:r>
                        <a:rPr lang="en-US" sz="900" kern="1200">
                          <a:solidFill>
                            <a:schemeClr val="tx1"/>
                          </a:solidFill>
                          <a:effectLst/>
                        </a:rPr>
                        <a:t>: Quality assurance of architecture solutions E2E, gate keeper for architecture design with key customers to ensure resiliency by design. Address “Priority Zero” resiliency vulnerabilities (identified via telemetry and/or WARA) in customers’ mission critical workloads, including networking/ExpressRoute and multi-zone/multi-region architecture.</a:t>
                      </a:r>
                      <a:endParaRPr lang="en-US" sz="1200" kern="100">
                        <a:solidFill>
                          <a:schemeClr val="tx1"/>
                        </a:solidFill>
                        <a:effectLst/>
                      </a:endParaRPr>
                    </a:p>
                    <a:p>
                      <a:pPr marL="0" marR="0">
                        <a:lnSpc>
                          <a:spcPct val="100000"/>
                        </a:lnSpc>
                        <a:spcBef>
                          <a:spcPts val="0"/>
                        </a:spcBef>
                        <a:spcAft>
                          <a:spcPts val="400"/>
                        </a:spcAft>
                        <a:buNone/>
                      </a:pPr>
                      <a:r>
                        <a:rPr lang="en-GB" sz="900" b="1" kern="1200">
                          <a:solidFill>
                            <a:schemeClr val="tx1"/>
                          </a:solidFill>
                          <a:effectLst/>
                        </a:rPr>
                        <a:t>2.3 Voice of the Customer/Partner: </a:t>
                      </a:r>
                      <a:r>
                        <a:rPr kumimoji="0" lang="en-US" sz="900" b="0" u="none" strike="noStrike" kern="1200" cap="none" spc="0" normalizeH="0" baseline="0" noProof="0">
                          <a:ln>
                            <a:noFill/>
                          </a:ln>
                          <a:solidFill>
                            <a:schemeClr val="tx1"/>
                          </a:solidFill>
                          <a:effectLst/>
                          <a:uLnTx/>
                          <a:uFillTx/>
                        </a:rPr>
                        <a:t>Vocal leader and </a:t>
                      </a:r>
                      <a:r>
                        <a:rPr lang="en-GB" sz="900" b="0">
                          <a:solidFill>
                            <a:schemeClr val="tx1"/>
                          </a:solidFill>
                        </a:rPr>
                        <a:t>champion of </a:t>
                      </a:r>
                      <a:r>
                        <a:rPr lang="en-GB" sz="900" kern="1200">
                          <a:solidFill>
                            <a:schemeClr val="tx1"/>
                          </a:solidFill>
                          <a:effectLst/>
                        </a:rPr>
                        <a:t>customer/partner feedback to influence Engineering’s product/services roadmap, and</a:t>
                      </a:r>
                      <a:r>
                        <a:rPr kumimoji="0" lang="en-US" sz="900" b="0" u="none" strike="noStrike" kern="1200" cap="none" spc="0" normalizeH="0" baseline="0" noProof="0">
                          <a:ln>
                            <a:noFill/>
                          </a:ln>
                          <a:solidFill>
                            <a:schemeClr val="tx1"/>
                          </a:solidFill>
                          <a:effectLst/>
                          <a:uLnTx/>
                          <a:uFillTx/>
                        </a:rPr>
                        <a:t> to elevate adoption issues. </a:t>
                      </a:r>
                      <a:r>
                        <a:rPr lang="en-US" sz="900" b="0" kern="1200">
                          <a:solidFill>
                            <a:schemeClr val="tx1"/>
                          </a:solidFill>
                        </a:rPr>
                        <a:t>Is the trusted technical advisor to the CS Leader.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5139600"/>
                  </a:ext>
                </a:extLst>
              </a:tr>
              <a:tr h="0">
                <a:tc>
                  <a:txBody>
                    <a:bodyPr/>
                    <a:lstStyle/>
                    <a:p>
                      <a:r>
                        <a:rPr lang="en-US" sz="900">
                          <a:solidFill>
                            <a:schemeClr val="tx2"/>
                          </a:solidFill>
                        </a:rPr>
                        <a:t>3</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1" u="none" strike="noStrike" baseline="0" noProof="0">
                          <a:solidFill>
                            <a:srgbClr val="000000"/>
                          </a:solidFill>
                          <a:effectLst/>
                        </a:rPr>
                        <a:t>Differentiate through world class  Customer Experience </a:t>
                      </a:r>
                    </a:p>
                    <a:p>
                      <a:pPr marL="0" lvl="0" indent="0" algn="l">
                        <a:spcBef>
                          <a:spcPts val="0"/>
                        </a:spcBef>
                        <a:spcAft>
                          <a:spcPts val="0"/>
                        </a:spcAft>
                        <a:buNone/>
                      </a:pPr>
                      <a:endParaRPr lang="en-GB" sz="900" b="1" u="none" strike="noStrike">
                        <a:solidFill>
                          <a:schemeClr val="tx1"/>
                        </a:solidFill>
                        <a:effectLst/>
                      </a:endParaRPr>
                    </a:p>
                    <a:p>
                      <a:pPr marL="0" indent="0" algn="l" rtl="0" fontAlgn="ctr">
                        <a:spcBef>
                          <a:spcPts val="0"/>
                        </a:spcBef>
                        <a:spcAft>
                          <a:spcPts val="0"/>
                        </a:spcAft>
                        <a:buNone/>
                      </a:pPr>
                      <a:endParaRPr lang="en-IE" sz="900" b="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Relentlessly pursue a simple, consistent, and connected customer experience that delights customers/partners and grows our business.  </a:t>
                      </a:r>
                    </a:p>
                    <a:p>
                      <a:pPr marL="0" lvl="0" indent="0" algn="l">
                        <a:spcBef>
                          <a:spcPts val="0"/>
                        </a:spcBef>
                        <a:spcAft>
                          <a:spcPts val="0"/>
                        </a:spcAft>
                        <a:buNone/>
                      </a:pPr>
                      <a:endParaRPr lang="en-GB" sz="900" b="1" u="none" strike="noStrike">
                        <a:solidFill>
                          <a:schemeClr val="tx1"/>
                        </a:solidFill>
                        <a:effectLst/>
                      </a:endParaRPr>
                    </a:p>
                    <a:p>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Bef>
                          <a:spcPts val="0"/>
                        </a:spcBef>
                        <a:spcAft>
                          <a:spcPts val="400"/>
                        </a:spcAft>
                        <a:buNone/>
                      </a:pPr>
                      <a:r>
                        <a:rPr lang="en-GB" sz="900" b="1" kern="1200">
                          <a:solidFill>
                            <a:schemeClr val="tx1"/>
                          </a:solidFill>
                          <a:effectLst/>
                        </a:rPr>
                        <a:t>3.1 Customer Experience</a:t>
                      </a:r>
                      <a:r>
                        <a:rPr lang="en-GB" sz="900" kern="1200">
                          <a:solidFill>
                            <a:schemeClr val="tx1"/>
                          </a:solidFill>
                          <a:effectLst/>
                        </a:rPr>
                        <a:t>: </a:t>
                      </a:r>
                      <a:r>
                        <a:rPr lang="en-US" sz="900" b="0">
                          <a:solidFill>
                            <a:schemeClr val="tx1"/>
                          </a:solidFill>
                        </a:rPr>
                        <a:t>Engages at Senior / Executive (e.g. CTO, CIO) level with large enterprise customers to help define their transformative Cloud &amp; AI strategy. </a:t>
                      </a:r>
                      <a:r>
                        <a:rPr lang="en-US" sz="900" b="0" kern="1200">
                          <a:solidFill>
                            <a:schemeClr val="tx1"/>
                          </a:solidFill>
                        </a:rPr>
                        <a:t>Accelerate and lead Azure consumption plan and aligned customer success plan </a:t>
                      </a:r>
                      <a:r>
                        <a:rPr lang="en-US" sz="900" kern="1200">
                          <a:solidFill>
                            <a:schemeClr val="tx1"/>
                          </a:solidFill>
                          <a:effectLst/>
                        </a:rPr>
                        <a:t>with the CSAM/ATU/STU</a:t>
                      </a:r>
                      <a:r>
                        <a:rPr lang="en-US" sz="900" b="0" kern="1200">
                          <a:solidFill>
                            <a:schemeClr val="tx1"/>
                          </a:solidFill>
                        </a:rPr>
                        <a:t>to burn existing MACCs and drive recapture </a:t>
                      </a:r>
                      <a:r>
                        <a:rPr kumimoji="0" lang="en-US" sz="900" b="0" u="none" strike="noStrike" kern="1200" cap="none" spc="0" normalizeH="0" baseline="0" noProof="0">
                          <a:ln>
                            <a:noFill/>
                          </a:ln>
                          <a:solidFill>
                            <a:schemeClr val="tx1"/>
                          </a:solidFill>
                          <a:effectLst/>
                          <a:uLnTx/>
                          <a:uFillTx/>
                        </a:rPr>
                        <a:t>Note: Consumption plan review by CSU for New and Renewal MACCs. </a:t>
                      </a:r>
                      <a:endParaRPr lang="en-US" sz="900" b="0" strike="noStrike" kern="1200">
                        <a:solidFill>
                          <a:schemeClr val="tx1"/>
                        </a:solidFill>
                        <a:effectLst/>
                      </a:endParaRPr>
                    </a:p>
                    <a:p>
                      <a:pPr marL="0" marR="0">
                        <a:lnSpc>
                          <a:spcPct val="100000"/>
                        </a:lnSpc>
                        <a:spcBef>
                          <a:spcPts val="0"/>
                        </a:spcBef>
                        <a:spcAft>
                          <a:spcPts val="400"/>
                        </a:spcAft>
                        <a:buNone/>
                      </a:pPr>
                      <a:r>
                        <a:rPr lang="en-GB" sz="900" b="1" kern="1200">
                          <a:solidFill>
                            <a:schemeClr val="tx1"/>
                          </a:solidFill>
                          <a:effectLst/>
                        </a:rPr>
                        <a:t>3.2 Customer/Partner Outcomes</a:t>
                      </a:r>
                      <a:r>
                        <a:rPr lang="en-GB" sz="900" kern="1200">
                          <a:solidFill>
                            <a:schemeClr val="tx1"/>
                          </a:solidFill>
                          <a:effectLst/>
                        </a:rPr>
                        <a:t>: Consistently engage as One Microsoft following MCEM orchestration and</a:t>
                      </a:r>
                      <a:r>
                        <a:rPr lang="en-US" sz="900" kern="1200">
                          <a:solidFill>
                            <a:schemeClr val="tx1"/>
                          </a:solidFill>
                          <a:effectLst/>
                        </a:rPr>
                        <a:t> proactively manage risks to drive on-time, on-revenue closure of CSU/STU/Partner committed milestones. Support ATU/STU/Partner to design delivery proposals with the Delivery order of operations.</a:t>
                      </a:r>
                      <a:endParaRPr lang="en-US" sz="1200" kern="100">
                        <a:solidFill>
                          <a:schemeClr val="tx1"/>
                        </a:solidFill>
                        <a:effectLst/>
                      </a:endParaRPr>
                    </a:p>
                    <a:p>
                      <a:pPr marL="0" marR="0">
                        <a:lnSpc>
                          <a:spcPct val="100000"/>
                        </a:lnSpc>
                        <a:spcBef>
                          <a:spcPts val="0"/>
                        </a:spcBef>
                        <a:spcAft>
                          <a:spcPts val="400"/>
                        </a:spcAft>
                        <a:buNone/>
                      </a:pPr>
                      <a:r>
                        <a:rPr lang="en-GB" sz="900" b="1" kern="1200">
                          <a:solidFill>
                            <a:schemeClr val="tx1"/>
                          </a:solidFill>
                          <a:effectLst/>
                        </a:rPr>
                        <a:t>3.3 Customer Zero</a:t>
                      </a:r>
                      <a:r>
                        <a:rPr lang="en-GB" sz="900" kern="1200">
                          <a:solidFill>
                            <a:schemeClr val="tx1"/>
                          </a:solidFill>
                          <a:effectLst/>
                        </a:rPr>
                        <a:t>: </a:t>
                      </a:r>
                      <a:r>
                        <a:rPr lang="en-US" sz="900" kern="1200">
                          <a:solidFill>
                            <a:schemeClr val="tx1"/>
                          </a:solidFill>
                          <a:effectLst/>
                        </a:rPr>
                        <a:t>Share AI Ready best practices with your customers/partners to inspire them to accelerate AI adoption. Tell the Microsoft AI sto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124714">
                <a:tc>
                  <a:txBody>
                    <a:bodyPr/>
                    <a:lstStyle/>
                    <a:p>
                      <a:pPr lvl="0">
                        <a:buNone/>
                      </a:pPr>
                      <a:r>
                        <a:rPr lang="en-US" sz="900">
                          <a:solidFill>
                            <a:schemeClr val="tx2"/>
                          </a:solidFill>
                        </a:rPr>
                        <a:t>4</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u="none" strike="noStrike" baseline="0" noProof="0">
                          <a:solidFill>
                            <a:srgbClr val="000000"/>
                          </a:solidFill>
                        </a:rPr>
                        <a:t>Drive operational excellence through AI </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u="none" strike="noStrike" baseline="0" noProof="0">
                          <a:solidFill>
                            <a:srgbClr val="000000"/>
                          </a:solidFill>
                          <a:effectLst/>
                        </a:rPr>
                        <a:t>As Customer Zero, leverage AI to accelerate our digital transformation and model the productivity and efficiency gains through our products, platforms, and solutions.</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Bef>
                          <a:spcPts val="0"/>
                        </a:spcBef>
                        <a:spcAft>
                          <a:spcPts val="400"/>
                        </a:spcAft>
                        <a:buNone/>
                      </a:pPr>
                      <a:r>
                        <a:rPr lang="en-GB" sz="900" b="1" kern="1200">
                          <a:solidFill>
                            <a:schemeClr val="tx1"/>
                          </a:solidFill>
                          <a:effectLst/>
                        </a:rPr>
                        <a:t>4.1 Business Insights: </a:t>
                      </a:r>
                      <a:r>
                        <a:rPr lang="en-GB" sz="900" kern="1200">
                          <a:solidFill>
                            <a:schemeClr val="tx1"/>
                          </a:solidFill>
                          <a:effectLst/>
                        </a:rPr>
                        <a:t>Leverage AI </a:t>
                      </a:r>
                      <a:r>
                        <a:rPr lang="en-US" sz="900" kern="1200">
                          <a:solidFill>
                            <a:schemeClr val="tx1"/>
                          </a:solidFill>
                          <a:effectLst/>
                        </a:rPr>
                        <a:t>to analyze situations, make informed decisions, &amp; drive strategies that align with your customer’s goals &amp; objectives. Do this in conjunction with your manager.</a:t>
                      </a:r>
                      <a:endParaRPr lang="en-US" sz="1200" kern="100">
                        <a:solidFill>
                          <a:schemeClr val="tx1"/>
                        </a:solidFill>
                        <a:effectLst/>
                      </a:endParaRPr>
                    </a:p>
                    <a:p>
                      <a:pPr marL="0" marR="0">
                        <a:lnSpc>
                          <a:spcPct val="100000"/>
                        </a:lnSpc>
                        <a:spcBef>
                          <a:spcPts val="0"/>
                        </a:spcBef>
                        <a:spcAft>
                          <a:spcPts val="400"/>
                        </a:spcAft>
                        <a:buNone/>
                      </a:pPr>
                      <a:r>
                        <a:rPr lang="en-GB" sz="900" b="1" kern="1200">
                          <a:solidFill>
                            <a:schemeClr val="tx1"/>
                          </a:solidFill>
                          <a:effectLst/>
                        </a:rPr>
                        <a:t>4.2 Operational excellence</a:t>
                      </a:r>
                      <a:r>
                        <a:rPr lang="en-GB" sz="900" kern="1200">
                          <a:solidFill>
                            <a:schemeClr val="tx1"/>
                          </a:solidFill>
                          <a:effectLst/>
                        </a:rPr>
                        <a:t>: Adhere to Guidelines for MCEM, Consumption &amp; Usage Excellence, Customer Contactability. Comply with 100% Labor Logging (defined by area guidelines) on Service Delivery Management, as required by company policy, CE&amp;S business rules, and legal requirements. </a:t>
                      </a:r>
                    </a:p>
                    <a:p>
                      <a:pPr marL="0" marR="0">
                        <a:lnSpc>
                          <a:spcPct val="100000"/>
                        </a:lnSpc>
                        <a:spcBef>
                          <a:spcPts val="0"/>
                        </a:spcBef>
                        <a:spcAft>
                          <a:spcPts val="400"/>
                        </a:spcAft>
                        <a:buNone/>
                      </a:pPr>
                      <a:r>
                        <a:rPr lang="en-GB" sz="900" b="1" kern="1200">
                          <a:solidFill>
                            <a:schemeClr val="tx1"/>
                          </a:solidFill>
                          <a:effectLst/>
                        </a:rPr>
                        <a:t>4.3 Maximize MS/CSU-Invested ROI: </a:t>
                      </a:r>
                      <a:r>
                        <a:rPr lang="en-GB" sz="900" b="0" kern="1200">
                          <a:solidFill>
                            <a:schemeClr val="tx1"/>
                          </a:solidFill>
                          <a:effectLst/>
                        </a:rPr>
                        <a:t>L</a:t>
                      </a:r>
                      <a:r>
                        <a:rPr lang="en-GB" sz="900" kern="1200">
                          <a:solidFill>
                            <a:schemeClr val="tx1"/>
                          </a:solidFill>
                          <a:effectLst/>
                        </a:rPr>
                        <a:t>everage scale execution engines (e.g. Cloud Accelerate Factory) as a priority. Through Unified provide </a:t>
                      </a:r>
                      <a:r>
                        <a:rPr lang="en-US" sz="900" kern="1200">
                          <a:solidFill>
                            <a:schemeClr val="tx1"/>
                          </a:solidFill>
                          <a:effectLst/>
                        </a:rPr>
                        <a:t>Factory Delivery oversight and escalation support to ensure a successful customer delivery with high customer satisfaction.</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9779708"/>
                  </a:ext>
                </a:extLst>
              </a:tr>
              <a:tr h="206012">
                <a:tc>
                  <a:txBody>
                    <a:bodyPr/>
                    <a:lstStyle/>
                    <a:p>
                      <a:r>
                        <a:rPr lang="en-US" sz="900">
                          <a:solidFill>
                            <a:schemeClr val="tx2"/>
                          </a:solidFill>
                        </a:rPr>
                        <a:t>5</a:t>
                      </a: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US" sz="900" b="1" u="none" strike="noStrike" baseline="0" noProof="0">
                          <a:solidFill>
                            <a:srgbClr val="000000"/>
                          </a:solidFill>
                        </a:rPr>
                        <a:t>Accelerate customer/partner outcomes through delivery excellence </a:t>
                      </a:r>
                    </a:p>
                    <a:p>
                      <a:pPr lvl="0">
                        <a:buNone/>
                      </a:pPr>
                      <a:endParaRPr lang="en-US" sz="900" b="1" i="1">
                        <a:solidFill>
                          <a:schemeClr val="tx1"/>
                        </a:solidFill>
                      </a:endParaRP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GB" sz="900" b="0" u="none" strike="noStrike" baseline="0" noProof="0">
                          <a:solidFill>
                            <a:srgbClr val="000000"/>
                          </a:solidFill>
                          <a:effectLst/>
                        </a:rPr>
                        <a:t>Obsess over driving value for our customers/partners through shaping the right offers, delivering through our integrated services portfolio</a:t>
                      </a:r>
                    </a:p>
                    <a:p>
                      <a:pPr marL="0" marR="0" lvl="0" indent="0" algn="l" defTabSz="1110447">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tcPr>
                </a:tc>
                <a:tc>
                  <a:txBody>
                    <a:bodyPr/>
                    <a:lstStyle/>
                    <a:p>
                      <a:pPr marL="0" marR="0" lvl="0" indent="0" algn="l" defTabSz="1110447" rtl="0" eaLnBrk="1" fontAlgn="auto" latinLnBrk="0" hangingPunct="1">
                        <a:lnSpc>
                          <a:spcPct val="100000"/>
                        </a:lnSpc>
                        <a:spcBef>
                          <a:spcPts val="0"/>
                        </a:spcBef>
                        <a:spcAft>
                          <a:spcPts val="400"/>
                        </a:spcAft>
                        <a:buClrTx/>
                        <a:buSzTx/>
                        <a:buFontTx/>
                        <a:buNone/>
                        <a:tabLst/>
                        <a:defRPr/>
                      </a:pPr>
                      <a:r>
                        <a:rPr lang="en-US" sz="900" b="0" kern="1200">
                          <a:solidFill>
                            <a:schemeClr val="tx1"/>
                          </a:solidFill>
                          <a:effectLst/>
                        </a:rPr>
                        <a:t>5.1  </a:t>
                      </a:r>
                      <a:r>
                        <a:rPr lang="en-US" sz="900" b="1" kern="1200">
                          <a:solidFill>
                            <a:schemeClr val="tx1"/>
                          </a:solidFill>
                          <a:effectLst/>
                        </a:rPr>
                        <a:t>Achieve Factory ACR targets: </a:t>
                      </a:r>
                      <a:r>
                        <a:rPr lang="en-US" sz="900" b="0" kern="1200">
                          <a:solidFill>
                            <a:schemeClr val="tx1"/>
                          </a:solidFill>
                          <a:effectLst/>
                        </a:rPr>
                        <a:t>for assigned geo and workload through hands-on delivery, active delivery oversight, and proactive support for Field account teams in optimizing delivery proposals by leading with Factory assessments</a:t>
                      </a:r>
                      <a:endParaRPr lang="en-US" sz="1200" b="0" kern="100">
                        <a:solidFill>
                          <a:schemeClr val="tx1"/>
                        </a:solidFill>
                        <a:effectLst/>
                      </a:endParaRPr>
                    </a:p>
                    <a:p>
                      <a:pPr marL="0" marR="0">
                        <a:lnSpc>
                          <a:spcPct val="100000"/>
                        </a:lnSpc>
                        <a:spcBef>
                          <a:spcPts val="0"/>
                        </a:spcBef>
                        <a:spcAft>
                          <a:spcPts val="400"/>
                        </a:spcAft>
                        <a:buNone/>
                      </a:pPr>
                      <a:r>
                        <a:rPr lang="en-GB" sz="900" b="1" kern="1200">
                          <a:solidFill>
                            <a:schemeClr val="tx1"/>
                          </a:solidFill>
                          <a:effectLst/>
                        </a:rPr>
                        <a:t>5.2 Delivery Excellence &amp; Continuous Improvement</a:t>
                      </a:r>
                      <a:r>
                        <a:rPr lang="en-GB" sz="900" kern="1200">
                          <a:solidFill>
                            <a:schemeClr val="tx1"/>
                          </a:solidFill>
                          <a:effectLst/>
                        </a:rPr>
                        <a:t>: </a:t>
                      </a:r>
                      <a:r>
                        <a:rPr lang="en-US" sz="900" b="0" kern="1200">
                          <a:solidFill>
                            <a:schemeClr val="tx1"/>
                          </a:solidFill>
                        </a:rPr>
                        <a:t>Engaged on defined set of Classic accounts (large MACCs $10M+ or underperforming MACCs). </a:t>
                      </a:r>
                      <a:r>
                        <a:rPr lang="en-US" sz="900" kern="1200">
                          <a:solidFill>
                            <a:schemeClr val="tx1"/>
                          </a:solidFill>
                          <a:effectLst/>
                        </a:rPr>
                        <a:t>Own committed production milestones, achieving 95%+ commit-to-close rate (Job 1) each quarter for Unified customers in Classic and Accelerate territories. Use repeatable IP/artifacts in delivery to drive efficiency and scale. Prompt customer feedback and earn a VSAT score with each delivery.</a:t>
                      </a:r>
                      <a:endParaRPr lang="en-US" sz="1200" kern="100">
                        <a:solidFill>
                          <a:schemeClr val="tx1"/>
                        </a:solidFill>
                        <a:effectLst/>
                      </a:endParaRPr>
                    </a:p>
                    <a:p>
                      <a:pPr marL="0" marR="0">
                        <a:lnSpc>
                          <a:spcPct val="100000"/>
                        </a:lnSpc>
                        <a:spcBef>
                          <a:spcPts val="0"/>
                        </a:spcBef>
                        <a:spcAft>
                          <a:spcPts val="400"/>
                        </a:spcAft>
                        <a:buNone/>
                      </a:pPr>
                      <a:r>
                        <a:rPr lang="en-US" sz="900" b="1" kern="1200">
                          <a:solidFill>
                            <a:schemeClr val="tx1"/>
                          </a:solidFill>
                          <a:effectLst/>
                        </a:rPr>
                        <a:t>5.3 Consumption/Usage Impact</a:t>
                      </a:r>
                      <a:r>
                        <a:rPr lang="en-US" sz="900" kern="1200">
                          <a:solidFill>
                            <a:schemeClr val="tx1"/>
                          </a:solidFill>
                          <a:effectLst/>
                        </a:rPr>
                        <a:t>: As most senior delivery &amp; strategy expert across Azure, p</a:t>
                      </a:r>
                      <a:r>
                        <a:rPr kumimoji="0" lang="en-US" sz="900" b="0" u="none" strike="noStrike" kern="1200" cap="none" spc="0" normalizeH="0" baseline="0" noProof="0" err="1">
                          <a:ln>
                            <a:noFill/>
                          </a:ln>
                          <a:solidFill>
                            <a:schemeClr val="tx1"/>
                          </a:solidFill>
                          <a:effectLst/>
                          <a:uLnTx/>
                          <a:uFillTx/>
                        </a:rPr>
                        <a:t>rotect</a:t>
                      </a:r>
                      <a:r>
                        <a:rPr kumimoji="0" lang="en-US" sz="900" b="0" u="none" strike="noStrike" kern="1200" cap="none" spc="0" normalizeH="0" baseline="0" noProof="0">
                          <a:ln>
                            <a:noFill/>
                          </a:ln>
                          <a:solidFill>
                            <a:schemeClr val="tx1"/>
                          </a:solidFill>
                          <a:effectLst/>
                          <a:uLnTx/>
                          <a:uFillTx/>
                        </a:rPr>
                        <a:t> ACR base, drive ACR expansion, and create conditions for MACC and Unified renewals thru consumption excellence across all Azure Solution Plays.</a:t>
                      </a:r>
                      <a:endPar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870294767"/>
                  </a:ext>
                </a:extLst>
              </a:tr>
            </a:tbl>
          </a:graphicData>
        </a:graphic>
      </p:graphicFrame>
      <p:sp>
        <p:nvSpPr>
          <p:cNvPr id="4" name="Title 1">
            <a:extLst>
              <a:ext uri="{FF2B5EF4-FFF2-40B4-BE49-F238E27FC236}">
                <a16:creationId xmlns:a16="http://schemas.microsoft.com/office/drawing/2014/main" id="{EBB21AAD-8F7A-CD4F-019B-F659278E54B7}"/>
              </a:ext>
            </a:extLst>
          </p:cNvPr>
          <p:cNvSpPr txBox="1">
            <a:spLocks/>
          </p:cNvSpPr>
          <p:nvPr/>
        </p:nvSpPr>
        <p:spPr>
          <a:xfrm>
            <a:off x="161580" y="421868"/>
            <a:ext cx="11315702"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lang="en-US" sz="3600" b="0" i="0" u="none" kern="1200" cap="none" spc="0" baseline="0">
                <a:ln w="3175">
                  <a:noFill/>
                </a:ln>
                <a:solidFill>
                  <a:srgbClr val="000000"/>
                </a:solidFill>
                <a:effectLst/>
                <a:latin typeface="+mj-lt"/>
                <a:ea typeface="+mj-ea"/>
                <a:cs typeface="+mj-cs"/>
                <a:sym typeface="Trebuchet MS" panose="020B0603020202020204" pitchFamily="34" charset="0"/>
              </a:defRPr>
            </a:lvl1pPr>
          </a:lstStyle>
          <a:p>
            <a:r>
              <a:rPr lang="en-US" sz="2400"/>
              <a:t>Core Priorities: Cloud &amp; AI - Cloud Solution Architect</a:t>
            </a:r>
          </a:p>
        </p:txBody>
      </p:sp>
      <p:grpSp>
        <p:nvGrpSpPr>
          <p:cNvPr id="23" name="Group 22">
            <a:extLst>
              <a:ext uri="{FF2B5EF4-FFF2-40B4-BE49-F238E27FC236}">
                <a16:creationId xmlns:a16="http://schemas.microsoft.com/office/drawing/2014/main" id="{FD9FBEE7-D74A-C87A-6499-013C9BE92DA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4" name="Table 2 Cell 1, 1 to Text">
              <a:extLst>
                <a:ext uri="{FF2B5EF4-FFF2-40B4-BE49-F238E27FC236}">
                  <a16:creationId xmlns:a16="http://schemas.microsoft.com/office/drawing/2014/main" id="{CB7813B0-08B3-5BF3-DBEE-5260258A2A54}"/>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7ED68C7F-79DC-6AC8-66E1-AD4650860A01}"/>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65E1263F-45D3-A972-AA62-4417AA21AE9F}"/>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7" name="Table 2 Cell 4, 1 to Text">
              <a:extLst>
                <a:ext uri="{FF2B5EF4-FFF2-40B4-BE49-F238E27FC236}">
                  <a16:creationId xmlns:a16="http://schemas.microsoft.com/office/drawing/2014/main" id="{E1EC8B27-15FE-7AB1-2CB8-15F87F0D85C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8" name="Table 2 Cell 5, 1 to Text">
              <a:extLst>
                <a:ext uri="{FF2B5EF4-FFF2-40B4-BE49-F238E27FC236}">
                  <a16:creationId xmlns:a16="http://schemas.microsoft.com/office/drawing/2014/main" id="{6F6451FF-4123-9EC6-9F82-B83F47A4E59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9" name="Table 2 Cell 6, 1 to Text">
              <a:extLst>
                <a:ext uri="{FF2B5EF4-FFF2-40B4-BE49-F238E27FC236}">
                  <a16:creationId xmlns:a16="http://schemas.microsoft.com/office/drawing/2014/main" id="{B735EABF-563E-14B3-A826-A2E2E0BBC6C5}"/>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30" name="Table 2 Cell 7, 1 to Text">
              <a:extLst>
                <a:ext uri="{FF2B5EF4-FFF2-40B4-BE49-F238E27FC236}">
                  <a16:creationId xmlns:a16="http://schemas.microsoft.com/office/drawing/2014/main" id="{67C313FB-DE21-FF91-CE7E-4BD9D5FF935D}"/>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1" name="Table 2 Cell 1, 2 to Text">
              <a:extLst>
                <a:ext uri="{FF2B5EF4-FFF2-40B4-BE49-F238E27FC236}">
                  <a16:creationId xmlns:a16="http://schemas.microsoft.com/office/drawing/2014/main" id="{40D1A96A-0D7D-170A-E8B8-01E48660BC0E}"/>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32" name="Table 2 Cell 1, 3 to Text">
              <a:extLst>
                <a:ext uri="{FF2B5EF4-FFF2-40B4-BE49-F238E27FC236}">
                  <a16:creationId xmlns:a16="http://schemas.microsoft.com/office/drawing/2014/main" id="{DB19203F-4A26-2D53-8DB6-1F9B5FB0CBAB}"/>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6.2 Core Priorities &amp; Key Habits</a:t>
              </a:r>
            </a:p>
          </p:txBody>
        </p:sp>
        <p:sp>
          <p:nvSpPr>
            <p:cNvPr id="33" name="Table 2 Cell 1, 4 to Text">
              <a:extLst>
                <a:ext uri="{FF2B5EF4-FFF2-40B4-BE49-F238E27FC236}">
                  <a16:creationId xmlns:a16="http://schemas.microsoft.com/office/drawing/2014/main" id="{0862437E-8795-539E-7EC2-128604877547}"/>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34" name="Table 2 Cell 1, 5 to Text">
              <a:extLst>
                <a:ext uri="{FF2B5EF4-FFF2-40B4-BE49-F238E27FC236}">
                  <a16:creationId xmlns:a16="http://schemas.microsoft.com/office/drawing/2014/main" id="{A82FF72E-BD7E-832C-8539-CE7C9BF21F98}"/>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35" name="Table 2 Cell 1, 6 to Text">
              <a:extLst>
                <a:ext uri="{FF2B5EF4-FFF2-40B4-BE49-F238E27FC236}">
                  <a16:creationId xmlns:a16="http://schemas.microsoft.com/office/drawing/2014/main" id="{10B54216-5C96-1125-F69B-3EB8E451A132}"/>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5 Azure Solution Plays Overview</a:t>
              </a:r>
            </a:p>
          </p:txBody>
        </p:sp>
      </p:grpSp>
    </p:spTree>
    <p:extLst>
      <p:ext uri="{BB962C8B-B14F-4D97-AF65-F5344CB8AC3E}">
        <p14:creationId xmlns:p14="http://schemas.microsoft.com/office/powerpoint/2010/main" val="385327976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74301-989D-DBB1-7481-47E01D0D2982}"/>
            </a:ext>
          </a:extLst>
        </p:cNvPr>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12F18D2F-9054-6833-3288-D70D6EB2EBF2}"/>
              </a:ext>
              <a:ext uri="{C183D7F6-B498-43B3-948B-1728B52AA6E4}">
                <adec:decorative xmlns:adec="http://schemas.microsoft.com/office/drawing/2017/decorative" val="1"/>
              </a:ext>
            </a:extLst>
          </p:cNvPr>
          <p:cNvSpPr>
            <a:spLocks/>
          </p:cNvSpPr>
          <p:nvPr/>
        </p:nvSpPr>
        <p:spPr bwMode="auto">
          <a:xfrm>
            <a:off x="256478" y="1277769"/>
            <a:ext cx="11686478"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14" name="Rectangle: Rounded Corners 13">
            <a:extLst>
              <a:ext uri="{FF2B5EF4-FFF2-40B4-BE49-F238E27FC236}">
                <a16:creationId xmlns:a16="http://schemas.microsoft.com/office/drawing/2014/main" id="{04134CDE-FDD0-9F9B-D17B-C145BC6DC9FA}"/>
              </a:ext>
            </a:extLst>
          </p:cNvPr>
          <p:cNvSpPr/>
          <p:nvPr/>
        </p:nvSpPr>
        <p:spPr bwMode="auto">
          <a:xfrm>
            <a:off x="390294" y="1377621"/>
            <a:ext cx="11385394" cy="4177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r>
              <a:rPr lang="en-US" b="1"/>
              <a:t>Successful CSAs Achieve results by:​</a:t>
            </a:r>
          </a:p>
        </p:txBody>
      </p:sp>
      <p:sp>
        <p:nvSpPr>
          <p:cNvPr id="17" name="Title 16">
            <a:extLst>
              <a:ext uri="{FF2B5EF4-FFF2-40B4-BE49-F238E27FC236}">
                <a16:creationId xmlns:a16="http://schemas.microsoft.com/office/drawing/2014/main" id="{88CA564F-E871-BD9C-C1AB-66815A4B0C93}"/>
              </a:ext>
            </a:extLst>
          </p:cNvPr>
          <p:cNvSpPr>
            <a:spLocks noGrp="1"/>
          </p:cNvSpPr>
          <p:nvPr>
            <p:ph type="title"/>
          </p:nvPr>
        </p:nvSpPr>
        <p:spPr>
          <a:xfrm>
            <a:off x="510796" y="728937"/>
            <a:ext cx="11049000" cy="430887"/>
          </a:xfrm>
        </p:spPr>
        <p:txBody>
          <a:bodyPr/>
          <a:lstStyle/>
          <a:p>
            <a:pPr lvl="0"/>
            <a:r>
              <a:rPr lang="en-US" sz="2800" noProof="0"/>
              <a:t>Your key habits for success</a:t>
            </a:r>
          </a:p>
        </p:txBody>
      </p:sp>
      <p:sp>
        <p:nvSpPr>
          <p:cNvPr id="28" name="Rectangle: Rounded Corners 27">
            <a:extLst>
              <a:ext uri="{FF2B5EF4-FFF2-40B4-BE49-F238E27FC236}">
                <a16:creationId xmlns:a16="http://schemas.microsoft.com/office/drawing/2014/main" id="{2A8790C9-169D-9646-43EE-FC60B7D86FA9}"/>
              </a:ext>
            </a:extLst>
          </p:cNvPr>
          <p:cNvSpPr/>
          <p:nvPr/>
        </p:nvSpPr>
        <p:spPr bwMode="auto">
          <a:xfrm>
            <a:off x="4537283" y="6256545"/>
            <a:ext cx="3456814"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rgbClr val="FFFFFF"/>
                </a:solidFill>
                <a:latin typeface="Segoe Sans Display Semibold"/>
                <a:cs typeface="Segoe UI" pitchFamily="34" charset="0"/>
              </a:rPr>
              <a:t>See your role success guide at </a:t>
            </a:r>
            <a:r>
              <a:rPr lang="en-US" sz="1200">
                <a:solidFill>
                  <a:srgbClr val="FFFFFF"/>
                </a:solidFill>
                <a:latin typeface="Segoe Sans Display Semibold"/>
                <a:cs typeface="Segoe UI" pitchFamily="34" charset="0"/>
                <a:hlinkClick r:id="rId3">
                  <a:extLst>
                    <a:ext uri="{A12FA001-AC4F-418D-AE19-62706E023703}">
                      <ahyp:hlinkClr xmlns:ahyp="http://schemas.microsoft.com/office/drawing/2018/hyperlinkcolor" val="tx"/>
                    </a:ext>
                  </a:extLst>
                </a:hlinkClick>
              </a:rPr>
              <a:t>aka.ms/rain</a:t>
            </a:r>
            <a:endParaRPr lang="en-US" sz="1200">
              <a:solidFill>
                <a:srgbClr val="FFFFFF"/>
              </a:solidFill>
              <a:latin typeface="Segoe Sans Display Semibold"/>
              <a:cs typeface="Segoe UI" pitchFamily="34" charset="0"/>
            </a:endParaRPr>
          </a:p>
        </p:txBody>
      </p:sp>
      <p:grpSp>
        <p:nvGrpSpPr>
          <p:cNvPr id="27" name="Group 26">
            <a:extLst>
              <a:ext uri="{FF2B5EF4-FFF2-40B4-BE49-F238E27FC236}">
                <a16:creationId xmlns:a16="http://schemas.microsoft.com/office/drawing/2014/main" id="{5DB561A7-33B6-B56B-DEEA-2F600CBB53DD}"/>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1" name="Table 2 Cell 1, 1 to Text">
              <a:extLst>
                <a:ext uri="{FF2B5EF4-FFF2-40B4-BE49-F238E27FC236}">
                  <a16:creationId xmlns:a16="http://schemas.microsoft.com/office/drawing/2014/main" id="{7EDF52EA-19C0-7529-382D-E5F792A3A68B}"/>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2" name="Table 2 Cell 2, 1 to Text">
              <a:extLst>
                <a:ext uri="{FF2B5EF4-FFF2-40B4-BE49-F238E27FC236}">
                  <a16:creationId xmlns:a16="http://schemas.microsoft.com/office/drawing/2014/main" id="{4E06EEB4-C856-F244-1235-8E2101DB87B0}"/>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3" name="Table 2 Cell 3, 1 to Text">
              <a:extLst>
                <a:ext uri="{FF2B5EF4-FFF2-40B4-BE49-F238E27FC236}">
                  <a16:creationId xmlns:a16="http://schemas.microsoft.com/office/drawing/2014/main" id="{6F172819-0525-65D3-2802-C30712054943}"/>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44" name="Table 2 Cell 4, 1 to Text">
              <a:extLst>
                <a:ext uri="{FF2B5EF4-FFF2-40B4-BE49-F238E27FC236}">
                  <a16:creationId xmlns:a16="http://schemas.microsoft.com/office/drawing/2014/main" id="{7C9FE1E7-AEA4-043F-A864-DEF87DB67695}"/>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45" name="Table 2 Cell 5, 1 to Text">
              <a:extLst>
                <a:ext uri="{FF2B5EF4-FFF2-40B4-BE49-F238E27FC236}">
                  <a16:creationId xmlns:a16="http://schemas.microsoft.com/office/drawing/2014/main" id="{16BEFF68-9194-9B30-5294-46108446004B}"/>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6" name="Table 2 Cell 6, 1 to Text">
              <a:extLst>
                <a:ext uri="{FF2B5EF4-FFF2-40B4-BE49-F238E27FC236}">
                  <a16:creationId xmlns:a16="http://schemas.microsoft.com/office/drawing/2014/main" id="{3F804E43-4B8A-B09D-290C-626AB0DAB5C3}"/>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47" name="Table 2 Cell 7, 1 to Text">
              <a:extLst>
                <a:ext uri="{FF2B5EF4-FFF2-40B4-BE49-F238E27FC236}">
                  <a16:creationId xmlns:a16="http://schemas.microsoft.com/office/drawing/2014/main" id="{5871E84A-BB3F-B752-12FF-6CE9CC5A260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8" name="Table 2 Cell 1, 2 to Text">
              <a:extLst>
                <a:ext uri="{FF2B5EF4-FFF2-40B4-BE49-F238E27FC236}">
                  <a16:creationId xmlns:a16="http://schemas.microsoft.com/office/drawing/2014/main" id="{B95B246B-674A-8594-0C88-0CE32986FF0A}"/>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49" name="Table 2 Cell 1, 3 to Text">
              <a:extLst>
                <a:ext uri="{FF2B5EF4-FFF2-40B4-BE49-F238E27FC236}">
                  <a16:creationId xmlns:a16="http://schemas.microsoft.com/office/drawing/2014/main" id="{5FE0ECE1-D58D-41B1-FAA0-059062653F90}"/>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6.2 Core Priorities &amp; Key Habits</a:t>
              </a:r>
            </a:p>
          </p:txBody>
        </p:sp>
        <p:sp>
          <p:nvSpPr>
            <p:cNvPr id="50" name="Table 2 Cell 1, 4 to Text">
              <a:extLst>
                <a:ext uri="{FF2B5EF4-FFF2-40B4-BE49-F238E27FC236}">
                  <a16:creationId xmlns:a16="http://schemas.microsoft.com/office/drawing/2014/main" id="{9EC5CD9B-F081-7DAA-7418-27E8767727C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51" name="Table 2 Cell 1, 5 to Text">
              <a:extLst>
                <a:ext uri="{FF2B5EF4-FFF2-40B4-BE49-F238E27FC236}">
                  <a16:creationId xmlns:a16="http://schemas.microsoft.com/office/drawing/2014/main" id="{9BDA689C-73D6-4C1E-BE32-28DC7C67672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52" name="Table 2 Cell 1, 6 to Text">
              <a:extLst>
                <a:ext uri="{FF2B5EF4-FFF2-40B4-BE49-F238E27FC236}">
                  <a16:creationId xmlns:a16="http://schemas.microsoft.com/office/drawing/2014/main" id="{5A0403CE-B4F5-FB76-DF7B-69A4B43F896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5 Azure Solution Plays Overview</a:t>
              </a:r>
            </a:p>
          </p:txBody>
        </p:sp>
      </p:grpSp>
      <p:sp>
        <p:nvSpPr>
          <p:cNvPr id="53" name="Rectangle: Rounded Corners 52">
            <a:extLst>
              <a:ext uri="{FF2B5EF4-FFF2-40B4-BE49-F238E27FC236}">
                <a16:creationId xmlns:a16="http://schemas.microsoft.com/office/drawing/2014/main" id="{C82A5F19-353E-9768-86FF-40D83A708332}"/>
              </a:ext>
              <a:ext uri="{C183D7F6-B498-43B3-948B-1728B52AA6E4}">
                <adec:decorative xmlns:adec="http://schemas.microsoft.com/office/drawing/2017/decorative" val="1"/>
              </a:ext>
            </a:extLst>
          </p:cNvPr>
          <p:cNvSpPr/>
          <p:nvPr/>
        </p:nvSpPr>
        <p:spPr bwMode="auto">
          <a:xfrm>
            <a:off x="349407"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4" name="Rectangle: Rounded Corners 53">
            <a:extLst>
              <a:ext uri="{FF2B5EF4-FFF2-40B4-BE49-F238E27FC236}">
                <a16:creationId xmlns:a16="http://schemas.microsoft.com/office/drawing/2014/main" id="{CFA37ABC-F3D1-3BE5-3C4D-9E019BD19CDB}"/>
              </a:ext>
              <a:ext uri="{C183D7F6-B498-43B3-948B-1728B52AA6E4}">
                <adec:decorative xmlns:adec="http://schemas.microsoft.com/office/drawing/2017/decorative" val="1"/>
              </a:ext>
            </a:extLst>
          </p:cNvPr>
          <p:cNvSpPr/>
          <p:nvPr/>
        </p:nvSpPr>
        <p:spPr>
          <a:xfrm>
            <a:off x="349407"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Graphic 73">
            <a:extLst>
              <a:ext uri="{FF2B5EF4-FFF2-40B4-BE49-F238E27FC236}">
                <a16:creationId xmlns:a16="http://schemas.microsoft.com/office/drawing/2014/main" id="{CFEB1983-34F2-855F-861A-70A7BBF1ECF2}"/>
              </a:ext>
              <a:ext uri="{C183D7F6-B498-43B3-948B-1728B52AA6E4}">
                <adec:decorative xmlns:adec="http://schemas.microsoft.com/office/drawing/2017/decorative" val="1"/>
              </a:ext>
            </a:extLst>
          </p:cNvPr>
          <p:cNvSpPr/>
          <p:nvPr/>
        </p:nvSpPr>
        <p:spPr>
          <a:xfrm>
            <a:off x="470052"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TextBox 55">
            <a:extLst>
              <a:ext uri="{FF2B5EF4-FFF2-40B4-BE49-F238E27FC236}">
                <a16:creationId xmlns:a16="http://schemas.microsoft.com/office/drawing/2014/main" id="{3432CA55-E6EA-A634-8BDD-322DE5CC4222}"/>
              </a:ext>
            </a:extLst>
          </p:cNvPr>
          <p:cNvSpPr txBox="1"/>
          <p:nvPr/>
        </p:nvSpPr>
        <p:spPr>
          <a:xfrm>
            <a:off x="470052" y="2452003"/>
            <a:ext cx="2065343" cy="3359894"/>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1. </a:t>
            </a:r>
            <a:r>
              <a:rPr lang="en-US" sz="1400">
                <a:solidFill>
                  <a:srgbClr val="2A446F"/>
                </a:solidFill>
                <a:latin typeface="Segoe Sans Text Semibold"/>
              </a:rPr>
              <a:t>Embracing a Learn-It-All mindset</a:t>
            </a:r>
            <a:endParaRPr lang="en-US" sz="1200">
              <a:solidFill>
                <a:srgbClr val="2A446F"/>
              </a:solidFill>
              <a:latin typeface="Segoe Sans Text Semibold"/>
            </a:endParaRPr>
          </a:p>
          <a:p>
            <a:pPr>
              <a:spcBef>
                <a:spcPts val="300"/>
              </a:spcBef>
              <a:spcAft>
                <a:spcPts val="200"/>
              </a:spcAft>
              <a:defRPr/>
            </a:pPr>
            <a:r>
              <a:rPr lang="en-US" sz="1200">
                <a:solidFill>
                  <a:srgbClr val="2A446F"/>
                </a:solidFill>
                <a:latin typeface="Segoe Sans Text Semibold"/>
              </a:rPr>
              <a:t>S</a:t>
            </a:r>
            <a:r>
              <a:rPr lang="en-US" sz="1200"/>
              <a:t>tepping beyond your comfort zone to deepen technical mastery across Azure and their Solution Play, actively engaging in community-driven programs like </a:t>
            </a:r>
            <a:r>
              <a:rPr lang="en-US" sz="1200" err="1"/>
              <a:t>OpenHacks</a:t>
            </a:r>
            <a:r>
              <a:rPr lang="en-US" sz="1200"/>
              <a:t> and LevelUps, and partnering with your manager to align on a focused development plan that accelerates growth, sharpens impact, and positions you as a trusted advisor in the age of AI.</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57" name="Rectangle: Rounded Corners 56">
            <a:extLst>
              <a:ext uri="{FF2B5EF4-FFF2-40B4-BE49-F238E27FC236}">
                <a16:creationId xmlns:a16="http://schemas.microsoft.com/office/drawing/2014/main" id="{68ACA77F-E2AE-9AF8-D91C-97D72570B3E1}"/>
              </a:ext>
              <a:ext uri="{C183D7F6-B498-43B3-948B-1728B52AA6E4}">
                <adec:decorative xmlns:adec="http://schemas.microsoft.com/office/drawing/2017/decorative" val="1"/>
              </a:ext>
            </a:extLst>
          </p:cNvPr>
          <p:cNvSpPr/>
          <p:nvPr/>
        </p:nvSpPr>
        <p:spPr bwMode="auto">
          <a:xfrm>
            <a:off x="2654984"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8" name="Rectangle: Rounded Corners 57">
            <a:extLst>
              <a:ext uri="{FF2B5EF4-FFF2-40B4-BE49-F238E27FC236}">
                <a16:creationId xmlns:a16="http://schemas.microsoft.com/office/drawing/2014/main" id="{88E4008A-133E-3C48-646D-4B4CE353CA13}"/>
              </a:ext>
              <a:ext uri="{C183D7F6-B498-43B3-948B-1728B52AA6E4}">
                <adec:decorative xmlns:adec="http://schemas.microsoft.com/office/drawing/2017/decorative" val="1"/>
              </a:ext>
            </a:extLst>
          </p:cNvPr>
          <p:cNvSpPr/>
          <p:nvPr/>
        </p:nvSpPr>
        <p:spPr>
          <a:xfrm>
            <a:off x="2654984"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Graphic 73">
            <a:extLst>
              <a:ext uri="{FF2B5EF4-FFF2-40B4-BE49-F238E27FC236}">
                <a16:creationId xmlns:a16="http://schemas.microsoft.com/office/drawing/2014/main" id="{B4D9BBA0-99B3-FD0C-6C4F-8A1BD662CB3C}"/>
              </a:ext>
              <a:ext uri="{C183D7F6-B498-43B3-948B-1728B52AA6E4}">
                <adec:decorative xmlns:adec="http://schemas.microsoft.com/office/drawing/2017/decorative" val="1"/>
              </a:ext>
            </a:extLst>
          </p:cNvPr>
          <p:cNvSpPr/>
          <p:nvPr/>
        </p:nvSpPr>
        <p:spPr>
          <a:xfrm>
            <a:off x="2775629"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TextBox 59">
            <a:extLst>
              <a:ext uri="{FF2B5EF4-FFF2-40B4-BE49-F238E27FC236}">
                <a16:creationId xmlns:a16="http://schemas.microsoft.com/office/drawing/2014/main" id="{6C39D99F-71AB-7D56-80D6-371EBD432EA6}"/>
              </a:ext>
            </a:extLst>
          </p:cNvPr>
          <p:cNvSpPr txBox="1"/>
          <p:nvPr/>
        </p:nvSpPr>
        <p:spPr>
          <a:xfrm>
            <a:off x="2775629" y="2452003"/>
            <a:ext cx="2065343" cy="2067233"/>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2. </a:t>
            </a:r>
            <a:r>
              <a:rPr lang="en-US" sz="1400">
                <a:solidFill>
                  <a:srgbClr val="2A446F"/>
                </a:solidFill>
                <a:latin typeface="Segoe Sans Text Semibold"/>
              </a:rPr>
              <a:t>Owning their technical and professional growth</a:t>
            </a:r>
          </a:p>
          <a:p>
            <a:pPr>
              <a:spcBef>
                <a:spcPts val="300"/>
              </a:spcBef>
              <a:spcAft>
                <a:spcPts val="200"/>
              </a:spcAft>
              <a:defRPr/>
            </a:pPr>
            <a:r>
              <a:rPr lang="en-US" sz="1200"/>
              <a:t>Proactively using tools like the https://aka.ms/rolelibrary and Skills Inventory to plan and update skilling, certifications, and accreditations aligned to Microsoft and customer priorities.</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61" name="Rectangle: Rounded Corners 60">
            <a:extLst>
              <a:ext uri="{FF2B5EF4-FFF2-40B4-BE49-F238E27FC236}">
                <a16:creationId xmlns:a16="http://schemas.microsoft.com/office/drawing/2014/main" id="{B69CA8F1-EAB5-F829-3915-6AD4B328E80F}"/>
              </a:ext>
              <a:ext uri="{C183D7F6-B498-43B3-948B-1728B52AA6E4}">
                <adec:decorative xmlns:adec="http://schemas.microsoft.com/office/drawing/2017/decorative" val="1"/>
              </a:ext>
            </a:extLst>
          </p:cNvPr>
          <p:cNvSpPr/>
          <p:nvPr/>
        </p:nvSpPr>
        <p:spPr bwMode="auto">
          <a:xfrm>
            <a:off x="4960561" y="2120064"/>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62" name="Rectangle: Rounded Corners 61">
            <a:extLst>
              <a:ext uri="{FF2B5EF4-FFF2-40B4-BE49-F238E27FC236}">
                <a16:creationId xmlns:a16="http://schemas.microsoft.com/office/drawing/2014/main" id="{804F2456-4CF3-125E-B8A0-83F24AE8D68D}"/>
              </a:ext>
              <a:ext uri="{C183D7F6-B498-43B3-948B-1728B52AA6E4}">
                <adec:decorative xmlns:adec="http://schemas.microsoft.com/office/drawing/2017/decorative" val="1"/>
              </a:ext>
            </a:extLst>
          </p:cNvPr>
          <p:cNvSpPr/>
          <p:nvPr/>
        </p:nvSpPr>
        <p:spPr>
          <a:xfrm>
            <a:off x="4960561" y="2156976"/>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3" name="Graphic 73">
            <a:extLst>
              <a:ext uri="{FF2B5EF4-FFF2-40B4-BE49-F238E27FC236}">
                <a16:creationId xmlns:a16="http://schemas.microsoft.com/office/drawing/2014/main" id="{C97975D2-850E-794F-5322-AD5CD2F19E9D}"/>
              </a:ext>
              <a:ext uri="{C183D7F6-B498-43B3-948B-1728B52AA6E4}">
                <adec:decorative xmlns:adec="http://schemas.microsoft.com/office/drawing/2017/decorative" val="1"/>
              </a:ext>
            </a:extLst>
          </p:cNvPr>
          <p:cNvSpPr/>
          <p:nvPr/>
        </p:nvSpPr>
        <p:spPr>
          <a:xfrm>
            <a:off x="5081206" y="2235810"/>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4" name="TextBox 63">
            <a:extLst>
              <a:ext uri="{FF2B5EF4-FFF2-40B4-BE49-F238E27FC236}">
                <a16:creationId xmlns:a16="http://schemas.microsoft.com/office/drawing/2014/main" id="{983B3801-F24A-10B1-7958-FB4EE49D54DB}"/>
              </a:ext>
            </a:extLst>
          </p:cNvPr>
          <p:cNvSpPr txBox="1"/>
          <p:nvPr/>
        </p:nvSpPr>
        <p:spPr>
          <a:xfrm>
            <a:off x="5081206" y="2462091"/>
            <a:ext cx="2065343" cy="3454792"/>
          </a:xfrm>
          <a:prstGeom prst="rect">
            <a:avLst/>
          </a:prstGeom>
          <a:noFill/>
        </p:spPr>
        <p:txBody>
          <a:bodyPr wrap="square" lIns="0" tIns="0" rIns="0" bIns="0">
            <a:spAutoFit/>
          </a:bodyPr>
          <a:lstStyle/>
          <a:p>
            <a:pPr>
              <a:spcBef>
                <a:spcPts val="300"/>
              </a:spcBef>
              <a:spcAft>
                <a:spcPts val="200"/>
              </a:spcAft>
              <a:defRPr/>
            </a:pPr>
            <a:r>
              <a:rPr kumimoji="0" lang="en-US" sz="1400" b="0" i="0" u="none" strike="noStrike" kern="1200" cap="none" spc="0" normalizeH="0" baseline="0" noProof="0">
                <a:ln>
                  <a:noFill/>
                </a:ln>
                <a:solidFill>
                  <a:srgbClr val="2A446F"/>
                </a:solidFill>
                <a:effectLst/>
                <a:uLnTx/>
                <a:uFillTx/>
                <a:latin typeface="Segoe Sans Text Semibold"/>
                <a:ea typeface="+mn-ea"/>
                <a:cs typeface="+mn-cs"/>
              </a:rPr>
              <a:t>3. </a:t>
            </a:r>
            <a:r>
              <a:rPr lang="en-US" sz="1400">
                <a:solidFill>
                  <a:srgbClr val="2A446F"/>
                </a:solidFill>
                <a:latin typeface="Segoe Sans Text Semibold"/>
              </a:rPr>
              <a:t>Driving customer outcomes through value-based delivery</a:t>
            </a:r>
            <a:endParaRPr lang="en-US" sz="1200">
              <a:solidFill>
                <a:srgbClr val="2A446F"/>
              </a:solidFill>
              <a:latin typeface="Segoe Sans Text Semibold"/>
            </a:endParaRPr>
          </a:p>
          <a:p>
            <a:pPr>
              <a:spcBef>
                <a:spcPts val="300"/>
              </a:spcBef>
              <a:spcAft>
                <a:spcPts val="200"/>
              </a:spcAft>
              <a:defRPr/>
            </a:pPr>
            <a:r>
              <a:rPr lang="en-US" sz="1200"/>
              <a:t>Demonstrating customer obsession by aligning Microsoft resources and repeatable IP to customer needs, identifying the key levers that impact business objectives and proactively mitigating risks that could hinder success</a:t>
            </a:r>
            <a:r>
              <a:rPr lang="en-US" sz="1200">
                <a:solidFill>
                  <a:schemeClr val="tx2"/>
                </a:solidFill>
              </a:rPr>
              <a:t>, </a:t>
            </a:r>
            <a:r>
              <a:rPr lang="en-US" sz="1200"/>
              <a:t>building confidence in our ability to help them achieve their business goals, including AI readiness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65" name="Rectangle: Rounded Corners 64">
            <a:extLst>
              <a:ext uri="{FF2B5EF4-FFF2-40B4-BE49-F238E27FC236}">
                <a16:creationId xmlns:a16="http://schemas.microsoft.com/office/drawing/2014/main" id="{AA92761C-4F51-A678-7AD7-0EE9DEDF15FB}"/>
              </a:ext>
              <a:ext uri="{C183D7F6-B498-43B3-948B-1728B52AA6E4}">
                <adec:decorative xmlns:adec="http://schemas.microsoft.com/office/drawing/2017/decorative" val="1"/>
              </a:ext>
            </a:extLst>
          </p:cNvPr>
          <p:cNvSpPr/>
          <p:nvPr/>
        </p:nvSpPr>
        <p:spPr bwMode="auto">
          <a:xfrm>
            <a:off x="7275903" y="2109976"/>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66" name="Rectangle: Rounded Corners 65">
            <a:extLst>
              <a:ext uri="{FF2B5EF4-FFF2-40B4-BE49-F238E27FC236}">
                <a16:creationId xmlns:a16="http://schemas.microsoft.com/office/drawing/2014/main" id="{22E0B811-E308-15EE-DDA1-BD27F4288D2F}"/>
              </a:ext>
              <a:ext uri="{C183D7F6-B498-43B3-948B-1728B52AA6E4}">
                <adec:decorative xmlns:adec="http://schemas.microsoft.com/office/drawing/2017/decorative" val="1"/>
              </a:ext>
            </a:extLst>
          </p:cNvPr>
          <p:cNvSpPr/>
          <p:nvPr/>
        </p:nvSpPr>
        <p:spPr>
          <a:xfrm>
            <a:off x="7275903" y="2146888"/>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7" name="Graphic 73">
            <a:extLst>
              <a:ext uri="{FF2B5EF4-FFF2-40B4-BE49-F238E27FC236}">
                <a16:creationId xmlns:a16="http://schemas.microsoft.com/office/drawing/2014/main" id="{29B733C1-F9F1-BEF4-BC34-575CD2FAF536}"/>
              </a:ext>
              <a:ext uri="{C183D7F6-B498-43B3-948B-1728B52AA6E4}">
                <adec:decorative xmlns:adec="http://schemas.microsoft.com/office/drawing/2017/decorative" val="1"/>
              </a:ext>
            </a:extLst>
          </p:cNvPr>
          <p:cNvSpPr/>
          <p:nvPr/>
        </p:nvSpPr>
        <p:spPr>
          <a:xfrm>
            <a:off x="7396548" y="2225722"/>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8" name="TextBox 67">
            <a:extLst>
              <a:ext uri="{FF2B5EF4-FFF2-40B4-BE49-F238E27FC236}">
                <a16:creationId xmlns:a16="http://schemas.microsoft.com/office/drawing/2014/main" id="{AB78640E-B59C-099C-1645-CDA8F64F05CC}"/>
              </a:ext>
            </a:extLst>
          </p:cNvPr>
          <p:cNvSpPr txBox="1"/>
          <p:nvPr/>
        </p:nvSpPr>
        <p:spPr>
          <a:xfrm>
            <a:off x="7396548" y="2452003"/>
            <a:ext cx="2065343" cy="2003112"/>
          </a:xfrm>
          <a:prstGeom prst="rect">
            <a:avLst/>
          </a:prstGeom>
          <a:noFill/>
        </p:spPr>
        <p:txBody>
          <a:bodyPr wrap="square" lIns="0" tIns="0" rIns="0" bIns="0">
            <a:spAutoFit/>
          </a:bodyPr>
          <a:lstStyle/>
          <a:p>
            <a:pPr>
              <a:spcBef>
                <a:spcPts val="300"/>
              </a:spcBef>
              <a:spcAft>
                <a:spcPts val="200"/>
              </a:spcAft>
              <a:defRPr/>
            </a:pPr>
            <a:r>
              <a:rPr lang="en-US" sz="1400">
                <a:solidFill>
                  <a:schemeClr val="tx2"/>
                </a:solidFill>
                <a:latin typeface="+mj-lt"/>
              </a:rPr>
              <a:t>4. Mastering the Dual Focus: Execution and Expansion</a:t>
            </a:r>
          </a:p>
          <a:p>
            <a:pPr>
              <a:spcBef>
                <a:spcPts val="300"/>
              </a:spcBef>
              <a:spcAft>
                <a:spcPts val="200"/>
              </a:spcAft>
              <a:defRPr/>
            </a:pPr>
            <a:r>
              <a:rPr lang="en-US" sz="1200" b="0" i="0">
                <a:solidFill>
                  <a:srgbClr val="424242"/>
                </a:solidFill>
                <a:effectLst/>
                <a:latin typeface="Segoe Sans"/>
              </a:rPr>
              <a:t>Driving milestone delivery on core commitments with excellence (Job 1), while actively identifying and advancing opportunities to expand impact (Job 2), all with a customer-first mindset.</a:t>
            </a:r>
            <a:endParaRPr lang="en-US" sz="1400">
              <a:solidFill>
                <a:schemeClr val="tx2"/>
              </a:solidFill>
              <a:latin typeface="+mj-lt"/>
            </a:endParaRPr>
          </a:p>
        </p:txBody>
      </p:sp>
      <p:sp>
        <p:nvSpPr>
          <p:cNvPr id="69" name="Rectangle: Rounded Corners 68">
            <a:extLst>
              <a:ext uri="{FF2B5EF4-FFF2-40B4-BE49-F238E27FC236}">
                <a16:creationId xmlns:a16="http://schemas.microsoft.com/office/drawing/2014/main" id="{C489DAD7-B38C-6B17-75C7-D83C36F6A8B7}"/>
              </a:ext>
              <a:ext uri="{C183D7F6-B498-43B3-948B-1728B52AA6E4}">
                <adec:decorative xmlns:adec="http://schemas.microsoft.com/office/drawing/2017/decorative" val="1"/>
              </a:ext>
            </a:extLst>
          </p:cNvPr>
          <p:cNvSpPr/>
          <p:nvPr/>
        </p:nvSpPr>
        <p:spPr bwMode="auto">
          <a:xfrm>
            <a:off x="9591245" y="2100700"/>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70" name="Rectangle: Rounded Corners 69">
            <a:extLst>
              <a:ext uri="{FF2B5EF4-FFF2-40B4-BE49-F238E27FC236}">
                <a16:creationId xmlns:a16="http://schemas.microsoft.com/office/drawing/2014/main" id="{0F2A2461-3812-8907-6E7B-5BAE011CEFA7}"/>
              </a:ext>
              <a:ext uri="{C183D7F6-B498-43B3-948B-1728B52AA6E4}">
                <adec:decorative xmlns:adec="http://schemas.microsoft.com/office/drawing/2017/decorative" val="1"/>
              </a:ext>
            </a:extLst>
          </p:cNvPr>
          <p:cNvSpPr/>
          <p:nvPr/>
        </p:nvSpPr>
        <p:spPr>
          <a:xfrm>
            <a:off x="9591245" y="2137612"/>
            <a:ext cx="2242520" cy="3655251"/>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 name="Graphic 73">
            <a:extLst>
              <a:ext uri="{FF2B5EF4-FFF2-40B4-BE49-F238E27FC236}">
                <a16:creationId xmlns:a16="http://schemas.microsoft.com/office/drawing/2014/main" id="{17BD9DB6-B3AC-1868-63B2-AF11F803CC8D}"/>
              </a:ext>
              <a:ext uri="{C183D7F6-B498-43B3-948B-1728B52AA6E4}">
                <adec:decorative xmlns:adec="http://schemas.microsoft.com/office/drawing/2017/decorative" val="1"/>
              </a:ext>
            </a:extLst>
          </p:cNvPr>
          <p:cNvSpPr/>
          <p:nvPr/>
        </p:nvSpPr>
        <p:spPr>
          <a:xfrm>
            <a:off x="9711890" y="2216446"/>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 name="TextBox 71">
            <a:extLst>
              <a:ext uri="{FF2B5EF4-FFF2-40B4-BE49-F238E27FC236}">
                <a16:creationId xmlns:a16="http://schemas.microsoft.com/office/drawing/2014/main" id="{3E8F5391-69C7-856F-CA7A-58E8284E9431}"/>
              </a:ext>
            </a:extLst>
          </p:cNvPr>
          <p:cNvSpPr txBox="1"/>
          <p:nvPr/>
        </p:nvSpPr>
        <p:spPr>
          <a:xfrm>
            <a:off x="9711890" y="2442727"/>
            <a:ext cx="2065343" cy="1913344"/>
          </a:xfrm>
          <a:prstGeom prst="rect">
            <a:avLst/>
          </a:prstGeom>
          <a:noFill/>
        </p:spPr>
        <p:txBody>
          <a:bodyPr wrap="square" lIns="0" tIns="0" rIns="0" bIns="0">
            <a:spAutoFit/>
          </a:bodyPr>
          <a:lstStyle/>
          <a:p>
            <a:pPr>
              <a:spcBef>
                <a:spcPts val="300"/>
              </a:spcBef>
              <a:spcAft>
                <a:spcPts val="200"/>
              </a:spcAft>
              <a:defRPr/>
            </a:pPr>
            <a:r>
              <a:rPr lang="en-US" sz="1400">
                <a:solidFill>
                  <a:srgbClr val="2A446F"/>
                </a:solidFill>
                <a:latin typeface="Segoe Sans Text Semibold"/>
              </a:rPr>
              <a:t>5. Leading AI transformation for customers</a:t>
            </a:r>
            <a:endParaRPr lang="en-US" sz="1200">
              <a:solidFill>
                <a:srgbClr val="2A446F"/>
              </a:solidFill>
              <a:latin typeface="Segoe Sans Text Semibold"/>
            </a:endParaRPr>
          </a:p>
          <a:p>
            <a:pPr>
              <a:spcBef>
                <a:spcPts val="300"/>
              </a:spcBef>
              <a:spcAft>
                <a:spcPts val="200"/>
              </a:spcAft>
              <a:defRPr/>
            </a:pPr>
            <a:r>
              <a:rPr lang="en-US" sz="1200"/>
              <a:t>Upskilling in relevant workloads and scenarios to serve as trusted advisors who guide innovation with AI at scale.</a:t>
            </a:r>
          </a:p>
          <a:p>
            <a:pPr marL="0" marR="0" lvl="0" indent="0" algn="l" defTabSz="914400" rtl="0" eaLnBrk="1" fontAlgn="auto" latinLnBrk="0" hangingPunct="1">
              <a:lnSpc>
                <a:spcPct val="100000"/>
              </a:lnSpc>
              <a:spcBef>
                <a:spcPts val="300"/>
              </a:spcBef>
              <a:spcAft>
                <a:spcPts val="200"/>
              </a:spcAft>
              <a:buClrTx/>
              <a:buSzTx/>
              <a:buFontTx/>
              <a:buNone/>
              <a:tabLst/>
              <a:defRPr/>
            </a:pPr>
            <a:endParaRPr kumimoji="0" lang="en-US" sz="1400" b="0" i="0" u="none" strike="noStrike" kern="1200" cap="none" spc="0" normalizeH="0" baseline="0" noProof="0">
              <a:ln>
                <a:noFill/>
              </a:ln>
              <a:solidFill>
                <a:srgbClr val="2A446F"/>
              </a:solidFill>
              <a:effectLst/>
              <a:uLnTx/>
              <a:uFillTx/>
              <a:latin typeface="Segoe Sans Text Semibold"/>
              <a:ea typeface="+mn-ea"/>
              <a:cs typeface="+mn-cs"/>
            </a:endParaRPr>
          </a:p>
        </p:txBody>
      </p:sp>
    </p:spTree>
    <p:extLst>
      <p:ext uri="{BB962C8B-B14F-4D97-AF65-F5344CB8AC3E}">
        <p14:creationId xmlns:p14="http://schemas.microsoft.com/office/powerpoint/2010/main" val="39806368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A7016-2633-A8AF-6B4B-D16362BA350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E717BC6-6095-1AAE-DC0D-FD48E20FF4DF}"/>
              </a:ext>
            </a:extLst>
          </p:cNvPr>
          <p:cNvSpPr>
            <a:spLocks noGrp="1"/>
          </p:cNvSpPr>
          <p:nvPr>
            <p:ph type="title"/>
          </p:nvPr>
        </p:nvSpPr>
        <p:spPr>
          <a:xfrm>
            <a:off x="569972" y="725801"/>
            <a:ext cx="11049000" cy="492443"/>
          </a:xfrm>
        </p:spPr>
        <p:txBody>
          <a:bodyPr>
            <a:normAutofit/>
          </a:bodyPr>
          <a:lstStyle/>
          <a:p>
            <a:r>
              <a:rPr lang="en-US" sz="2800">
                <a:solidFill>
                  <a:schemeClr val="accent1"/>
                </a:solidFill>
              </a:rPr>
              <a:t>FY26 Cloud &amp; AI CSA - IC </a:t>
            </a:r>
            <a:r>
              <a:rPr lang="en-US" sz="2800"/>
              <a:t>| Technical Expectations</a:t>
            </a:r>
          </a:p>
        </p:txBody>
      </p:sp>
      <p:sp>
        <p:nvSpPr>
          <p:cNvPr id="22" name="Rectangle: Rounded Corners 21">
            <a:extLst>
              <a:ext uri="{FF2B5EF4-FFF2-40B4-BE49-F238E27FC236}">
                <a16:creationId xmlns:a16="http://schemas.microsoft.com/office/drawing/2014/main" id="{839EFBEC-5B7D-5A54-9525-BFD533C03036}"/>
              </a:ext>
              <a:ext uri="{C183D7F6-B498-43B3-948B-1728B52AA6E4}">
                <adec:decorative xmlns:adec="http://schemas.microsoft.com/office/drawing/2017/decorative" val="1"/>
              </a:ext>
            </a:extLst>
          </p:cNvPr>
          <p:cNvSpPr>
            <a:spLocks/>
          </p:cNvSpPr>
          <p:nvPr/>
        </p:nvSpPr>
        <p:spPr bwMode="auto">
          <a:xfrm>
            <a:off x="569972" y="1277769"/>
            <a:ext cx="11049000"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3" name="Rectangle: Rounded Corners 22">
            <a:extLst>
              <a:ext uri="{FF2B5EF4-FFF2-40B4-BE49-F238E27FC236}">
                <a16:creationId xmlns:a16="http://schemas.microsoft.com/office/drawing/2014/main" id="{AB70AEEF-FC29-085D-43ED-0DB73C085B7B}"/>
              </a:ext>
            </a:extLst>
          </p:cNvPr>
          <p:cNvSpPr/>
          <p:nvPr/>
        </p:nvSpPr>
        <p:spPr bwMode="auto">
          <a:xfrm>
            <a:off x="672840" y="1377621"/>
            <a:ext cx="10843263" cy="330677"/>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loud &amp; AI CSA</a:t>
            </a:r>
          </a:p>
        </p:txBody>
      </p:sp>
      <p:sp>
        <p:nvSpPr>
          <p:cNvPr id="40" name="TextBox 39">
            <a:extLst>
              <a:ext uri="{FF2B5EF4-FFF2-40B4-BE49-F238E27FC236}">
                <a16:creationId xmlns:a16="http://schemas.microsoft.com/office/drawing/2014/main" id="{ADDA3D0B-3845-4167-07DA-BD0398F2443B}"/>
              </a:ext>
            </a:extLst>
          </p:cNvPr>
          <p:cNvSpPr txBox="1"/>
          <p:nvPr/>
        </p:nvSpPr>
        <p:spPr>
          <a:xfrm>
            <a:off x="1015449" y="1827347"/>
            <a:ext cx="3251684" cy="377795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Pass NEW or Maintain 2 certifications:</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Z-305</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AI Engineer Associate (AI-102)</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eveloper Associate (AZ-204)</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 Engineer Associate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700</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 Foundation Certified System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LFC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rPr>
              <a:t>CKA</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ecurity Engineer Associate</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 Copilot Certifications</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vOps Engineer Expert (AZ-4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CKA)</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Analytics Engineer Associate (DP-6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Data Engineer Associate (DP-7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ower BI Data Analyst Associate (PL-3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Cosmos DB Developer Specialty (DP-420)</a:t>
            </a:r>
          </a:p>
        </p:txBody>
      </p:sp>
      <p:sp>
        <p:nvSpPr>
          <p:cNvPr id="42" name="TextBox 41">
            <a:extLst>
              <a:ext uri="{FF2B5EF4-FFF2-40B4-BE49-F238E27FC236}">
                <a16:creationId xmlns:a16="http://schemas.microsoft.com/office/drawing/2014/main" id="{73F39459-61F5-0190-956E-0447274017F5}"/>
              </a:ext>
            </a:extLst>
          </p:cNvPr>
          <p:cNvSpPr txBox="1"/>
          <p:nvPr/>
        </p:nvSpPr>
        <p:spPr>
          <a:xfrm>
            <a:off x="4712610" y="1844940"/>
            <a:ext cx="6161130" cy="419345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L300/400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AF + WAF </a:t>
            </a:r>
            <a:r>
              <a:rPr kumimoji="0" lang="en-US" sz="1000" b="0" i="0" u="none" strike="noStrike" kern="1200" cap="none" spc="0" normalizeH="0" baseline="0" noProof="0">
                <a:ln>
                  <a:noFill/>
                </a:ln>
                <a:solidFill>
                  <a:srgbClr val="000000"/>
                </a:solidFill>
                <a:effectLst/>
                <a:uLnTx/>
                <a:uFillTx/>
                <a:latin typeface="Segoe Sans Text"/>
                <a:ea typeface="+mn-ea"/>
                <a:cs typeface="+mn-cs"/>
              </a:rPr>
              <a:t>(e.g. landing zones, WARA, networking, storage, monitor, backup/DR, resiliency et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AI Foundry*​ </a:t>
            </a:r>
            <a:r>
              <a:rPr kumimoji="0" lang="en-US" sz="1000" b="0" i="0" u="none" strike="noStrike" kern="1200" cap="none" spc="0" normalizeH="0" baseline="0" noProof="0">
                <a:ln>
                  <a:noFill/>
                </a:ln>
                <a:solidFill>
                  <a:srgbClr val="000000"/>
                </a:solidFill>
                <a:effectLst/>
                <a:uLnTx/>
                <a:uFillTx/>
                <a:latin typeface="Segoe Sans Text"/>
                <a:ea typeface="+mn-ea"/>
                <a:cs typeface="+mn-cs"/>
              </a:rPr>
              <a:t>(Models, Agent Service, Semantic Kernel, Search, ML, SDK)</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Infra Migration</a:t>
            </a:r>
            <a:r>
              <a:rPr kumimoji="0" lang="en-US" sz="1000" b="0" i="0" u="none" strike="noStrike" kern="1200" cap="none" spc="0" normalizeH="0" baseline="0" noProof="0">
                <a:ln>
                  <a:noFill/>
                </a:ln>
                <a:solidFill>
                  <a:srgbClr val="000000"/>
                </a:solidFill>
                <a:effectLst/>
                <a:uLnTx/>
                <a:uFillTx/>
                <a:latin typeface="Segoe Sans Text"/>
                <a:ea typeface="+mn-ea"/>
                <a:cs typeface="+mn-cs"/>
              </a:rPr>
              <a:t>: Windows Server VMs, Linux VMs, Azure Arc, Azure VMware Solution (AVS), Azure Arc, RISE with SAP,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M-Series Azure VMs, HP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Data Migration &amp; Modernization</a:t>
            </a:r>
            <a:r>
              <a:rPr kumimoji="0" lang="en-US" sz="1000" b="0" i="0" u="none" strike="noStrike" kern="1200" cap="none" spc="0" normalizeH="0" baseline="0" noProof="0">
                <a:ln>
                  <a:noFill/>
                </a:ln>
                <a:solidFill>
                  <a:srgbClr val="000000"/>
                </a:solidFill>
                <a:effectLst/>
                <a:uLnTx/>
                <a:uFillTx/>
                <a:latin typeface="Segoe Sans Text"/>
                <a:ea typeface="+mn-ea"/>
                <a:cs typeface="+mn-cs"/>
              </a:rPr>
              <a:t>: Azure SQL (SQL Server on Azure VMs, Azure SQL Managed Instance, Azure SQL Database), Azure Database for PostgreSQL, Azure Database for MySQL</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err="1">
                <a:ln>
                  <a:noFill/>
                </a:ln>
                <a:solidFill>
                  <a:srgbClr val="000000"/>
                </a:solidFill>
                <a:effectLst/>
                <a:uLnTx/>
                <a:uFillTx/>
                <a:latin typeface="Segoe Sans Text Semibold"/>
                <a:ea typeface="+mn-ea"/>
                <a:cs typeface="+mn-cs"/>
              </a:rPr>
              <a:t>AppPlat</a:t>
            </a: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ontainers/Serverless </a:t>
            </a:r>
            <a:r>
              <a:rPr kumimoji="0" lang="en-US" sz="1000" b="1" i="0" u="none" strike="noStrike" kern="1200" cap="none" spc="0" normalizeH="0" baseline="0" noProof="0">
                <a:ln>
                  <a:noFill/>
                </a:ln>
                <a:solidFill>
                  <a:srgbClr val="000000"/>
                </a:solidFill>
                <a:effectLst/>
                <a:uLnTx/>
                <a:uFillTx/>
                <a:latin typeface="Segoe Sans Text"/>
                <a:ea typeface="+mn-ea"/>
                <a:cs typeface="+mn-cs"/>
              </a:rPr>
              <a:t>(</a:t>
            </a:r>
            <a:r>
              <a:rPr kumimoji="0" lang="en-US" sz="1000" b="0" i="0" u="none" strike="noStrike" kern="1200" cap="none" spc="0" normalizeH="0" baseline="0" noProof="0">
                <a:ln>
                  <a:noFill/>
                </a:ln>
                <a:solidFill>
                  <a:srgbClr val="000000"/>
                </a:solidFill>
                <a:effectLst/>
                <a:uLnTx/>
                <a:uFillTx/>
                <a:latin typeface="Segoe Sans Text"/>
                <a:ea typeface="+mn-ea"/>
                <a:cs typeface="+mn-cs"/>
              </a:rPr>
              <a:t>App Service, AKS, ACA, ARO, Functions)</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DevOps</a:t>
            </a:r>
            <a:r>
              <a:rPr kumimoji="0" lang="en-US" sz="1000" b="0" i="0" u="none" strike="noStrike" kern="1200" cap="none" spc="0" normalizeH="0" baseline="0" noProof="0">
                <a:ln>
                  <a:noFill/>
                </a:ln>
                <a:solidFill>
                  <a:srgbClr val="000000"/>
                </a:solidFill>
                <a:effectLst/>
                <a:uLnTx/>
                <a:uFillTx/>
                <a:latin typeface="Segoe Sans Text"/>
                <a:ea typeface="+mn-ea"/>
                <a:cs typeface="+mn-cs"/>
              </a:rPr>
              <a:t> (CI/CD, Azure DevOps,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DevSecOps</a:t>
            </a:r>
            <a:r>
              <a:rPr kumimoji="0" lang="en-US" sz="10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Security</a:t>
            </a:r>
            <a:r>
              <a:rPr kumimoji="0" lang="en-US" sz="1000" b="0" i="0" u="none" strike="noStrike" kern="1200" cap="none" spc="0" normalizeH="0" baseline="0" noProof="0">
                <a:ln>
                  <a:noFill/>
                </a:ln>
                <a:solidFill>
                  <a:srgbClr val="000000"/>
                </a:solidFill>
                <a:effectLst/>
                <a:uLnTx/>
                <a:uFillTx/>
                <a:latin typeface="Segoe Sans Text"/>
                <a:ea typeface="+mn-ea"/>
                <a:cs typeface="+mn-cs"/>
              </a:rPr>
              <a:t>: Defender for Cloud, Network Security</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Databases </a:t>
            </a:r>
            <a:r>
              <a:rPr kumimoji="0" lang="en-US" sz="1000" b="0" i="0" u="none" strike="noStrike" kern="1200" cap="none" spc="0" normalizeH="0" baseline="0" noProof="0">
                <a:ln>
                  <a:noFill/>
                </a:ln>
                <a:solidFill>
                  <a:srgbClr val="000000"/>
                </a:solidFill>
                <a:effectLst/>
                <a:uLnTx/>
                <a:uFillTx/>
                <a:latin typeface="Segoe Sans Text"/>
                <a:ea typeface="+mn-ea"/>
                <a:cs typeface="+mn-cs"/>
              </a:rPr>
              <a:t>(Azure SQL, Azure Postgres SQL, Azure MySQL, Cosmos DB)</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Microsoft Fabric (Fabric DW, Real-Time Intelligence),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OneLake</a:t>
            </a:r>
            <a:r>
              <a:rPr kumimoji="0" lang="en-US" sz="1000" b="0" i="0" u="none" strike="noStrike" kern="1200" cap="none" spc="0" normalizeH="0" baseline="0" noProof="0">
                <a:ln>
                  <a:noFill/>
                </a:ln>
                <a:solidFill>
                  <a:srgbClr val="000000"/>
                </a:solidFill>
                <a:effectLst/>
                <a:uLnTx/>
                <a:uFillTx/>
                <a:latin typeface="Segoe Sans Text"/>
                <a:ea typeface="+mn-ea"/>
                <a:cs typeface="+mn-cs"/>
              </a:rPr>
              <a:t>, Data Integration, Data Engineering, Copilot, Data Science)</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Integration Service </a:t>
            </a:r>
            <a:r>
              <a:rPr kumimoji="0" lang="en-US" sz="1000" b="0" i="0" u="none" strike="noStrike" kern="1200" cap="none" spc="0" normalizeH="0" baseline="0" noProof="0">
                <a:ln>
                  <a:noFill/>
                </a:ln>
                <a:solidFill>
                  <a:srgbClr val="000000"/>
                </a:solidFill>
                <a:effectLst/>
                <a:uLnTx/>
                <a:uFillTx/>
                <a:latin typeface="Segoe Sans Text"/>
                <a:ea typeface="+mn-ea"/>
                <a:cs typeface="+mn-cs"/>
              </a:rPr>
              <a:t>(APIM, Logic App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GitHub</a:t>
            </a:r>
            <a:r>
              <a:rPr kumimoji="0" lang="en-US" sz="1000" b="0" i="0" u="none" strike="noStrike" kern="1200" cap="none" spc="0" normalizeH="0" baseline="0" noProof="0">
                <a:ln>
                  <a:noFill/>
                </a:ln>
                <a:solidFill>
                  <a:srgbClr val="000000"/>
                </a:solidFill>
                <a:effectLst/>
                <a:uLnTx/>
                <a:uFillTx/>
                <a:latin typeface="Segoe Sans Text"/>
                <a:ea typeface="+mn-ea"/>
                <a:cs typeface="+mn-cs"/>
              </a:rPr>
              <a:t> (Copilot, Enterprise, Adv Security, Actions,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Codespaces</a:t>
            </a:r>
            <a:r>
              <a:rPr kumimoji="0" lang="en-US" sz="10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zure Databrick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Microsoft Purview</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pilot Studio​</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3P GPU/AI Infra/BYOAIM</a:t>
            </a:r>
          </a:p>
        </p:txBody>
      </p:sp>
      <p:sp>
        <p:nvSpPr>
          <p:cNvPr id="6" name="TextBox 5">
            <a:extLst>
              <a:ext uri="{FF2B5EF4-FFF2-40B4-BE49-F238E27FC236}">
                <a16:creationId xmlns:a16="http://schemas.microsoft.com/office/drawing/2014/main" id="{D5371078-870A-2FB1-98EC-78150D3670E9}"/>
              </a:ext>
            </a:extLst>
          </p:cNvPr>
          <p:cNvSpPr txBox="1"/>
          <p:nvPr/>
        </p:nvSpPr>
        <p:spPr>
          <a:xfrm>
            <a:off x="4556760" y="6444894"/>
            <a:ext cx="280365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zure AI Foundry encapsulates AI Services, AOAI, Azure ML</a:t>
            </a:r>
          </a:p>
        </p:txBody>
      </p:sp>
      <p:grpSp>
        <p:nvGrpSpPr>
          <p:cNvPr id="32" name="Group 31">
            <a:extLst>
              <a:ext uri="{FF2B5EF4-FFF2-40B4-BE49-F238E27FC236}">
                <a16:creationId xmlns:a16="http://schemas.microsoft.com/office/drawing/2014/main" id="{53051E60-6CD7-9176-97C9-0969560FF4F1}"/>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3" name="Table 2 Cell 1, 1 to Text">
              <a:extLst>
                <a:ext uri="{FF2B5EF4-FFF2-40B4-BE49-F238E27FC236}">
                  <a16:creationId xmlns:a16="http://schemas.microsoft.com/office/drawing/2014/main" id="{286333CA-BF87-AB7A-DC47-6C84A376F02E}"/>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34" name="Table 2 Cell 2, 1 to Text">
              <a:extLst>
                <a:ext uri="{FF2B5EF4-FFF2-40B4-BE49-F238E27FC236}">
                  <a16:creationId xmlns:a16="http://schemas.microsoft.com/office/drawing/2014/main" id="{C7D1133B-A173-605E-9698-B2D94FEB0FBD}"/>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35" name="Table 2 Cell 3, 1 to Text">
              <a:extLst>
                <a:ext uri="{FF2B5EF4-FFF2-40B4-BE49-F238E27FC236}">
                  <a16:creationId xmlns:a16="http://schemas.microsoft.com/office/drawing/2014/main" id="{C389E1CB-2068-477C-DE9E-80BF53FE245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6" name="Table 2 Cell 4, 1 to Text">
              <a:extLst>
                <a:ext uri="{FF2B5EF4-FFF2-40B4-BE49-F238E27FC236}">
                  <a16:creationId xmlns:a16="http://schemas.microsoft.com/office/drawing/2014/main" id="{25A53FFA-051B-D566-4779-13EA787F0BA3}"/>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7" name="Table 2 Cell 5, 1 to Text">
              <a:extLst>
                <a:ext uri="{FF2B5EF4-FFF2-40B4-BE49-F238E27FC236}">
                  <a16:creationId xmlns:a16="http://schemas.microsoft.com/office/drawing/2014/main" id="{7690A2D5-7D3F-082A-F1CB-425784ED98D4}"/>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8" name="Table 2 Cell 6, 1 to Text">
              <a:extLst>
                <a:ext uri="{FF2B5EF4-FFF2-40B4-BE49-F238E27FC236}">
                  <a16:creationId xmlns:a16="http://schemas.microsoft.com/office/drawing/2014/main" id="{F4C0583B-6233-9C5D-9EC4-8A3E2E2875B0}"/>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39" name="Table 2 Cell 7, 1 to Text">
              <a:extLst>
                <a:ext uri="{FF2B5EF4-FFF2-40B4-BE49-F238E27FC236}">
                  <a16:creationId xmlns:a16="http://schemas.microsoft.com/office/drawing/2014/main" id="{FDE91B99-F7FB-0A08-BE48-CE2E24B9BB1C}"/>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1" name="Table 2 Cell 1, 2 to Text">
              <a:extLst>
                <a:ext uri="{FF2B5EF4-FFF2-40B4-BE49-F238E27FC236}">
                  <a16:creationId xmlns:a16="http://schemas.microsoft.com/office/drawing/2014/main" id="{31B22D86-D499-31D9-6916-F6D92FEE1005}"/>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43" name="Table 2 Cell 1, 3 to Text">
              <a:extLst>
                <a:ext uri="{FF2B5EF4-FFF2-40B4-BE49-F238E27FC236}">
                  <a16:creationId xmlns:a16="http://schemas.microsoft.com/office/drawing/2014/main" id="{1180B90C-B73A-33ED-C8AD-BF8ED73D08A1}"/>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44" name="Table 2 Cell 1, 4 to Text">
              <a:extLst>
                <a:ext uri="{FF2B5EF4-FFF2-40B4-BE49-F238E27FC236}">
                  <a16:creationId xmlns:a16="http://schemas.microsoft.com/office/drawing/2014/main" id="{31395909-FC7C-57E3-84C6-F38113A731B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6.3 Technical Expectations</a:t>
              </a:r>
            </a:p>
          </p:txBody>
        </p:sp>
        <p:sp>
          <p:nvSpPr>
            <p:cNvPr id="45" name="Table 2 Cell 1, 5 to Text">
              <a:extLst>
                <a:ext uri="{FF2B5EF4-FFF2-40B4-BE49-F238E27FC236}">
                  <a16:creationId xmlns:a16="http://schemas.microsoft.com/office/drawing/2014/main" id="{71FBC9C8-432E-BB03-6A1F-1F5FA0187416}"/>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46" name="Table 2 Cell 1, 6 to Text">
              <a:extLst>
                <a:ext uri="{FF2B5EF4-FFF2-40B4-BE49-F238E27FC236}">
                  <a16:creationId xmlns:a16="http://schemas.microsoft.com/office/drawing/2014/main" id="{75AB956F-B64B-7E8C-32E2-CAAD9579813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5 Azure Solution Plays Overview</a:t>
              </a:r>
            </a:p>
          </p:txBody>
        </p:sp>
      </p:grpSp>
    </p:spTree>
    <p:extLst>
      <p:ext uri="{BB962C8B-B14F-4D97-AF65-F5344CB8AC3E}">
        <p14:creationId xmlns:p14="http://schemas.microsoft.com/office/powerpoint/2010/main" val="16561550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47C90-09C1-BDAD-EFD0-89B9503B22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6AFE2F-C236-89AE-098C-7AF4510E99CD}"/>
              </a:ext>
            </a:extLst>
          </p:cNvPr>
          <p:cNvSpPr>
            <a:spLocks noGrp="1"/>
          </p:cNvSpPr>
          <p:nvPr>
            <p:ph type="title"/>
          </p:nvPr>
        </p:nvSpPr>
        <p:spPr>
          <a:xfrm>
            <a:off x="586739" y="601034"/>
            <a:ext cx="11018520" cy="430887"/>
          </a:xfrm>
        </p:spPr>
        <p:txBody>
          <a:bodyPr/>
          <a:lstStyle/>
          <a:p>
            <a:r>
              <a:rPr lang="en-US" sz="2800"/>
              <a:t>Cloud &amp; AI CSA Impact Assessment</a:t>
            </a:r>
          </a:p>
        </p:txBody>
      </p:sp>
      <p:sp>
        <p:nvSpPr>
          <p:cNvPr id="13" name="Content Placeholder 12">
            <a:extLst>
              <a:ext uri="{FF2B5EF4-FFF2-40B4-BE49-F238E27FC236}">
                <a16:creationId xmlns:a16="http://schemas.microsoft.com/office/drawing/2014/main" id="{030B0C0D-E006-F8BA-11F6-5286B4F8CD60}"/>
              </a:ext>
            </a:extLst>
          </p:cNvPr>
          <p:cNvSpPr>
            <a:spLocks noGrp="1"/>
          </p:cNvSpPr>
          <p:nvPr>
            <p:ph sz="quarter" idx="11"/>
          </p:nvPr>
        </p:nvSpPr>
        <p:spPr/>
        <p:txBody>
          <a:bodyPr/>
          <a:lstStyle/>
          <a:p>
            <a:r>
              <a:rPr lang="en-US"/>
              <a:t>Cloud &amp; AI Apps Cloud Solution Architect will need to…</a:t>
            </a:r>
          </a:p>
        </p:txBody>
      </p:sp>
      <p:sp>
        <p:nvSpPr>
          <p:cNvPr id="27" name="Content Placeholder 26">
            <a:extLst>
              <a:ext uri="{FF2B5EF4-FFF2-40B4-BE49-F238E27FC236}">
                <a16:creationId xmlns:a16="http://schemas.microsoft.com/office/drawing/2014/main" id="{2087CBC6-53B7-F712-581E-B7B7E06A417C}"/>
              </a:ext>
            </a:extLst>
          </p:cNvPr>
          <p:cNvSpPr>
            <a:spLocks noGrp="1"/>
          </p:cNvSpPr>
          <p:nvPr>
            <p:ph sz="quarter" idx="17"/>
          </p:nvPr>
        </p:nvSpPr>
        <p:spPr/>
        <p:txBody>
          <a:bodyPr/>
          <a:lstStyle/>
          <a:p>
            <a:pPr marL="115888" lvl="0" indent="-115888" defTabSz="914102" fontAlgn="base">
              <a:spcBef>
                <a:spcPts val="600"/>
              </a:spcBef>
              <a:spcAft>
                <a:spcPct val="0"/>
              </a:spcAft>
              <a:buSzTx/>
              <a:buFont typeface="Arial" panose="020B0604020202020204" pitchFamily="34" charset="0"/>
              <a:buChar char="•"/>
              <a:defRPr/>
            </a:pPr>
            <a:r>
              <a:rPr lang="en-US"/>
              <a:t>Thinking across “Cloud &amp; AI Platforms”, “MACC Health” and “Unified Health”</a:t>
            </a:r>
          </a:p>
          <a:p>
            <a:pPr marL="115888" lvl="0" indent="-115888" defTabSz="914102" fontAlgn="base">
              <a:spcBef>
                <a:spcPts val="600"/>
              </a:spcBef>
              <a:spcAft>
                <a:spcPct val="0"/>
              </a:spcAft>
              <a:buSzTx/>
              <a:buFont typeface="Arial" panose="020B0604020202020204" pitchFamily="34" charset="0"/>
              <a:buChar char="•"/>
              <a:defRPr/>
            </a:pPr>
            <a:r>
              <a:rPr lang="en-US"/>
              <a:t>Strengthening your skills on AI, Apps, Infra, Data</a:t>
            </a:r>
          </a:p>
          <a:p>
            <a:pPr marL="115888" lvl="0" indent="-115888" defTabSz="914102" fontAlgn="base">
              <a:spcBef>
                <a:spcPts val="600"/>
              </a:spcBef>
              <a:spcAft>
                <a:spcPct val="0"/>
              </a:spcAft>
              <a:buSzTx/>
              <a:buFont typeface="Arial" panose="020B0604020202020204" pitchFamily="34" charset="0"/>
              <a:buChar char="•"/>
              <a:defRPr/>
            </a:pPr>
            <a:r>
              <a:rPr lang="en-US"/>
              <a:t>Learning the details of each MACC and Unified Deal in your assigned accounts</a:t>
            </a:r>
          </a:p>
          <a:p>
            <a:pPr marL="115888" lvl="0" indent="-115888" defTabSz="914102" fontAlgn="base">
              <a:spcBef>
                <a:spcPts val="600"/>
              </a:spcBef>
              <a:spcAft>
                <a:spcPct val="0"/>
              </a:spcAft>
              <a:buSzTx/>
              <a:buFont typeface="Arial" panose="020B0604020202020204" pitchFamily="34" charset="0"/>
              <a:buChar char="•"/>
              <a:defRPr/>
            </a:pPr>
            <a:r>
              <a:rPr lang="en-US"/>
              <a:t>Learning all Azure Unified ES offers, Factory offers</a:t>
            </a:r>
          </a:p>
          <a:p>
            <a:pPr marL="115888" indent="-115888" defTabSz="914102" fontAlgn="base">
              <a:spcBef>
                <a:spcPts val="600"/>
              </a:spcBef>
              <a:spcAft>
                <a:spcPct val="0"/>
              </a:spcAft>
              <a:buSzTx/>
              <a:buFont typeface="Arial" panose="020B0604020202020204" pitchFamily="34" charset="0"/>
              <a:buChar char="•"/>
              <a:defRPr/>
            </a:pPr>
            <a:r>
              <a:rPr lang="en-US"/>
              <a:t>Feeling responsible for the </a:t>
            </a:r>
            <a:r>
              <a:rPr lang="en-US" i="1"/>
              <a:t>entire</a:t>
            </a:r>
            <a:r>
              <a:rPr lang="en-US"/>
              <a:t> Azure Consumption Plan, ensuring the completeness, accuracy, and delivery across all Cloud &amp; AI</a:t>
            </a:r>
          </a:p>
        </p:txBody>
      </p:sp>
      <p:sp>
        <p:nvSpPr>
          <p:cNvPr id="29" name="Content Placeholder 28">
            <a:extLst>
              <a:ext uri="{FF2B5EF4-FFF2-40B4-BE49-F238E27FC236}">
                <a16:creationId xmlns:a16="http://schemas.microsoft.com/office/drawing/2014/main" id="{49FEF439-7630-F4F6-BE2A-CF81E70D3D5A}"/>
              </a:ext>
            </a:extLst>
          </p:cNvPr>
          <p:cNvSpPr>
            <a:spLocks noGrp="1"/>
          </p:cNvSpPr>
          <p:nvPr>
            <p:ph sz="quarter" idx="18"/>
          </p:nvPr>
        </p:nvSpPr>
        <p:spPr/>
        <p:txBody>
          <a:bodyPr/>
          <a:lstStyle/>
          <a:p>
            <a:pPr marL="115888" indent="-115888" defTabSz="914102" fontAlgn="base">
              <a:spcBef>
                <a:spcPts val="600"/>
              </a:spcBef>
              <a:spcAft>
                <a:spcPct val="0"/>
              </a:spcAft>
              <a:buSzTx/>
              <a:buFont typeface="Arial" panose="020B0604020202020204" pitchFamily="34" charset="0"/>
              <a:buChar char="•"/>
              <a:defRPr/>
            </a:pPr>
            <a:r>
              <a:rPr lang="en-US"/>
              <a:t>Work directly with your manager to define your skilling plan </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Keep skills profile updated</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Position Unified Add-ons/ Unified Job 2; VAS for every opportunity</a:t>
            </a:r>
          </a:p>
          <a:p>
            <a:pPr marL="115888" indent="-115888" defTabSz="914102" fontAlgn="base">
              <a:spcBef>
                <a:spcPts val="600"/>
              </a:spcBef>
              <a:spcAft>
                <a:spcPct val="0"/>
              </a:spcAft>
              <a:buSzTx/>
              <a:buFont typeface="Arial" panose="020B0604020202020204" pitchFamily="34" charset="0"/>
              <a:buChar char="•"/>
              <a:defRPr/>
            </a:pPr>
            <a:r>
              <a:rPr lang="en-US">
                <a:solidFill>
                  <a:srgbClr val="000000"/>
                </a:solidFill>
              </a:rPr>
              <a:t>Drive Job 2 creation </a:t>
            </a:r>
            <a:r>
              <a:rPr lang="en-US" i="1">
                <a:solidFill>
                  <a:srgbClr val="000000"/>
                </a:solidFill>
              </a:rPr>
              <a:t>to completion</a:t>
            </a:r>
          </a:p>
          <a:p>
            <a:pPr marL="115888" lvl="0" indent="-115888" defTabSz="914102" fontAlgn="base">
              <a:spcBef>
                <a:spcPts val="600"/>
              </a:spcBef>
              <a:spcAft>
                <a:spcPct val="0"/>
              </a:spcAft>
              <a:buSzTx/>
              <a:buFont typeface="Arial" panose="020B0604020202020204" pitchFamily="34" charset="0"/>
              <a:buChar char="•"/>
              <a:defRPr/>
            </a:pPr>
            <a:r>
              <a:rPr lang="en-US">
                <a:solidFill>
                  <a:srgbClr val="000000"/>
                </a:solidFill>
              </a:rPr>
              <a:t>Contribute towards champs &amp; VBD IP Development</a:t>
            </a:r>
          </a:p>
        </p:txBody>
      </p:sp>
      <p:sp>
        <p:nvSpPr>
          <p:cNvPr id="30" name="Content Placeholder 29">
            <a:extLst>
              <a:ext uri="{FF2B5EF4-FFF2-40B4-BE49-F238E27FC236}">
                <a16:creationId xmlns:a16="http://schemas.microsoft.com/office/drawing/2014/main" id="{4CC03EAA-4B05-DD1D-45B1-42C4C4DB6A48}"/>
              </a:ext>
            </a:extLst>
          </p:cNvPr>
          <p:cNvSpPr>
            <a:spLocks noGrp="1"/>
          </p:cNvSpPr>
          <p:nvPr>
            <p:ph sz="quarter" idx="19"/>
          </p:nvPr>
        </p:nvSpPr>
        <p:spPr/>
        <p:txBody>
          <a:bodyPr/>
          <a:lstStyle/>
          <a:p>
            <a:pPr marL="115888" marR="0" lvl="0" indent="-115888" algn="l" defTabSz="91410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Segoe UI" pitchFamily="34" charset="0"/>
              </a:rPr>
              <a:t>Long resource-heavy deliveries to the </a:t>
            </a:r>
            <a:r>
              <a:rPr kumimoji="0" lang="en-US" sz="1400" b="0" i="1" u="none" strike="noStrike" kern="1200" cap="none" spc="0" normalizeH="0" baseline="0" noProof="0">
                <a:ln>
                  <a:noFill/>
                </a:ln>
                <a:solidFill>
                  <a:schemeClr val="tx1"/>
                </a:solidFill>
                <a:effectLst/>
                <a:uLnTx/>
                <a:uFillTx/>
                <a:ea typeface="+mn-ea"/>
                <a:cs typeface="Segoe UI" pitchFamily="34" charset="0"/>
              </a:rPr>
              <a:t>additional</a:t>
            </a:r>
            <a:r>
              <a:rPr kumimoji="0" lang="en-US" sz="1400" b="0" u="none" strike="noStrike" kern="1200" cap="none" spc="0" normalizeH="0" baseline="0" noProof="0">
                <a:ln>
                  <a:noFill/>
                </a:ln>
                <a:solidFill>
                  <a:schemeClr val="tx1"/>
                </a:solidFill>
                <a:effectLst/>
                <a:uLnTx/>
                <a:uFillTx/>
                <a:ea typeface="+mn-ea"/>
                <a:cs typeface="Segoe UI" pitchFamily="34" charset="0"/>
              </a:rPr>
              <a:t> Cloud &amp; AI Apps, Cloud &amp; AI Infra, Cloud &amp; AI Data CSAs assigned to </a:t>
            </a:r>
            <a:r>
              <a:rPr lang="en-US"/>
              <a:t>your account aligned </a:t>
            </a:r>
            <a:r>
              <a:rPr kumimoji="0" lang="en-US" sz="1400" b="0" u="none" strike="noStrike" kern="1200" cap="none" spc="0" normalizeH="0" baseline="0" noProof="0">
                <a:ln>
                  <a:noFill/>
                </a:ln>
                <a:solidFill>
                  <a:schemeClr val="tx1"/>
                </a:solidFill>
                <a:effectLst/>
                <a:uLnTx/>
                <a:uFillTx/>
                <a:ea typeface="+mn-ea"/>
                <a:cs typeface="Segoe UI" pitchFamily="34" charset="0"/>
              </a:rPr>
              <a:t>territory. Balance your time and the full team time to ensure deep expertise delivery.</a:t>
            </a:r>
            <a:endParaRPr kumimoji="0" lang="en-US" sz="1400" b="0" i="0" u="none" strike="noStrike" kern="1200" cap="none" spc="0" normalizeH="0" baseline="0" noProof="0">
              <a:ln>
                <a:noFill/>
              </a:ln>
              <a:solidFill>
                <a:schemeClr val="tx1"/>
              </a:solidFill>
              <a:effectLst/>
              <a:uLnTx/>
              <a:uFillTx/>
              <a:ea typeface="+mn-ea"/>
              <a:cs typeface="Segoe UI" pitchFamily="34" charset="0"/>
            </a:endParaRPr>
          </a:p>
        </p:txBody>
      </p:sp>
      <p:grpSp>
        <p:nvGrpSpPr>
          <p:cNvPr id="39" name="Group 38">
            <a:extLst>
              <a:ext uri="{FF2B5EF4-FFF2-40B4-BE49-F238E27FC236}">
                <a16:creationId xmlns:a16="http://schemas.microsoft.com/office/drawing/2014/main" id="{21DE3086-1732-5C42-2083-2CA58D67CE7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0" name="Table 2 Cell 1, 1 to Text">
              <a:extLst>
                <a:ext uri="{FF2B5EF4-FFF2-40B4-BE49-F238E27FC236}">
                  <a16:creationId xmlns:a16="http://schemas.microsoft.com/office/drawing/2014/main" id="{97001248-F2CB-68FF-6025-3D3D0632F72E}"/>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1" name="Table 2 Cell 2, 1 to Text">
              <a:extLst>
                <a:ext uri="{FF2B5EF4-FFF2-40B4-BE49-F238E27FC236}">
                  <a16:creationId xmlns:a16="http://schemas.microsoft.com/office/drawing/2014/main" id="{9468A607-F02E-0D5C-C108-1426872E0B0B}"/>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42" name="Table 2 Cell 3, 1 to Text">
              <a:extLst>
                <a:ext uri="{FF2B5EF4-FFF2-40B4-BE49-F238E27FC236}">
                  <a16:creationId xmlns:a16="http://schemas.microsoft.com/office/drawing/2014/main" id="{D0410C1B-CB9F-A46D-820F-6FC318DA7DA1}"/>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43" name="Table 2 Cell 4, 1 to Text">
              <a:extLst>
                <a:ext uri="{FF2B5EF4-FFF2-40B4-BE49-F238E27FC236}">
                  <a16:creationId xmlns:a16="http://schemas.microsoft.com/office/drawing/2014/main" id="{DD1F5567-354B-8AB5-0207-4E930F4A1D83}"/>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44" name="Table 2 Cell 5, 1 to Text">
              <a:extLst>
                <a:ext uri="{FF2B5EF4-FFF2-40B4-BE49-F238E27FC236}">
                  <a16:creationId xmlns:a16="http://schemas.microsoft.com/office/drawing/2014/main" id="{535219EE-E4CC-EE37-3765-41A359719F11}"/>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5" name="Table 2 Cell 6, 1 to Text">
              <a:extLst>
                <a:ext uri="{FF2B5EF4-FFF2-40B4-BE49-F238E27FC236}">
                  <a16:creationId xmlns:a16="http://schemas.microsoft.com/office/drawing/2014/main" id="{3541FBD8-F89E-3CC5-79F4-E2334C648EA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46" name="Table 2 Cell 7, 1 to Text">
              <a:extLst>
                <a:ext uri="{FF2B5EF4-FFF2-40B4-BE49-F238E27FC236}">
                  <a16:creationId xmlns:a16="http://schemas.microsoft.com/office/drawing/2014/main" id="{7363F58A-3B8C-417D-6A7A-F88D85A84253}"/>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7" name="Table 2 Cell 1, 2 to Text">
              <a:extLst>
                <a:ext uri="{FF2B5EF4-FFF2-40B4-BE49-F238E27FC236}">
                  <a16:creationId xmlns:a16="http://schemas.microsoft.com/office/drawing/2014/main" id="{70D8EC2D-E520-47E0-D6E6-1E52D7294B1E}"/>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48" name="Table 2 Cell 1, 3 to Text">
              <a:extLst>
                <a:ext uri="{FF2B5EF4-FFF2-40B4-BE49-F238E27FC236}">
                  <a16:creationId xmlns:a16="http://schemas.microsoft.com/office/drawing/2014/main" id="{CA15882A-2C07-482B-FD27-6F78C8869086}"/>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49" name="Table 2 Cell 1, 4 to Text">
              <a:extLst>
                <a:ext uri="{FF2B5EF4-FFF2-40B4-BE49-F238E27FC236}">
                  <a16:creationId xmlns:a16="http://schemas.microsoft.com/office/drawing/2014/main" id="{C4D84ACC-8B46-E1BF-ADFC-112C73B9BEA1}"/>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50" name="Table 2 Cell 1, 5 to Text">
              <a:extLst>
                <a:ext uri="{FF2B5EF4-FFF2-40B4-BE49-F238E27FC236}">
                  <a16:creationId xmlns:a16="http://schemas.microsoft.com/office/drawing/2014/main" id="{1B841893-DCC2-00A0-604F-5114205F1FB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6.4 Stop/Start/Do Differently</a:t>
              </a:r>
            </a:p>
          </p:txBody>
        </p:sp>
        <p:sp>
          <p:nvSpPr>
            <p:cNvPr id="51" name="Table 2 Cell 1, 6 to Text">
              <a:extLst>
                <a:ext uri="{FF2B5EF4-FFF2-40B4-BE49-F238E27FC236}">
                  <a16:creationId xmlns:a16="http://schemas.microsoft.com/office/drawing/2014/main" id="{7B3218C6-22D4-8608-C669-37A45105E86C}"/>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5 Azure Solution Plays </a:t>
              </a:r>
              <a:r>
                <a:rPr lang="en-US" err="1">
                  <a:solidFill>
                    <a:srgbClr val="FFFFFF">
                      <a:lumMod val="65000"/>
                    </a:srgbClr>
                  </a:solidFill>
                  <a:latin typeface="Segoe Sans Text"/>
                </a:rPr>
                <a:t>Overvw</a:t>
              </a:r>
              <a:endParaRPr lang="en-US">
                <a:solidFill>
                  <a:srgbClr val="FFFFFF">
                    <a:lumMod val="65000"/>
                  </a:srgbClr>
                </a:solidFill>
                <a:latin typeface="Segoe Sans Text"/>
              </a:endParaRPr>
            </a:p>
          </p:txBody>
        </p:sp>
      </p:grpSp>
      <p:sp>
        <p:nvSpPr>
          <p:cNvPr id="53" name="Content Placeholder 52">
            <a:extLst>
              <a:ext uri="{FF2B5EF4-FFF2-40B4-BE49-F238E27FC236}">
                <a16:creationId xmlns:a16="http://schemas.microsoft.com/office/drawing/2014/main" id="{4B248BD1-CE88-79C2-996D-8A06D20B4A75}"/>
              </a:ext>
            </a:extLst>
          </p:cNvPr>
          <p:cNvSpPr>
            <a:spLocks noGrp="1"/>
          </p:cNvSpPr>
          <p:nvPr>
            <p:ph sz="quarter" idx="16"/>
          </p:nvPr>
        </p:nvSpPr>
        <p:spPr/>
        <p:txBody>
          <a:bodyPr/>
          <a:lstStyle/>
          <a:p>
            <a:r>
              <a:rPr lang="en-US"/>
              <a:t>TRANSITION</a:t>
            </a:r>
          </a:p>
        </p:txBody>
      </p:sp>
      <p:sp>
        <p:nvSpPr>
          <p:cNvPr id="55" name="Content Placeholder 54">
            <a:extLst>
              <a:ext uri="{FF2B5EF4-FFF2-40B4-BE49-F238E27FC236}">
                <a16:creationId xmlns:a16="http://schemas.microsoft.com/office/drawing/2014/main" id="{FEAA20FF-BB90-2407-9CFF-5C91F92FFE91}"/>
              </a:ext>
            </a:extLst>
          </p:cNvPr>
          <p:cNvSpPr>
            <a:spLocks noGrp="1"/>
          </p:cNvSpPr>
          <p:nvPr>
            <p:ph sz="quarter" idx="15"/>
          </p:nvPr>
        </p:nvSpPr>
        <p:spPr/>
        <p:txBody>
          <a:bodyPr/>
          <a:lstStyle/>
          <a:p>
            <a:r>
              <a:rPr lang="en-US"/>
              <a:t>PRIORITIZE</a:t>
            </a:r>
          </a:p>
        </p:txBody>
      </p:sp>
      <p:sp>
        <p:nvSpPr>
          <p:cNvPr id="57" name="Content Placeholder 56">
            <a:extLst>
              <a:ext uri="{FF2B5EF4-FFF2-40B4-BE49-F238E27FC236}">
                <a16:creationId xmlns:a16="http://schemas.microsoft.com/office/drawing/2014/main" id="{9B56962A-8C68-84BA-C9D2-4565D027DA8C}"/>
              </a:ext>
            </a:extLst>
          </p:cNvPr>
          <p:cNvSpPr>
            <a:spLocks noGrp="1"/>
          </p:cNvSpPr>
          <p:nvPr>
            <p:ph sz="quarter" idx="14"/>
          </p:nvPr>
        </p:nvSpPr>
        <p:spPr/>
        <p:txBody>
          <a:bodyPr/>
          <a:lstStyle/>
          <a:p>
            <a:r>
              <a:rPr lang="en-US"/>
              <a:t>START</a:t>
            </a:r>
          </a:p>
        </p:txBody>
      </p:sp>
    </p:spTree>
    <p:extLst>
      <p:ext uri="{BB962C8B-B14F-4D97-AF65-F5344CB8AC3E}">
        <p14:creationId xmlns:p14="http://schemas.microsoft.com/office/powerpoint/2010/main" val="26055380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D86F3-06A6-21ED-A680-BCD9565107EF}"/>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D446538F-C4C3-87FE-53CE-1E21431642B4}"/>
              </a:ext>
            </a:extLst>
          </p:cNvPr>
          <p:cNvSpPr>
            <a:spLocks noGrp="1"/>
          </p:cNvSpPr>
          <p:nvPr>
            <p:ph type="title"/>
          </p:nvPr>
        </p:nvSpPr>
        <p:spPr>
          <a:xfrm>
            <a:off x="587375" y="706418"/>
            <a:ext cx="11017250" cy="554038"/>
          </a:xfrm>
        </p:spPr>
        <p:txBody>
          <a:bodyPr>
            <a:noAutofit/>
          </a:bodyPr>
          <a:lstStyle/>
          <a:p>
            <a:r>
              <a:rPr lang="en-US" sz="2800"/>
              <a:t>FY26 | Evolution of CSU Delivery Strategy </a:t>
            </a:r>
          </a:p>
        </p:txBody>
      </p:sp>
      <p:sp>
        <p:nvSpPr>
          <p:cNvPr id="2" name="Title 16">
            <a:extLst>
              <a:ext uri="{FF2B5EF4-FFF2-40B4-BE49-F238E27FC236}">
                <a16:creationId xmlns:a16="http://schemas.microsoft.com/office/drawing/2014/main" id="{59188AEB-62EF-BD00-732D-60CF83CBC291}"/>
              </a:ext>
            </a:extLst>
          </p:cNvPr>
          <p:cNvSpPr txBox="1">
            <a:spLocks/>
          </p:cNvSpPr>
          <p:nvPr/>
        </p:nvSpPr>
        <p:spPr>
          <a:xfrm>
            <a:off x="588964" y="1451143"/>
            <a:ext cx="11017250" cy="41842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solidFill>
                  <a:schemeClr val="bg1"/>
                </a:solidFill>
                <a:latin typeface="+mj-lt"/>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a:ea typeface="+mn-ea"/>
                <a:cs typeface="+mn-cs"/>
              </a:rPr>
              <a:t>Total capacity = CSA (Field + Core Teams) + CSAM + Delivery Partner capacity</a:t>
            </a:r>
          </a:p>
        </p:txBody>
      </p:sp>
      <p:sp>
        <p:nvSpPr>
          <p:cNvPr id="44" name="Rectangle: Rounded Corners 43">
            <a:extLst>
              <a:ext uri="{FF2B5EF4-FFF2-40B4-BE49-F238E27FC236}">
                <a16:creationId xmlns:a16="http://schemas.microsoft.com/office/drawing/2014/main" id="{CC630031-71A6-5B03-967C-04741D0EC488}"/>
              </a:ext>
              <a:ext uri="{C183D7F6-B498-43B3-948B-1728B52AA6E4}">
                <adec:decorative xmlns:adec="http://schemas.microsoft.com/office/drawing/2017/decorative" val="1"/>
              </a:ext>
            </a:extLst>
          </p:cNvPr>
          <p:cNvSpPr>
            <a:spLocks/>
          </p:cNvSpPr>
          <p:nvPr/>
        </p:nvSpPr>
        <p:spPr bwMode="auto">
          <a:xfrm>
            <a:off x="588963" y="1959657"/>
            <a:ext cx="2651442" cy="4344988"/>
          </a:xfrm>
          <a:prstGeom prst="roundRect">
            <a:avLst>
              <a:gd name="adj" fmla="val 262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5" name="Rectangle: Rounded Corners 44">
            <a:extLst>
              <a:ext uri="{FF2B5EF4-FFF2-40B4-BE49-F238E27FC236}">
                <a16:creationId xmlns:a16="http://schemas.microsoft.com/office/drawing/2014/main" id="{50524248-53CD-0135-FEFC-28E3C4E30A9D}"/>
              </a:ext>
              <a:ext uri="{C183D7F6-B498-43B3-948B-1728B52AA6E4}">
                <adec:decorative xmlns:adec="http://schemas.microsoft.com/office/drawing/2017/decorative" val="1"/>
              </a:ext>
            </a:extLst>
          </p:cNvPr>
          <p:cNvSpPr>
            <a:spLocks/>
          </p:cNvSpPr>
          <p:nvPr/>
        </p:nvSpPr>
        <p:spPr bwMode="auto">
          <a:xfrm>
            <a:off x="3377565" y="1959657"/>
            <a:ext cx="2651442" cy="4344988"/>
          </a:xfrm>
          <a:prstGeom prst="roundRect">
            <a:avLst>
              <a:gd name="adj" fmla="val 262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6" name="Rectangle: Rounded Corners 45">
            <a:extLst>
              <a:ext uri="{FF2B5EF4-FFF2-40B4-BE49-F238E27FC236}">
                <a16:creationId xmlns:a16="http://schemas.microsoft.com/office/drawing/2014/main" id="{41B32889-8435-85AA-7BB9-D02FB5D6AB72}"/>
              </a:ext>
              <a:ext uri="{C183D7F6-B498-43B3-948B-1728B52AA6E4}">
                <adec:decorative xmlns:adec="http://schemas.microsoft.com/office/drawing/2017/decorative" val="1"/>
              </a:ext>
            </a:extLst>
          </p:cNvPr>
          <p:cNvSpPr>
            <a:spLocks/>
          </p:cNvSpPr>
          <p:nvPr/>
        </p:nvSpPr>
        <p:spPr bwMode="auto">
          <a:xfrm>
            <a:off x="6166167" y="1959657"/>
            <a:ext cx="2651442" cy="4344988"/>
          </a:xfrm>
          <a:prstGeom prst="roundRect">
            <a:avLst>
              <a:gd name="adj" fmla="val 262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7" name="Rectangle: Rounded Corners 46">
            <a:extLst>
              <a:ext uri="{FF2B5EF4-FFF2-40B4-BE49-F238E27FC236}">
                <a16:creationId xmlns:a16="http://schemas.microsoft.com/office/drawing/2014/main" id="{52313900-9E85-DE77-F00D-C025F43E4A46}"/>
              </a:ext>
              <a:ext uri="{C183D7F6-B498-43B3-948B-1728B52AA6E4}">
                <adec:decorative xmlns:adec="http://schemas.microsoft.com/office/drawing/2017/decorative" val="1"/>
              </a:ext>
            </a:extLst>
          </p:cNvPr>
          <p:cNvSpPr>
            <a:spLocks/>
          </p:cNvSpPr>
          <p:nvPr/>
        </p:nvSpPr>
        <p:spPr bwMode="auto">
          <a:xfrm>
            <a:off x="8954770" y="1959657"/>
            <a:ext cx="2651442" cy="4344988"/>
          </a:xfrm>
          <a:prstGeom prst="roundRect">
            <a:avLst>
              <a:gd name="adj" fmla="val 2621"/>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8" name="Rectangle: Rounded Corners 47">
            <a:extLst>
              <a:ext uri="{FF2B5EF4-FFF2-40B4-BE49-F238E27FC236}">
                <a16:creationId xmlns:a16="http://schemas.microsoft.com/office/drawing/2014/main" id="{6430DAC3-915B-24E2-6473-CAF86E61AAA1}"/>
              </a:ext>
            </a:extLst>
          </p:cNvPr>
          <p:cNvSpPr>
            <a:spLocks/>
          </p:cNvSpPr>
          <p:nvPr/>
        </p:nvSpPr>
        <p:spPr bwMode="auto">
          <a:xfrm>
            <a:off x="680404" y="2051097"/>
            <a:ext cx="2468560" cy="642936"/>
          </a:xfrm>
          <a:prstGeom prst="roundRect">
            <a:avLst>
              <a:gd name="adj" fmla="val 9115"/>
            </a:avLst>
          </a:prstGeom>
          <a:solidFill>
            <a:schemeClr val="accent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Operating Model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Unified Growth</a:t>
            </a:r>
            <a:endParaRPr kumimoji="0" lang="en-US" sz="1400" b="0" i="1"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0" name="Rectangle: Rounded Corners 49">
            <a:extLst>
              <a:ext uri="{FF2B5EF4-FFF2-40B4-BE49-F238E27FC236}">
                <a16:creationId xmlns:a16="http://schemas.microsoft.com/office/drawing/2014/main" id="{496490F3-528A-CD47-B950-4174B42228CE}"/>
              </a:ext>
            </a:extLst>
          </p:cNvPr>
          <p:cNvSpPr>
            <a:spLocks/>
          </p:cNvSpPr>
          <p:nvPr/>
        </p:nvSpPr>
        <p:spPr bwMode="auto">
          <a:xfrm>
            <a:off x="3469006" y="2051097"/>
            <a:ext cx="2468560" cy="642936"/>
          </a:xfrm>
          <a:prstGeom prst="roundRect">
            <a:avLst>
              <a:gd name="adj" fmla="val 9115"/>
            </a:avLst>
          </a:prstGeom>
          <a:solidFill>
            <a:schemeClr val="accent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CSA: Acceleration of Regional Skills at Scale</a:t>
            </a:r>
          </a:p>
        </p:txBody>
      </p:sp>
      <p:sp>
        <p:nvSpPr>
          <p:cNvPr id="51" name="Rectangle: Rounded Corners 50">
            <a:extLst>
              <a:ext uri="{FF2B5EF4-FFF2-40B4-BE49-F238E27FC236}">
                <a16:creationId xmlns:a16="http://schemas.microsoft.com/office/drawing/2014/main" id="{2F521C18-2A5A-15A8-74B1-86D15A768873}"/>
              </a:ext>
            </a:extLst>
          </p:cNvPr>
          <p:cNvSpPr>
            <a:spLocks/>
          </p:cNvSpPr>
          <p:nvPr/>
        </p:nvSpPr>
        <p:spPr bwMode="auto">
          <a:xfrm>
            <a:off x="6257608" y="2051097"/>
            <a:ext cx="2468560" cy="642936"/>
          </a:xfrm>
          <a:prstGeom prst="roundRect">
            <a:avLst>
              <a:gd name="adj" fmla="val 9115"/>
            </a:avLst>
          </a:prstGeom>
          <a:solidFill>
            <a:schemeClr val="accent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CSA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Delivery Model</a:t>
            </a:r>
            <a:endParaRPr kumimoji="0" lang="en-US" sz="1400" b="0" i="1"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52" name="Rectangle: Rounded Corners 51">
            <a:extLst>
              <a:ext uri="{FF2B5EF4-FFF2-40B4-BE49-F238E27FC236}">
                <a16:creationId xmlns:a16="http://schemas.microsoft.com/office/drawing/2014/main" id="{4629FA7C-4A60-3E4F-99E5-24B9090D1FB8}"/>
              </a:ext>
            </a:extLst>
          </p:cNvPr>
          <p:cNvSpPr>
            <a:spLocks/>
          </p:cNvSpPr>
          <p:nvPr/>
        </p:nvSpPr>
        <p:spPr bwMode="auto">
          <a:xfrm>
            <a:off x="9046211" y="2051097"/>
            <a:ext cx="2468560" cy="642936"/>
          </a:xfrm>
          <a:prstGeom prst="roundRect">
            <a:avLst>
              <a:gd name="adj" fmla="val 9115"/>
            </a:avLst>
          </a:prstGeom>
          <a:solidFill>
            <a:schemeClr val="accent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CS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mn-ea"/>
                <a:cs typeface="+mn-cs"/>
              </a:rPr>
              <a:t>Global Delivery</a:t>
            </a:r>
            <a:endParaRPr kumimoji="0" lang="en-US" sz="1400" b="0" i="1"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6" name="Rectangle 5">
            <a:extLst>
              <a:ext uri="{FF2B5EF4-FFF2-40B4-BE49-F238E27FC236}">
                <a16:creationId xmlns:a16="http://schemas.microsoft.com/office/drawing/2014/main" id="{E064021B-EE2D-83D5-B24F-D8F2F974A49E}"/>
              </a:ext>
            </a:extLst>
          </p:cNvPr>
          <p:cNvSpPr/>
          <p:nvPr/>
        </p:nvSpPr>
        <p:spPr>
          <a:xfrm>
            <a:off x="741533" y="2829836"/>
            <a:ext cx="2346302" cy="2421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Drive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zure consumption </a:t>
            </a:r>
            <a:r>
              <a:rPr kumimoji="0" lang="en-US" sz="1200" b="0" i="0" u="none" strike="noStrike" kern="1200" cap="none" spc="0" normalizeH="0" baseline="0" noProof="0">
                <a:ln>
                  <a:noFill/>
                </a:ln>
                <a:solidFill>
                  <a:srgbClr val="000000"/>
                </a:solidFill>
                <a:effectLst/>
                <a:uLnTx/>
                <a:uFillTx/>
                <a:latin typeface="Segoe Sans Text"/>
                <a:ea typeface="+mn-ea"/>
                <a:cs typeface="+mn-cs"/>
              </a:rPr>
              <a:t>through aligning resources and Unified Delivery to customer opportunity</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Operating model informs resource allocation: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Unified Enabled Resources, Delivery Partner Mix,</a:t>
            </a:r>
            <a:r>
              <a:rPr kumimoji="0" lang="en-US" sz="1200" b="0" i="0" u="none" strike="noStrike" kern="1200" cap="none" spc="0" normalizeH="0" baseline="0" noProof="0">
                <a:ln>
                  <a:noFill/>
                </a:ln>
                <a:solidFill>
                  <a:srgbClr val="000000"/>
                </a:solidFill>
                <a:effectLst/>
                <a:uLnTx/>
                <a:uFillTx/>
                <a:latin typeface="Segoe Sans Text"/>
                <a:ea typeface="+mn-ea"/>
                <a:cs typeface="+mn-cs"/>
              </a:rPr>
              <a:t>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Repeatability</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Delivery demand informed by Unified (SBR) Apr CFO &amp; FY26 budget: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Unified Base &amp; Enhanced Solutions Growth </a:t>
            </a:r>
          </a:p>
        </p:txBody>
      </p:sp>
      <p:sp>
        <p:nvSpPr>
          <p:cNvPr id="7" name="Rectangle 6">
            <a:extLst>
              <a:ext uri="{FF2B5EF4-FFF2-40B4-BE49-F238E27FC236}">
                <a16:creationId xmlns:a16="http://schemas.microsoft.com/office/drawing/2014/main" id="{00FC3D79-5E50-10E3-5C26-65BA3E13F365}"/>
              </a:ext>
            </a:extLst>
          </p:cNvPr>
          <p:cNvSpPr/>
          <p:nvPr/>
        </p:nvSpPr>
        <p:spPr>
          <a:xfrm>
            <a:off x="3530135" y="2829836"/>
            <a:ext cx="2346302" cy="2605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Solution Play aligned CSAs </a:t>
            </a:r>
            <a:r>
              <a:rPr kumimoji="0" lang="en-US" sz="1200" b="0" i="0" u="none" strike="noStrike" kern="1200" cap="none" spc="0" normalizeH="0" baseline="0" noProof="0">
                <a:ln>
                  <a:noFill/>
                </a:ln>
                <a:solidFill>
                  <a:srgbClr val="000000"/>
                </a:solidFill>
                <a:effectLst/>
                <a:uLnTx/>
                <a:uFillTx/>
                <a:latin typeface="Segoe Sans Text"/>
                <a:ea typeface="+mn-ea"/>
                <a:cs typeface="+mn-cs"/>
              </a:rPr>
              <a:t>to enable customer proximity and simplification of GTM with deep technical expertise</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Resource alignment </a:t>
            </a:r>
            <a:r>
              <a:rPr kumimoji="0" lang="en-US" sz="1200" b="0" i="0" u="none" strike="noStrike" kern="1200" cap="none" spc="0" normalizeH="0" baseline="0" noProof="0">
                <a:ln>
                  <a:noFill/>
                </a:ln>
                <a:solidFill>
                  <a:srgbClr val="000000"/>
                </a:solidFill>
                <a:effectLst/>
                <a:uLnTx/>
                <a:uFillTx/>
                <a:latin typeface="Segoe Sans Text"/>
                <a:ea typeface="+mn-ea"/>
                <a:cs typeface="+mn-cs"/>
              </a:rPr>
              <a:t>to territories governed by Unified penetration and customer opportunity to increase operating leverage</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Downstream (</a:t>
            </a:r>
            <a:r>
              <a:rPr kumimoji="0" lang="en-US" sz="1200" b="0" i="0" u="none" strike="noStrike" kern="1200" cap="none" spc="0" normalizeH="0" baseline="0" noProof="0" err="1">
                <a:ln>
                  <a:noFill/>
                </a:ln>
                <a:solidFill>
                  <a:srgbClr val="000000"/>
                </a:solidFill>
                <a:effectLst/>
                <a:uLnTx/>
                <a:uFillTx/>
                <a:latin typeface="Segoe Sans Text Semibold"/>
                <a:ea typeface="+mn-ea"/>
                <a:cs typeface="+mn-cs"/>
              </a:rPr>
              <a:t>iCSU</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t>
            </a:r>
            <a:r>
              <a:rPr kumimoji="0" lang="en-US" sz="1200" b="0" i="0" u="none" strike="noStrike" kern="1200" cap="none" spc="0" normalizeH="0" baseline="0" noProof="0">
                <a:ln>
                  <a:noFill/>
                </a:ln>
                <a:solidFill>
                  <a:srgbClr val="000000"/>
                </a:solidFill>
                <a:effectLst/>
                <a:uLnTx/>
                <a:uFillTx/>
                <a:latin typeface="Segoe Sans Text"/>
                <a:ea typeface="+mn-ea"/>
                <a:cs typeface="+mn-cs"/>
              </a:rPr>
              <a:t>: Expand with FY26 Customer Family list and move to the field to simplify orchestration</a:t>
            </a:r>
          </a:p>
        </p:txBody>
      </p:sp>
      <p:sp>
        <p:nvSpPr>
          <p:cNvPr id="10" name="Rectangle 9">
            <a:extLst>
              <a:ext uri="{FF2B5EF4-FFF2-40B4-BE49-F238E27FC236}">
                <a16:creationId xmlns:a16="http://schemas.microsoft.com/office/drawing/2014/main" id="{AB611ED6-3069-413E-3429-FE3CEB85731B}"/>
              </a:ext>
            </a:extLst>
          </p:cNvPr>
          <p:cNvSpPr/>
          <p:nvPr/>
        </p:nvSpPr>
        <p:spPr>
          <a:xfrm>
            <a:off x="6318738" y="2829836"/>
            <a:ext cx="2346302" cy="3159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14300" lvl="0" indent="-114300" defTabSz="932742">
              <a:spcBef>
                <a:spcPts val="600"/>
              </a:spcBef>
              <a:spcAft>
                <a:spcPts val="200"/>
              </a:spcAft>
              <a:buSzPct val="10000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AM FTEs to prioritize</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 customer-facing relationship </a:t>
            </a:r>
            <a:r>
              <a:rPr lang="en-US" sz="1200">
                <a:solidFill>
                  <a:schemeClr val="tx1"/>
                </a:solidFill>
              </a:rPr>
              <a:t>lead improvement of customer's solution </a:t>
            </a:r>
            <a:r>
              <a:rPr lang="en-US" sz="1200">
                <a:solidFill>
                  <a:srgbClr val="000000"/>
                </a:solidFill>
                <a:latin typeface="Segoe Sans Text Semibold"/>
              </a:rPr>
              <a:t>health</a:t>
            </a:r>
            <a:r>
              <a:rPr lang="en-US" sz="1200">
                <a:solidFill>
                  <a:schemeClr val="tx1"/>
                </a:solidFill>
              </a:rPr>
              <a:t> and </a:t>
            </a:r>
            <a:r>
              <a:rPr lang="en-US" sz="1200">
                <a:solidFill>
                  <a:srgbClr val="000000"/>
                </a:solidFill>
                <a:latin typeface="Segoe Sans Text Semibold"/>
              </a:rPr>
              <a:t>consumption/usage activities </a:t>
            </a:r>
          </a:p>
          <a:p>
            <a:pPr marL="114300" lvl="0" indent="-114300" defTabSz="932742">
              <a:spcBef>
                <a:spcPts val="600"/>
              </a:spcBef>
              <a:spcAft>
                <a:spcPts val="200"/>
              </a:spcAft>
              <a:buSzPct val="10000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SAM Delivery Center with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learly defined scope </a:t>
            </a:r>
            <a:r>
              <a:rPr kumimoji="0" lang="en-US" sz="1200" b="0" i="0" u="none" strike="noStrike" kern="1200" cap="none" spc="0" normalizeH="0" baseline="0" noProof="0">
                <a:ln>
                  <a:noFill/>
                </a:ln>
                <a:solidFill>
                  <a:srgbClr val="000000"/>
                </a:solidFill>
                <a:effectLst/>
                <a:uLnTx/>
                <a:uFillTx/>
                <a:latin typeface="Segoe Sans Text"/>
                <a:ea typeface="+mn-ea"/>
                <a:cs typeface="+mn-cs"/>
              </a:rPr>
              <a:t>(detailed catalog)</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 </a:t>
            </a:r>
            <a:r>
              <a:rPr kumimoji="0" lang="en-US" sz="1200" b="0" i="0" u="none" strike="noStrike" kern="1200" cap="none" spc="0" normalizeH="0" baseline="0" noProof="0">
                <a:ln>
                  <a:noFill/>
                </a:ln>
                <a:solidFill>
                  <a:srgbClr val="000000"/>
                </a:solidFill>
                <a:effectLst/>
                <a:uLnTx/>
                <a:uFillTx/>
                <a:latin typeface="Segoe Sans Text"/>
                <a:ea typeface="+mn-ea"/>
                <a:cs typeface="+mn-cs"/>
              </a:rPr>
              <a:t>and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ramped</a:t>
            </a:r>
            <a:r>
              <a:rPr kumimoji="0" lang="en-US" sz="1200" b="0" i="0" u="none" strike="noStrike" kern="1200" cap="none" spc="0" normalizeH="0" baseline="0" noProof="0">
                <a:ln>
                  <a:noFill/>
                </a:ln>
                <a:solidFill>
                  <a:srgbClr val="000000"/>
                </a:solidFill>
                <a:effectLst/>
                <a:uLnTx/>
                <a:uFillTx/>
                <a:latin typeface="Segoe Sans Text"/>
                <a:ea typeface="+mn-ea"/>
                <a:cs typeface="+mn-cs"/>
              </a:rPr>
              <a:t> delivery partner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apacity</a:t>
            </a:r>
          </a:p>
          <a:p>
            <a:pPr marL="114300" lvl="0" indent="-114300" defTabSz="932742">
              <a:spcBef>
                <a:spcPts val="600"/>
              </a:spcBef>
              <a:spcAft>
                <a:spcPts val="200"/>
              </a:spcAft>
              <a:buSzPct val="10000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New: Success Programs</a:t>
            </a:r>
            <a:r>
              <a:rPr lang="en-US" sz="1200">
                <a:solidFill>
                  <a:schemeClr val="tx1"/>
                </a:solidFill>
              </a:rPr>
              <a:t> to drive repeatable customer outcomes focused on </a:t>
            </a:r>
            <a:r>
              <a:rPr lang="en-US" sz="1200" b="1">
                <a:solidFill>
                  <a:schemeClr val="tx1"/>
                </a:solidFill>
              </a:rPr>
              <a:t>Customer Health; Cloud Deployment </a:t>
            </a:r>
            <a:r>
              <a:rPr lang="en-US" sz="1200">
                <a:solidFill>
                  <a:schemeClr val="tx1"/>
                </a:solidFill>
              </a:rPr>
              <a:t>and </a:t>
            </a:r>
            <a:r>
              <a:rPr lang="en-US" sz="1200" b="1">
                <a:solidFill>
                  <a:schemeClr val="tx1"/>
                </a:solidFill>
              </a:rPr>
              <a:t>AI Innovation</a:t>
            </a:r>
            <a:r>
              <a:rPr lang="en-US" sz="1200">
                <a:solidFill>
                  <a:schemeClr val="tx1"/>
                </a:solidFill>
              </a:rPr>
              <a:t> via digital and delivery partner CSAM Success Enablement Services</a:t>
            </a:r>
            <a:endParaRPr kumimoji="0" lang="en-US" sz="12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 name="Rectangle 8">
            <a:extLst>
              <a:ext uri="{FF2B5EF4-FFF2-40B4-BE49-F238E27FC236}">
                <a16:creationId xmlns:a16="http://schemas.microsoft.com/office/drawing/2014/main" id="{321EA5A8-E5B4-F92B-26BB-6B56F28CC7EB}"/>
              </a:ext>
            </a:extLst>
          </p:cNvPr>
          <p:cNvSpPr/>
          <p:nvPr/>
        </p:nvSpPr>
        <p:spPr>
          <a:xfrm>
            <a:off x="9107340" y="2829836"/>
            <a:ext cx="2346302" cy="32624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Updated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Tech Maturity model </a:t>
            </a:r>
            <a:r>
              <a:rPr kumimoji="0" lang="en-US" sz="1200" b="0" i="0" u="none" strike="noStrike" kern="1200" cap="none" spc="0" normalizeH="0" baseline="0" noProof="0">
                <a:ln>
                  <a:noFill/>
                </a:ln>
                <a:solidFill>
                  <a:srgbClr val="000000"/>
                </a:solidFill>
                <a:effectLst/>
                <a:uLnTx/>
                <a:uFillTx/>
                <a:latin typeface="Segoe Sans Text"/>
                <a:ea typeface="+mn-ea"/>
                <a:cs typeface="+mn-cs"/>
              </a:rPr>
              <a:t>(technical skills into maturity stages: Innovation, Growth, Mature, and On-Prem)</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Major Growth Efficiency: </a:t>
            </a:r>
            <a:r>
              <a:rPr kumimoji="0" lang="en-US" sz="1200" b="0" i="0" u="none" strike="noStrike" kern="1200" cap="none" spc="0" normalizeH="0" baseline="0" noProof="0">
                <a:ln>
                  <a:noFill/>
                </a:ln>
                <a:solidFill>
                  <a:srgbClr val="000000"/>
                </a:solidFill>
                <a:effectLst/>
                <a:uLnTx/>
                <a:uFillTx/>
                <a:latin typeface="Segoe Sans Text"/>
                <a:ea typeface="+mn-ea"/>
                <a:cs typeface="+mn-cs"/>
              </a:rPr>
              <a:t>Major growth customer services by CSA + delivery partners across tech maturity model</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Scaling Global Delivery with additional vendor capacity aligned to demand, including on-prem Mission Critical</a:t>
            </a:r>
          </a:p>
          <a:p>
            <a:pPr marL="114300" marR="0" lvl="0" indent="-114300"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Apply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delivery order of operations </a:t>
            </a:r>
            <a:r>
              <a:rPr kumimoji="0" lang="en-US" sz="1200" b="0" i="0" u="none" strike="noStrike" kern="1200" cap="none" spc="0" normalizeH="0" baseline="0" noProof="0">
                <a:ln>
                  <a:noFill/>
                </a:ln>
                <a:solidFill>
                  <a:srgbClr val="000000"/>
                </a:solidFill>
                <a:effectLst/>
                <a:uLnTx/>
                <a:uFillTx/>
                <a:latin typeface="Segoe Sans Text"/>
                <a:ea typeface="+mn-ea"/>
                <a:cs typeface="+mn-cs"/>
              </a:rPr>
              <a:t>to maximize leverage of Unified and Factory delivery for scale and efficiency</a:t>
            </a:r>
          </a:p>
        </p:txBody>
      </p:sp>
      <p:grpSp>
        <p:nvGrpSpPr>
          <p:cNvPr id="3" name="Group 2">
            <a:extLst>
              <a:ext uri="{FF2B5EF4-FFF2-40B4-BE49-F238E27FC236}">
                <a16:creationId xmlns:a16="http://schemas.microsoft.com/office/drawing/2014/main" id="{E5DDE3BE-1E1C-EB6B-ACBB-481D5B877B58}"/>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5" name="Table 2 Cell 1, 1 to Text">
              <a:extLst>
                <a:ext uri="{FF2B5EF4-FFF2-40B4-BE49-F238E27FC236}">
                  <a16:creationId xmlns:a16="http://schemas.microsoft.com/office/drawing/2014/main" id="{798AF4F2-3517-C9D3-53B2-9B81642E40A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6" name="Table 2 Cell 2, 1 to Text">
              <a:extLst>
                <a:ext uri="{FF2B5EF4-FFF2-40B4-BE49-F238E27FC236}">
                  <a16:creationId xmlns:a16="http://schemas.microsoft.com/office/drawing/2014/main" id="{E2B52196-09A7-F18B-E9D7-BD83FB9E437D}"/>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17" name="Table 2 Cell 3, 1 to Text">
              <a:extLst>
                <a:ext uri="{FF2B5EF4-FFF2-40B4-BE49-F238E27FC236}">
                  <a16:creationId xmlns:a16="http://schemas.microsoft.com/office/drawing/2014/main" id="{7762DEB7-AF41-34CE-E31B-2B4CAF1BD2C4}"/>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8" name="Table 2 Cell 4, 1 to Text">
              <a:extLst>
                <a:ext uri="{FF2B5EF4-FFF2-40B4-BE49-F238E27FC236}">
                  <a16:creationId xmlns:a16="http://schemas.microsoft.com/office/drawing/2014/main" id="{95EDE38F-7AB3-428E-BD9B-B1DD5990BCF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9" name="Table 2 Cell 5, 1 to Text">
              <a:extLst>
                <a:ext uri="{FF2B5EF4-FFF2-40B4-BE49-F238E27FC236}">
                  <a16:creationId xmlns:a16="http://schemas.microsoft.com/office/drawing/2014/main" id="{62F96D10-D2BB-59CA-071C-B30DFCAA480B}"/>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0" name="Table 2 Cell 6, 1 to Text">
              <a:extLst>
                <a:ext uri="{FF2B5EF4-FFF2-40B4-BE49-F238E27FC236}">
                  <a16:creationId xmlns:a16="http://schemas.microsoft.com/office/drawing/2014/main" id="{2866E742-E6A3-7AD3-F573-E251C3791536}"/>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21" name="Table 2 Cell 7, 1 to Text">
              <a:extLst>
                <a:ext uri="{FF2B5EF4-FFF2-40B4-BE49-F238E27FC236}">
                  <a16:creationId xmlns:a16="http://schemas.microsoft.com/office/drawing/2014/main" id="{387FF544-D1D2-8C9A-8934-39221AF5FBC4}"/>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2" name="Table 2 Cell 1, 2 to Text">
              <a:extLst>
                <a:ext uri="{FF2B5EF4-FFF2-40B4-BE49-F238E27FC236}">
                  <a16:creationId xmlns:a16="http://schemas.microsoft.com/office/drawing/2014/main" id="{639447D6-34FE-AED3-28BA-55B34E198DF6}"/>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23" name="Table 2 Cell 1, 3 to Text">
              <a:extLst>
                <a:ext uri="{FF2B5EF4-FFF2-40B4-BE49-F238E27FC236}">
                  <a16:creationId xmlns:a16="http://schemas.microsoft.com/office/drawing/2014/main" id="{5FEC8E2E-2AB7-1283-58A5-648BB854454D}"/>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24" name="Table 2 Cell 1, 4 to Text">
              <a:extLst>
                <a:ext uri="{FF2B5EF4-FFF2-40B4-BE49-F238E27FC236}">
                  <a16:creationId xmlns:a16="http://schemas.microsoft.com/office/drawing/2014/main" id="{42749846-08FB-4BE2-948C-31963DC9A612}"/>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3 CSU Delivery Strategy</a:t>
              </a:r>
            </a:p>
          </p:txBody>
        </p:sp>
        <p:sp>
          <p:nvSpPr>
            <p:cNvPr id="25" name="Table 2 Cell 1, 5 to Text">
              <a:extLst>
                <a:ext uri="{FF2B5EF4-FFF2-40B4-BE49-F238E27FC236}">
                  <a16:creationId xmlns:a16="http://schemas.microsoft.com/office/drawing/2014/main" id="{2FEE8E8D-52F0-0D4D-09AF-86C02D7ED6D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4 Sales Model &amp; Role Changes</a:t>
              </a:r>
            </a:p>
          </p:txBody>
        </p:sp>
        <p:sp>
          <p:nvSpPr>
            <p:cNvPr id="26" name="Table 2 Cell 1, 6 to Text">
              <a:extLst>
                <a:ext uri="{FF2B5EF4-FFF2-40B4-BE49-F238E27FC236}">
                  <a16:creationId xmlns:a16="http://schemas.microsoft.com/office/drawing/2014/main" id="{F8D50FD5-3161-DD2A-6332-4D9FE26C8DA9}"/>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27" name="Table 2 Cell 1, 7 to Text">
              <a:extLst>
                <a:ext uri="{FF2B5EF4-FFF2-40B4-BE49-F238E27FC236}">
                  <a16:creationId xmlns:a16="http://schemas.microsoft.com/office/drawing/2014/main" id="{5B292E6E-AD0B-D5E1-DA13-4AC28567A25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28" name="Table 2 Cell 1, 8 to Text">
              <a:extLst>
                <a:ext uri="{FF2B5EF4-FFF2-40B4-BE49-F238E27FC236}">
                  <a16:creationId xmlns:a16="http://schemas.microsoft.com/office/drawing/2014/main" id="{628ABA10-DD6E-6BFB-D49D-7963986162FF}"/>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14163044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72E798E-7BC2-CC64-2FF0-A847BD2B3125}"/>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1" name="Table 2 Cell 1, 1 to Text">
              <a:extLst>
                <a:ext uri="{FF2B5EF4-FFF2-40B4-BE49-F238E27FC236}">
                  <a16:creationId xmlns:a16="http://schemas.microsoft.com/office/drawing/2014/main" id="{D2CF9C5F-1DAC-8C97-3D5C-7C6941E19A23}"/>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2" name="Table 2 Cell 2, 1 to Text">
              <a:extLst>
                <a:ext uri="{FF2B5EF4-FFF2-40B4-BE49-F238E27FC236}">
                  <a16:creationId xmlns:a16="http://schemas.microsoft.com/office/drawing/2014/main" id="{93F53F1E-4189-1046-4EF7-3E68201876A5}"/>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3" name="Table 2 Cell 3, 1 to Text">
              <a:extLst>
                <a:ext uri="{FF2B5EF4-FFF2-40B4-BE49-F238E27FC236}">
                  <a16:creationId xmlns:a16="http://schemas.microsoft.com/office/drawing/2014/main" id="{06851553-40C3-9BD2-2574-6E0B6D8AF4D3}"/>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4" name="Table 2 Cell 4, 1 to Text">
              <a:extLst>
                <a:ext uri="{FF2B5EF4-FFF2-40B4-BE49-F238E27FC236}">
                  <a16:creationId xmlns:a16="http://schemas.microsoft.com/office/drawing/2014/main" id="{56FCDB47-C25E-2A9C-7A2D-0EE1A384AE5A}"/>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5" name="Table 2 Cell 5, 1 to Text">
              <a:extLst>
                <a:ext uri="{FF2B5EF4-FFF2-40B4-BE49-F238E27FC236}">
                  <a16:creationId xmlns:a16="http://schemas.microsoft.com/office/drawing/2014/main" id="{DF52C188-87E4-3BB7-3E04-CD0E9DC54029}"/>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6" name="Table 2 Cell 6, 1 to Text">
              <a:extLst>
                <a:ext uri="{FF2B5EF4-FFF2-40B4-BE49-F238E27FC236}">
                  <a16:creationId xmlns:a16="http://schemas.microsoft.com/office/drawing/2014/main" id="{BFE1C051-2A18-2661-EF0C-E036575452A2}"/>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17" name="Table 2 Cell 7, 1 to Text">
              <a:extLst>
                <a:ext uri="{FF2B5EF4-FFF2-40B4-BE49-F238E27FC236}">
                  <a16:creationId xmlns:a16="http://schemas.microsoft.com/office/drawing/2014/main" id="{CC4B6E86-EE16-4352-3F8E-1E77D361BC9A}"/>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8" name="Table 2 Cell 1, 2 to Text">
              <a:extLst>
                <a:ext uri="{FF2B5EF4-FFF2-40B4-BE49-F238E27FC236}">
                  <a16:creationId xmlns:a16="http://schemas.microsoft.com/office/drawing/2014/main" id="{06D99045-9AC9-8AAD-DB42-7D8AC8AD283E}"/>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19" name="Table 2 Cell 1, 3 to Text">
              <a:extLst>
                <a:ext uri="{FF2B5EF4-FFF2-40B4-BE49-F238E27FC236}">
                  <a16:creationId xmlns:a16="http://schemas.microsoft.com/office/drawing/2014/main" id="{DD2B6DAD-7DE8-3FD1-C954-89C1C76C7894}"/>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20" name="Table 2 Cell 1, 4 to Text">
              <a:extLst>
                <a:ext uri="{FF2B5EF4-FFF2-40B4-BE49-F238E27FC236}">
                  <a16:creationId xmlns:a16="http://schemas.microsoft.com/office/drawing/2014/main" id="{ACF5270C-BD5A-7E92-E0CF-BA1612386E9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21" name="Table 2 Cell 1, 5 to Text">
              <a:extLst>
                <a:ext uri="{FF2B5EF4-FFF2-40B4-BE49-F238E27FC236}">
                  <a16:creationId xmlns:a16="http://schemas.microsoft.com/office/drawing/2014/main" id="{CE5B6A99-57AB-3C33-D290-416AC5FB623C}"/>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22" name="Table 2 Cell 1, 6 to Text">
              <a:extLst>
                <a:ext uri="{FF2B5EF4-FFF2-40B4-BE49-F238E27FC236}">
                  <a16:creationId xmlns:a16="http://schemas.microsoft.com/office/drawing/2014/main" id="{13DDEBA6-9683-9629-43DE-ADE8DDE0099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6.5 Azure Solution Plays </a:t>
              </a:r>
              <a:r>
                <a:rPr lang="en-US" sz="800" err="1">
                  <a:solidFill>
                    <a:schemeClr val="bg1"/>
                  </a:solidFill>
                </a:rPr>
                <a:t>Overvw</a:t>
              </a:r>
              <a:endParaRPr lang="en-US" sz="800">
                <a:solidFill>
                  <a:schemeClr val="bg1"/>
                </a:solidFill>
              </a:endParaRPr>
            </a:p>
          </p:txBody>
        </p:sp>
      </p:grpSp>
      <p:sp>
        <p:nvSpPr>
          <p:cNvPr id="26" name="Rectangle: Rounded Corners 25">
            <a:extLst>
              <a:ext uri="{FF2B5EF4-FFF2-40B4-BE49-F238E27FC236}">
                <a16:creationId xmlns:a16="http://schemas.microsoft.com/office/drawing/2014/main" id="{822700C8-A531-E250-978A-5501574CAD47}"/>
              </a:ext>
            </a:extLst>
          </p:cNvPr>
          <p:cNvSpPr/>
          <p:nvPr/>
        </p:nvSpPr>
        <p:spPr>
          <a:xfrm>
            <a:off x="10957604" y="787747"/>
            <a:ext cx="1114641" cy="279815"/>
          </a:xfrm>
          <a:prstGeom prst="roundRect">
            <a:avLst>
              <a:gd name="adj" fmla="val 50000"/>
            </a:avLst>
          </a:prstGeom>
          <a:gradFill>
            <a:gsLst>
              <a:gs pos="27000">
                <a:srgbClr val="1B6973"/>
              </a:gs>
              <a:gs pos="100000">
                <a:srgbClr val="5CA2AC"/>
              </a:gs>
            </a:gsLst>
            <a:lin ang="10800000" scaled="0"/>
          </a:gradFill>
          <a:ln>
            <a:noFill/>
          </a:ln>
          <a:effectLst>
            <a:outerShdw blurRad="50800" dist="38100" dir="2700000" algn="tl" rotWithShape="0">
              <a:schemeClr val="bg1">
                <a:lumMod val="75000"/>
                <a:alpha val="21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latin typeface="Segoe UI Semibold"/>
                <a:ea typeface="+mn-ea"/>
                <a:cs typeface="+mn-cs"/>
              </a:rPr>
              <a:t>Azure</a:t>
            </a:r>
            <a:endParaRPr kumimoji="0" lang="en-US" sz="105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 name="Title 30">
            <a:extLst>
              <a:ext uri="{FF2B5EF4-FFF2-40B4-BE49-F238E27FC236}">
                <a16:creationId xmlns:a16="http://schemas.microsoft.com/office/drawing/2014/main" id="{18538D20-6F18-6E82-C281-329E07EE35E2}"/>
              </a:ext>
            </a:extLst>
          </p:cNvPr>
          <p:cNvSpPr>
            <a:spLocks noGrp="1"/>
          </p:cNvSpPr>
          <p:nvPr>
            <p:ph type="title"/>
          </p:nvPr>
        </p:nvSpPr>
        <p:spPr>
          <a:xfrm>
            <a:off x="62881" y="606230"/>
            <a:ext cx="11049000" cy="430887"/>
          </a:xfrm>
        </p:spPr>
        <p:txBody>
          <a:bodyPr/>
          <a:lstStyle/>
          <a:p>
            <a:r>
              <a:rPr lang="en-US" sz="2800"/>
              <a:t>FY26 Solution Play List | </a:t>
            </a:r>
            <a:r>
              <a:rPr lang="en-US" sz="2800">
                <a:solidFill>
                  <a:srgbClr val="1B6973"/>
                </a:solidFill>
              </a:rPr>
              <a:t>Azure</a:t>
            </a:r>
            <a:endParaRPr lang="en-US" sz="2800"/>
          </a:p>
        </p:txBody>
      </p:sp>
      <p:graphicFrame>
        <p:nvGraphicFramePr>
          <p:cNvPr id="32" name="Content Placeholder 3">
            <a:extLst>
              <a:ext uri="{FF2B5EF4-FFF2-40B4-BE49-F238E27FC236}">
                <a16:creationId xmlns:a16="http://schemas.microsoft.com/office/drawing/2014/main" id="{F6733EA2-2F36-20B6-1C83-137A709EC2A1}"/>
              </a:ext>
            </a:extLst>
          </p:cNvPr>
          <p:cNvGraphicFramePr>
            <a:graphicFrameLocks/>
          </p:cNvGraphicFramePr>
          <p:nvPr>
            <p:extLst>
              <p:ext uri="{D42A27DB-BD31-4B8C-83A1-F6EECF244321}">
                <p14:modId xmlns:p14="http://schemas.microsoft.com/office/powerpoint/2010/main" val="2587757115"/>
              </p:ext>
            </p:extLst>
          </p:nvPr>
        </p:nvGraphicFramePr>
        <p:xfrm>
          <a:off x="59315" y="1108372"/>
          <a:ext cx="12012930" cy="5515698"/>
        </p:xfrm>
        <a:graphic>
          <a:graphicData uri="http://schemas.openxmlformats.org/drawingml/2006/table">
            <a:tbl>
              <a:tblPr firstRow="1" bandRow="1">
                <a:tableStyleId>{5940675A-B579-460E-94D1-54222C63F5DA}</a:tableStyleId>
              </a:tblPr>
              <a:tblGrid>
                <a:gridCol w="1077342">
                  <a:extLst>
                    <a:ext uri="{9D8B030D-6E8A-4147-A177-3AD203B41FA5}">
                      <a16:colId xmlns:a16="http://schemas.microsoft.com/office/drawing/2014/main" val="508227146"/>
                    </a:ext>
                  </a:extLst>
                </a:gridCol>
                <a:gridCol w="2854376">
                  <a:extLst>
                    <a:ext uri="{9D8B030D-6E8A-4147-A177-3AD203B41FA5}">
                      <a16:colId xmlns:a16="http://schemas.microsoft.com/office/drawing/2014/main" val="1970924299"/>
                    </a:ext>
                  </a:extLst>
                </a:gridCol>
                <a:gridCol w="2615546">
                  <a:extLst>
                    <a:ext uri="{9D8B030D-6E8A-4147-A177-3AD203B41FA5}">
                      <a16:colId xmlns:a16="http://schemas.microsoft.com/office/drawing/2014/main" val="1033016974"/>
                    </a:ext>
                  </a:extLst>
                </a:gridCol>
                <a:gridCol w="3137813">
                  <a:extLst>
                    <a:ext uri="{9D8B030D-6E8A-4147-A177-3AD203B41FA5}">
                      <a16:colId xmlns:a16="http://schemas.microsoft.com/office/drawing/2014/main" val="2536035007"/>
                    </a:ext>
                  </a:extLst>
                </a:gridCol>
                <a:gridCol w="2327853">
                  <a:extLst>
                    <a:ext uri="{9D8B030D-6E8A-4147-A177-3AD203B41FA5}">
                      <a16:colId xmlns:a16="http://schemas.microsoft.com/office/drawing/2014/main" val="575951266"/>
                    </a:ext>
                  </a:extLst>
                </a:gridCol>
              </a:tblGrid>
              <a:tr h="2294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mj-lt"/>
                          <a:ea typeface="+mn-ea"/>
                          <a:cs typeface="Segoe UI"/>
                        </a:rPr>
                        <a:t>FY26 Play</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n-ea"/>
                          <a:cs typeface="Segoe UI"/>
                        </a:rPr>
                        <a:t>PRIORITIES</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2"/>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chemeClr val="bg1"/>
                          </a:solidFill>
                          <a:effectLst/>
                          <a:uLnTx/>
                          <a:uFillTx/>
                          <a:latin typeface="+mj-lt"/>
                          <a:ea typeface="+mn-ea"/>
                          <a:cs typeface="Segoe UI"/>
                        </a:rPr>
                        <a:t>PRIMARY</a:t>
                      </a:r>
                      <a:r>
                        <a:rPr kumimoji="0" lang="en-US" sz="1200" b="0" i="0" u="none" strike="noStrike" kern="1200" cap="none" spc="0" normalizeH="0" baseline="0" noProof="0">
                          <a:ln>
                            <a:noFill/>
                          </a:ln>
                          <a:solidFill>
                            <a:schemeClr val="bg1"/>
                          </a:solidFill>
                          <a:effectLst/>
                          <a:uLnTx/>
                          <a:uFillTx/>
                          <a:latin typeface="+mj-lt"/>
                          <a:ea typeface="+mn-ea"/>
                          <a:cs typeface="Segoe UI"/>
                        </a:rPr>
                        <a:t> HERO PRODUCTS </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2"/>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a:txBody>
                    <a:bodyPr/>
                    <a:lstStyle/>
                    <a:p>
                      <a:r>
                        <a:rPr kumimoji="0" lang="en-US" sz="1200" b="0" i="0" u="none" strike="noStrike" kern="1200" cap="none" spc="0" normalizeH="0" baseline="0">
                          <a:ln>
                            <a:noFill/>
                          </a:ln>
                          <a:solidFill>
                            <a:schemeClr val="bg1"/>
                          </a:solidFill>
                          <a:effectLst/>
                          <a:uLnTx/>
                          <a:uFillTx/>
                          <a:latin typeface="+mj-lt"/>
                          <a:ea typeface="+mn-ea"/>
                          <a:cs typeface="Segoe UI"/>
                        </a:rPr>
                        <a:t>SECONDARY PRODUCTS</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4154869616"/>
                  </a:ext>
                </a:extLst>
              </a:tr>
              <a:tr h="879624">
                <a:tc rowSpan="4">
                  <a:txBody>
                    <a:bodyPr/>
                    <a:lstStyle/>
                    <a:p>
                      <a:pPr marL="0" marR="0" lvl="0" indent="0" algn="ctr" rtl="0" eaLnBrk="1" fontAlgn="auto" latinLnBrk="0" hangingPunct="1">
                        <a:lnSpc>
                          <a:spcPct val="100000"/>
                        </a:lnSpc>
                        <a:spcBef>
                          <a:spcPts val="0"/>
                        </a:spcBef>
                        <a:spcAft>
                          <a:spcPts val="0"/>
                        </a:spcAft>
                        <a:buClrTx/>
                        <a:buSzTx/>
                        <a:buNone/>
                      </a:pPr>
                      <a:r>
                        <a:rPr kumimoji="0" lang="en-US" sz="1200" b="0" i="0" u="none" strike="noStrike" kern="1200" cap="none" spc="0" normalizeH="0" baseline="0" noProof="0">
                          <a:ln>
                            <a:noFill/>
                          </a:ln>
                          <a:solidFill>
                            <a:schemeClr val="bg1"/>
                          </a:solidFill>
                          <a:effectLst/>
                          <a:uLnTx/>
                          <a:uFillTx/>
                          <a:latin typeface="+mj-lt"/>
                          <a:ea typeface="+mn-ea"/>
                          <a:cs typeface="Segoe UI"/>
                        </a:rPr>
                        <a:t>MIGRATE AND MODERNIZE YOUR ESTATE</a:t>
                      </a:r>
                    </a:p>
                  </a:txBody>
                  <a:tcPr marL="45720" marR="45720" marT="27432" marB="27432"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i="0" kern="1200">
                          <a:solidFill>
                            <a:schemeClr val="bg2">
                              <a:lumMod val="10000"/>
                            </a:schemeClr>
                          </a:solidFill>
                          <a:latin typeface="+mn-lt"/>
                          <a:ea typeface="+mn-ea"/>
                          <a:cs typeface="Segoe UI"/>
                        </a:rPr>
                        <a:t>Drive Migration and Modernization of Windows Server, SQL Server, Linux, PGSQL, and </a:t>
                      </a:r>
                      <a:r>
                        <a:rPr lang="en-US" sz="900" b="1">
                          <a:latin typeface="+mn-lt"/>
                        </a:rPr>
                        <a:t>.NET/Java Apps</a:t>
                      </a:r>
                      <a:endParaRPr lang="en-US" sz="900" b="1" i="0" kern="1200">
                        <a:solidFill>
                          <a:schemeClr val="bg2">
                            <a:lumMod val="10000"/>
                          </a:schemeClr>
                        </a:solidFill>
                        <a:latin typeface="+mn-lt"/>
                        <a:ea typeface="+mn-ea"/>
                        <a:cs typeface="Segoe UI"/>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Windows Server VM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Azure SQL (SQL Server on Azure VM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Azure SQL Managed Instance / Azure SQL DB</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Azure App Servic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Microsoft Defender for Clou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Azure Arc</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Linux </a:t>
                      </a:r>
                      <a:r>
                        <a:rPr lang="en-US" sz="900" b="0" i="0" u="none" strike="noStrike" kern="1200" cap="none" spc="0" normalizeH="0" baseline="0" noProof="0">
                          <a:ln>
                            <a:noFill/>
                          </a:ln>
                          <a:solidFill>
                            <a:schemeClr val="tx1"/>
                          </a:solidFill>
                          <a:effectLst/>
                          <a:uLnTx/>
                          <a:uFillTx/>
                          <a:latin typeface="+mn-lt"/>
                          <a:ea typeface="+mn-ea"/>
                          <a:cs typeface="Segoe UI"/>
                        </a:rPr>
                        <a:t>VMs</a:t>
                      </a:r>
                      <a:endParaRPr kumimoji="0" lang="en-US" sz="900" b="0" i="0" u="none" strike="noStrike" kern="1200" cap="none" spc="0" normalizeH="0" baseline="0" noProof="0">
                        <a:ln>
                          <a:noFill/>
                        </a:ln>
                        <a:solidFill>
                          <a:schemeClr val="tx1"/>
                        </a:solidFill>
                        <a:effectLst/>
                        <a:uLnTx/>
                        <a:uFillTx/>
                        <a:latin typeface="+mn-lt"/>
                        <a:ea typeface="+mn-ea"/>
                        <a:cs typeface="Segoe UI"/>
                      </a:endParaRP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chemeClr val="tx1"/>
                          </a:solidFill>
                          <a:effectLst/>
                          <a:uLnTx/>
                          <a:uFillTx/>
                          <a:latin typeface="+mn-lt"/>
                          <a:ea typeface="+mn-ea"/>
                          <a:cs typeface="Segoe UI"/>
                        </a:rPr>
                        <a:t>Azure </a:t>
                      </a:r>
                      <a:r>
                        <a:rPr kumimoji="0" lang="en-US" sz="900" b="0" i="0" u="none" strike="noStrike" kern="1200" cap="none" spc="0" normalizeH="0" baseline="0" noProof="0">
                          <a:ln>
                            <a:noFill/>
                          </a:ln>
                          <a:solidFill>
                            <a:schemeClr val="tx1"/>
                          </a:solidFill>
                          <a:effectLst/>
                          <a:uLnTx/>
                          <a:uFillTx/>
                          <a:latin typeface="+mn-lt"/>
                          <a:ea typeface="+mn-ea"/>
                          <a:cs typeface="Segoe UI"/>
                        </a:rPr>
                        <a:t>Database for PostgreSQL</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rPr>
                        <a:t>Azure </a:t>
                      </a:r>
                      <a:r>
                        <a:rPr lang="en-US" sz="900" b="0" i="0" u="none" strike="noStrike" kern="1200" cap="none" spc="0" normalizeH="0" baseline="0" noProof="0">
                          <a:ln>
                            <a:noFill/>
                          </a:ln>
                          <a:solidFill>
                            <a:schemeClr val="tx1"/>
                          </a:solidFill>
                          <a:effectLst/>
                          <a:uLnTx/>
                          <a:uFillTx/>
                          <a:latin typeface="+mn-lt"/>
                        </a:rPr>
                        <a:t>Kubernetes Service</a:t>
                      </a:r>
                      <a:endParaRPr kumimoji="0" lang="en-US" sz="900" b="0" i="0" u="none" strike="noStrike" kern="1200" cap="none" spc="0" normalizeH="0" baseline="0" noProof="0">
                        <a:ln>
                          <a:noFill/>
                        </a:ln>
                        <a:solidFill>
                          <a:schemeClr val="tx1"/>
                        </a:solidFill>
                        <a:effectLst/>
                        <a:uLnTx/>
                        <a:uFillTx/>
                        <a:latin typeface="+mn-lt"/>
                        <a:ea typeface="+mn-ea"/>
                        <a:cs typeface="Segoe UI"/>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Microsoft Defender for Cloud</a:t>
                      </a:r>
                    </a:p>
                    <a:p>
                      <a:pPr marL="228600" marR="0" lvl="0" indent="-228600" algn="l">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chemeClr val="tx1"/>
                          </a:solidFill>
                          <a:effectLst/>
                          <a:uLnTx/>
                          <a:uFillTx/>
                          <a:latin typeface="+mn-lt"/>
                          <a:ea typeface="+mn-ea"/>
                          <a:cs typeface="Segoe UI"/>
                        </a:rPr>
                        <a:t>Azure Arc</a:t>
                      </a:r>
                      <a:endParaRPr kumimoji="0" lang="en-US" sz="900" b="0" i="0" u="none" strike="noStrike" kern="1200" cap="none" spc="0" normalizeH="0" baseline="0" noProof="0">
                        <a:ln>
                          <a:noFill/>
                        </a:ln>
                        <a:solidFill>
                          <a:schemeClr val="tx1"/>
                        </a:solidFill>
                        <a:effectLst/>
                        <a:uLnTx/>
                        <a:uFillTx/>
                        <a:latin typeface="+mn-lt"/>
                        <a:ea typeface="+mn-ea"/>
                        <a:cs typeface="Segoe UI"/>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4">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1" i="0">
                          <a:solidFill>
                            <a:schemeClr val="tx1"/>
                          </a:solidFill>
                          <a:latin typeface="+mn-lt"/>
                        </a:rPr>
                        <a:t>Infra: </a:t>
                      </a:r>
                      <a:r>
                        <a:rPr lang="en-US" sz="900" b="0" i="0">
                          <a:solidFill>
                            <a:schemeClr val="tx1"/>
                          </a:solidFill>
                          <a:latin typeface="+mn-lt"/>
                        </a:rPr>
                        <a:t>High Performance Computing (HPC) </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1" i="0">
                          <a:solidFill>
                            <a:schemeClr val="tx1"/>
                          </a:solidFill>
                          <a:latin typeface="+mn-lt"/>
                        </a:rPr>
                        <a:t>Data: </a:t>
                      </a:r>
                      <a:r>
                        <a:rPr lang="en-US" sz="900" b="0" i="0">
                          <a:solidFill>
                            <a:schemeClr val="tx1"/>
                          </a:solidFill>
                          <a:latin typeface="+mn-lt"/>
                        </a:rPr>
                        <a:t>Azure Database for MySQL</a:t>
                      </a: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1" i="0">
                          <a:solidFill>
                            <a:schemeClr val="tx1"/>
                          </a:solidFill>
                          <a:latin typeface="+mn-lt"/>
                        </a:rPr>
                        <a:t>Apps</a:t>
                      </a:r>
                      <a:r>
                        <a:rPr lang="en-US" sz="900" b="0" i="0">
                          <a:solidFill>
                            <a:schemeClr val="tx1"/>
                          </a:solidFill>
                          <a:latin typeface="+mn-lt"/>
                        </a:rPr>
                        <a:t>: Azure Red Hat OpenShift (ARO)</a:t>
                      </a:r>
                      <a:endParaRPr kumimoji="0" lang="en-US" sz="9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9277436"/>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a:latin typeface="+mn-lt"/>
                        </a:rPr>
                        <a:t>Capture VMware opportunity with migration/modernization to AVS and Azure IaaS</a:t>
                      </a:r>
                      <a:endParaRPr lang="en-US" sz="900" b="1" i="0" kern="1200">
                        <a:solidFill>
                          <a:schemeClr val="bg2">
                            <a:lumMod val="10000"/>
                          </a:schemeClr>
                        </a:solidFill>
                        <a:latin typeface="+mn-lt"/>
                        <a:ea typeface="+mn-ea"/>
                        <a:cs typeface="Segoe UI"/>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VMware Solution (AV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IaaS VM’s (Windows &amp; Linux)</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strike="noStrike">
                          <a:solidFill>
                            <a:schemeClr val="tx1"/>
                          </a:solidFill>
                          <a:latin typeface="+mn-lt"/>
                        </a:rPr>
                        <a:t>Microsoft Defender for Clou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noProof="0">
                          <a:solidFill>
                            <a:schemeClr val="tx1"/>
                          </a:solidFill>
                          <a:latin typeface="+mn-lt"/>
                        </a:rPr>
                        <a:t>Azure Arc</a:t>
                      </a:r>
                      <a:endParaRPr lang="en-US" sz="900" b="0" i="0">
                        <a:solidFill>
                          <a:schemeClr val="tx1"/>
                        </a:solidFill>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lang="en-US" sz="9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725523"/>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a:latin typeface="+mn-lt"/>
                        </a:rPr>
                        <a:t>Secure all workloads with Microsoft Defender for Cloud</a:t>
                      </a:r>
                      <a:endParaRPr lang="en-US" sz="900" b="1" i="0" kern="1200">
                        <a:solidFill>
                          <a:schemeClr val="bg2">
                            <a:lumMod val="10000"/>
                          </a:schemeClr>
                        </a:solidFill>
                        <a:latin typeface="+mn-lt"/>
                        <a:ea typeface="+mn-ea"/>
                        <a:cs typeface="Segoe UI"/>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900" b="0" i="0" u="none" strike="noStrike" kern="1200" cap="none" spc="0" normalizeH="0" baseline="0" noProof="0">
                          <a:ln>
                            <a:noFill/>
                          </a:ln>
                          <a:solidFill>
                            <a:schemeClr val="tx1"/>
                          </a:solidFill>
                          <a:effectLst/>
                          <a:uLnTx/>
                          <a:uFillTx/>
                          <a:latin typeface="+mn-lt"/>
                          <a:ea typeface="+mn-ea"/>
                          <a:cs typeface="Segoe UI"/>
                        </a:rPr>
                        <a:t>Microsoft Defender for Cloud</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sz="9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6905499"/>
                  </a:ext>
                </a:extLst>
              </a:tr>
              <a:tr h="420690">
                <a:tc vMerge="1">
                  <a:txBody>
                    <a:bodyPr/>
                    <a:lstStyle/>
                    <a:p>
                      <a:pPr marL="0" marR="0" lvl="0" indent="0" algn="l" rtl="0" eaLnBrk="1" fontAlgn="auto" latinLnBrk="0" hangingPunct="1">
                        <a:lnSpc>
                          <a:spcPct val="100000"/>
                        </a:lnSpc>
                        <a:spcBef>
                          <a:spcPts val="0"/>
                        </a:spcBef>
                        <a:spcAft>
                          <a:spcPts val="0"/>
                        </a:spcAft>
                        <a:buClrTx/>
                        <a:buSzTx/>
                        <a:buNone/>
                      </a:pPr>
                      <a:endParaRPr kumimoji="0" lang="en-US" sz="12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i="0" kern="1200">
                          <a:solidFill>
                            <a:schemeClr val="bg2">
                              <a:lumMod val="10000"/>
                            </a:schemeClr>
                          </a:solidFill>
                          <a:latin typeface="+mn-lt"/>
                          <a:ea typeface="+mn-ea"/>
                          <a:cs typeface="Segoe UI"/>
                        </a:rPr>
                        <a:t>Win Enterprise App Workloads (SAP, Oracle)</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RISE with SAP</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a:solidFill>
                            <a:schemeClr val="tx1"/>
                          </a:solidFill>
                          <a:latin typeface="+mn-lt"/>
                        </a:rPr>
                        <a:t>M-Series Azure VM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Oracle </a:t>
                      </a:r>
                      <a:r>
                        <a:rPr lang="en-US" sz="900" b="0" i="0" err="1">
                          <a:solidFill>
                            <a:schemeClr val="tx1"/>
                          </a:solidFill>
                          <a:latin typeface="+mn-lt"/>
                        </a:rPr>
                        <a:t>DB@Azure</a:t>
                      </a:r>
                      <a:endParaRPr lang="en-US" sz="900" b="0" i="0">
                        <a:solidFill>
                          <a:schemeClr val="tx1"/>
                        </a:solidFill>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IaaS VM’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VMware Solution (AV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Kubernetes Service</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lang="en-US" sz="9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4133163"/>
                  </a:ext>
                </a:extLst>
              </a:tr>
              <a:tr h="650157">
                <a:tc rowSpan="4">
                  <a:txBody>
                    <a:bodyPr/>
                    <a:lstStyle/>
                    <a:p>
                      <a:pPr marL="0" marR="0" lvl="0" indent="0" algn="ctr"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bg1"/>
                          </a:solidFill>
                          <a:effectLst/>
                          <a:uLnTx/>
                          <a:uFillTx/>
                          <a:latin typeface="+mj-lt"/>
                          <a:ea typeface="+mn-ea"/>
                          <a:cs typeface="Segoe UI"/>
                        </a:rPr>
                        <a:t>INNOVATE WITH AZURE AI APPS AND AGENTS</a:t>
                      </a:r>
                    </a:p>
                  </a:txBody>
                  <a:tcPr marL="45720" marR="45720" marT="27432" marB="27432"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a:solidFill>
                            <a:schemeClr val="dk1"/>
                          </a:solidFill>
                          <a:effectLst/>
                          <a:latin typeface="+mn-lt"/>
                          <a:ea typeface="+mn-ea"/>
                          <a:cs typeface="+mn-cs"/>
                        </a:rPr>
                        <a:t>Establish meaningful AIDWs that drive high-value customer outcomes  </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AI</a:t>
                      </a:r>
                      <a:r>
                        <a:rPr lang="en-US" sz="900" b="0" i="0" u="none" strike="noStrike" kern="1200" cap="none" spc="0" normalizeH="0" baseline="0" noProof="0">
                          <a:ln>
                            <a:noFill/>
                          </a:ln>
                          <a:solidFill>
                            <a:srgbClr val="1A1A1A"/>
                          </a:solidFill>
                          <a:effectLst/>
                          <a:uLnTx/>
                          <a:uFillTx/>
                          <a:latin typeface="+mn-lt"/>
                        </a:rPr>
                        <a:t>: </a:t>
                      </a:r>
                      <a:r>
                        <a:rPr lang="en-US" sz="900" b="0" i="0" u="sng" strike="noStrike" kern="1200" cap="none" spc="0" normalizeH="0" baseline="0" noProof="0">
                          <a:ln>
                            <a:noFill/>
                          </a:ln>
                          <a:solidFill>
                            <a:srgbClr val="1A1A1A"/>
                          </a:solidFill>
                          <a:effectLst/>
                          <a:uLnTx/>
                          <a:uFillTx/>
                          <a:latin typeface="+mn-lt"/>
                        </a:rPr>
                        <a:t>Azure AI Found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i="0" u="none" strike="noStrike" kern="1200" cap="none" spc="0" normalizeH="0" baseline="0" noProof="0">
                          <a:ln>
                            <a:noFill/>
                          </a:ln>
                          <a:solidFill>
                            <a:srgbClr val="1A1A1A"/>
                          </a:solidFill>
                          <a:effectLst/>
                          <a:uLnTx/>
                          <a:uFillTx/>
                          <a:latin typeface="+mn-lt"/>
                        </a:rPr>
                        <a:t>Developer</a:t>
                      </a:r>
                      <a:r>
                        <a:rPr lang="en-US" sz="900" b="0" i="0" u="none" strike="noStrike" kern="1200" cap="none" spc="0" normalizeH="0" baseline="0" noProof="0">
                          <a:ln>
                            <a:noFill/>
                          </a:ln>
                          <a:solidFill>
                            <a:srgbClr val="1A1A1A"/>
                          </a:solidFill>
                          <a:effectLst/>
                          <a:uLnTx/>
                          <a:uFillTx/>
                          <a:latin typeface="+mn-lt"/>
                        </a:rPr>
                        <a:t>: </a:t>
                      </a:r>
                      <a:r>
                        <a:rPr lang="en-US" sz="900" b="0" i="0" u="sng" strike="noStrike" kern="1200" cap="none" spc="0" normalizeH="0" baseline="0" noProof="0">
                          <a:ln>
                            <a:noFill/>
                          </a:ln>
                          <a:solidFill>
                            <a:srgbClr val="1A1A1A"/>
                          </a:solidFill>
                          <a:effectLst/>
                          <a:uLnTx/>
                          <a:uFillTx/>
                          <a:latin typeface="+mn-lt"/>
                        </a:rPr>
                        <a:t>GitHub</a:t>
                      </a:r>
                      <a:endParaRPr lang="en-US" sz="900" b="0" i="0" u="none" strike="noStrike" kern="1200" cap="none" spc="0" normalizeH="0" baseline="0" noProof="0">
                        <a:ln>
                          <a:noFill/>
                        </a:ln>
                        <a:solidFill>
                          <a:srgbClr val="1A1A1A"/>
                        </a:solidFill>
                        <a:effectLst/>
                        <a:uLnTx/>
                        <a:uFillTx/>
                        <a:latin typeface="+mn-lt"/>
                      </a:endParaRP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Apps</a:t>
                      </a:r>
                      <a:r>
                        <a:rPr lang="en-US" sz="900" b="0" i="0" u="none" strike="noStrike" kern="1200" cap="none" spc="0" normalizeH="0" baseline="0" noProof="0">
                          <a:ln>
                            <a:noFill/>
                          </a:ln>
                          <a:solidFill>
                            <a:srgbClr val="1A1A1A"/>
                          </a:solidFill>
                          <a:effectLst/>
                          <a:uLnTx/>
                          <a:uFillTx/>
                          <a:latin typeface="+mn-lt"/>
                        </a:rPr>
                        <a:t>: </a:t>
                      </a:r>
                      <a:r>
                        <a:rPr lang="en-US" sz="900" b="0" i="0" u="sng" strike="noStrike" kern="1200" cap="none" spc="0" normalizeH="0" baseline="0" noProof="0">
                          <a:ln>
                            <a:noFill/>
                          </a:ln>
                          <a:solidFill>
                            <a:srgbClr val="1A1A1A"/>
                          </a:solidFill>
                          <a:effectLst/>
                          <a:uLnTx/>
                          <a:uFillTx/>
                          <a:latin typeface="+mn-lt"/>
                        </a:rPr>
                        <a:t>AKS</a:t>
                      </a:r>
                      <a:r>
                        <a:rPr lang="en-US" sz="900" b="0" i="0" u="none" strike="noStrike" kern="1200" cap="none" spc="0" normalizeH="0" baseline="0" noProof="0">
                          <a:ln>
                            <a:noFill/>
                          </a:ln>
                          <a:solidFill>
                            <a:srgbClr val="1A1A1A"/>
                          </a:solidFill>
                          <a:effectLst/>
                          <a:uLnTx/>
                          <a:uFillTx/>
                          <a:latin typeface="+mn-lt"/>
                        </a:rPr>
                        <a:t>, App Service </a:t>
                      </a:r>
                      <a:endParaRPr lang="en-US" sz="900">
                        <a:latin typeface="+mn-lt"/>
                      </a:endParaRPr>
                    </a:p>
                    <a:p>
                      <a:pPr marL="228600" lvl="0" indent="-228600" algn="l">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Data</a:t>
                      </a:r>
                      <a:r>
                        <a:rPr lang="en-US" sz="900" b="0" i="0" u="none" strike="noStrike" kern="1200" cap="none" spc="0" normalizeH="0" baseline="0" noProof="0">
                          <a:ln>
                            <a:noFill/>
                          </a:ln>
                          <a:solidFill>
                            <a:srgbClr val="1A1A1A"/>
                          </a:solidFill>
                          <a:effectLst/>
                          <a:uLnTx/>
                          <a:uFillTx/>
                          <a:latin typeface="+mn-lt"/>
                        </a:rPr>
                        <a:t>: </a:t>
                      </a:r>
                      <a:r>
                        <a:rPr lang="en-US" sz="900" b="0" i="0" u="sng" strike="noStrike" kern="1200" cap="none" spc="0" normalizeH="0" baseline="0" noProof="0">
                          <a:ln>
                            <a:noFill/>
                          </a:ln>
                          <a:solidFill>
                            <a:srgbClr val="1A1A1A"/>
                          </a:solidFill>
                          <a:effectLst/>
                          <a:uLnTx/>
                          <a:uFillTx/>
                          <a:latin typeface="+mn-lt"/>
                        </a:rPr>
                        <a:t>Azure Cosmos DB</a:t>
                      </a:r>
                      <a:r>
                        <a:rPr lang="en-US" sz="900" b="0" i="0" u="none" strike="noStrike" kern="1200" cap="none" spc="0" normalizeH="0" baseline="0" noProof="0">
                          <a:ln>
                            <a:noFill/>
                          </a:ln>
                          <a:solidFill>
                            <a:srgbClr val="1A1A1A"/>
                          </a:solidFill>
                          <a:effectLst/>
                          <a:uLnTx/>
                          <a:uFillTx/>
                          <a:latin typeface="+mn-lt"/>
                        </a:rPr>
                        <a:t>, Azure SQL Databases, </a:t>
                      </a:r>
                      <a:r>
                        <a:rPr kumimoji="0" lang="en-US" sz="900" b="0" i="0" u="none" strike="noStrike" kern="1200" cap="none" spc="0" normalizeH="0" baseline="0" noProof="0">
                          <a:ln>
                            <a:noFill/>
                          </a:ln>
                          <a:solidFill>
                            <a:srgbClr val="1A1A1A"/>
                          </a:solidFill>
                          <a:effectLst/>
                          <a:uLnTx/>
                          <a:uFillTx/>
                          <a:latin typeface="+mn-lt"/>
                          <a:ea typeface="+mn-ea"/>
                          <a:cs typeface="Segoe UI"/>
                        </a:rPr>
                        <a:t>Azure Database for PostgreSQL</a:t>
                      </a:r>
                      <a:r>
                        <a:rPr lang="en-US" sz="900" b="0" i="0" u="none" strike="noStrike" kern="1200" cap="none" spc="0" normalizeH="0" baseline="0" noProof="0">
                          <a:ln>
                            <a:noFill/>
                          </a:ln>
                          <a:solidFill>
                            <a:srgbClr val="1A1A1A"/>
                          </a:solidFill>
                          <a:effectLst/>
                          <a:uLnTx/>
                          <a:uFillTx/>
                          <a:latin typeface="+mn-lt"/>
                        </a:rPr>
                        <a:t>   </a:t>
                      </a:r>
                      <a:endParaRPr lang="en-US" sz="900">
                        <a:latin typeface="+mn-lt"/>
                      </a:endParaRPr>
                    </a:p>
                    <a:p>
                      <a:pPr marL="228600" marR="0" lvl="0" indent="-22860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i="0">
                          <a:solidFill>
                            <a:schemeClr val="tx1"/>
                          </a:solidFill>
                          <a:latin typeface="+mn-lt"/>
                        </a:rPr>
                        <a:t>Integration Services</a:t>
                      </a:r>
                      <a:r>
                        <a:rPr lang="en-US" sz="900" b="0" i="0">
                          <a:solidFill>
                            <a:schemeClr val="tx1"/>
                          </a:solidFill>
                          <a:latin typeface="+mn-lt"/>
                        </a:rPr>
                        <a:t>: </a:t>
                      </a:r>
                      <a:r>
                        <a:rPr lang="en-US" sz="900" b="0" i="0" u="sng">
                          <a:solidFill>
                            <a:schemeClr val="tx1"/>
                          </a:solidFill>
                          <a:latin typeface="+mn-lt"/>
                        </a:rPr>
                        <a:t>APIM</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rowSpan="4">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900" b="1"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pp Platform</a:t>
                      </a:r>
                      <a:r>
                        <a:rPr kumimoji="0" lang="en-US" sz="9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 Azure Container Apps, Azure Function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900" b="1"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a:t>
                      </a:r>
                      <a:r>
                        <a:rPr kumimoji="0" lang="en-US" sz="9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 Microsoft Fabric</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lang="en-US" sz="900" b="1" i="0">
                          <a:solidFill>
                            <a:schemeClr val="tx1"/>
                          </a:solidFill>
                          <a:latin typeface="+mn-lt"/>
                        </a:rPr>
                        <a:t>Integration Services</a:t>
                      </a:r>
                      <a:r>
                        <a:rPr lang="en-US" sz="900" b="0" i="0">
                          <a:solidFill>
                            <a:schemeClr val="tx1"/>
                          </a:solidFill>
                          <a:latin typeface="+mn-lt"/>
                        </a:rPr>
                        <a:t>: Azure Managed Redi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900" b="1"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eveloper</a:t>
                      </a:r>
                      <a:r>
                        <a:rPr kumimoji="0" lang="en-US" sz="9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 Azure DevOps, Copilot Studio</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tab pos="2005013" algn="l"/>
                        </a:tabLst>
                        <a:defRPr/>
                      </a:pPr>
                      <a:r>
                        <a:rPr kumimoji="0" lang="en-US" sz="900" b="1"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Security</a:t>
                      </a:r>
                      <a:r>
                        <a:rPr kumimoji="0" lang="en-US" sz="9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 Microsoft Defender for Cloud</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5839753"/>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i="0" kern="1200">
                          <a:solidFill>
                            <a:schemeClr val="bg2">
                              <a:lumMod val="10000"/>
                            </a:schemeClr>
                          </a:solidFill>
                          <a:latin typeface="+mn-lt"/>
                          <a:ea typeface="+mn-ea"/>
                          <a:cs typeface="Segoe UI"/>
                        </a:rPr>
                        <a:t>Win the AI and Agentic AI platform decisions with Azure AI Foundry</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AI</a:t>
                      </a:r>
                      <a:r>
                        <a:rPr lang="en-US" sz="900" b="0" i="0" u="none" strike="noStrike" kern="1200" cap="none" spc="0" normalizeH="0" baseline="0" noProof="0">
                          <a:ln>
                            <a:noFill/>
                          </a:ln>
                          <a:solidFill>
                            <a:srgbClr val="1A1A1A"/>
                          </a:solidFill>
                          <a:effectLst/>
                          <a:uLnTx/>
                          <a:uFillTx/>
                          <a:latin typeface="+mn-lt"/>
                        </a:rPr>
                        <a:t>: Azure AI Foundry </a:t>
                      </a: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Developer</a:t>
                      </a:r>
                      <a:r>
                        <a:rPr lang="en-US" sz="900" b="0" i="0" u="none" strike="noStrike" kern="1200" cap="none" spc="0" normalizeH="0" baseline="0" noProof="0">
                          <a:ln>
                            <a:noFill/>
                          </a:ln>
                          <a:solidFill>
                            <a:srgbClr val="1A1A1A"/>
                          </a:solidFill>
                          <a:effectLst/>
                          <a:uLnTx/>
                          <a:uFillTx/>
                          <a:latin typeface="+mn-lt"/>
                        </a:rPr>
                        <a:t>: GitHub Copilot</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sz="9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537379"/>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i="0" kern="1200">
                          <a:solidFill>
                            <a:schemeClr val="bg2">
                              <a:lumMod val="10000"/>
                            </a:schemeClr>
                          </a:solidFill>
                          <a:latin typeface="+mn-lt"/>
                          <a:ea typeface="+mn-ea"/>
                          <a:cs typeface="Segoe UI"/>
                        </a:rPr>
                        <a:t>Win developers with GitHub and drive them to Azure</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171450" marR="0" lvl="0" indent="-171450" algn="l" defTabSz="7724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i="0" u="none" strike="noStrike" kern="1200" cap="none" spc="0" normalizeH="0" baseline="0" noProof="0">
                          <a:ln>
                            <a:noFill/>
                          </a:ln>
                          <a:solidFill>
                            <a:srgbClr val="1A1A1A"/>
                          </a:solidFill>
                          <a:effectLst/>
                          <a:uLnTx/>
                          <a:uFillTx/>
                          <a:latin typeface="+mn-lt"/>
                        </a:rPr>
                        <a:t>Developer</a:t>
                      </a:r>
                      <a:r>
                        <a:rPr lang="en-US" sz="900" b="0" i="0" u="none" strike="noStrike" kern="1200" cap="none" spc="0" normalizeH="0" baseline="0" noProof="0">
                          <a:ln>
                            <a:noFill/>
                          </a:ln>
                          <a:solidFill>
                            <a:srgbClr val="1A1A1A"/>
                          </a:solidFill>
                          <a:effectLst/>
                          <a:uLnTx/>
                          <a:uFillTx/>
                          <a:latin typeface="+mn-lt"/>
                        </a:rPr>
                        <a:t>: GitHub  </a:t>
                      </a:r>
                      <a:endParaRPr kumimoji="0" lang="en-US" sz="900">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sz="9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7588049"/>
                  </a:ext>
                </a:extLst>
              </a:tr>
              <a:tr h="420690">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rgbClr val="44546A"/>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005013" algn="l"/>
                        </a:tabLst>
                        <a:defRPr/>
                      </a:pPr>
                      <a:r>
                        <a:rPr lang="en-US" sz="900" b="1" i="0" kern="1200">
                          <a:solidFill>
                            <a:schemeClr val="bg2">
                              <a:lumMod val="10000"/>
                            </a:schemeClr>
                          </a:solidFill>
                          <a:latin typeface="+mn-lt"/>
                          <a:ea typeface="+mn-ea"/>
                          <a:cs typeface="Segoe UI"/>
                        </a:rPr>
                        <a:t>Targeted pursuit of custom model and inferencing workloads with Foundry models and N-Series VMs</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AI</a:t>
                      </a:r>
                      <a:r>
                        <a:rPr lang="en-US" sz="900" b="0" i="0" u="none" strike="noStrike" kern="1200" cap="none" spc="0" normalizeH="0" baseline="0" noProof="0">
                          <a:ln>
                            <a:noFill/>
                          </a:ln>
                          <a:solidFill>
                            <a:srgbClr val="1A1A1A"/>
                          </a:solidFill>
                          <a:effectLst/>
                          <a:uLnTx/>
                          <a:uFillTx/>
                          <a:latin typeface="+mn-lt"/>
                        </a:rPr>
                        <a:t>: Azure AI Foundry, AI Infra (N-Series VMs)</a:t>
                      </a:r>
                    </a:p>
                    <a:p>
                      <a:pPr marL="228600" marR="0" lvl="0" indent="-228600" algn="l">
                        <a:lnSpc>
                          <a:spcPct val="100000"/>
                        </a:lnSpc>
                        <a:spcBef>
                          <a:spcPts val="0"/>
                        </a:spcBef>
                        <a:spcAft>
                          <a:spcPts val="0"/>
                        </a:spcAft>
                        <a:buClrTx/>
                        <a:buSzTx/>
                        <a:buFont typeface="Arial" panose="020B0604020202020204" pitchFamily="34" charset="0"/>
                        <a:buChar char="•"/>
                      </a:pPr>
                      <a:r>
                        <a:rPr lang="en-US" sz="900" b="1" i="0" u="none" strike="noStrike" kern="1200" cap="none" spc="0" normalizeH="0" baseline="0" noProof="0">
                          <a:ln>
                            <a:noFill/>
                          </a:ln>
                          <a:solidFill>
                            <a:srgbClr val="1A1A1A"/>
                          </a:solidFill>
                          <a:effectLst/>
                          <a:uLnTx/>
                          <a:uFillTx/>
                          <a:latin typeface="+mn-lt"/>
                        </a:rPr>
                        <a:t>Apps</a:t>
                      </a:r>
                      <a:r>
                        <a:rPr lang="en-US" sz="900" b="0" i="0" u="none" strike="noStrike" kern="1200" cap="none" spc="0" normalizeH="0" baseline="0" noProof="0">
                          <a:ln>
                            <a:noFill/>
                          </a:ln>
                          <a:solidFill>
                            <a:srgbClr val="1A1A1A"/>
                          </a:solidFill>
                          <a:effectLst/>
                          <a:uLnTx/>
                          <a:uFillTx/>
                          <a:latin typeface="+mn-lt"/>
                        </a:rPr>
                        <a:t>: AKS</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pPr marL="0" marR="0" lvl="0" indent="0" algn="l" defTabSz="772442" rtl="0" eaLnBrk="1" fontAlgn="auto" latinLnBrk="0" hangingPunct="1">
                        <a:lnSpc>
                          <a:spcPct val="100000"/>
                        </a:lnSpc>
                        <a:spcBef>
                          <a:spcPts val="0"/>
                        </a:spcBef>
                        <a:spcAft>
                          <a:spcPts val="0"/>
                        </a:spcAft>
                        <a:buClrTx/>
                        <a:buSzTx/>
                        <a:buFontTx/>
                        <a:buNone/>
                        <a:tabLst/>
                        <a:defRPr/>
                      </a:pPr>
                      <a:endParaRPr lang="en-US" sz="900" b="0" i="0">
                        <a:solidFill>
                          <a:schemeClr val="tx1"/>
                        </a:solidFill>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484625"/>
                  </a:ext>
                </a:extLst>
              </a:tr>
              <a:tr h="305956">
                <a:tc rowSpan="4">
                  <a:txBody>
                    <a:bodyPr/>
                    <a:lstStyle/>
                    <a:p>
                      <a:pPr marL="0" marR="0" lvl="0" indent="0" algn="ctr" defTabSz="7724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bg1"/>
                          </a:solidFill>
                          <a:effectLst/>
                          <a:uLnTx/>
                          <a:uFillTx/>
                          <a:latin typeface="+mj-lt"/>
                          <a:ea typeface="+mn-ea"/>
                          <a:cs typeface="Segoe UI"/>
                        </a:rPr>
                        <a:t>UNIFY YOUR DATA PLATFORM</a:t>
                      </a:r>
                    </a:p>
                  </a:txBody>
                  <a:tcPr marL="45720" marR="45720" marT="27432" marB="27432"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a:lnSpc>
                          <a:spcPct val="100000"/>
                        </a:lnSpc>
                        <a:spcBef>
                          <a:spcPts val="0"/>
                        </a:spcBef>
                        <a:spcAft>
                          <a:spcPts val="0"/>
                        </a:spcAft>
                        <a:buClr>
                          <a:srgbClr val="000000"/>
                        </a:buClr>
                        <a:buSzTx/>
                        <a:buFont typeface="+mj-lt"/>
                        <a:buNone/>
                      </a:pPr>
                      <a:r>
                        <a:rPr lang="en-US" sz="900" b="1" i="0" u="none" strike="noStrike" kern="1200" noProof="0">
                          <a:solidFill>
                            <a:srgbClr val="000000"/>
                          </a:solidFill>
                          <a:latin typeface="+mn-lt"/>
                        </a:rPr>
                        <a:t>Establish Fabric as the Data Foundation for AI Transformations</a:t>
                      </a:r>
                      <a:endParaRPr lang="en-US" sz="900" b="1">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ea typeface="+mn-ea"/>
                          <a:cs typeface="Segoe UI"/>
                        </a:rPr>
                        <a:t>Microsoft Fabric (incl. Power BI)</a:t>
                      </a: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rPr>
                        <a:t>Microsoft Purview</a:t>
                      </a:r>
                      <a:endParaRPr kumimoji="0" lang="en-US" sz="900" b="0" i="0" u="none" strike="noStrike" kern="1200" cap="none" spc="0" normalizeH="0" baseline="0" noProof="0">
                        <a:ln>
                          <a:noFill/>
                        </a:ln>
                        <a:solidFill>
                          <a:srgbClr val="1A1A1A"/>
                        </a:solidFill>
                        <a:effectLst/>
                        <a:uLnTx/>
                        <a:uFillTx/>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rowSpan="4">
                  <a:txBody>
                    <a:bodyPr/>
                    <a:lstStyle/>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noProof="0">
                          <a:solidFill>
                            <a:srgbClr val="1A1A1A"/>
                          </a:solidFill>
                          <a:effectLst/>
                          <a:latin typeface="+mn-lt"/>
                        </a:rPr>
                        <a:t>Oracle </a:t>
                      </a:r>
                      <a:r>
                        <a:rPr lang="en-US" sz="900" b="0" i="0" u="none" strike="noStrike" kern="1200" noProof="0" err="1">
                          <a:solidFill>
                            <a:srgbClr val="1A1A1A"/>
                          </a:solidFill>
                          <a:effectLst/>
                          <a:latin typeface="+mn-lt"/>
                        </a:rPr>
                        <a:t>Database@Azure</a:t>
                      </a:r>
                      <a:endParaRPr lang="en-US" sz="900" b="0" i="0" u="none" strike="noStrike" kern="1200" noProof="0">
                        <a:solidFill>
                          <a:srgbClr val="1A1A1A"/>
                        </a:solidFill>
                        <a:effectLst/>
                        <a:latin typeface="+mn-lt"/>
                      </a:endParaRPr>
                    </a:p>
                    <a:p>
                      <a:pPr marL="171450" marR="0" lvl="0" indent="-171450" algn="l" defTabSz="932742"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1A1A1A"/>
                          </a:solidFill>
                          <a:effectLst/>
                          <a:uLnTx/>
                          <a:uFillTx/>
                          <a:latin typeface="+mn-lt"/>
                          <a:ea typeface="+mn-ea"/>
                          <a:cs typeface="+mn-cs"/>
                        </a:rPr>
                        <a:t>SAP on Azure</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4908807"/>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a:lnSpc>
                          <a:spcPct val="100000"/>
                        </a:lnSpc>
                        <a:spcBef>
                          <a:spcPts val="0"/>
                        </a:spcBef>
                        <a:spcAft>
                          <a:spcPts val="0"/>
                        </a:spcAft>
                        <a:buClr>
                          <a:srgbClr val="000000"/>
                        </a:buClr>
                        <a:buSzTx/>
                        <a:buFont typeface="+mj-lt"/>
                        <a:buNone/>
                      </a:pPr>
                      <a:r>
                        <a:rPr lang="en-US" sz="900" b="1" i="0" u="none" strike="noStrike" kern="1200" noProof="0">
                          <a:solidFill>
                            <a:srgbClr val="000000"/>
                          </a:solidFill>
                          <a:latin typeface="+mn-lt"/>
                        </a:rPr>
                        <a:t>Accelerate Azure Databricks growth through joint sales and marketing initiatives</a:t>
                      </a:r>
                      <a:endParaRPr lang="en-US" sz="900" b="1">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ea typeface="+mn-ea"/>
                          <a:cs typeface="Segoe UI"/>
                        </a:rPr>
                        <a:t>Azure Databricks</a:t>
                      </a: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ea typeface="+mn-ea"/>
                          <a:cs typeface="Segoe UI"/>
                        </a:rPr>
                        <a:t>Microsoft Purview </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5400558"/>
                  </a:ext>
                </a:extLst>
              </a:tr>
              <a:tr h="305956">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772442" rtl="0" eaLnBrk="1" fontAlgn="auto" latinLnBrk="0" hangingPunct="1">
                        <a:lnSpc>
                          <a:spcPct val="100000"/>
                        </a:lnSpc>
                        <a:spcBef>
                          <a:spcPts val="0"/>
                        </a:spcBef>
                        <a:spcAft>
                          <a:spcPts val="0"/>
                        </a:spcAft>
                        <a:buClrTx/>
                        <a:buSzTx/>
                        <a:buFont typeface="+mj-lt"/>
                        <a:buNone/>
                        <a:tabLst/>
                        <a:defRPr/>
                      </a:pPr>
                      <a:r>
                        <a:rPr lang="en-US" sz="900" b="1" i="0" u="none" strike="noStrike" kern="1200" noProof="0">
                          <a:solidFill>
                            <a:srgbClr val="000000"/>
                          </a:solidFill>
                          <a:latin typeface="+mn-lt"/>
                        </a:rPr>
                        <a:t>Modernize all legacy BI and Analytics Platforms</a:t>
                      </a:r>
                      <a:endParaRPr kumimoji="0" lang="en-US" sz="900" b="1" i="0" u="none" strike="noStrike" kern="1200" cap="none" spc="0" normalizeH="0" baseline="0" noProof="0">
                        <a:ln>
                          <a:noFill/>
                        </a:ln>
                        <a:solidFill>
                          <a:srgbClr val="1A1A1A"/>
                        </a:solidFill>
                        <a:effectLst/>
                        <a:uLnTx/>
                        <a:uFillTx/>
                        <a:latin typeface="+mn-lt"/>
                        <a:ea typeface="+mn-ea"/>
                        <a:cs typeface="Segoe UI"/>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ea typeface="+mn-ea"/>
                          <a:cs typeface="+mn-cs"/>
                        </a:rPr>
                        <a:t>Microsoft Fabric</a:t>
                      </a:r>
                    </a:p>
                    <a:p>
                      <a:pPr marL="228600" marR="0" lvl="0" indent="-22860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ea typeface="+mn-ea"/>
                          <a:cs typeface="+mn-cs"/>
                        </a:rPr>
                        <a:t>Azure Databricks</a:t>
                      </a:r>
                      <a:r>
                        <a:rPr lang="en-US" sz="900" b="0" i="0" u="none" strike="noStrike" kern="1200" cap="none" spc="0" normalizeH="0" baseline="0" noProof="0">
                          <a:ln>
                            <a:noFill/>
                          </a:ln>
                          <a:solidFill>
                            <a:srgbClr val="1A1A1A"/>
                          </a:solidFill>
                          <a:effectLst/>
                          <a:uLnTx/>
                          <a:uFillTx/>
                          <a:latin typeface="+mn-lt"/>
                          <a:ea typeface="+mn-ea"/>
                          <a:cs typeface="Segoe UI"/>
                        </a:rPr>
                        <a:t> </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9102333"/>
                  </a:ext>
                </a:extLst>
              </a:tr>
              <a:tr h="420690">
                <a:tc vMerge="1">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kumimoji="0" lang="en-US" sz="1400" b="0" i="0" u="none" strike="noStrike" kern="1200" cap="none" spc="0" normalizeH="0" baseline="0" noProof="0">
                        <a:ln>
                          <a:noFill/>
                        </a:ln>
                        <a:solidFill>
                          <a:schemeClr val="bg1"/>
                        </a:solidFill>
                        <a:effectLst/>
                        <a:uLnTx/>
                        <a:uFillTx/>
                        <a:latin typeface="+mj-lt"/>
                        <a:ea typeface="+mn-ea"/>
                        <a:cs typeface="Segoe U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mj-lt"/>
                        <a:buNone/>
                      </a:pPr>
                      <a:r>
                        <a:rPr lang="en-US" sz="900" b="1" i="0" u="none" strike="noStrike" kern="1200" noProof="0">
                          <a:solidFill>
                            <a:srgbClr val="000000"/>
                          </a:solidFill>
                          <a:latin typeface="+mn-lt"/>
                        </a:rPr>
                        <a:t>Win the end-to-end database estate to Azure</a:t>
                      </a:r>
                      <a:endParaRPr lang="en-US" sz="900" b="1">
                        <a:latin typeface="+mn-lt"/>
                      </a:endParaRP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228600" marR="0" lvl="0" indent="-22860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a:solidFill>
                            <a:schemeClr val="tx1"/>
                          </a:solidFill>
                          <a:latin typeface="+mn-lt"/>
                        </a:rPr>
                        <a:t>Azure SQL</a:t>
                      </a:r>
                    </a:p>
                    <a:p>
                      <a:pPr marL="228600" marR="0" lvl="0" indent="-22860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a:solidFill>
                            <a:schemeClr val="tx1"/>
                          </a:solidFill>
                          <a:latin typeface="+mn-lt"/>
                        </a:rPr>
                        <a:t>Azure PostgreSQL</a:t>
                      </a:r>
                    </a:p>
                    <a:p>
                      <a:pPr marL="228600" marR="0" lvl="0" indent="-22860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900" b="0" i="0">
                          <a:solidFill>
                            <a:schemeClr val="tx1"/>
                          </a:solidFill>
                          <a:latin typeface="+mn-lt"/>
                        </a:rPr>
                        <a:t>Azure CosmosDB</a:t>
                      </a:r>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a:solidFill>
                            <a:schemeClr val="tx1"/>
                          </a:solidFill>
                          <a:latin typeface="+mn-lt"/>
                        </a:rPr>
                        <a:t>Azure MySQL</a:t>
                      </a:r>
                    </a:p>
                    <a:p>
                      <a:pPr marL="171450" marR="0" lvl="0" indent="-171450" algn="l" rtl="0" eaLnBrk="1" fontAlgn="t"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cap="none" spc="0" normalizeH="0" baseline="0" noProof="0">
                          <a:ln>
                            <a:noFill/>
                          </a:ln>
                          <a:solidFill>
                            <a:srgbClr val="1A1A1A"/>
                          </a:solidFill>
                          <a:effectLst/>
                          <a:uLnTx/>
                          <a:uFillTx/>
                          <a:latin typeface="+mn-lt"/>
                        </a:rPr>
                        <a:t>Microsoft Purview</a:t>
                      </a:r>
                      <a:endParaRPr lang="en-US"/>
                    </a:p>
                  </a:txBody>
                  <a:tcPr marL="45720" marR="45720"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61739387"/>
                  </a:ext>
                </a:extLst>
              </a:tr>
            </a:tbl>
          </a:graphicData>
        </a:graphic>
      </p:graphicFrame>
      <p:sp>
        <p:nvSpPr>
          <p:cNvPr id="33" name="TextBox 32">
            <a:extLst>
              <a:ext uri="{FF2B5EF4-FFF2-40B4-BE49-F238E27FC236}">
                <a16:creationId xmlns:a16="http://schemas.microsoft.com/office/drawing/2014/main" id="{6E6D8A85-9439-DD49-3EF7-502D5894D8EF}"/>
              </a:ext>
            </a:extLst>
          </p:cNvPr>
          <p:cNvSpPr txBox="1"/>
          <p:nvPr/>
        </p:nvSpPr>
        <p:spPr>
          <a:xfrm>
            <a:off x="5835362" y="831706"/>
            <a:ext cx="4358565" cy="246221"/>
          </a:xfrm>
          <a:prstGeom prst="rect">
            <a:avLst/>
          </a:prstGeom>
          <a:noFill/>
        </p:spPr>
        <p:txBody>
          <a:bodyPr wrap="none" lIns="0" tIns="0" rIns="0" bIns="0" rtlCol="0">
            <a:spAutoFit/>
          </a:bodyPr>
          <a:lstStyle/>
          <a:p>
            <a:pPr algn="l"/>
            <a:r>
              <a:rPr lang="en-US" sz="800">
                <a:gradFill>
                  <a:gsLst>
                    <a:gs pos="2917">
                      <a:schemeClr val="tx1"/>
                    </a:gs>
                    <a:gs pos="30000">
                      <a:schemeClr val="tx1"/>
                    </a:gs>
                  </a:gsLst>
                  <a:lin ang="5400000" scaled="0"/>
                </a:gradFill>
              </a:rPr>
              <a:t>(*) Azure AI Foundry encapsulates AI Services, AOAI, Azure ML</a:t>
            </a:r>
          </a:p>
          <a:p>
            <a:pPr algn="l"/>
            <a:r>
              <a:rPr lang="en-US" sz="800">
                <a:gradFill>
                  <a:gsLst>
                    <a:gs pos="2917">
                      <a:schemeClr val="tx1"/>
                    </a:gs>
                    <a:gs pos="30000">
                      <a:schemeClr val="tx1"/>
                    </a:gs>
                  </a:gsLst>
                  <a:lin ang="5400000" scaled="0"/>
                </a:gradFill>
              </a:rPr>
              <a:t>(**) GitHub includes all the components: Copilot, Enterprise, Adv Security, Actions, </a:t>
            </a:r>
            <a:r>
              <a:rPr lang="en-US" sz="800" err="1">
                <a:gradFill>
                  <a:gsLst>
                    <a:gs pos="2917">
                      <a:schemeClr val="tx1"/>
                    </a:gs>
                    <a:gs pos="30000">
                      <a:schemeClr val="tx1"/>
                    </a:gs>
                  </a:gsLst>
                  <a:lin ang="5400000" scaled="0"/>
                </a:gradFill>
              </a:rPr>
              <a:t>Codespaces</a:t>
            </a:r>
            <a:r>
              <a:rPr lang="en-US" sz="80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105847857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0DF27-D3E5-DA56-B85A-09226F0E26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A3D9CC-DBD4-08EA-E5F2-1AA9233A3067}"/>
              </a:ext>
            </a:extLst>
          </p:cNvPr>
          <p:cNvSpPr>
            <a:spLocks noGrp="1"/>
          </p:cNvSpPr>
          <p:nvPr>
            <p:ph type="title"/>
          </p:nvPr>
        </p:nvSpPr>
        <p:spPr>
          <a:xfrm>
            <a:off x="588263" y="457200"/>
            <a:ext cx="11018520" cy="430887"/>
          </a:xfrm>
        </p:spPr>
        <p:txBody>
          <a:bodyPr/>
          <a:lstStyle/>
          <a:p>
            <a:r>
              <a:rPr lang="it-IT" sz="2800"/>
              <a:t>FY26 J2 Cloud + AI Guidance </a:t>
            </a:r>
          </a:p>
        </p:txBody>
      </p:sp>
      <p:sp>
        <p:nvSpPr>
          <p:cNvPr id="14" name="Text Placeholder 1">
            <a:extLst>
              <a:ext uri="{FF2B5EF4-FFF2-40B4-BE49-F238E27FC236}">
                <a16:creationId xmlns:a16="http://schemas.microsoft.com/office/drawing/2014/main" id="{E9C1318E-14DB-4274-A8FD-3B4408E5C9BE}"/>
              </a:ext>
            </a:extLst>
          </p:cNvPr>
          <p:cNvSpPr>
            <a:spLocks noGrp="1"/>
          </p:cNvSpPr>
          <p:nvPr>
            <p:ph type="body" sz="quarter" idx="10"/>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Segoe UI" pitchFamily="34" charset="0"/>
                <a:cs typeface="Segoe Sans Text Semibold" pitchFamily="2" charset="0"/>
              </a:rPr>
              <a:t>MIGRATE &amp; MODERNIZE</a:t>
            </a:r>
          </a:p>
        </p:txBody>
      </p:sp>
      <p:sp>
        <p:nvSpPr>
          <p:cNvPr id="15" name="Text Placeholder 2">
            <a:extLst>
              <a:ext uri="{FF2B5EF4-FFF2-40B4-BE49-F238E27FC236}">
                <a16:creationId xmlns:a16="http://schemas.microsoft.com/office/drawing/2014/main" id="{9802D4F7-30BD-796F-9D0E-1C9A1CAD8C2A}"/>
              </a:ext>
            </a:extLst>
          </p:cNvPr>
          <p:cNvSpPr>
            <a:spLocks noGrp="1"/>
          </p:cNvSpPr>
          <p:nvPr>
            <p:ph type="body" sz="quarter" idx="1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a:latin typeface="+mj-lt"/>
              </a:rPr>
              <a:t>INNOVATE AI APPS &amp; AGENTS</a:t>
            </a:r>
          </a:p>
        </p:txBody>
      </p:sp>
      <p:sp>
        <p:nvSpPr>
          <p:cNvPr id="16" name="Text Placeholder 4">
            <a:extLst>
              <a:ext uri="{FF2B5EF4-FFF2-40B4-BE49-F238E27FC236}">
                <a16:creationId xmlns:a16="http://schemas.microsoft.com/office/drawing/2014/main" id="{092F0604-7B26-91C3-946D-F5F0E0D15882}"/>
              </a:ext>
            </a:extLst>
          </p:cNvPr>
          <p:cNvSpPr>
            <a:spLocks noGrp="1"/>
          </p:cNvSpPr>
          <p:nvPr>
            <p:ph type="body" sz="quarter" idx="12"/>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Segoe UI" pitchFamily="34" charset="0"/>
                <a:cs typeface="Segoe Sans Text Semibold" pitchFamily="2" charset="0"/>
              </a:rPr>
              <a:t>UNIFY YOUR DATA</a:t>
            </a:r>
          </a:p>
        </p:txBody>
      </p:sp>
      <p:sp>
        <p:nvSpPr>
          <p:cNvPr id="17" name="Text Placeholder 5">
            <a:extLst>
              <a:ext uri="{FF2B5EF4-FFF2-40B4-BE49-F238E27FC236}">
                <a16:creationId xmlns:a16="http://schemas.microsoft.com/office/drawing/2014/main" id="{0D053B2D-9117-F4DB-240F-A6ED6E057234}"/>
              </a:ext>
            </a:extLst>
          </p:cNvPr>
          <p:cNvSpPr>
            <a:spLocks noGrp="1"/>
          </p:cNvSpPr>
          <p:nvPr>
            <p:ph type="body" sz="quarter" idx="13"/>
          </p:nvPr>
        </p:nvSpPr>
        <p:spPr/>
        <p:txBody>
          <a:bodyPr/>
          <a:lstStyle/>
          <a:p>
            <a:r>
              <a:rPr lang="en-US" b="1"/>
              <a:t>Job 2 for Migrate &amp; Modernize</a:t>
            </a:r>
            <a:r>
              <a:rPr lang="en-US"/>
              <a:t> is a motion to uncover adjacent opportunities after initial delivery. It includes </a:t>
            </a:r>
            <a:r>
              <a:rPr lang="en-US" b="1"/>
              <a:t>Next Migration</a:t>
            </a:r>
            <a:r>
              <a:rPr lang="en-US"/>
              <a:t> for Infra, data and apps portfolio, </a:t>
            </a:r>
            <a:r>
              <a:rPr lang="en-US" b="1"/>
              <a:t>Security &amp; Resiliency</a:t>
            </a:r>
            <a:r>
              <a:rPr lang="en-US"/>
              <a:t> to protect and harden workloads, and </a:t>
            </a:r>
            <a:r>
              <a:rPr lang="en-US" b="1"/>
              <a:t>Modernize &amp; Innovate</a:t>
            </a:r>
            <a:r>
              <a:rPr lang="en-US"/>
              <a:t> to upgrade apps for agility, AI, and long-term customer value.</a:t>
            </a:r>
          </a:p>
        </p:txBody>
      </p:sp>
      <p:sp>
        <p:nvSpPr>
          <p:cNvPr id="18" name="Text Placeholder 7">
            <a:extLst>
              <a:ext uri="{FF2B5EF4-FFF2-40B4-BE49-F238E27FC236}">
                <a16:creationId xmlns:a16="http://schemas.microsoft.com/office/drawing/2014/main" id="{FC23D8D6-9951-015B-E640-64FB6C0030E6}"/>
              </a:ext>
            </a:extLst>
          </p:cNvPr>
          <p:cNvSpPr>
            <a:spLocks noGrp="1"/>
          </p:cNvSpPr>
          <p:nvPr>
            <p:ph type="body" sz="quarter" idx="15"/>
          </p:nvPr>
        </p:nvSpPr>
        <p:spPr/>
        <p:txBody>
          <a:bodyPr vert="horz" wrap="square" lIns="146304" tIns="0" rIns="146304" bIns="0" rtlCol="0" anchor="t">
            <a:noAutofit/>
          </a:bodyPr>
          <a:lstStyle/>
          <a:p>
            <a:pPr>
              <a:defRPr/>
            </a:pPr>
            <a:r>
              <a:rPr lang="en-US" b="1">
                <a:ea typeface="+mn-lt"/>
                <a:cs typeface="+mn-lt"/>
              </a:rPr>
              <a:t>Job 2 for Unify Your Data </a:t>
            </a:r>
            <a:r>
              <a:rPr lang="en-US">
                <a:ea typeface="+mn-lt"/>
                <a:cs typeface="+mn-lt"/>
              </a:rPr>
              <a:t>focuses on identifying and expanding analytics opportunities by modernizing customer data platforms. This includes Leveraging all</a:t>
            </a:r>
            <a:r>
              <a:rPr lang="en-US" b="1">
                <a:ea typeface="+mn-lt"/>
                <a:cs typeface="+mn-lt"/>
              </a:rPr>
              <a:t> Fabric workloads </a:t>
            </a:r>
            <a:r>
              <a:rPr lang="en-US">
                <a:ea typeface="+mn-lt"/>
                <a:cs typeface="+mn-lt"/>
              </a:rPr>
              <a:t>to enhance speed, quality, and availability,</a:t>
            </a:r>
            <a:endParaRPr lang="en-US"/>
          </a:p>
          <a:p>
            <a:pPr>
              <a:defRPr/>
            </a:pPr>
            <a:r>
              <a:rPr lang="en-US" b="1">
                <a:ea typeface="+mn-lt"/>
                <a:cs typeface="+mn-lt"/>
              </a:rPr>
              <a:t>Accelerating adoption of Databricks</a:t>
            </a:r>
            <a:r>
              <a:rPr lang="en-US">
                <a:ea typeface="+mn-lt"/>
                <a:cs typeface="+mn-lt"/>
              </a:rPr>
              <a:t>, unlocking the value of Fabric </a:t>
            </a:r>
            <a:r>
              <a:rPr lang="en-US" b="1">
                <a:ea typeface="+mn-lt"/>
                <a:cs typeface="+mn-lt"/>
              </a:rPr>
              <a:t>Real-Time Intelligence,</a:t>
            </a:r>
            <a:r>
              <a:rPr lang="en-US">
                <a:ea typeface="+mn-lt"/>
                <a:cs typeface="+mn-lt"/>
              </a:rPr>
              <a:t> and </a:t>
            </a:r>
            <a:r>
              <a:rPr lang="en-US" b="1">
                <a:ea typeface="+mn-lt"/>
                <a:cs typeface="+mn-lt"/>
              </a:rPr>
              <a:t>Driving non-Power BI migrations to Fabric.</a:t>
            </a:r>
            <a:endParaRPr lang="en-US" b="1"/>
          </a:p>
          <a:p>
            <a:pPr>
              <a:defRPr/>
            </a:pPr>
            <a:r>
              <a:rPr lang="en-US">
                <a:ea typeface="+mn-lt"/>
                <a:cs typeface="+mn-lt"/>
              </a:rPr>
              <a:t>The goal is to unlock business value through next-generation analytics capabilities.</a:t>
            </a:r>
          </a:p>
        </p:txBody>
      </p:sp>
      <p:sp>
        <p:nvSpPr>
          <p:cNvPr id="19" name="Text Placeholder 6">
            <a:extLst>
              <a:ext uri="{FF2B5EF4-FFF2-40B4-BE49-F238E27FC236}">
                <a16:creationId xmlns:a16="http://schemas.microsoft.com/office/drawing/2014/main" id="{F6B5BA9F-2E56-43CF-634A-6D6885AC661F}"/>
              </a:ext>
            </a:extLst>
          </p:cNvPr>
          <p:cNvSpPr>
            <a:spLocks noGrp="1"/>
          </p:cNvSpPr>
          <p:nvPr>
            <p:ph type="body" sz="quarter" idx="14"/>
          </p:nvPr>
        </p:nvSpPr>
        <p:spPr/>
        <p:txBody>
          <a:bodyPr vert="horz" wrap="square" lIns="146304" tIns="0" rIns="146304" bIns="0" rtlCol="0" anchor="t">
            <a:noAutofit/>
          </a:bodyPr>
          <a:lstStyle/>
          <a:p>
            <a:pPr>
              <a:defRPr/>
            </a:pPr>
            <a:r>
              <a:rPr kumimoji="0" lang="en-US" sz="1200" b="1" i="0" u="none" strike="noStrike" kern="1200" cap="none" spc="0" normalizeH="0" baseline="0" noProof="0">
                <a:ln>
                  <a:noFill/>
                </a:ln>
                <a:solidFill>
                  <a:srgbClr val="000000"/>
                </a:solidFill>
                <a:effectLst/>
                <a:uLnTx/>
                <a:uFillTx/>
                <a:latin typeface="Segoe Sans Text"/>
                <a:ea typeface="+mn-ea"/>
                <a:cs typeface="Segoe Sans Text"/>
              </a:rPr>
              <a:t>Job 2 motions for Innovate AI Apps &amp; Agents </a:t>
            </a:r>
            <a:r>
              <a:rPr kumimoji="0" lang="en-US" sz="1200" b="0" i="0" u="none" strike="noStrike" kern="1200" cap="none" spc="0" normalizeH="0" baseline="0" noProof="0">
                <a:ln>
                  <a:noFill/>
                </a:ln>
                <a:solidFill>
                  <a:srgbClr val="000000"/>
                </a:solidFill>
                <a:effectLst/>
                <a:uLnTx/>
                <a:uFillTx/>
                <a:latin typeface="Segoe Sans Text"/>
                <a:ea typeface="+mn-ea"/>
                <a:cs typeface="Segoe Sans Text"/>
              </a:rPr>
              <a:t>focuses on identifying opportunities</a:t>
            </a:r>
            <a:r>
              <a:rPr lang="en-US">
                <a:ea typeface="+mn-ea"/>
                <a:cs typeface="Segoe Sans Text"/>
              </a:rPr>
              <a:t> for </a:t>
            </a:r>
            <a:r>
              <a:rPr lang="en-US"/>
              <a:t>full-stack adoption when building AI solutions</a:t>
            </a:r>
            <a:r>
              <a:rPr lang="en-US">
                <a:ea typeface="+mn-ea"/>
                <a:cs typeface="Segoe Sans Text"/>
              </a:rPr>
              <a:t>, uncover expansion capabilities to accelerate time to production for existing AI solutions by </a:t>
            </a:r>
            <a:r>
              <a:rPr lang="en-US" b="1">
                <a:ea typeface="+mn-ea"/>
                <a:cs typeface="Segoe Sans Text"/>
              </a:rPr>
              <a:t>enhancing performance, reducing cost, increasing maturity</a:t>
            </a:r>
            <a:r>
              <a:rPr lang="en-US">
                <a:ea typeface="+mn-ea"/>
                <a:cs typeface="Segoe Sans Text"/>
              </a:rPr>
              <a:t> and drive </a:t>
            </a:r>
            <a:r>
              <a:rPr lang="en-US" b="1">
                <a:ea typeface="+mn-ea"/>
                <a:cs typeface="Segoe Sans Text"/>
              </a:rPr>
              <a:t>developer productivity</a:t>
            </a:r>
            <a:r>
              <a:rPr lang="en-US">
                <a:ea typeface="+mn-ea"/>
                <a:cs typeface="Segoe Sans Text"/>
              </a:rPr>
              <a:t> and innovation using GitHub Copilot. </a:t>
            </a:r>
          </a:p>
        </p:txBody>
      </p:sp>
      <p:sp>
        <p:nvSpPr>
          <p:cNvPr id="20" name="Text Placeholder 9">
            <a:extLst>
              <a:ext uri="{FF2B5EF4-FFF2-40B4-BE49-F238E27FC236}">
                <a16:creationId xmlns:a16="http://schemas.microsoft.com/office/drawing/2014/main" id="{7A8A56CE-EA18-D773-5269-2897DAC560AA}"/>
              </a:ext>
            </a:extLst>
          </p:cNvPr>
          <p:cNvSpPr>
            <a:spLocks noGrp="1"/>
          </p:cNvSpPr>
          <p:nvPr>
            <p:ph type="body" sz="quarter" idx="17"/>
          </p:nvPr>
        </p:nvSpPr>
        <p:spPr>
          <a:xfrm>
            <a:off x="469928" y="4858154"/>
            <a:ext cx="3713224" cy="1542645"/>
          </a:xfrm>
        </p:spPr>
        <p:txBody>
          <a:bodyPr/>
          <a:lstStyle/>
          <a:p>
            <a:pPr marL="0" marR="0" lvl="0" indent="0" algn="l" defTabSz="932472" rtl="0" eaLnBrk="1" fontAlgn="base" latinLnBrk="0" hangingPunct="1">
              <a:lnSpc>
                <a:spcPct val="90000"/>
              </a:lnSpc>
              <a:spcBef>
                <a:spcPts val="300"/>
              </a:spcBef>
              <a:spcAft>
                <a:spcPct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mj-lt"/>
                <a:ea typeface="+mn-ea"/>
              </a:rPr>
              <a:t>Leverage Unified &amp; Factory Offer</a:t>
            </a:r>
          </a:p>
          <a:p>
            <a:pPr marL="228600" indent="-228600">
              <a:spcBef>
                <a:spcPts val="300"/>
              </a:spcBef>
              <a:buFont typeface="+mj-lt"/>
              <a:buAutoNum type="arabicPeriod"/>
            </a:pPr>
            <a:r>
              <a:rPr lang="en-US" sz="1050" b="0">
                <a:solidFill>
                  <a:schemeClr val="tx1"/>
                </a:solidFill>
                <a:latin typeface="+mn-lt"/>
              </a:rPr>
              <a:t>Proactively drive Factory execution targeting signal</a:t>
            </a:r>
          </a:p>
          <a:p>
            <a:pPr marL="228600" indent="-228600">
              <a:spcBef>
                <a:spcPts val="300"/>
              </a:spcBef>
              <a:buFont typeface="+mj-lt"/>
              <a:buAutoNum type="arabicPeriod"/>
            </a:pPr>
            <a:r>
              <a:rPr lang="en-US" sz="1050" b="0">
                <a:solidFill>
                  <a:schemeClr val="tx1"/>
                </a:solidFill>
                <a:latin typeface="+mn-lt"/>
              </a:rPr>
              <a:t>Submit nominations at </a:t>
            </a:r>
            <a:r>
              <a:rPr lang="en-US" sz="1050" b="0">
                <a:solidFill>
                  <a:schemeClr val="tx1"/>
                </a:solidFill>
                <a:latin typeface="+mn-lt"/>
                <a:hlinkClick r:id="rId2">
                  <a:extLst>
                    <a:ext uri="{A12FA001-AC4F-418D-AE19-62706E023703}">
                      <ahyp:hlinkClr xmlns:ahyp="http://schemas.microsoft.com/office/drawing/2018/hyperlinkcolor" val="tx"/>
                    </a:ext>
                  </a:extLst>
                </a:hlinkClick>
              </a:rPr>
              <a:t>aka.ms/</a:t>
            </a:r>
            <a:r>
              <a:rPr lang="en-US" sz="1050" b="0" err="1">
                <a:solidFill>
                  <a:schemeClr val="tx1"/>
                </a:solidFill>
                <a:latin typeface="+mn-lt"/>
                <a:hlinkClick r:id="rId2">
                  <a:extLst>
                    <a:ext uri="{A12FA001-AC4F-418D-AE19-62706E023703}">
                      <ahyp:hlinkClr xmlns:ahyp="http://schemas.microsoft.com/office/drawing/2018/hyperlinkcolor" val="tx"/>
                    </a:ext>
                  </a:extLst>
                </a:hlinkClick>
              </a:rPr>
              <a:t>FactoryNom</a:t>
            </a:r>
            <a:endParaRPr lang="en-US" sz="1050" b="0">
              <a:solidFill>
                <a:schemeClr val="tx1"/>
              </a:solidFill>
              <a:latin typeface="+mn-lt"/>
            </a:endParaRPr>
          </a:p>
          <a:p>
            <a:pPr marL="228600" indent="-228600">
              <a:spcBef>
                <a:spcPts val="300"/>
              </a:spcBef>
              <a:buFont typeface="+mj-lt"/>
              <a:buAutoNum type="arabicPeriod"/>
            </a:pPr>
            <a:r>
              <a:rPr lang="en-US" sz="1050" b="0">
                <a:solidFill>
                  <a:schemeClr val="tx1"/>
                </a:solidFill>
                <a:latin typeface="+mn-lt"/>
              </a:rPr>
              <a:t>Leverage </a:t>
            </a:r>
            <a:r>
              <a:rPr lang="en-US" sz="1050" b="0" u="sng">
                <a:solidFill>
                  <a:schemeClr val="tx1"/>
                </a:solidFill>
                <a:latin typeface="+mn-lt"/>
              </a:rPr>
              <a:t>DE &amp; VBD </a:t>
            </a:r>
            <a:r>
              <a:rPr lang="en-US" sz="1050" b="0">
                <a:solidFill>
                  <a:schemeClr val="tx1"/>
                </a:solidFill>
                <a:latin typeface="+mn-lt"/>
              </a:rPr>
              <a:t>offer to deliver at scale; use Unified to fund key assessments and pilots</a:t>
            </a:r>
          </a:p>
          <a:p>
            <a:pPr marL="228600" indent="-228600">
              <a:spcBef>
                <a:spcPts val="300"/>
              </a:spcBef>
              <a:buFont typeface="+mj-lt"/>
              <a:buAutoNum type="arabicPeriod"/>
            </a:pPr>
            <a:r>
              <a:rPr lang="en-US" sz="1050" b="0">
                <a:solidFill>
                  <a:schemeClr val="tx1"/>
                </a:solidFill>
                <a:latin typeface="+mn-lt"/>
              </a:rPr>
              <a:t>Prioritize opportunities with high impact across Next Migration, Security &amp; Resiliency (WARA, Azure Monitor), and Modernize (App Service, Redis, AI), etc.</a:t>
            </a:r>
          </a:p>
          <a:p>
            <a:pPr marL="0" marR="0" lvl="0" indent="0" algn="l" defTabSz="932472" rtl="0" eaLnBrk="1" fontAlgn="base" latinLnBrk="0" hangingPunct="1">
              <a:lnSpc>
                <a:spcPct val="90000"/>
              </a:lnSpc>
              <a:spcBef>
                <a:spcPts val="336"/>
              </a:spcBef>
              <a:spcAft>
                <a:spcPct val="0"/>
              </a:spcAft>
              <a:buClrTx/>
              <a:buSzTx/>
              <a:buFontTx/>
              <a:buNone/>
              <a:tabLst/>
              <a:defRPr/>
            </a:pPr>
            <a:endParaRPr kumimoji="0" lang="en-US" sz="1200" b="1" i="0" u="none" strike="noStrike" kern="1200" cap="none" spc="0" normalizeH="0" baseline="0" noProof="0">
              <a:ln>
                <a:noFill/>
              </a:ln>
              <a:solidFill>
                <a:srgbClr val="0078D4"/>
              </a:solidFill>
              <a:effectLst/>
              <a:uLnTx/>
              <a:uFillTx/>
              <a:latin typeface="+mj-lt"/>
              <a:ea typeface="+mn-ea"/>
            </a:endParaRPr>
          </a:p>
        </p:txBody>
      </p:sp>
      <p:sp>
        <p:nvSpPr>
          <p:cNvPr id="21" name="Text Placeholder 11">
            <a:extLst>
              <a:ext uri="{FF2B5EF4-FFF2-40B4-BE49-F238E27FC236}">
                <a16:creationId xmlns:a16="http://schemas.microsoft.com/office/drawing/2014/main" id="{05BDF936-E4CC-C226-0B82-4EE9E700BFF1}"/>
              </a:ext>
            </a:extLst>
          </p:cNvPr>
          <p:cNvSpPr>
            <a:spLocks noGrp="1"/>
          </p:cNvSpPr>
          <p:nvPr>
            <p:ph type="body" sz="quarter" idx="19"/>
          </p:nvPr>
        </p:nvSpPr>
        <p:spPr>
          <a:xfrm>
            <a:off x="7896381" y="4858155"/>
            <a:ext cx="4001451" cy="1652373"/>
          </a:xfrm>
        </p:spPr>
        <p:txBody>
          <a:bodyPr vert="horz" wrap="square" lIns="146304" tIns="0" rIns="146304" bIns="0" rtlCol="0" anchor="t">
            <a:noAutofit/>
          </a:bodyPr>
          <a:lstStyle/>
          <a:p>
            <a:pPr marL="0" marR="0" lvl="0" indent="0" algn="l" defTabSz="932472" rtl="0" eaLnBrk="1" fontAlgn="base" latinLnBrk="0" hangingPunct="1">
              <a:lnSpc>
                <a:spcPct val="90000"/>
              </a:lnSpc>
              <a:spcBef>
                <a:spcPts val="300"/>
              </a:spcBef>
              <a:spcAft>
                <a:spcPct val="0"/>
              </a:spcAft>
              <a:buClrTx/>
              <a:buSzTx/>
              <a:buFontTx/>
              <a:buNone/>
              <a:tabLst/>
              <a:defRPr/>
            </a:pPr>
            <a:r>
              <a:rPr lang="en-US">
                <a:solidFill>
                  <a:srgbClr val="0078D4"/>
                </a:solidFill>
                <a:latin typeface="+mj-lt"/>
              </a:rPr>
              <a:t>KPI &amp; Reporting</a:t>
            </a:r>
          </a:p>
          <a:p>
            <a:pPr marL="171450" lvl="0" indent="-171450">
              <a:spcBef>
                <a:spcPts val="300"/>
              </a:spcBef>
              <a:buFont typeface="Arial" panose="020B0604020202020204" pitchFamily="34" charset="0"/>
              <a:buChar char="•"/>
              <a:defRPr/>
            </a:pPr>
            <a:r>
              <a:rPr lang="en-US" sz="1050" b="0">
                <a:solidFill>
                  <a:schemeClr val="tx1"/>
                </a:solidFill>
                <a:latin typeface="+mn-lt"/>
              </a:rPr>
              <a:t>The FY26 Job 2 measure CSU-created completed pipeline against:</a:t>
            </a:r>
          </a:p>
          <a:p>
            <a:pPr marL="287020" lvl="1" indent="-171450">
              <a:spcBef>
                <a:spcPts val="300"/>
              </a:spcBef>
              <a:buFont typeface="Courier New" panose="02070309020205020404" pitchFamily="49" charset="0"/>
              <a:buChar char="o"/>
              <a:defRPr/>
            </a:pPr>
            <a:r>
              <a:rPr lang="en-US" sz="1050" b="0">
                <a:solidFill>
                  <a:schemeClr val="tx1"/>
                </a:solidFill>
                <a:latin typeface="+mn-lt"/>
              </a:rPr>
              <a:t>20%+ of quarterly Net-New Required (NNR) budget, by Territory</a:t>
            </a:r>
          </a:p>
          <a:p>
            <a:pPr marL="171450" lvl="0" indent="-171450">
              <a:spcBef>
                <a:spcPts val="300"/>
              </a:spcBef>
              <a:buFont typeface="Arial" panose="020B0604020202020204" pitchFamily="34" charset="0"/>
              <a:buChar char="•"/>
              <a:defRPr/>
            </a:pPr>
            <a:r>
              <a:rPr lang="en-US" sz="1050" b="0">
                <a:solidFill>
                  <a:schemeClr val="tx1"/>
                </a:solidFill>
                <a:latin typeface="+mn-lt"/>
              </a:rPr>
              <a:t>Focus on identifying mature expansion opportunities likely to close and ensure CSU pipeline contributes meaningfully to the quarterly goal</a:t>
            </a:r>
          </a:p>
        </p:txBody>
      </p:sp>
      <p:sp>
        <p:nvSpPr>
          <p:cNvPr id="22" name="Text Placeholder 10">
            <a:extLst>
              <a:ext uri="{FF2B5EF4-FFF2-40B4-BE49-F238E27FC236}">
                <a16:creationId xmlns:a16="http://schemas.microsoft.com/office/drawing/2014/main" id="{17ABFA21-DC2D-3217-1027-FF2246CCBD10}"/>
              </a:ext>
            </a:extLst>
          </p:cNvPr>
          <p:cNvSpPr>
            <a:spLocks noGrp="1"/>
          </p:cNvSpPr>
          <p:nvPr>
            <p:ph type="body" sz="quarter" idx="18"/>
          </p:nvPr>
        </p:nvSpPr>
        <p:spPr>
          <a:xfrm>
            <a:off x="4183153" y="4858155"/>
            <a:ext cx="3713227" cy="1652373"/>
          </a:xfrm>
        </p:spPr>
        <p:txBody>
          <a:bodyPr/>
          <a:lstStyle/>
          <a:p>
            <a:pPr marL="0" marR="0" lvl="0" indent="0" algn="l" defTabSz="932472" rtl="0" eaLnBrk="1" fontAlgn="base" latinLnBrk="0" hangingPunct="1">
              <a:lnSpc>
                <a:spcPct val="90000"/>
              </a:lnSpc>
              <a:spcBef>
                <a:spcPts val="300"/>
              </a:spcBef>
              <a:spcAft>
                <a:spcPct val="0"/>
              </a:spcAft>
              <a:buClrTx/>
              <a:buSzTx/>
              <a:buFontTx/>
              <a:buNone/>
              <a:tabLst/>
              <a:defRPr/>
            </a:pPr>
            <a:r>
              <a:rPr lang="en-US">
                <a:solidFill>
                  <a:srgbClr val="0078D4"/>
                </a:solidFill>
                <a:latin typeface="+mj-lt"/>
              </a:rPr>
              <a:t>MSX Pipeline Creation &amp; Orchestration</a:t>
            </a:r>
          </a:p>
          <a:p>
            <a:pPr marL="228600" indent="-228600">
              <a:spcBef>
                <a:spcPts val="300"/>
              </a:spcBef>
              <a:buFont typeface="+mj-lt"/>
              <a:buAutoNum type="arabicPeriod"/>
            </a:pPr>
            <a:r>
              <a:rPr lang="en-US" sz="1050" b="0">
                <a:solidFill>
                  <a:schemeClr val="tx1"/>
                </a:solidFill>
              </a:rPr>
              <a:t>Review expansion motions by solution play and identify high-impact Customer opportunities</a:t>
            </a:r>
          </a:p>
          <a:p>
            <a:pPr marL="228600" indent="-228600">
              <a:spcBef>
                <a:spcPts val="300"/>
              </a:spcBef>
              <a:buFont typeface="+mj-lt"/>
              <a:buAutoNum type="arabicPeriod"/>
            </a:pPr>
            <a:r>
              <a:rPr lang="en-US" sz="1050" b="0">
                <a:solidFill>
                  <a:schemeClr val="tx1"/>
                </a:solidFill>
              </a:rPr>
              <a:t>Leverage the customer value proposition insights to position the value of the next best action</a:t>
            </a:r>
          </a:p>
          <a:p>
            <a:pPr marL="228600" indent="-228600">
              <a:spcBef>
                <a:spcPts val="300"/>
              </a:spcBef>
              <a:buFont typeface="+mj-lt"/>
              <a:buAutoNum type="arabicPeriod"/>
            </a:pPr>
            <a:r>
              <a:rPr lang="en-US" sz="1050" b="0">
                <a:solidFill>
                  <a:schemeClr val="tx1"/>
                </a:solidFill>
              </a:rPr>
              <a:t>Create milestones using </a:t>
            </a:r>
            <a:r>
              <a:rPr lang="en-US" sz="1050" b="0">
                <a:solidFill>
                  <a:schemeClr val="tx1">
                    <a:lumMod val="75000"/>
                    <a:lumOff val="25000"/>
                  </a:schemeClr>
                </a:solidFill>
                <a:hlinkClick r:id="rId3"/>
              </a:rPr>
              <a:t>MCEM milestone guidance </a:t>
            </a:r>
            <a:r>
              <a:rPr lang="en-US" sz="1050" b="0">
                <a:solidFill>
                  <a:schemeClr val="tx1"/>
                </a:solidFill>
              </a:rPr>
              <a:t>and size them using the </a:t>
            </a:r>
            <a:r>
              <a:rPr lang="en-US" sz="1050" b="0">
                <a:solidFill>
                  <a:schemeClr val="tx1">
                    <a:lumMod val="75000"/>
                    <a:lumOff val="25000"/>
                  </a:schemeClr>
                </a:solidFill>
                <a:hlinkClick r:id="rId4"/>
              </a:rPr>
              <a:t>pricing portal</a:t>
            </a:r>
            <a:r>
              <a:rPr lang="en-US" sz="1050" b="0">
                <a:solidFill>
                  <a:schemeClr val="tx1">
                    <a:lumMod val="75000"/>
                    <a:lumOff val="25000"/>
                  </a:schemeClr>
                </a:solidFill>
              </a:rPr>
              <a:t>.</a:t>
            </a:r>
          </a:p>
          <a:p>
            <a:pPr marL="228600" indent="-228600">
              <a:spcBef>
                <a:spcPts val="300"/>
              </a:spcBef>
              <a:buFont typeface="+mj-lt"/>
              <a:buAutoNum type="arabicPeriod"/>
            </a:pPr>
            <a:r>
              <a:rPr lang="en-US" sz="1050" b="0">
                <a:solidFill>
                  <a:schemeClr val="tx1"/>
                </a:solidFill>
              </a:rPr>
              <a:t>Execute using the associated VBD to drive adoption and deliver measurable value</a:t>
            </a:r>
          </a:p>
        </p:txBody>
      </p:sp>
      <p:sp>
        <p:nvSpPr>
          <p:cNvPr id="23" name="Text Placeholder 8">
            <a:extLst>
              <a:ext uri="{FF2B5EF4-FFF2-40B4-BE49-F238E27FC236}">
                <a16:creationId xmlns:a16="http://schemas.microsoft.com/office/drawing/2014/main" id="{C0EEFD6E-B54A-C515-28EA-80814448E426}"/>
              </a:ext>
            </a:extLst>
          </p:cNvPr>
          <p:cNvSpPr>
            <a:spLocks noGrp="1"/>
          </p:cNvSpPr>
          <p:nvPr>
            <p:ph type="body" sz="quarter" idx="16"/>
          </p:nvPr>
        </p:nvSpPr>
        <p:spPr>
          <a:xfrm>
            <a:off x="469928" y="4309913"/>
            <a:ext cx="3416271" cy="393954"/>
          </a:xfrm>
        </p:spPr>
        <p:txBody>
          <a:bodyPr/>
          <a:lstStyle/>
          <a:p>
            <a:pPr defTabSz="932472" fontAlgn="base">
              <a:spcBef>
                <a:spcPct val="0"/>
              </a:spcBef>
              <a:spcAft>
                <a:spcPct val="0"/>
              </a:spcAft>
            </a:pPr>
            <a:r>
              <a:rPr lang="en-US"/>
              <a:t>How to Execute</a:t>
            </a:r>
            <a:endParaRPr kumimoji="0" lang="en-US" sz="1600" b="1" i="0" u="none" strike="noStrike" kern="1200" cap="none" spc="0" normalizeH="0" baseline="0" noProof="0">
              <a:ln>
                <a:noFill/>
              </a:ln>
              <a:solidFill>
                <a:schemeClr val="bg1"/>
              </a:solidFill>
              <a:effectLst/>
              <a:uLnTx/>
              <a:uFillTx/>
              <a:latin typeface="+mj-lt"/>
              <a:cs typeface="Segoe Sans Text Light" pitchFamily="2" charset="0"/>
            </a:endParaRPr>
          </a:p>
        </p:txBody>
      </p:sp>
      <p:grpSp>
        <p:nvGrpSpPr>
          <p:cNvPr id="25" name="Group 24">
            <a:extLst>
              <a:ext uri="{FF2B5EF4-FFF2-40B4-BE49-F238E27FC236}">
                <a16:creationId xmlns:a16="http://schemas.microsoft.com/office/drawing/2014/main" id="{5C8FD391-6477-F827-6225-A705995F7A8B}"/>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6" name="Table 2 Cell 1, 1 to Text">
              <a:extLst>
                <a:ext uri="{FF2B5EF4-FFF2-40B4-BE49-F238E27FC236}">
                  <a16:creationId xmlns:a16="http://schemas.microsoft.com/office/drawing/2014/main" id="{0701884C-88F6-A1E0-6CE4-6B85471A971C}"/>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7" name="Table 2 Cell 2, 1 to Text">
              <a:extLst>
                <a:ext uri="{FF2B5EF4-FFF2-40B4-BE49-F238E27FC236}">
                  <a16:creationId xmlns:a16="http://schemas.microsoft.com/office/drawing/2014/main" id="{A741C65C-F457-2DAE-1D6B-5B4790587A7D}"/>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8" name="Table 2 Cell 3, 1 to Text">
              <a:extLst>
                <a:ext uri="{FF2B5EF4-FFF2-40B4-BE49-F238E27FC236}">
                  <a16:creationId xmlns:a16="http://schemas.microsoft.com/office/drawing/2014/main" id="{B7F0E3FA-4507-C795-4A2E-07BFFDBBB4ED}"/>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9" name="Table 2 Cell 4, 1 to Text">
              <a:extLst>
                <a:ext uri="{FF2B5EF4-FFF2-40B4-BE49-F238E27FC236}">
                  <a16:creationId xmlns:a16="http://schemas.microsoft.com/office/drawing/2014/main" id="{0BB3F26A-1A7A-1D6B-B310-7F25039D8AF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0" name="Table 2 Cell 5, 1 to Text">
              <a:extLst>
                <a:ext uri="{FF2B5EF4-FFF2-40B4-BE49-F238E27FC236}">
                  <a16:creationId xmlns:a16="http://schemas.microsoft.com/office/drawing/2014/main" id="{7D6ED9F6-9B88-EA67-A67A-B2EC764CBE85}"/>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1" name="Table 2 Cell 6, 1 to Text">
              <a:extLst>
                <a:ext uri="{FF2B5EF4-FFF2-40B4-BE49-F238E27FC236}">
                  <a16:creationId xmlns:a16="http://schemas.microsoft.com/office/drawing/2014/main" id="{828CC842-EF31-6369-E1D0-D4B957D45EC3}"/>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32" name="Table 2 Cell 7, 1 to Text">
              <a:extLst>
                <a:ext uri="{FF2B5EF4-FFF2-40B4-BE49-F238E27FC236}">
                  <a16:creationId xmlns:a16="http://schemas.microsoft.com/office/drawing/2014/main" id="{D2715199-BF98-12E2-B33F-B523A3BF329B}"/>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3" name="Table 2 Cell 1, 2 to Text">
              <a:extLst>
                <a:ext uri="{FF2B5EF4-FFF2-40B4-BE49-F238E27FC236}">
                  <a16:creationId xmlns:a16="http://schemas.microsoft.com/office/drawing/2014/main" id="{86ACE685-E913-5489-24AD-BCE60EE502B2}"/>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34" name="Table 2 Cell 1, 3 to Text">
              <a:extLst>
                <a:ext uri="{FF2B5EF4-FFF2-40B4-BE49-F238E27FC236}">
                  <a16:creationId xmlns:a16="http://schemas.microsoft.com/office/drawing/2014/main" id="{CEF50675-2984-28A4-618D-72EEA9E9CE98}"/>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35" name="Table 2 Cell 1, 4 to Text">
              <a:extLst>
                <a:ext uri="{FF2B5EF4-FFF2-40B4-BE49-F238E27FC236}">
                  <a16:creationId xmlns:a16="http://schemas.microsoft.com/office/drawing/2014/main" id="{4153B20F-BE58-6D83-A2A5-BCEAAE51D02D}"/>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36" name="Table 2 Cell 1, 5 to Text">
              <a:extLst>
                <a:ext uri="{FF2B5EF4-FFF2-40B4-BE49-F238E27FC236}">
                  <a16:creationId xmlns:a16="http://schemas.microsoft.com/office/drawing/2014/main" id="{93827E4D-8431-B412-6AF5-15B1E1D6546E}"/>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sp>
          <p:nvSpPr>
            <p:cNvPr id="37" name="Table 2 Cell 1, 6 to Text">
              <a:extLst>
                <a:ext uri="{FF2B5EF4-FFF2-40B4-BE49-F238E27FC236}">
                  <a16:creationId xmlns:a16="http://schemas.microsoft.com/office/drawing/2014/main" id="{0357985E-7911-E640-1119-28477541B5C1}"/>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6.5 Azure Solution Plays </a:t>
              </a:r>
              <a:r>
                <a:rPr lang="en-US" sz="800" err="1">
                  <a:solidFill>
                    <a:schemeClr val="bg1"/>
                  </a:solidFill>
                </a:rPr>
                <a:t>Overvw</a:t>
              </a:r>
              <a:endParaRPr lang="en-US" sz="800">
                <a:solidFill>
                  <a:schemeClr val="bg1"/>
                </a:solidFill>
              </a:endParaRPr>
            </a:p>
          </p:txBody>
        </p:sp>
      </p:grpSp>
      <p:sp>
        <p:nvSpPr>
          <p:cNvPr id="3" name="TextBox 2">
            <a:extLst>
              <a:ext uri="{FF2B5EF4-FFF2-40B4-BE49-F238E27FC236}">
                <a16:creationId xmlns:a16="http://schemas.microsoft.com/office/drawing/2014/main" id="{942D88DA-38C6-AB94-96F2-09D338368125}"/>
              </a:ext>
            </a:extLst>
          </p:cNvPr>
          <p:cNvSpPr txBox="1"/>
          <p:nvPr/>
        </p:nvSpPr>
        <p:spPr>
          <a:xfrm>
            <a:off x="4695630" y="4394930"/>
            <a:ext cx="7026442" cy="276999"/>
          </a:xfrm>
          <a:prstGeom prst="rect">
            <a:avLst/>
          </a:prstGeom>
          <a:noFill/>
        </p:spPr>
        <p:txBody>
          <a:bodyPr wrap="square">
            <a:spAutoFit/>
          </a:bodyPr>
          <a:lstStyle/>
          <a:p>
            <a:pPr algn="r"/>
            <a:r>
              <a:rPr lang="en-GB" sz="1200">
                <a:solidFill>
                  <a:schemeClr val="bg1"/>
                </a:solidFill>
                <a:hlinkClick r:id="rId5">
                  <a:extLst>
                    <a:ext uri="{A12FA001-AC4F-418D-AE19-62706E023703}">
                      <ahyp:hlinkClr xmlns:ahyp="http://schemas.microsoft.com/office/drawing/2018/hyperlinkcolor" val="tx"/>
                    </a:ext>
                  </a:extLst>
                </a:hlinkClick>
              </a:rPr>
              <a:t>Learn more about how to execute Job 2 Solution Play Motions</a:t>
            </a:r>
            <a:endParaRPr lang="en-US" sz="1200">
              <a:solidFill>
                <a:schemeClr val="bg1"/>
              </a:solidFill>
            </a:endParaRPr>
          </a:p>
        </p:txBody>
      </p:sp>
    </p:spTree>
    <p:extLst>
      <p:ext uri="{BB962C8B-B14F-4D97-AF65-F5344CB8AC3E}">
        <p14:creationId xmlns:p14="http://schemas.microsoft.com/office/powerpoint/2010/main" val="69148050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DD397-BB0D-9DA3-B9FC-DA9061B23C45}"/>
            </a:ext>
          </a:extLst>
        </p:cNvPr>
        <p:cNvGrpSpPr/>
        <p:nvPr/>
      </p:nvGrpSpPr>
      <p:grpSpPr>
        <a:xfrm>
          <a:off x="0" y="0"/>
          <a:ext cx="0" cy="0"/>
          <a:chOff x="0" y="0"/>
          <a:chExt cx="0" cy="0"/>
        </a:xfrm>
      </p:grpSpPr>
      <p:sp>
        <p:nvSpPr>
          <p:cNvPr id="30" name="Title 1">
            <a:extLst>
              <a:ext uri="{FF2B5EF4-FFF2-40B4-BE49-F238E27FC236}">
                <a16:creationId xmlns:a16="http://schemas.microsoft.com/office/drawing/2014/main" id="{1E21B329-AD4A-A690-3613-578F86E309F3}"/>
              </a:ext>
            </a:extLst>
          </p:cNvPr>
          <p:cNvSpPr txBox="1">
            <a:spLocks noGrp="1"/>
          </p:cNvSpPr>
          <p:nvPr>
            <p:ph type="title"/>
          </p:nvPr>
        </p:nvSpPr>
        <p:spPr>
          <a:xfrm>
            <a:off x="304798" y="457200"/>
            <a:ext cx="8778242" cy="664797"/>
          </a:xfr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600" b="0" i="0" u="none" kern="1200" spc="0">
                <a:solidFill>
                  <a:srgbClr val="000000"/>
                </a:solidFill>
                <a:latin typeface="+mj-lt"/>
                <a:ea typeface="+mj-ea"/>
                <a:cs typeface="+mj-cs"/>
                <a:sym typeface="Trebuchet MS" panose="020B0603020202020204" pitchFamily="34" charset="0"/>
              </a:defRPr>
            </a:lvl1pPr>
          </a:lstStyle>
          <a:p>
            <a:pPr lvl="0"/>
            <a:r>
              <a:rPr lang="en-US" sz="2400" noProof="0">
                <a:sym typeface="Trebuchet MS" panose="020B0603020202020204" pitchFamily="34" charset="0"/>
              </a:rPr>
              <a:t>FY26 Role Summary: Cloud &amp; AI – </a:t>
            </a:r>
            <a:br>
              <a:rPr lang="en-US" sz="2400" noProof="0">
                <a:sym typeface="Trebuchet MS" panose="020B0603020202020204" pitchFamily="34" charset="0"/>
              </a:rPr>
            </a:br>
            <a:r>
              <a:rPr lang="en-US" sz="2400" noProof="0">
                <a:sym typeface="Trebuchet MS" panose="020B0603020202020204" pitchFamily="34" charset="0"/>
              </a:rPr>
              <a:t>Global Solutions Cloud Solution Architect</a:t>
            </a:r>
          </a:p>
        </p:txBody>
      </p:sp>
      <p:sp>
        <p:nvSpPr>
          <p:cNvPr id="60" name="Rectangle: Rounded Corners 59">
            <a:extLst>
              <a:ext uri="{FF2B5EF4-FFF2-40B4-BE49-F238E27FC236}">
                <a16:creationId xmlns:a16="http://schemas.microsoft.com/office/drawing/2014/main" id="{29A06774-2BCD-7A15-4334-7BA8AEA48898}"/>
              </a:ext>
              <a:ext uri="{C183D7F6-B498-43B3-948B-1728B52AA6E4}">
                <adec:decorative xmlns:adec="http://schemas.microsoft.com/office/drawing/2017/decorative" val="0"/>
              </a:ext>
            </a:extLst>
          </p:cNvPr>
          <p:cNvSpPr/>
          <p:nvPr/>
        </p:nvSpPr>
        <p:spPr>
          <a:xfrm>
            <a:off x="9083040" y="442913"/>
            <a:ext cx="2812445" cy="519112"/>
          </a:xfrm>
          <a:prstGeom prst="roundRect">
            <a:avLst>
              <a:gd name="adj" fmla="val 9105"/>
            </a:avLst>
          </a:prstGeom>
          <a:noFill/>
          <a:ln w="12700">
            <a:noFill/>
          </a:ln>
          <a:effectLst/>
        </p:spPr>
        <p:style>
          <a:lnRef idx="2">
            <a:schemeClr val="accent2"/>
          </a:lnRef>
          <a:fillRef idx="1">
            <a:schemeClr val="lt1"/>
          </a:fillRef>
          <a:effectRef idx="0">
            <a:schemeClr val="accent2"/>
          </a:effectRef>
          <a:fontRef idx="minor">
            <a:schemeClr val="dk1"/>
          </a:fontRef>
        </p:style>
        <p:txBody>
          <a:bodyPr lIns="27432" tIns="27432" rIns="27432" bIns="27432" rtlCol="0" anchor="ctr" anchorCtr="0"/>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FY25 Infra/SAP/Apps/AI/Data &amp; Analytics Solution Architect </a:t>
            </a:r>
            <a:br>
              <a:rPr kumimoji="0" lang="en-US" sz="700" b="0" i="0" u="none" strike="noStrike" kern="1200" cap="none" spc="0" normalizeH="0" baseline="0" noProof="0">
                <a:ln>
                  <a:noFill/>
                </a:ln>
                <a:solidFill>
                  <a:srgbClr val="2A446F"/>
                </a:solidFill>
                <a:effectLst/>
                <a:uLnTx/>
                <a:uFillTx/>
                <a:latin typeface="Segoe Sans Text Semibold"/>
                <a:ea typeface="+mn-ea"/>
                <a:cs typeface="+mn-cs"/>
              </a:rPr>
            </a:b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TO FY26 </a:t>
            </a: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Cloud &amp; AI Global Solutions Cloud Solution Architect</a:t>
            </a:r>
          </a:p>
          <a:p>
            <a:pPr marL="0" marR="0" lvl="0" indent="0" algn="l" defTabSz="914400" rtl="0" eaLnBrk="1" fontAlgn="auto" latinLnBrk="0" hangingPunct="1">
              <a:lnSpc>
                <a:spcPct val="100000"/>
              </a:lnSpc>
              <a:spcBef>
                <a:spcPts val="0"/>
              </a:spcBef>
              <a:spcAft>
                <a:spcPts val="300"/>
              </a:spcAft>
              <a:buClr>
                <a:srgbClr val="CC0000"/>
              </a:buClr>
              <a:buSzPct val="110000"/>
              <a:buFontTx/>
              <a:buNone/>
              <a:tabLst/>
              <a:defRPr/>
            </a:pPr>
            <a:r>
              <a:rPr kumimoji="0" lang="en-US" sz="700" b="0" i="0" u="none" strike="noStrike" kern="1200" cap="none" spc="0" normalizeH="0" baseline="0" noProof="0">
                <a:ln>
                  <a:noFill/>
                </a:ln>
                <a:solidFill>
                  <a:srgbClr val="0078D4"/>
                </a:solidFill>
                <a:effectLst/>
                <a:uLnTx/>
                <a:uFillTx/>
                <a:latin typeface="Segoe Sans Text Semibold"/>
                <a:ea typeface="+mn-ea"/>
                <a:cs typeface="+mn-cs"/>
              </a:rPr>
              <a:t>Applicable Segments: </a:t>
            </a:r>
            <a:r>
              <a:rPr kumimoji="0" lang="en-US" sz="700" b="0" i="0" u="none" strike="noStrike" kern="1200" cap="none" spc="0" normalizeH="0" baseline="0" noProof="0">
                <a:ln>
                  <a:noFill/>
                </a:ln>
                <a:solidFill>
                  <a:srgbClr val="2A446F"/>
                </a:solidFill>
                <a:effectLst/>
                <a:uLnTx/>
                <a:uFillTx/>
                <a:latin typeface="Segoe Sans Text Semibold"/>
                <a:ea typeface="+mn-ea"/>
                <a:cs typeface="+mn-cs"/>
              </a:rPr>
              <a:t>ENT</a:t>
            </a:r>
          </a:p>
        </p:txBody>
      </p:sp>
      <p:sp>
        <p:nvSpPr>
          <p:cNvPr id="33" name="Rectangle: Rounded Corners 32">
            <a:extLst>
              <a:ext uri="{FF2B5EF4-FFF2-40B4-BE49-F238E27FC236}">
                <a16:creationId xmlns:a16="http://schemas.microsoft.com/office/drawing/2014/main" id="{E2AAC531-E740-4BA2-2BFA-A5D1244A09AF}"/>
              </a:ext>
              <a:ext uri="{C183D7F6-B498-43B3-948B-1728B52AA6E4}">
                <adec:decorative xmlns:adec="http://schemas.microsoft.com/office/drawing/2017/decorative" val="1"/>
              </a:ext>
            </a:extLst>
          </p:cNvPr>
          <p:cNvSpPr/>
          <p:nvPr/>
        </p:nvSpPr>
        <p:spPr bwMode="auto">
          <a:xfrm>
            <a:off x="3674366" y="1171399"/>
            <a:ext cx="8247888"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4" name="Rectangle: Rounded Corners 33">
            <a:extLst>
              <a:ext uri="{FF2B5EF4-FFF2-40B4-BE49-F238E27FC236}">
                <a16:creationId xmlns:a16="http://schemas.microsoft.com/office/drawing/2014/main" id="{FAA282C5-CA86-AFC4-C50B-A593E2FAFCA5}"/>
              </a:ext>
              <a:ext uri="{C183D7F6-B498-43B3-948B-1728B52AA6E4}">
                <adec:decorative xmlns:adec="http://schemas.microsoft.com/office/drawing/2017/decorative" val="1"/>
              </a:ext>
            </a:extLst>
          </p:cNvPr>
          <p:cNvSpPr/>
          <p:nvPr/>
        </p:nvSpPr>
        <p:spPr bwMode="auto">
          <a:xfrm>
            <a:off x="304798" y="1171399"/>
            <a:ext cx="326898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DB597486-C420-E94D-B6A9-BD3B356A408B}"/>
              </a:ext>
              <a:ext uri="{C183D7F6-B498-43B3-948B-1728B52AA6E4}">
                <adec:decorative xmlns:adec="http://schemas.microsoft.com/office/drawing/2017/decorative" val="1"/>
              </a:ext>
            </a:extLst>
          </p:cNvPr>
          <p:cNvSpPr/>
          <p:nvPr/>
        </p:nvSpPr>
        <p:spPr>
          <a:xfrm>
            <a:off x="3674366" y="1200265"/>
            <a:ext cx="8247888" cy="2812045"/>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7338"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36" name="Rectangle: Rounded Corners 35">
            <a:extLst>
              <a:ext uri="{FF2B5EF4-FFF2-40B4-BE49-F238E27FC236}">
                <a16:creationId xmlns:a16="http://schemas.microsoft.com/office/drawing/2014/main" id="{9AE242A5-FC06-A710-7FE1-051E08DC5DC8}"/>
              </a:ext>
            </a:extLst>
          </p:cNvPr>
          <p:cNvSpPr/>
          <p:nvPr/>
        </p:nvSpPr>
        <p:spPr>
          <a:xfrm>
            <a:off x="304799" y="1200266"/>
            <a:ext cx="3266414" cy="2812045"/>
          </a:xfrm>
          <a:prstGeom prst="roundRect">
            <a:avLst>
              <a:gd name="adj" fmla="val 2591"/>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45720" rIns="0" bIns="45720" rtlCol="0" anchor="t" anchorCtr="0"/>
          <a:lstStyle/>
          <a:p>
            <a:pPr marL="280988"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 Vision</a:t>
            </a:r>
          </a:p>
          <a:p>
            <a:pPr marL="0" marR="0" lvl="0" indent="0" algn="l" defTabSz="914400" rtl="0" eaLnBrk="1" fontAlgn="auto" latinLnBrk="0" hangingPunct="1">
              <a:lnSpc>
                <a:spcPct val="100000"/>
              </a:lnSpc>
              <a:spcBef>
                <a:spcPts val="300"/>
              </a:spcBef>
              <a:spcAft>
                <a:spcPts val="200"/>
              </a:spcAft>
              <a:buClr>
                <a:srgbClr val="CC0000"/>
              </a:buClr>
              <a:buSzPct val="11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URPOSE: What opportunities can I uncover with the chang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he Cloud + AI Global Solutions CSAs are accountable for delivering innovative solutions, extending field capability, and providing deep technical delivery expertise across workloads in Cloud &amp; AI Platforms.</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URGENCY: Why make the changes now?</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Ensure we are well resourced to drive IP development, Field enablement, and Delivery oversight and support </a:t>
            </a:r>
          </a:p>
          <a:p>
            <a:pPr marL="130175" marR="0" lvl="0" indent="-90488" algn="l" defTabSz="91440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o enable the areas to simplify the engagement process for our customers and meet customer expectations on delivery resource’s breadth and depth of Azure expertise</a:t>
            </a:r>
          </a:p>
          <a:p>
            <a:pPr marL="0" marR="0" lvl="0" indent="0" algn="l" defTabSz="914400" rtl="0" eaLnBrk="1" fontAlgn="auto" latinLnBrk="0" hangingPunct="1">
              <a:lnSpc>
                <a:spcPct val="100000"/>
              </a:lnSpc>
              <a:spcBef>
                <a:spcPts val="300"/>
              </a:spcBef>
              <a:spcAft>
                <a:spcPts val="200"/>
              </a:spcAft>
              <a:buClr>
                <a:srgbClr val="000000"/>
              </a:buClr>
              <a:buSzPct val="100000"/>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IMPACT: What will be the business impact from the changes?</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Technical intensity for greater technical capability across Cloud &amp; AI Platforms</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Depth of focus for IP Development, Field enablement, and Delivery oversight and support for Unified &amp; Factory</a:t>
            </a:r>
          </a:p>
        </p:txBody>
      </p:sp>
      <p:sp>
        <p:nvSpPr>
          <p:cNvPr id="39" name="Rectangle 38">
            <a:extLst>
              <a:ext uri="{FF2B5EF4-FFF2-40B4-BE49-F238E27FC236}">
                <a16:creationId xmlns:a16="http://schemas.microsoft.com/office/drawing/2014/main" id="{1435739B-447E-10F6-7F3F-89754457828B}"/>
              </a:ext>
            </a:extLst>
          </p:cNvPr>
          <p:cNvSpPr/>
          <p:nvPr/>
        </p:nvSpPr>
        <p:spPr>
          <a:xfrm>
            <a:off x="4101552" y="1319386"/>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Roles &amp; Responsibilities</a:t>
            </a:r>
          </a:p>
        </p:txBody>
      </p:sp>
      <p:sp>
        <p:nvSpPr>
          <p:cNvPr id="37" name="TextBox 36">
            <a:extLst>
              <a:ext uri="{FF2B5EF4-FFF2-40B4-BE49-F238E27FC236}">
                <a16:creationId xmlns:a16="http://schemas.microsoft.com/office/drawing/2014/main" id="{75E22DA5-2FE7-4B98-AAE1-AB64D09DC49C}"/>
              </a:ext>
            </a:extLst>
          </p:cNvPr>
          <p:cNvSpPr txBox="1"/>
          <p:nvPr/>
        </p:nvSpPr>
        <p:spPr>
          <a:xfrm>
            <a:off x="9798049" y="1274239"/>
            <a:ext cx="2048670" cy="224302"/>
          </a:xfrm>
          <a:prstGeom prst="roundRect">
            <a:avLst>
              <a:gd name="adj" fmla="val 16962"/>
            </a:avLst>
          </a:prstGeom>
          <a:solidFill>
            <a:schemeClr val="accent1">
              <a:lumMod val="20000"/>
              <a:lumOff val="80000"/>
              <a:alpha val="31000"/>
            </a:schemeClr>
          </a:solidFill>
          <a:ln w="6350">
            <a:noFill/>
          </a:ln>
        </p:spPr>
        <p:txBody>
          <a:bodyPr wrap="square" lIns="45720" rIns="45720" rtlCol="0" anchor="ctr" anchorCtr="0">
            <a:noAutofit/>
          </a:bodyPr>
          <a:lstStyle/>
          <a:p>
            <a:pPr marL="0" marR="0" lvl="0" indent="0" algn="ctr" defTabSz="914400" rtl="0" eaLnBrk="1" fontAlgn="auto" latinLnBrk="0" hangingPunct="1">
              <a:lnSpc>
                <a:spcPct val="100000"/>
              </a:lnSpc>
              <a:spcBef>
                <a:spcPts val="267"/>
              </a:spcBef>
              <a:spcAft>
                <a:spcPts val="0"/>
              </a:spcAft>
              <a:buClr>
                <a:srgbClr val="000000"/>
              </a:buClr>
              <a:buSzPct val="100000"/>
              <a:buFontTx/>
              <a:buNone/>
              <a:tabLst/>
              <a:defRPr/>
            </a:pP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For role details visit RAIN on 7</a:t>
            </a:r>
            <a:r>
              <a:rPr kumimoji="0" lang="en-US" sz="900" b="0" i="0" u="none" strike="noStrike" kern="1200" cap="none" spc="0" normalizeH="0" baseline="30000" noProof="0">
                <a:ln>
                  <a:noFill/>
                </a:ln>
                <a:solidFill>
                  <a:srgbClr val="000000"/>
                </a:solidFill>
                <a:effectLst/>
                <a:uLnTx/>
                <a:uFillTx/>
                <a:latin typeface="Segoe Sans Text Semibold"/>
                <a:ea typeface="+mn-ea"/>
                <a:cs typeface="+mn-cs"/>
              </a:rPr>
              <a:t>th</a:t>
            </a:r>
            <a:r>
              <a:rPr kumimoji="0" lang="en-US" sz="900" b="0" i="0" u="none" strike="noStrike" kern="1200" cap="none" spc="0" normalizeH="0" baseline="0" noProof="0">
                <a:ln>
                  <a:noFill/>
                </a:ln>
                <a:solidFill>
                  <a:srgbClr val="000000"/>
                </a:solidFill>
                <a:effectLst/>
                <a:uLnTx/>
                <a:uFillTx/>
                <a:latin typeface="Segoe Sans Text Semibold"/>
                <a:ea typeface="+mn-ea"/>
                <a:cs typeface="+mn-cs"/>
              </a:rPr>
              <a:t> July</a:t>
            </a:r>
          </a:p>
        </p:txBody>
      </p:sp>
      <p:graphicFrame>
        <p:nvGraphicFramePr>
          <p:cNvPr id="2" name="Table 1">
            <a:extLst>
              <a:ext uri="{FF2B5EF4-FFF2-40B4-BE49-F238E27FC236}">
                <a16:creationId xmlns:a16="http://schemas.microsoft.com/office/drawing/2014/main" id="{B1561172-E485-0869-9071-C7694A0593E9}"/>
              </a:ext>
            </a:extLst>
          </p:cNvPr>
          <p:cNvGraphicFramePr>
            <a:graphicFrameLocks noGrp="1"/>
          </p:cNvGraphicFramePr>
          <p:nvPr>
            <p:extLst>
              <p:ext uri="{D42A27DB-BD31-4B8C-83A1-F6EECF244321}">
                <p14:modId xmlns:p14="http://schemas.microsoft.com/office/powerpoint/2010/main" val="70965743"/>
              </p:ext>
            </p:extLst>
          </p:nvPr>
        </p:nvGraphicFramePr>
        <p:xfrm>
          <a:off x="3674366" y="1541398"/>
          <a:ext cx="8247674" cy="2472156"/>
        </p:xfrm>
        <a:graphic>
          <a:graphicData uri="http://schemas.openxmlformats.org/drawingml/2006/table">
            <a:tbl>
              <a:tblPr firstRow="1">
                <a:effectLst/>
                <a:tableStyleId>{2D5ABB26-0587-4C30-8999-92F81FD0307C}</a:tableStyleId>
              </a:tblPr>
              <a:tblGrid>
                <a:gridCol w="653794">
                  <a:extLst>
                    <a:ext uri="{9D8B030D-6E8A-4147-A177-3AD203B41FA5}">
                      <a16:colId xmlns:a16="http://schemas.microsoft.com/office/drawing/2014/main" val="33789478"/>
                    </a:ext>
                  </a:extLst>
                </a:gridCol>
                <a:gridCol w="1939290">
                  <a:extLst>
                    <a:ext uri="{9D8B030D-6E8A-4147-A177-3AD203B41FA5}">
                      <a16:colId xmlns:a16="http://schemas.microsoft.com/office/drawing/2014/main" val="88879238"/>
                    </a:ext>
                  </a:extLst>
                </a:gridCol>
                <a:gridCol w="5654590">
                  <a:extLst>
                    <a:ext uri="{9D8B030D-6E8A-4147-A177-3AD203B41FA5}">
                      <a16:colId xmlns:a16="http://schemas.microsoft.com/office/drawing/2014/main" val="707651252"/>
                    </a:ext>
                  </a:extLst>
                </a:gridCol>
              </a:tblGrid>
              <a:tr h="202970">
                <a:tc>
                  <a:txBody>
                    <a:bodyPr/>
                    <a:lstStyle/>
                    <a:p>
                      <a:pPr algn="ctr" defTabSz="932742">
                        <a:lnSpc>
                          <a:spcPct val="100000"/>
                        </a:lnSpc>
                        <a:spcBef>
                          <a:spcPts val="0"/>
                        </a:spcBef>
                        <a:spcAft>
                          <a:spcPts val="0"/>
                        </a:spcAft>
                      </a:pPr>
                      <a:endParaRPr lang="en-US" sz="900" b="1" i="0" kern="1200">
                        <a:solidFill>
                          <a:schemeClr val="tx2"/>
                        </a:solidFill>
                        <a:latin typeface="+mj-lt"/>
                        <a:ea typeface="+mn-ea"/>
                        <a:cs typeface="Segoe Sans Text" pitchFamily="2" charset="0"/>
                      </a:endParaRP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tx1"/>
                          </a:solidFill>
                          <a:latin typeface="+mj-lt"/>
                          <a:ea typeface="+mj-ea"/>
                          <a:cs typeface="+mj-cs"/>
                          <a:sym typeface=""/>
                        </a:rPr>
                        <a:t>From FY25</a:t>
                      </a:r>
                    </a:p>
                  </a:txBody>
                  <a:tcPr marL="91441" marR="91441" marT="27432" marB="27432">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hangingPunct="1">
                        <a:lnSpc>
                          <a:spcPct val="100000"/>
                        </a:lnSpc>
                        <a:spcBef>
                          <a:spcPts val="0"/>
                        </a:spcBef>
                        <a:spcAft>
                          <a:spcPts val="0"/>
                        </a:spcAft>
                        <a:buFontTx/>
                        <a:buNone/>
                      </a:pPr>
                      <a:r>
                        <a:rPr lang="en-US" sz="800" b="0" i="0" u="none" strike="noStrike" kern="1200" cap="none" spc="0" normalizeH="0" baseline="0">
                          <a:solidFill>
                            <a:schemeClr val="accent1">
                              <a:lumMod val="100000"/>
                            </a:schemeClr>
                          </a:solidFill>
                          <a:latin typeface="+mj-lt"/>
                          <a:ea typeface="+mj-ea"/>
                          <a:cs typeface="+mj-cs"/>
                          <a:sym typeface=""/>
                        </a:rPr>
                        <a:t>To FY26</a:t>
                      </a:r>
                    </a:p>
                  </a:txBody>
                  <a:tcPr marL="91441" marR="91441" marT="27432" marB="27432">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05708746"/>
                  </a:ext>
                </a:extLst>
              </a:tr>
              <a:tr h="70985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Intensity</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Technical SME and Community lead in one Solution Area</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Technical IP &amp; Skilling development in one Solution Area</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200"/>
                        </a:spcAft>
                        <a:buClr>
                          <a:schemeClr val="tx1"/>
                        </a:buClr>
                        <a:buSzPct val="100000"/>
                        <a:buFont typeface="+mj-lt"/>
                        <a:buAutoNum type="arabicPeriod"/>
                        <a:tabLst/>
                        <a:defRPr/>
                      </a:pPr>
                      <a:r>
                        <a:rPr lang="en-US" sz="700" b="0" i="0" u="none" strike="noStrike" kern="1200" cap="none" spc="0" normalizeH="0" baseline="0">
                          <a:solidFill>
                            <a:schemeClr val="tx1"/>
                          </a:solidFill>
                          <a:latin typeface="+mn-lt"/>
                          <a:ea typeface="+mn-ea"/>
                          <a:cs typeface="Segoe Sans Text" pitchFamily="2" charset="0"/>
                        </a:rPr>
                        <a:t>Act as an AI Trusted Advisor by completing AI training and applying architecture best practices to accelerate customer adoption</a:t>
                      </a:r>
                    </a:p>
                    <a:p>
                      <a:pPr marL="109538" marR="0" lvl="0" indent="-109538"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Maintain accreditations &amp; certifications to deliver with Advanced and Expert level proficiency in Cloud &amp; AI Platform workloads</a:t>
                      </a:r>
                    </a:p>
                    <a:p>
                      <a:pPr marL="109538" marR="0" lvl="0" indent="-109538"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Lead local and global technical communities, coaching Champs and Tech Insiders to scale delivery</a:t>
                      </a:r>
                    </a:p>
                    <a:p>
                      <a:pPr marL="109538" marR="0" lvl="0" indent="-109538"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apture and share IP post-engagement, maintaining accurate delivery guides for repeatable execution.</a:t>
                      </a:r>
                      <a:endParaRPr lang="en-US" sz="700" b="0" i="0" u="none" strike="noStrike" kern="1200" cap="none" spc="0" normalizeH="0" baseline="0">
                        <a:solidFill>
                          <a:schemeClr val="accent1"/>
                        </a:solidFill>
                        <a:latin typeface="+mn-lt"/>
                        <a:ea typeface="+mn-ea"/>
                        <a:cs typeface="Segoe Sans Text" pitchFamily="2" charset="0"/>
                      </a:endParaRPr>
                    </a:p>
                    <a:p>
                      <a:pPr marL="109538" marR="0" lvl="0" indent="-109538" algn="l" defTabSz="914400" rtl="0" eaLnBrk="1" fontAlgn="auto" latinLnBrk="0" hangingPunct="1">
                        <a:lnSpc>
                          <a:spcPct val="100000"/>
                        </a:lnSpc>
                        <a:spcBef>
                          <a:spcPts val="0"/>
                        </a:spcBef>
                        <a:spcAft>
                          <a:spcPts val="200"/>
                        </a:spcAft>
                        <a:buClr>
                          <a:schemeClr val="tx1"/>
                        </a:buClr>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Support field skilling by publishing courses, landing plans, and enabling VBD adoption.</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85616540"/>
                  </a:ext>
                </a:extLst>
              </a:tr>
              <a:tr h="709859">
                <a:tc>
                  <a:txBody>
                    <a:bodyPr/>
                    <a:lstStyle/>
                    <a:p>
                      <a:pPr marL="0" marR="0" lvl="0" indent="0" algn="l" defTabSz="932742" rtl="0" eaLnBrk="1" fontAlgn="auto" latinLnBrk="0" hangingPunct="1">
                        <a:lnSpc>
                          <a:spcPct val="100000"/>
                        </a:lnSpc>
                        <a:spcBef>
                          <a:spcPts val="0"/>
                        </a:spcBef>
                        <a:spcAft>
                          <a:spcPts val="0"/>
                        </a:spcAft>
                        <a:buFontTx/>
                        <a:buNone/>
                      </a:pPr>
                      <a:r>
                        <a:rPr lang="en-US" sz="800" b="0" i="0" u="none" strike="noStrike" kern="1200" cap="none" spc="0" normalizeH="0" baseline="0">
                          <a:solidFill>
                            <a:schemeClr val="tx2"/>
                          </a:solidFill>
                          <a:latin typeface="+mj-lt"/>
                          <a:ea typeface="+mj-ea"/>
                          <a:cs typeface="+mj-cs"/>
                        </a:rPr>
                        <a:t>Delivery Excellence</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2C in 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rive Job 2 in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Deliver repeatable IP</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Azure consumption plan</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Factory pipeline</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Customer engagements to augment field capability on Innovative workload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C2C hands-on engagement in Unified accounts and oversight for risk mitigation in non-Unified accoun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repeatable IP to accelerate ACR. Prompt customer feedback and earn a VSAT score with each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Resolve UAT/TFT blockers and apply consultative delivery to drive next best actions and generate incremental pipeline from every delivery</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Achieve Factory targets through hands-on delivery, milestone ownership, and consistent use of repeatable IP</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149332"/>
                  </a:ext>
                </a:extLst>
              </a:tr>
              <a:tr h="84946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a:solidFill>
                            <a:schemeClr val="tx2"/>
                          </a:solidFill>
                          <a:latin typeface="+mj-lt"/>
                          <a:ea typeface="+mj-ea"/>
                          <a:cs typeface="+mj-cs"/>
                        </a:rPr>
                        <a:t>Technical Delivery Expertise </a:t>
                      </a:r>
                    </a:p>
                  </a:txBody>
                  <a:tcPr marL="45720" marR="45720" marT="18288" marB="18288">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Own committed production milestone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Contribute to IP development</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Unified ES/VAS Infrastructure</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a:solidFill>
                            <a:schemeClr val="tx1"/>
                          </a:solidFill>
                          <a:latin typeface="+mn-lt"/>
                          <a:ea typeface="+mn-ea"/>
                          <a:cs typeface="Segoe Sans Text" pitchFamily="2" charset="0"/>
                        </a:rPr>
                        <a:t>Factory related to Solution Area</a:t>
                      </a:r>
                    </a:p>
                  </a:txBody>
                  <a:tcPr marL="45720" marR="45720"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rive AI adoption by sharing Microsoft’s AI Ready best practices and storytelling with customers and partner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Deliver Secure Azure architectures, prioritizing Defender for Cloud and Network Security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Ensure networking, infrastructure, and data estate enable production scale AI use cases </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Resolve critical resiliency issues in mission-critical workloads using telemetry and WARA insight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Represent customer and partner feedback to influence Engineering’s roadmap and contribute to MBRs.</a:t>
                      </a:r>
                    </a:p>
                    <a:p>
                      <a:pPr marL="133350" marR="0" lvl="0" indent="-133350" algn="l" defTabSz="914400" rtl="0" eaLnBrk="1" fontAlgn="auto" latinLnBrk="0" hangingPunct="1">
                        <a:lnSpc>
                          <a:spcPct val="100000"/>
                        </a:lnSpc>
                        <a:spcBef>
                          <a:spcPts val="0"/>
                        </a:spcBef>
                        <a:spcAft>
                          <a:spcPts val="200"/>
                        </a:spcAft>
                        <a:buClrTx/>
                        <a:buSzPct val="100000"/>
                        <a:buFont typeface="+mj-lt"/>
                        <a:buAutoNum type="arabicPeriod"/>
                      </a:pPr>
                      <a:r>
                        <a:rPr lang="en-US" sz="700" b="0" i="0" u="none" strike="noStrike" kern="1200" cap="none" spc="0" normalizeH="0" baseline="0" noProof="0">
                          <a:solidFill>
                            <a:schemeClr val="tx1"/>
                          </a:solidFill>
                          <a:latin typeface="+mn-lt"/>
                          <a:ea typeface="+mn-ea"/>
                          <a:cs typeface="Segoe Sans Text" pitchFamily="2" charset="0"/>
                        </a:rPr>
                        <a:t>Factory &amp; Unified – all Cloud &amp; AI offers</a:t>
                      </a:r>
                    </a:p>
                  </a:txBody>
                  <a:tcPr marL="45720" marR="45720" marT="18288" marB="18288">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7305964"/>
                  </a:ext>
                </a:extLst>
              </a:tr>
            </a:tbl>
          </a:graphicData>
        </a:graphic>
      </p:graphicFrame>
      <p:sp>
        <p:nvSpPr>
          <p:cNvPr id="40" name="Graphic 13">
            <a:extLst>
              <a:ext uri="{FF2B5EF4-FFF2-40B4-BE49-F238E27FC236}">
                <a16:creationId xmlns:a16="http://schemas.microsoft.com/office/drawing/2014/main" id="{517D39A3-4A7E-E037-88E4-232900EC29E4}"/>
              </a:ext>
              <a:ext uri="{C183D7F6-B498-43B3-948B-1728B52AA6E4}">
                <adec:decorative xmlns:adec="http://schemas.microsoft.com/office/drawing/2017/decorative" val="1"/>
              </a:ext>
            </a:extLst>
          </p:cNvPr>
          <p:cNvSpPr>
            <a:spLocks/>
          </p:cNvSpPr>
          <p:nvPr>
            <p:custDataLst>
              <p:tags r:id="rId1"/>
            </p:custDataLst>
          </p:nvPr>
        </p:nvSpPr>
        <p:spPr>
          <a:xfrm>
            <a:off x="415652" y="1294831"/>
            <a:ext cx="194566" cy="115092"/>
          </a:xfrm>
          <a:custGeom>
            <a:avLst/>
            <a:gdLst>
              <a:gd name="connsiteX0" fmla="*/ 92587 w 185205"/>
              <a:gd name="connsiteY0" fmla="*/ 33385 h 109585"/>
              <a:gd name="connsiteX1" fmla="*/ 130687 w 185205"/>
              <a:gd name="connsiteY1" fmla="*/ 71485 h 109585"/>
              <a:gd name="connsiteX2" fmla="*/ 92587 w 185205"/>
              <a:gd name="connsiteY2" fmla="*/ 109585 h 109585"/>
              <a:gd name="connsiteX3" fmla="*/ 54487 w 185205"/>
              <a:gd name="connsiteY3" fmla="*/ 71485 h 109585"/>
              <a:gd name="connsiteX4" fmla="*/ 92587 w 185205"/>
              <a:gd name="connsiteY4" fmla="*/ 33385 h 109585"/>
              <a:gd name="connsiteX5" fmla="*/ 92587 w 185205"/>
              <a:gd name="connsiteY5" fmla="*/ 0 h 109585"/>
              <a:gd name="connsiteX6" fmla="*/ 184989 w 185205"/>
              <a:gd name="connsiteY6" fmla="*/ 72047 h 109585"/>
              <a:gd name="connsiteX7" fmla="*/ 179798 w 185205"/>
              <a:gd name="connsiteY7" fmla="*/ 80715 h 109585"/>
              <a:gd name="connsiteX8" fmla="*/ 171130 w 185205"/>
              <a:gd name="connsiteY8" fmla="*/ 75524 h 109585"/>
              <a:gd name="connsiteX9" fmla="*/ 72825 w 185205"/>
              <a:gd name="connsiteY9" fmla="*/ 16742 h 109585"/>
              <a:gd name="connsiteX10" fmla="*/ 14034 w 185205"/>
              <a:gd name="connsiteY10" fmla="*/ 75562 h 109585"/>
              <a:gd name="connsiteX11" fmla="*/ 5256 w 185205"/>
              <a:gd name="connsiteY11" fmla="*/ 80562 h 109585"/>
              <a:gd name="connsiteX12" fmla="*/ 176 w 185205"/>
              <a:gd name="connsiteY12" fmla="*/ 72104 h 109585"/>
              <a:gd name="connsiteX13" fmla="*/ 92587 w 185205"/>
              <a:gd name="connsiteY13" fmla="*/ 0 h 10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205" h="109585">
                <a:moveTo>
                  <a:pt x="92587" y="33385"/>
                </a:moveTo>
                <a:cubicBezTo>
                  <a:pt x="113629" y="33385"/>
                  <a:pt x="130687" y="50443"/>
                  <a:pt x="130687" y="71485"/>
                </a:cubicBezTo>
                <a:cubicBezTo>
                  <a:pt x="130687" y="92527"/>
                  <a:pt x="113629" y="109585"/>
                  <a:pt x="92587" y="109585"/>
                </a:cubicBezTo>
                <a:cubicBezTo>
                  <a:pt x="71545" y="109585"/>
                  <a:pt x="54487" y="92527"/>
                  <a:pt x="54487" y="71485"/>
                </a:cubicBezTo>
                <a:cubicBezTo>
                  <a:pt x="54487" y="50443"/>
                  <a:pt x="71545" y="33385"/>
                  <a:pt x="92587" y="33385"/>
                </a:cubicBezTo>
                <a:close/>
                <a:moveTo>
                  <a:pt x="92587" y="0"/>
                </a:moveTo>
                <a:cubicBezTo>
                  <a:pt x="136526" y="0"/>
                  <a:pt x="174464" y="30004"/>
                  <a:pt x="184989" y="72047"/>
                </a:cubicBezTo>
                <a:cubicBezTo>
                  <a:pt x="185949" y="75874"/>
                  <a:pt x="183625" y="79755"/>
                  <a:pt x="179798" y="80715"/>
                </a:cubicBezTo>
                <a:cubicBezTo>
                  <a:pt x="175971" y="81675"/>
                  <a:pt x="172090" y="79351"/>
                  <a:pt x="171130" y="75524"/>
                </a:cubicBezTo>
                <a:cubicBezTo>
                  <a:pt x="160217" y="32146"/>
                  <a:pt x="116203" y="5828"/>
                  <a:pt x="72825" y="16742"/>
                </a:cubicBezTo>
                <a:cubicBezTo>
                  <a:pt x="43890" y="24023"/>
                  <a:pt x="21301" y="46623"/>
                  <a:pt x="14034" y="75562"/>
                </a:cubicBezTo>
                <a:cubicBezTo>
                  <a:pt x="12991" y="79367"/>
                  <a:pt x="9061" y="81605"/>
                  <a:pt x="5256" y="80562"/>
                </a:cubicBezTo>
                <a:cubicBezTo>
                  <a:pt x="1575" y="79553"/>
                  <a:pt x="-662" y="75828"/>
                  <a:pt x="176" y="72104"/>
                </a:cubicBezTo>
                <a:cubicBezTo>
                  <a:pt x="10803" y="29724"/>
                  <a:pt x="48894" y="3"/>
                  <a:pt x="92587" y="0"/>
                </a:cubicBezTo>
                <a:close/>
              </a:path>
            </a:pathLst>
          </a:custGeom>
          <a:solidFill>
            <a:schemeClr val="tx2"/>
          </a:solidFill>
          <a:ln w="150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41" name="Graphic 40">
            <a:extLst>
              <a:ext uri="{FF2B5EF4-FFF2-40B4-BE49-F238E27FC236}">
                <a16:creationId xmlns:a16="http://schemas.microsoft.com/office/drawing/2014/main" id="{2F1D7824-8D43-514F-E85C-96292530765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2151" y="1278196"/>
            <a:ext cx="216248" cy="216246"/>
          </a:xfrm>
          <a:prstGeom prst="rect">
            <a:avLst/>
          </a:prstGeom>
        </p:spPr>
      </p:pic>
      <p:sp>
        <p:nvSpPr>
          <p:cNvPr id="4" name="Rectangle: Rounded Corners 3">
            <a:extLst>
              <a:ext uri="{FF2B5EF4-FFF2-40B4-BE49-F238E27FC236}">
                <a16:creationId xmlns:a16="http://schemas.microsoft.com/office/drawing/2014/main" id="{DB820877-2DE6-4EAE-73A4-AA8F049A11B5}"/>
              </a:ext>
              <a:ext uri="{C183D7F6-B498-43B3-948B-1728B52AA6E4}">
                <adec:decorative xmlns:adec="http://schemas.microsoft.com/office/drawing/2017/decorative" val="1"/>
              </a:ext>
            </a:extLst>
          </p:cNvPr>
          <p:cNvSpPr/>
          <p:nvPr/>
        </p:nvSpPr>
        <p:spPr bwMode="auto">
          <a:xfrm>
            <a:off x="304800" y="4136851"/>
            <a:ext cx="2242520"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 name="Rectangle: Rounded Corners 4">
            <a:extLst>
              <a:ext uri="{FF2B5EF4-FFF2-40B4-BE49-F238E27FC236}">
                <a16:creationId xmlns:a16="http://schemas.microsoft.com/office/drawing/2014/main" id="{6F6796FA-165D-2DBA-E693-BAC535B399E4}"/>
              </a:ext>
              <a:ext uri="{C183D7F6-B498-43B3-948B-1728B52AA6E4}">
                <adec:decorative xmlns:adec="http://schemas.microsoft.com/office/drawing/2017/decorative" val="1"/>
              </a:ext>
            </a:extLst>
          </p:cNvPr>
          <p:cNvSpPr/>
          <p:nvPr/>
        </p:nvSpPr>
        <p:spPr>
          <a:xfrm>
            <a:off x="304800" y="4173764"/>
            <a:ext cx="2242520"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 name="Rectangle 5">
            <a:extLst>
              <a:ext uri="{FF2B5EF4-FFF2-40B4-BE49-F238E27FC236}">
                <a16:creationId xmlns:a16="http://schemas.microsoft.com/office/drawing/2014/main" id="{7FA731FE-398E-DC7D-0043-DAD5BACBDF6D}"/>
              </a:ext>
            </a:extLst>
          </p:cNvPr>
          <p:cNvSpPr/>
          <p:nvPr/>
        </p:nvSpPr>
        <p:spPr>
          <a:xfrm>
            <a:off x="664916"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300"/>
              </a:spcAft>
              <a:buClr>
                <a:srgbClr val="CC0000"/>
              </a:buClr>
              <a:buSzPct val="110000"/>
              <a:buFontTx/>
              <a:buNone/>
              <a:tabLst>
                <a:tab pos="279400" algn="l"/>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olution Area Key Enablers</a:t>
            </a:r>
          </a:p>
        </p:txBody>
      </p:sp>
      <p:sp>
        <p:nvSpPr>
          <p:cNvPr id="7" name="Graphic 73">
            <a:extLst>
              <a:ext uri="{FF2B5EF4-FFF2-40B4-BE49-F238E27FC236}">
                <a16:creationId xmlns:a16="http://schemas.microsoft.com/office/drawing/2014/main" id="{6A418803-B989-797B-C6A6-7DBE35B96919}"/>
              </a:ext>
              <a:ext uri="{C183D7F6-B498-43B3-948B-1728B52AA6E4}">
                <adec:decorative xmlns:adec="http://schemas.microsoft.com/office/drawing/2017/decorative" val="1"/>
              </a:ext>
            </a:extLst>
          </p:cNvPr>
          <p:cNvSpPr/>
          <p:nvPr/>
        </p:nvSpPr>
        <p:spPr>
          <a:xfrm>
            <a:off x="425445" y="4252597"/>
            <a:ext cx="169787" cy="176826"/>
          </a:xfrm>
          <a:custGeom>
            <a:avLst/>
            <a:gdLst>
              <a:gd name="connsiteX0" fmla="*/ 84991 w 169787"/>
              <a:gd name="connsiteY0" fmla="*/ 0 h 176826"/>
              <a:gd name="connsiteX1" fmla="*/ 104773 w 169787"/>
              <a:gd name="connsiteY1" fmla="*/ 2295 h 176826"/>
              <a:gd name="connsiteX2" fmla="*/ 110051 w 169787"/>
              <a:gd name="connsiteY2" fmla="*/ 8179 h 176826"/>
              <a:gd name="connsiteX3" fmla="*/ 111595 w 169787"/>
              <a:gd name="connsiteY3" fmla="*/ 22025 h 176826"/>
              <a:gd name="connsiteX4" fmla="*/ 124059 w 169787"/>
              <a:gd name="connsiteY4" fmla="*/ 33203 h 176826"/>
              <a:gd name="connsiteX5" fmla="*/ 129070 w 169787"/>
              <a:gd name="connsiteY5" fmla="*/ 32145 h 176826"/>
              <a:gd name="connsiteX6" fmla="*/ 141771 w 169787"/>
              <a:gd name="connsiteY6" fmla="*/ 26565 h 176826"/>
              <a:gd name="connsiteX7" fmla="*/ 149471 w 169787"/>
              <a:gd name="connsiteY7" fmla="*/ 28144 h 176826"/>
              <a:gd name="connsiteX8" fmla="*/ 169464 w 169787"/>
              <a:gd name="connsiteY8" fmla="*/ 62529 h 176826"/>
              <a:gd name="connsiteX9" fmla="*/ 167004 w 169787"/>
              <a:gd name="connsiteY9" fmla="*/ 70019 h 176826"/>
              <a:gd name="connsiteX10" fmla="*/ 155746 w 169787"/>
              <a:gd name="connsiteY10" fmla="*/ 78317 h 176826"/>
              <a:gd name="connsiteX11" fmla="*/ 150638 w 169787"/>
              <a:gd name="connsiteY11" fmla="*/ 88409 h 176826"/>
              <a:gd name="connsiteX12" fmla="*/ 155753 w 169787"/>
              <a:gd name="connsiteY12" fmla="*/ 98505 h 176826"/>
              <a:gd name="connsiteX13" fmla="*/ 167020 w 169787"/>
              <a:gd name="connsiteY13" fmla="*/ 106806 h 176826"/>
              <a:gd name="connsiteX14" fmla="*/ 169482 w 169787"/>
              <a:gd name="connsiteY14" fmla="*/ 114296 h 176826"/>
              <a:gd name="connsiteX15" fmla="*/ 149500 w 169787"/>
              <a:gd name="connsiteY15" fmla="*/ 148681 h 176826"/>
              <a:gd name="connsiteX16" fmla="*/ 141805 w 169787"/>
              <a:gd name="connsiteY16" fmla="*/ 150263 h 176826"/>
              <a:gd name="connsiteX17" fmla="*/ 129052 w 169787"/>
              <a:gd name="connsiteY17" fmla="*/ 144676 h 176826"/>
              <a:gd name="connsiteX18" fmla="*/ 117765 w 169787"/>
              <a:gd name="connsiteY18" fmla="*/ 145306 h 176826"/>
              <a:gd name="connsiteX19" fmla="*/ 111585 w 169787"/>
              <a:gd name="connsiteY19" fmla="*/ 154771 h 176826"/>
              <a:gd name="connsiteX20" fmla="*/ 110052 w 169787"/>
              <a:gd name="connsiteY20" fmla="*/ 168615 h 176826"/>
              <a:gd name="connsiteX21" fmla="*/ 104866 w 169787"/>
              <a:gd name="connsiteY21" fmla="*/ 174483 h 176826"/>
              <a:gd name="connsiteX22" fmla="*/ 64913 w 169787"/>
              <a:gd name="connsiteY22" fmla="*/ 174483 h 176826"/>
              <a:gd name="connsiteX23" fmla="*/ 59727 w 169787"/>
              <a:gd name="connsiteY23" fmla="*/ 168615 h 176826"/>
              <a:gd name="connsiteX24" fmla="*/ 58196 w 169787"/>
              <a:gd name="connsiteY24" fmla="*/ 154791 h 176826"/>
              <a:gd name="connsiteX25" fmla="*/ 52003 w 169787"/>
              <a:gd name="connsiteY25" fmla="*/ 145352 h 176826"/>
              <a:gd name="connsiteX26" fmla="*/ 40739 w 169787"/>
              <a:gd name="connsiteY26" fmla="*/ 144721 h 176826"/>
              <a:gd name="connsiteX27" fmla="*/ 27983 w 169787"/>
              <a:gd name="connsiteY27" fmla="*/ 150308 h 176826"/>
              <a:gd name="connsiteX28" fmla="*/ 20286 w 169787"/>
              <a:gd name="connsiteY28" fmla="*/ 148724 h 176826"/>
              <a:gd name="connsiteX29" fmla="*/ 304 w 169787"/>
              <a:gd name="connsiteY29" fmla="*/ 114301 h 176826"/>
              <a:gd name="connsiteX30" fmla="*/ 2768 w 169787"/>
              <a:gd name="connsiteY30" fmla="*/ 106815 h 176826"/>
              <a:gd name="connsiteX31" fmla="*/ 14042 w 169787"/>
              <a:gd name="connsiteY31" fmla="*/ 98509 h 176826"/>
              <a:gd name="connsiteX32" fmla="*/ 19150 w 169787"/>
              <a:gd name="connsiteY32" fmla="*/ 88418 h 176826"/>
              <a:gd name="connsiteX33" fmla="*/ 14038 w 169787"/>
              <a:gd name="connsiteY33" fmla="*/ 78323 h 176826"/>
              <a:gd name="connsiteX34" fmla="*/ 2770 w 169787"/>
              <a:gd name="connsiteY34" fmla="*/ 70031 h 176826"/>
              <a:gd name="connsiteX35" fmla="*/ 306 w 169787"/>
              <a:gd name="connsiteY35" fmla="*/ 62538 h 176826"/>
              <a:gd name="connsiteX36" fmla="*/ 20299 w 169787"/>
              <a:gd name="connsiteY36" fmla="*/ 28153 h 176826"/>
              <a:gd name="connsiteX37" fmla="*/ 27998 w 169787"/>
              <a:gd name="connsiteY37" fmla="*/ 26574 h 176826"/>
              <a:gd name="connsiteX38" fmla="*/ 40697 w 169787"/>
              <a:gd name="connsiteY38" fmla="*/ 32153 h 176826"/>
              <a:gd name="connsiteX39" fmla="*/ 52015 w 169787"/>
              <a:gd name="connsiteY39" fmla="*/ 31490 h 176826"/>
              <a:gd name="connsiteX40" fmla="*/ 58203 w 169787"/>
              <a:gd name="connsiteY40" fmla="*/ 22014 h 176826"/>
              <a:gd name="connsiteX41" fmla="*/ 59746 w 169787"/>
              <a:gd name="connsiteY41" fmla="*/ 8179 h 176826"/>
              <a:gd name="connsiteX42" fmla="*/ 65028 w 169787"/>
              <a:gd name="connsiteY42" fmla="*/ 2294 h 176826"/>
              <a:gd name="connsiteX43" fmla="*/ 84991 w 169787"/>
              <a:gd name="connsiteY43" fmla="*/ 0 h 176826"/>
              <a:gd name="connsiteX44" fmla="*/ 84993 w 169787"/>
              <a:gd name="connsiteY44" fmla="*/ 13601 h 176826"/>
              <a:gd name="connsiteX45" fmla="*/ 72709 w 169787"/>
              <a:gd name="connsiteY45" fmla="*/ 14663 h 176826"/>
              <a:gd name="connsiteX46" fmla="*/ 71721 w 169787"/>
              <a:gd name="connsiteY46" fmla="*/ 23524 h 176826"/>
              <a:gd name="connsiteX47" fmla="*/ 58859 w 169787"/>
              <a:gd name="connsiteY47" fmla="*/ 43246 h 176826"/>
              <a:gd name="connsiteX48" fmla="*/ 35229 w 169787"/>
              <a:gd name="connsiteY48" fmla="*/ 44607 h 176826"/>
              <a:gd name="connsiteX49" fmla="*/ 27083 w 169787"/>
              <a:gd name="connsiteY49" fmla="*/ 41029 h 176826"/>
              <a:gd name="connsiteX50" fmla="*/ 14861 w 169787"/>
              <a:gd name="connsiteY50" fmla="*/ 62041 h 176826"/>
              <a:gd name="connsiteX51" fmla="*/ 22096 w 169787"/>
              <a:gd name="connsiteY51" fmla="*/ 67365 h 176826"/>
              <a:gd name="connsiteX52" fmla="*/ 32752 w 169787"/>
              <a:gd name="connsiteY52" fmla="*/ 88418 h 176826"/>
              <a:gd name="connsiteX53" fmla="*/ 22103 w 169787"/>
              <a:gd name="connsiteY53" fmla="*/ 109465 h 176826"/>
              <a:gd name="connsiteX54" fmla="*/ 14857 w 169787"/>
              <a:gd name="connsiteY54" fmla="*/ 114803 h 176826"/>
              <a:gd name="connsiteX55" fmla="*/ 27080 w 169787"/>
              <a:gd name="connsiteY55" fmla="*/ 135854 h 176826"/>
              <a:gd name="connsiteX56" fmla="*/ 35288 w 169787"/>
              <a:gd name="connsiteY56" fmla="*/ 132258 h 176826"/>
              <a:gd name="connsiteX57" fmla="*/ 58796 w 169787"/>
              <a:gd name="connsiteY57" fmla="*/ 133567 h 176826"/>
              <a:gd name="connsiteX58" fmla="*/ 71713 w 169787"/>
              <a:gd name="connsiteY58" fmla="*/ 153273 h 176826"/>
              <a:gd name="connsiteX59" fmla="*/ 72702 w 169787"/>
              <a:gd name="connsiteY59" fmla="*/ 162196 h 176826"/>
              <a:gd name="connsiteX60" fmla="*/ 97078 w 169787"/>
              <a:gd name="connsiteY60" fmla="*/ 162196 h 176826"/>
              <a:gd name="connsiteX61" fmla="*/ 98066 w 169787"/>
              <a:gd name="connsiteY61" fmla="*/ 153274 h 176826"/>
              <a:gd name="connsiteX62" fmla="*/ 110960 w 169787"/>
              <a:gd name="connsiteY62" fmla="*/ 133530 h 176826"/>
              <a:gd name="connsiteX63" fmla="*/ 134508 w 169787"/>
              <a:gd name="connsiteY63" fmla="*/ 132217 h 176826"/>
              <a:gd name="connsiteX64" fmla="*/ 142709 w 169787"/>
              <a:gd name="connsiteY64" fmla="*/ 135809 h 176826"/>
              <a:gd name="connsiteX65" fmla="*/ 154928 w 169787"/>
              <a:gd name="connsiteY65" fmla="*/ 114792 h 176826"/>
              <a:gd name="connsiteX66" fmla="*/ 147692 w 169787"/>
              <a:gd name="connsiteY66" fmla="*/ 109461 h 176826"/>
              <a:gd name="connsiteX67" fmla="*/ 137036 w 169787"/>
              <a:gd name="connsiteY67" fmla="*/ 88409 h 176826"/>
              <a:gd name="connsiteX68" fmla="*/ 147684 w 169787"/>
              <a:gd name="connsiteY68" fmla="*/ 67362 h 176826"/>
              <a:gd name="connsiteX69" fmla="*/ 154910 w 169787"/>
              <a:gd name="connsiteY69" fmla="*/ 62035 h 176826"/>
              <a:gd name="connsiteX70" fmla="*/ 142687 w 169787"/>
              <a:gd name="connsiteY70" fmla="*/ 41020 h 176826"/>
              <a:gd name="connsiteX71" fmla="*/ 134558 w 169787"/>
              <a:gd name="connsiteY71" fmla="*/ 44591 h 176826"/>
              <a:gd name="connsiteX72" fmla="*/ 124042 w 169787"/>
              <a:gd name="connsiteY72" fmla="*/ 46805 h 176826"/>
              <a:gd name="connsiteX73" fmla="*/ 98075 w 169787"/>
              <a:gd name="connsiteY73" fmla="*/ 23521 h 176826"/>
              <a:gd name="connsiteX74" fmla="*/ 97087 w 169787"/>
              <a:gd name="connsiteY74" fmla="*/ 14660 h 176826"/>
              <a:gd name="connsiteX75" fmla="*/ 84993 w 169787"/>
              <a:gd name="connsiteY75" fmla="*/ 13601 h 176826"/>
              <a:gd name="connsiteX76" fmla="*/ 84877 w 169787"/>
              <a:gd name="connsiteY76" fmla="*/ 54408 h 176826"/>
              <a:gd name="connsiteX77" fmla="*/ 118883 w 169787"/>
              <a:gd name="connsiteY77" fmla="*/ 88413 h 176826"/>
              <a:gd name="connsiteX78" fmla="*/ 84877 w 169787"/>
              <a:gd name="connsiteY78" fmla="*/ 122419 h 176826"/>
              <a:gd name="connsiteX79" fmla="*/ 50872 w 169787"/>
              <a:gd name="connsiteY79" fmla="*/ 88413 h 176826"/>
              <a:gd name="connsiteX80" fmla="*/ 84877 w 169787"/>
              <a:gd name="connsiteY80" fmla="*/ 54408 h 176826"/>
              <a:gd name="connsiteX81" fmla="*/ 84877 w 169787"/>
              <a:gd name="connsiteY81" fmla="*/ 68010 h 176826"/>
              <a:gd name="connsiteX82" fmla="*/ 64474 w 169787"/>
              <a:gd name="connsiteY82" fmla="*/ 88413 h 176826"/>
              <a:gd name="connsiteX83" fmla="*/ 84877 w 169787"/>
              <a:gd name="connsiteY83" fmla="*/ 108817 h 176826"/>
              <a:gd name="connsiteX84" fmla="*/ 105280 w 169787"/>
              <a:gd name="connsiteY84" fmla="*/ 88413 h 176826"/>
              <a:gd name="connsiteX85" fmla="*/ 84877 w 169787"/>
              <a:gd name="connsiteY85" fmla="*/ 68010 h 1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69787" h="176826">
                <a:moveTo>
                  <a:pt x="84991" y="0"/>
                </a:moveTo>
                <a:cubicBezTo>
                  <a:pt x="91647" y="77"/>
                  <a:pt x="98276" y="846"/>
                  <a:pt x="104773" y="2295"/>
                </a:cubicBezTo>
                <a:cubicBezTo>
                  <a:pt x="107608" y="2927"/>
                  <a:pt x="109729" y="5291"/>
                  <a:pt x="110051" y="8179"/>
                </a:cubicBezTo>
                <a:lnTo>
                  <a:pt x="111595" y="22025"/>
                </a:lnTo>
                <a:cubicBezTo>
                  <a:pt x="112294" y="28382"/>
                  <a:pt x="117661" y="33197"/>
                  <a:pt x="124059" y="33203"/>
                </a:cubicBezTo>
                <a:cubicBezTo>
                  <a:pt x="125780" y="33206"/>
                  <a:pt x="127481" y="32848"/>
                  <a:pt x="129070" y="32145"/>
                </a:cubicBezTo>
                <a:lnTo>
                  <a:pt x="141771" y="26565"/>
                </a:lnTo>
                <a:cubicBezTo>
                  <a:pt x="144413" y="25405"/>
                  <a:pt x="147499" y="26038"/>
                  <a:pt x="149471" y="28144"/>
                </a:cubicBezTo>
                <a:cubicBezTo>
                  <a:pt x="158649" y="37946"/>
                  <a:pt x="165485" y="49703"/>
                  <a:pt x="169464" y="62529"/>
                </a:cubicBezTo>
                <a:cubicBezTo>
                  <a:pt x="170322" y="65295"/>
                  <a:pt x="169334" y="68301"/>
                  <a:pt x="167004" y="70019"/>
                </a:cubicBezTo>
                <a:lnTo>
                  <a:pt x="155746" y="78317"/>
                </a:lnTo>
                <a:cubicBezTo>
                  <a:pt x="152534" y="80677"/>
                  <a:pt x="150638" y="84423"/>
                  <a:pt x="150638" y="88409"/>
                </a:cubicBezTo>
                <a:cubicBezTo>
                  <a:pt x="150638" y="92393"/>
                  <a:pt x="152534" y="96140"/>
                  <a:pt x="155753" y="98505"/>
                </a:cubicBezTo>
                <a:lnTo>
                  <a:pt x="167020" y="106806"/>
                </a:lnTo>
                <a:cubicBezTo>
                  <a:pt x="169352" y="108524"/>
                  <a:pt x="170340" y="111530"/>
                  <a:pt x="169482" y="114296"/>
                </a:cubicBezTo>
                <a:cubicBezTo>
                  <a:pt x="165505" y="127120"/>
                  <a:pt x="158673" y="138876"/>
                  <a:pt x="149500" y="148681"/>
                </a:cubicBezTo>
                <a:cubicBezTo>
                  <a:pt x="147530" y="150786"/>
                  <a:pt x="144446" y="151421"/>
                  <a:pt x="141805" y="150263"/>
                </a:cubicBezTo>
                <a:lnTo>
                  <a:pt x="129052" y="144676"/>
                </a:lnTo>
                <a:cubicBezTo>
                  <a:pt x="125403" y="143079"/>
                  <a:pt x="121214" y="143313"/>
                  <a:pt x="117765" y="145306"/>
                </a:cubicBezTo>
                <a:cubicBezTo>
                  <a:pt x="114318" y="147299"/>
                  <a:pt x="112023" y="150812"/>
                  <a:pt x="111585" y="154771"/>
                </a:cubicBezTo>
                <a:lnTo>
                  <a:pt x="110052" y="168615"/>
                </a:lnTo>
                <a:cubicBezTo>
                  <a:pt x="109736" y="171469"/>
                  <a:pt x="107661" y="173818"/>
                  <a:pt x="104866" y="174483"/>
                </a:cubicBezTo>
                <a:cubicBezTo>
                  <a:pt x="91732" y="177608"/>
                  <a:pt x="78047" y="177608"/>
                  <a:pt x="64913" y="174483"/>
                </a:cubicBezTo>
                <a:cubicBezTo>
                  <a:pt x="62118" y="173818"/>
                  <a:pt x="60043" y="171469"/>
                  <a:pt x="59727" y="168615"/>
                </a:cubicBezTo>
                <a:lnTo>
                  <a:pt x="58196" y="154791"/>
                </a:lnTo>
                <a:cubicBezTo>
                  <a:pt x="57746" y="150841"/>
                  <a:pt x="55448" y="147338"/>
                  <a:pt x="52003" y="145352"/>
                </a:cubicBezTo>
                <a:cubicBezTo>
                  <a:pt x="48558" y="143366"/>
                  <a:pt x="44375" y="143133"/>
                  <a:pt x="40739" y="144721"/>
                </a:cubicBezTo>
                <a:lnTo>
                  <a:pt x="27983" y="150308"/>
                </a:lnTo>
                <a:cubicBezTo>
                  <a:pt x="25341" y="151466"/>
                  <a:pt x="22256" y="150831"/>
                  <a:pt x="20286" y="148724"/>
                </a:cubicBezTo>
                <a:cubicBezTo>
                  <a:pt x="11108" y="138909"/>
                  <a:pt x="4276" y="127138"/>
                  <a:pt x="304" y="114301"/>
                </a:cubicBezTo>
                <a:cubicBezTo>
                  <a:pt x="-551" y="111536"/>
                  <a:pt x="437" y="108532"/>
                  <a:pt x="2768" y="106815"/>
                </a:cubicBezTo>
                <a:lnTo>
                  <a:pt x="14042" y="98509"/>
                </a:lnTo>
                <a:cubicBezTo>
                  <a:pt x="17254" y="96149"/>
                  <a:pt x="19150" y="92402"/>
                  <a:pt x="19150" y="88418"/>
                </a:cubicBezTo>
                <a:cubicBezTo>
                  <a:pt x="19150" y="84433"/>
                  <a:pt x="17254" y="80686"/>
                  <a:pt x="14038" y="78323"/>
                </a:cubicBezTo>
                <a:lnTo>
                  <a:pt x="2770" y="70031"/>
                </a:lnTo>
                <a:cubicBezTo>
                  <a:pt x="437" y="68314"/>
                  <a:pt x="-553" y="65306"/>
                  <a:pt x="306" y="62538"/>
                </a:cubicBezTo>
                <a:cubicBezTo>
                  <a:pt x="4284" y="49712"/>
                  <a:pt x="11120" y="37956"/>
                  <a:pt x="20299" y="28153"/>
                </a:cubicBezTo>
                <a:cubicBezTo>
                  <a:pt x="22271" y="26047"/>
                  <a:pt x="25357" y="25414"/>
                  <a:pt x="27998" y="26574"/>
                </a:cubicBezTo>
                <a:lnTo>
                  <a:pt x="40697" y="32153"/>
                </a:lnTo>
                <a:cubicBezTo>
                  <a:pt x="44351" y="33756"/>
                  <a:pt x="48552" y="33514"/>
                  <a:pt x="52015" y="31490"/>
                </a:cubicBezTo>
                <a:cubicBezTo>
                  <a:pt x="55464" y="29490"/>
                  <a:pt x="57760" y="25973"/>
                  <a:pt x="58203" y="22014"/>
                </a:cubicBezTo>
                <a:lnTo>
                  <a:pt x="59746" y="8179"/>
                </a:lnTo>
                <a:cubicBezTo>
                  <a:pt x="60068" y="5290"/>
                  <a:pt x="62191" y="2925"/>
                  <a:pt x="65028" y="2294"/>
                </a:cubicBezTo>
                <a:cubicBezTo>
                  <a:pt x="71533" y="847"/>
                  <a:pt x="78170" y="78"/>
                  <a:pt x="84991" y="0"/>
                </a:cubicBezTo>
                <a:close/>
                <a:moveTo>
                  <a:pt x="84993" y="13601"/>
                </a:moveTo>
                <a:cubicBezTo>
                  <a:pt x="80875" y="13650"/>
                  <a:pt x="76770" y="14005"/>
                  <a:pt x="72709" y="14663"/>
                </a:cubicBezTo>
                <a:lnTo>
                  <a:pt x="71721" y="23524"/>
                </a:lnTo>
                <a:cubicBezTo>
                  <a:pt x="70798" y="31772"/>
                  <a:pt x="66019" y="39093"/>
                  <a:pt x="58859" y="43246"/>
                </a:cubicBezTo>
                <a:cubicBezTo>
                  <a:pt x="51654" y="47455"/>
                  <a:pt x="42871" y="47961"/>
                  <a:pt x="35229" y="44607"/>
                </a:cubicBezTo>
                <a:lnTo>
                  <a:pt x="27083" y="41029"/>
                </a:lnTo>
                <a:cubicBezTo>
                  <a:pt x="21897" y="47324"/>
                  <a:pt x="17769" y="54420"/>
                  <a:pt x="14861" y="62041"/>
                </a:cubicBezTo>
                <a:lnTo>
                  <a:pt x="22096" y="67365"/>
                </a:lnTo>
                <a:cubicBezTo>
                  <a:pt x="28795" y="72287"/>
                  <a:pt x="32752" y="80104"/>
                  <a:pt x="32752" y="88418"/>
                </a:cubicBezTo>
                <a:cubicBezTo>
                  <a:pt x="32752" y="96731"/>
                  <a:pt x="28795" y="104548"/>
                  <a:pt x="22103" y="109465"/>
                </a:cubicBezTo>
                <a:lnTo>
                  <a:pt x="14857" y="114803"/>
                </a:lnTo>
                <a:cubicBezTo>
                  <a:pt x="17762" y="122437"/>
                  <a:pt x="21891" y="129547"/>
                  <a:pt x="27080" y="135854"/>
                </a:cubicBezTo>
                <a:lnTo>
                  <a:pt x="35288" y="132258"/>
                </a:lnTo>
                <a:cubicBezTo>
                  <a:pt x="42888" y="128940"/>
                  <a:pt x="51612" y="129425"/>
                  <a:pt x="58796" y="133567"/>
                </a:cubicBezTo>
                <a:cubicBezTo>
                  <a:pt x="65981" y="137708"/>
                  <a:pt x="70773" y="145013"/>
                  <a:pt x="71713" y="153273"/>
                </a:cubicBezTo>
                <a:lnTo>
                  <a:pt x="72702" y="162196"/>
                </a:lnTo>
                <a:cubicBezTo>
                  <a:pt x="80769" y="163568"/>
                  <a:pt x="89011" y="163568"/>
                  <a:pt x="97078" y="162196"/>
                </a:cubicBezTo>
                <a:lnTo>
                  <a:pt x="98066" y="153274"/>
                </a:lnTo>
                <a:cubicBezTo>
                  <a:pt x="98980" y="145017"/>
                  <a:pt x="103767" y="137686"/>
                  <a:pt x="110960" y="133530"/>
                </a:cubicBezTo>
                <a:cubicBezTo>
                  <a:pt x="118153" y="129372"/>
                  <a:pt x="126894" y="128884"/>
                  <a:pt x="134508" y="132217"/>
                </a:cubicBezTo>
                <a:lnTo>
                  <a:pt x="142709" y="135809"/>
                </a:lnTo>
                <a:cubicBezTo>
                  <a:pt x="147894" y="129513"/>
                  <a:pt x="152021" y="122414"/>
                  <a:pt x="154928" y="114792"/>
                </a:cubicBezTo>
                <a:lnTo>
                  <a:pt x="147692" y="109461"/>
                </a:lnTo>
                <a:cubicBezTo>
                  <a:pt x="140992" y="104539"/>
                  <a:pt x="137036" y="96722"/>
                  <a:pt x="137036" y="88409"/>
                </a:cubicBezTo>
                <a:cubicBezTo>
                  <a:pt x="137036" y="80095"/>
                  <a:pt x="140992" y="72278"/>
                  <a:pt x="147684" y="67362"/>
                </a:cubicBezTo>
                <a:lnTo>
                  <a:pt x="154910" y="62035"/>
                </a:lnTo>
                <a:cubicBezTo>
                  <a:pt x="152003" y="54414"/>
                  <a:pt x="147874" y="47316"/>
                  <a:pt x="142687" y="41020"/>
                </a:cubicBezTo>
                <a:lnTo>
                  <a:pt x="134558" y="44591"/>
                </a:lnTo>
                <a:cubicBezTo>
                  <a:pt x="131245" y="46057"/>
                  <a:pt x="127661" y="46811"/>
                  <a:pt x="124042" y="46805"/>
                </a:cubicBezTo>
                <a:cubicBezTo>
                  <a:pt x="110715" y="46791"/>
                  <a:pt x="99529" y="36758"/>
                  <a:pt x="98075" y="23521"/>
                </a:cubicBezTo>
                <a:lnTo>
                  <a:pt x="97087" y="14660"/>
                </a:lnTo>
                <a:cubicBezTo>
                  <a:pt x="93048" y="14003"/>
                  <a:pt x="88984" y="13648"/>
                  <a:pt x="84993" y="13601"/>
                </a:cubicBezTo>
                <a:close/>
                <a:moveTo>
                  <a:pt x="84877" y="54408"/>
                </a:moveTo>
                <a:cubicBezTo>
                  <a:pt x="103658" y="54408"/>
                  <a:pt x="118883" y="69632"/>
                  <a:pt x="118883" y="88413"/>
                </a:cubicBezTo>
                <a:cubicBezTo>
                  <a:pt x="118883" y="107193"/>
                  <a:pt x="103658" y="122419"/>
                  <a:pt x="84877" y="122419"/>
                </a:cubicBezTo>
                <a:cubicBezTo>
                  <a:pt x="66097" y="122419"/>
                  <a:pt x="50872" y="107193"/>
                  <a:pt x="50872" y="88413"/>
                </a:cubicBezTo>
                <a:cubicBezTo>
                  <a:pt x="50872" y="69632"/>
                  <a:pt x="66097" y="54408"/>
                  <a:pt x="84877" y="54408"/>
                </a:cubicBezTo>
                <a:close/>
                <a:moveTo>
                  <a:pt x="84877" y="68010"/>
                </a:moveTo>
                <a:cubicBezTo>
                  <a:pt x="73609" y="68010"/>
                  <a:pt x="64474" y="77145"/>
                  <a:pt x="64474" y="88413"/>
                </a:cubicBezTo>
                <a:cubicBezTo>
                  <a:pt x="64474" y="99681"/>
                  <a:pt x="73609" y="108817"/>
                  <a:pt x="84877" y="108817"/>
                </a:cubicBezTo>
                <a:cubicBezTo>
                  <a:pt x="96145" y="108817"/>
                  <a:pt x="105280" y="99681"/>
                  <a:pt x="105280" y="88413"/>
                </a:cubicBezTo>
                <a:cubicBezTo>
                  <a:pt x="105280" y="77145"/>
                  <a:pt x="96145" y="68010"/>
                  <a:pt x="84877" y="6801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 name="TextBox 7">
            <a:extLst>
              <a:ext uri="{FF2B5EF4-FFF2-40B4-BE49-F238E27FC236}">
                <a16:creationId xmlns:a16="http://schemas.microsoft.com/office/drawing/2014/main" id="{C8E831B4-F282-0838-4A7C-66AF81096696}"/>
              </a:ext>
            </a:extLst>
          </p:cNvPr>
          <p:cNvSpPr txBox="1"/>
          <p:nvPr/>
        </p:nvSpPr>
        <p:spPr>
          <a:xfrm>
            <a:off x="425445" y="4478878"/>
            <a:ext cx="2065343"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Pl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ll Azure Solution Plays</a:t>
            </a:r>
            <a:r>
              <a:rPr kumimoji="0" lang="en-US" sz="800" b="0" i="0" u="none" strike="noStrike" kern="1200" cap="none" spc="0" normalizeH="0" baseline="0" noProof="0">
                <a:ln>
                  <a:noFill/>
                </a:ln>
                <a:solidFill>
                  <a:srgbClr val="2A446F"/>
                </a:solidFill>
                <a:effectLst/>
                <a:uLnTx/>
                <a:uFillTx/>
                <a:latin typeface="Segoe Sans Text Semibold"/>
                <a:ea typeface="+mn-ea"/>
                <a:cs typeface="+mn-cs"/>
              </a:rPr>
              <a:t> </a:t>
            </a:r>
            <a:endParaRPr kumimoji="0" lang="en-US" sz="900" b="0" i="0" u="none" strike="noStrike" kern="1200" cap="none" spc="0" normalizeH="0" baseline="0" noProof="0">
              <a:ln>
                <a:noFill/>
              </a:ln>
              <a:solidFill>
                <a:srgbClr val="2A446F"/>
              </a:solidFill>
              <a:effectLst/>
              <a:uLnTx/>
              <a:uFillTx/>
              <a:latin typeface="Segoe Sans Text Semibold"/>
              <a:ea typeface="+mn-ea"/>
              <a:cs typeface="+mn-cs"/>
            </a:endParaRPr>
          </a:p>
        </p:txBody>
      </p:sp>
      <p:sp>
        <p:nvSpPr>
          <p:cNvPr id="22" name="TextBox 21">
            <a:extLst>
              <a:ext uri="{FF2B5EF4-FFF2-40B4-BE49-F238E27FC236}">
                <a16:creationId xmlns:a16="http://schemas.microsoft.com/office/drawing/2014/main" id="{28195A67-C530-4C3A-CA16-5F4EF900B251}"/>
              </a:ext>
            </a:extLst>
          </p:cNvPr>
          <p:cNvSpPr txBox="1"/>
          <p:nvPr/>
        </p:nvSpPr>
        <p:spPr>
          <a:xfrm>
            <a:off x="425445" y="4794161"/>
            <a:ext cx="2065343" cy="261610"/>
          </a:xfrm>
          <a:prstGeom prst="rect">
            <a:avLst/>
          </a:prstGeom>
          <a:noFill/>
        </p:spPr>
        <p:txBody>
          <a:bodyPr wrap="square" lIns="0" tIns="0" rIns="0" bIns="0" numCol="1" spcCol="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Solution Area: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loud &amp; AI Platforms CSU </a:t>
            </a: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aka.ms/cloudaicsu </a:t>
            </a:r>
            <a:endPar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5214C93-3321-65A7-E4B8-0469309148AA}"/>
              </a:ext>
            </a:extLst>
          </p:cNvPr>
          <p:cNvSpPr txBox="1"/>
          <p:nvPr/>
        </p:nvSpPr>
        <p:spPr>
          <a:xfrm>
            <a:off x="425445" y="5109444"/>
            <a:ext cx="2065343"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Program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Azure Accelerate, Factory, SAP RAP, GitHub, Azure Essentials (incl. Proactive Resiliency)</a:t>
            </a:r>
          </a:p>
        </p:txBody>
      </p:sp>
      <p:sp>
        <p:nvSpPr>
          <p:cNvPr id="24" name="TextBox 23">
            <a:extLst>
              <a:ext uri="{FF2B5EF4-FFF2-40B4-BE49-F238E27FC236}">
                <a16:creationId xmlns:a16="http://schemas.microsoft.com/office/drawing/2014/main" id="{610B267F-F100-F723-ED86-524DDCFEF026}"/>
              </a:ext>
            </a:extLst>
          </p:cNvPr>
          <p:cNvSpPr txBox="1"/>
          <p:nvPr/>
        </p:nvSpPr>
        <p:spPr>
          <a:xfrm>
            <a:off x="425445" y="5547838"/>
            <a:ext cx="1352934" cy="882293"/>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Content/Assets:</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aka.ms/Factory-Dashboard</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caipcsuskill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9">
                  <a:extLst>
                    <a:ext uri="{A12FA001-AC4F-418D-AE19-62706E023703}">
                      <ahyp:hlinkClr xmlns:ahyp="http://schemas.microsoft.com/office/drawing/2018/hyperlinkcolor" val="tx"/>
                    </a:ext>
                  </a:extLst>
                </a:hlinkClick>
              </a:rPr>
              <a:t>delivery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0">
                  <a:extLst>
                    <a:ext uri="{A12FA001-AC4F-418D-AE19-62706E023703}">
                      <ahyp:hlinkClr xmlns:ahyp="http://schemas.microsoft.com/office/drawing/2018/hyperlinkcolor" val="tx"/>
                    </a:ext>
                  </a:extLst>
                </a:hlinkClick>
              </a:rPr>
              <a:t>ceslaborinsights</a:t>
            </a:r>
            <a:r>
              <a:rPr kumimoji="0" lang="en-US" sz="800" b="0" i="0" u="none" strike="noStrike" kern="1200" cap="none" spc="0" normalizeH="0" baseline="0" noProof="0">
                <a:ln>
                  <a:noFill/>
                </a:ln>
                <a:solidFill>
                  <a:srgbClr val="0078D4"/>
                </a:solidFill>
                <a:effectLst/>
                <a:uLnTx/>
                <a:uFillTx/>
                <a:latin typeface="Segoe Sans Text"/>
                <a:ea typeface="+mn-ea"/>
                <a:cs typeface="+mn-cs"/>
              </a:rPr>
              <a:t> </a:t>
            </a:r>
          </a:p>
          <a:p>
            <a:pPr marL="130175"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aka.ms/</a:t>
            </a:r>
            <a:r>
              <a:rPr kumimoji="0" lang="en-US" sz="800" b="0" i="0" u="none" strike="noStrike" kern="1200" cap="none" spc="0" normalizeH="0" baseline="0" noProof="0" err="1">
                <a:ln>
                  <a:noFill/>
                </a:ln>
                <a:solidFill>
                  <a:srgbClr val="0078D4"/>
                </a:solidFill>
                <a:effectLst/>
                <a:uLnTx/>
                <a:uFillTx/>
                <a:latin typeface="Segoe Sans Text"/>
                <a:ea typeface="+mn-ea"/>
                <a:cs typeface="+mn-cs"/>
                <a:hlinkClick r:id="rId11">
                  <a:extLst>
                    <a:ext uri="{A12FA001-AC4F-418D-AE19-62706E023703}">
                      <ahyp:hlinkClr xmlns:ahyp="http://schemas.microsoft.com/office/drawing/2018/hyperlinkcolor" val="tx"/>
                    </a:ext>
                  </a:extLst>
                </a:hlinkClick>
              </a:rPr>
              <a:t>msx</a:t>
            </a:r>
            <a:endParaRPr kumimoji="0" lang="en-US" sz="8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10" name="Rectangle: Rounded Corners 9">
            <a:extLst>
              <a:ext uri="{FF2B5EF4-FFF2-40B4-BE49-F238E27FC236}">
                <a16:creationId xmlns:a16="http://schemas.microsoft.com/office/drawing/2014/main" id="{614A3304-7341-C1FD-7003-A8314857D844}"/>
              </a:ext>
              <a:ext uri="{C183D7F6-B498-43B3-948B-1728B52AA6E4}">
                <adec:decorative xmlns:adec="http://schemas.microsoft.com/office/drawing/2017/decorative" val="1"/>
              </a:ext>
            </a:extLst>
          </p:cNvPr>
          <p:cNvSpPr/>
          <p:nvPr/>
        </p:nvSpPr>
        <p:spPr bwMode="auto">
          <a:xfrm>
            <a:off x="7991475" y="4136851"/>
            <a:ext cx="3930564"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1" name="Rectangle: Rounded Corners 10">
            <a:extLst>
              <a:ext uri="{FF2B5EF4-FFF2-40B4-BE49-F238E27FC236}">
                <a16:creationId xmlns:a16="http://schemas.microsoft.com/office/drawing/2014/main" id="{5648B9FD-8ABE-E086-B780-3008C6D44ACD}"/>
              </a:ext>
              <a:ext uri="{C183D7F6-B498-43B3-948B-1728B52AA6E4}">
                <adec:decorative xmlns:adec="http://schemas.microsoft.com/office/drawing/2017/decorative" val="1"/>
              </a:ext>
            </a:extLst>
          </p:cNvPr>
          <p:cNvSpPr/>
          <p:nvPr/>
        </p:nvSpPr>
        <p:spPr>
          <a:xfrm>
            <a:off x="7991475" y="4173764"/>
            <a:ext cx="3930564"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3" name="Rectangle: Rounded Corners 12">
            <a:extLst>
              <a:ext uri="{FF2B5EF4-FFF2-40B4-BE49-F238E27FC236}">
                <a16:creationId xmlns:a16="http://schemas.microsoft.com/office/drawing/2014/main" id="{8D21F25A-174D-53F2-5673-41785757B53E}"/>
              </a:ext>
              <a:ext uri="{C183D7F6-B498-43B3-948B-1728B52AA6E4}">
                <adec:decorative xmlns:adec="http://schemas.microsoft.com/office/drawing/2017/decorative" val="1"/>
              </a:ext>
            </a:extLst>
          </p:cNvPr>
          <p:cNvSpPr/>
          <p:nvPr/>
        </p:nvSpPr>
        <p:spPr bwMode="auto">
          <a:xfrm>
            <a:off x="2675336" y="4136851"/>
            <a:ext cx="5188123" cy="914400"/>
          </a:xfrm>
          <a:prstGeom prst="roundRect">
            <a:avLst>
              <a:gd name="adj" fmla="val 218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14" name="Rectangle: Rounded Corners 13">
            <a:extLst>
              <a:ext uri="{FF2B5EF4-FFF2-40B4-BE49-F238E27FC236}">
                <a16:creationId xmlns:a16="http://schemas.microsoft.com/office/drawing/2014/main" id="{BB5DB6AB-9E02-94D5-AAFB-DF0F87986642}"/>
              </a:ext>
              <a:ext uri="{C183D7F6-B498-43B3-948B-1728B52AA6E4}">
                <adec:decorative xmlns:adec="http://schemas.microsoft.com/office/drawing/2017/decorative" val="1"/>
              </a:ext>
            </a:extLst>
          </p:cNvPr>
          <p:cNvSpPr/>
          <p:nvPr/>
        </p:nvSpPr>
        <p:spPr>
          <a:xfrm>
            <a:off x="2675336" y="4173764"/>
            <a:ext cx="5188123" cy="2305048"/>
          </a:xfrm>
          <a:prstGeom prst="roundRect">
            <a:avLst>
              <a:gd name="adj" fmla="val 3240"/>
            </a:avLst>
          </a:prstGeom>
          <a:solidFill>
            <a:schemeClr val="bg1"/>
          </a:solidFill>
          <a:ln w="6350">
            <a:solidFill>
              <a:schemeClr val="bg1">
                <a:lumMod val="75000"/>
              </a:schemeClr>
            </a:solidFill>
          </a:ln>
          <a:effectLst/>
        </p:spPr>
        <p:style>
          <a:lnRef idx="2">
            <a:schemeClr val="accent2"/>
          </a:lnRef>
          <a:fillRef idx="1">
            <a:schemeClr val="lt1"/>
          </a:fillRef>
          <a:effectRef idx="0">
            <a:schemeClr val="accent2"/>
          </a:effectRef>
          <a:fontRef idx="minor">
            <a:schemeClr val="dk1"/>
          </a:fontRef>
        </p:style>
        <p:txBody>
          <a:bodyPr lIns="91440" tIns="27432" rIns="91440" bIns="27432"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tab pos="169863" algn="l"/>
              </a:tabLst>
              <a:defRPr/>
            </a:pPr>
            <a:endParaRPr kumimoji="0" lang="en-US" sz="9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Rectangle 14">
            <a:extLst>
              <a:ext uri="{FF2B5EF4-FFF2-40B4-BE49-F238E27FC236}">
                <a16:creationId xmlns:a16="http://schemas.microsoft.com/office/drawing/2014/main" id="{0605C266-4808-E832-7DA8-70D2233B6354}"/>
              </a:ext>
            </a:extLst>
          </p:cNvPr>
          <p:cNvSpPr/>
          <p:nvPr/>
        </p:nvSpPr>
        <p:spPr>
          <a:xfrm>
            <a:off x="3000179" y="4260219"/>
            <a:ext cx="1945640"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30–60 Days Key Actions</a:t>
            </a:r>
          </a:p>
        </p:txBody>
      </p:sp>
      <p:sp>
        <p:nvSpPr>
          <p:cNvPr id="16" name="TextBox 15">
            <a:extLst>
              <a:ext uri="{FF2B5EF4-FFF2-40B4-BE49-F238E27FC236}">
                <a16:creationId xmlns:a16="http://schemas.microsoft.com/office/drawing/2014/main" id="{123851EF-F34E-7A3C-45CD-42A866455CEB}"/>
              </a:ext>
            </a:extLst>
          </p:cNvPr>
          <p:cNvSpPr txBox="1"/>
          <p:nvPr/>
        </p:nvSpPr>
        <p:spPr>
          <a:xfrm>
            <a:off x="2777297" y="4497928"/>
            <a:ext cx="5065775" cy="39754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30 days:</a:t>
            </a:r>
          </a:p>
          <a:p>
            <a:pPr marL="0" marR="0" lvl="1" indent="0" algn="l" defTabSz="914400" rtl="0" eaLnBrk="1" fontAlgn="auto" latinLnBrk="0" hangingPunct="1">
              <a:lnSpc>
                <a:spcPct val="100000"/>
              </a:lnSpc>
              <a:spcBef>
                <a:spcPts val="0"/>
              </a:spcBef>
              <a:spcAft>
                <a:spcPts val="20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derstand your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role</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eeply understand the </a:t>
            </a:r>
            <a:r>
              <a:rPr kumimoji="0" lang="en-US" sz="800" b="0" i="0" u="none" strike="noStrike" kern="1200" cap="none" spc="0" normalizeH="0" baseline="0" noProof="0">
                <a:ln>
                  <a:noFill/>
                </a:ln>
                <a:solidFill>
                  <a:srgbClr val="000000"/>
                </a:solidFill>
                <a:effectLst/>
                <a:uLnTx/>
                <a:uFillTx/>
                <a:latin typeface="Segoe Sans Text Semibold"/>
                <a:ea typeface="Calibri" panose="020F0502020204030204" pitchFamily="34" charset="0"/>
                <a:cs typeface="Calibri" panose="020F0502020204030204" pitchFamily="34" charset="0"/>
              </a:rPr>
              <a:t>new Factory and Unified ES offerings, define your “new focus” workload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nd start your skilling plan, Technical Community plan, and IP Development plan</a:t>
            </a:r>
          </a:p>
        </p:txBody>
      </p:sp>
      <p:sp>
        <p:nvSpPr>
          <p:cNvPr id="17" name="TextBox 16">
            <a:extLst>
              <a:ext uri="{FF2B5EF4-FFF2-40B4-BE49-F238E27FC236}">
                <a16:creationId xmlns:a16="http://schemas.microsoft.com/office/drawing/2014/main" id="{E5904EE6-B229-BEE6-8359-39C8EB77EF1C}"/>
              </a:ext>
            </a:extLst>
          </p:cNvPr>
          <p:cNvSpPr txBox="1"/>
          <p:nvPr/>
        </p:nvSpPr>
        <p:spPr>
          <a:xfrm>
            <a:off x="2777298" y="4935441"/>
            <a:ext cx="5065776" cy="1561966"/>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900" b="0" i="0" u="none" strike="noStrike" kern="1200" cap="none" spc="0" normalizeH="0" baseline="0" noProof="0">
                <a:ln>
                  <a:noFill/>
                </a:ln>
                <a:solidFill>
                  <a:srgbClr val="2A446F"/>
                </a:solidFill>
                <a:effectLst/>
                <a:uLnTx/>
                <a:uFillTx/>
                <a:latin typeface="Segoe Sans Text Semibold"/>
                <a:ea typeface="+mn-ea"/>
                <a:cs typeface="+mn-cs"/>
              </a:rPr>
              <a:t>First 60 days: </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Start delivering towards the Cloud &amp; AI CSU KPIs</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gt;100% attainment of ACR Target/NNR</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Job 1: 95% C2C rate; 95% own of C2C milestone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Complete required training and skilling</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lvl="1" indent="-90170">
              <a:spcAft>
                <a:spcPts val="200"/>
              </a:spcAft>
              <a:buClr>
                <a:srgbClr val="000000"/>
              </a:buClr>
              <a:buSzPct val="100000"/>
              <a:buFont typeface="Arial" panose="020B0604020202020204" pitchFamily="34" charset="0"/>
              <a:buChar char="•"/>
              <a:defRPr/>
            </a:pPr>
            <a:r>
              <a:rPr lang="en-US" sz="800">
                <a:solidFill>
                  <a:srgbClr val="000000"/>
                </a:solidFill>
                <a:ea typeface="Calibri"/>
                <a:cs typeface="Calibri"/>
              </a:rPr>
              <a:t>Contribute to 20% for total Completed Pipeline created against quarterly Net New Required budget by territory</a:t>
            </a: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Ensure positive MACC Pipeline Based Outlook (FY PBO VTT) and Variance to Expectation (Life to FY PBO VTE) in EOU</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Unified Delivery in EOU: Customer Funded delivery Mix VTT &gt; 0; Repeatable Delivery VTT &gt; 0; On Strategy delivery mix VTT &gt; 0</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a:p>
            <a:pPr marL="130175" marR="0" lvl="1" indent="-90170"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Factory Oversight: Shared accountability for Factory Targets</a:t>
            </a:r>
            <a:endParaRPr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endParaRPr>
          </a:p>
        </p:txBody>
      </p:sp>
      <p:pic>
        <p:nvPicPr>
          <p:cNvPr id="18" name="Graphic 17">
            <a:extLst>
              <a:ext uri="{FF2B5EF4-FFF2-40B4-BE49-F238E27FC236}">
                <a16:creationId xmlns:a16="http://schemas.microsoft.com/office/drawing/2014/main" id="{10AADE78-ED86-29D9-23EC-4B0B6BA2D98F}"/>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57728" y="4235547"/>
            <a:ext cx="210926" cy="210926"/>
          </a:xfrm>
          <a:prstGeom prst="rect">
            <a:avLst/>
          </a:prstGeom>
        </p:spPr>
      </p:pic>
      <p:grpSp>
        <p:nvGrpSpPr>
          <p:cNvPr id="19" name="Group 18">
            <a:extLst>
              <a:ext uri="{FF2B5EF4-FFF2-40B4-BE49-F238E27FC236}">
                <a16:creationId xmlns:a16="http://schemas.microsoft.com/office/drawing/2014/main" id="{F9F4BCA2-0F10-A81D-7763-15B7371B4CF6}"/>
              </a:ext>
              <a:ext uri="{C183D7F6-B498-43B3-948B-1728B52AA6E4}">
                <adec:decorative xmlns:adec="http://schemas.microsoft.com/office/drawing/2017/decorative" val="1"/>
              </a:ext>
            </a:extLst>
          </p:cNvPr>
          <p:cNvGrpSpPr/>
          <p:nvPr/>
        </p:nvGrpSpPr>
        <p:grpSpPr>
          <a:xfrm>
            <a:off x="8100059" y="4217527"/>
            <a:ext cx="1507257" cy="246966"/>
            <a:chOff x="9880914" y="4217527"/>
            <a:chExt cx="1507257" cy="246966"/>
          </a:xfrm>
        </p:grpSpPr>
        <p:sp>
          <p:nvSpPr>
            <p:cNvPr id="20" name="Rectangle 19">
              <a:extLst>
                <a:ext uri="{FF2B5EF4-FFF2-40B4-BE49-F238E27FC236}">
                  <a16:creationId xmlns:a16="http://schemas.microsoft.com/office/drawing/2014/main" id="{46F642DD-9A21-1BA3-FD41-8615D5C40782}"/>
                </a:ext>
              </a:extLst>
            </p:cNvPr>
            <p:cNvSpPr/>
            <p:nvPr/>
          </p:nvSpPr>
          <p:spPr>
            <a:xfrm>
              <a:off x="10192660" y="4260219"/>
              <a:ext cx="1195511" cy="161583"/>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CC0000"/>
                </a:buClr>
                <a:buSzPct val="11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mn-cs"/>
                </a:rPr>
                <a:t>Skilling </a:t>
              </a:r>
            </a:p>
          </p:txBody>
        </p:sp>
        <p:pic>
          <p:nvPicPr>
            <p:cNvPr id="21" name="Graphic 20">
              <a:extLst>
                <a:ext uri="{FF2B5EF4-FFF2-40B4-BE49-F238E27FC236}">
                  <a16:creationId xmlns:a16="http://schemas.microsoft.com/office/drawing/2014/main" id="{F1EDAA78-0DE9-84BE-F862-562356461718}"/>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80914" y="4217527"/>
              <a:ext cx="246966" cy="246966"/>
            </a:xfrm>
            <a:prstGeom prst="rect">
              <a:avLst/>
            </a:prstGeom>
          </p:spPr>
        </p:pic>
      </p:grpSp>
      <p:sp>
        <p:nvSpPr>
          <p:cNvPr id="50" name="TextBox 49">
            <a:extLst>
              <a:ext uri="{FF2B5EF4-FFF2-40B4-BE49-F238E27FC236}">
                <a16:creationId xmlns:a16="http://schemas.microsoft.com/office/drawing/2014/main" id="{04811B43-FC60-FB75-B44F-7F46CDEB0986}"/>
              </a:ext>
            </a:extLst>
          </p:cNvPr>
          <p:cNvSpPr txBox="1"/>
          <p:nvPr/>
        </p:nvSpPr>
        <p:spPr>
          <a:xfrm>
            <a:off x="8100059" y="4497928"/>
            <a:ext cx="3787141" cy="1113125"/>
          </a:xfrm>
          <a:prstGeom prst="rect">
            <a:avLst/>
          </a:prstGeom>
          <a:noFill/>
        </p:spPr>
        <p:txBody>
          <a:bodyPr wrap="square" lIns="0" tIns="0" rIns="0" bIns="0">
            <a:spAutoFit/>
          </a:bodyPr>
          <a:lstStyle/>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Achieve new certification for AI Fluency and Azure Fluency</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Pass/Maintain 1 role aligned certification</a:t>
            </a:r>
          </a:p>
          <a:p>
            <a:pPr marL="90488" marR="0" lvl="1" indent="-90488" algn="l" defTabSz="914400" rtl="0" eaLnBrk="1" fontAlgn="auto" latinLnBrk="0" hangingPunct="1">
              <a:lnSpc>
                <a:spcPct val="100000"/>
              </a:lnSpc>
              <a:spcBef>
                <a:spcPts val="0"/>
              </a:spcBef>
              <a:spcAft>
                <a:spcPts val="20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2A446F"/>
                </a:solidFill>
                <a:effectLst/>
                <a:uLnTx/>
                <a:uFillTx/>
                <a:latin typeface="Segoe Sans Text Semibold"/>
                <a:ea typeface="Calibri" panose="020F0502020204030204" pitchFamily="34" charset="0"/>
                <a:cs typeface="Calibri" panose="020F0502020204030204" pitchFamily="34" charset="0"/>
              </a:rPr>
              <a:t>Technical L300+ proficiency with delivery accreditation:</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Infra</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Migration and Modernization of: Infra, SAP, Databases, Apps; Security; WAF/CAF; Resiliency; AI ready</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AI Apps</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a:t>
            </a:r>
            <a:r>
              <a:rPr kumimoji="0" lang="en-US" sz="800" b="0" i="0" u="none" strike="noStrike" kern="1200" cap="none" spc="0" normalizeH="0" baseline="0" noProof="0" err="1">
                <a:ln>
                  <a:noFill/>
                </a:ln>
                <a:solidFill>
                  <a:srgbClr val="000000"/>
                </a:solidFill>
                <a:effectLst/>
                <a:uLnTx/>
                <a:uFillTx/>
                <a:latin typeface="Segoe Sans Text"/>
                <a:ea typeface="Calibri" panose="020F0502020204030204" pitchFamily="34" charset="0"/>
                <a:cs typeface="Calibri" panose="020F0502020204030204" pitchFamily="34" charset="0"/>
              </a:rPr>
              <a:t>AppPlat</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Native, DevOps, GitHub, AI Infra, Copilot Studio, AI Foundry, Integration, Modern Databases</a:t>
            </a:r>
          </a:p>
          <a:p>
            <a:pPr marL="285750" marR="0" lvl="1" indent="-114300" algn="l" defTabSz="914400" rtl="0" eaLnBrk="1" fontAlgn="auto" latinLnBrk="0" hangingPunct="1">
              <a:lnSpc>
                <a:spcPct val="100000"/>
              </a:lnSpc>
              <a:spcBef>
                <a:spcPts val="0"/>
              </a:spcBef>
              <a:spcAft>
                <a:spcPts val="200"/>
              </a:spcAft>
              <a:buClr>
                <a:srgbClr val="000000"/>
              </a:buClr>
              <a:buSzPct val="100000"/>
              <a:buFont typeface="Segoe Sans Text" pitchFamily="2" charset="0"/>
              <a:buChar char="–"/>
              <a:tabLst/>
              <a:defRPr/>
            </a:pPr>
            <a:r>
              <a:rPr kumimoji="0" lang="en-US" sz="800" b="0" i="0" u="none" strike="noStrike" kern="1200" cap="none" spc="0" normalizeH="0" baseline="0" noProof="0">
                <a:ln>
                  <a:noFill/>
                </a:ln>
                <a:solidFill>
                  <a:srgbClr val="0078D4"/>
                </a:solidFill>
                <a:effectLst/>
                <a:uLnTx/>
                <a:uFillTx/>
                <a:latin typeface="Segoe Sans Text"/>
                <a:ea typeface="Calibri" panose="020F0502020204030204" pitchFamily="34" charset="0"/>
                <a:cs typeface="Calibri" panose="020F0502020204030204" pitchFamily="34" charset="0"/>
              </a:rPr>
              <a:t>Data</a:t>
            </a:r>
            <a:r>
              <a:rPr kumimoji="0" lang="en-US" sz="800" b="0" i="0" u="none" strike="noStrike" kern="1200" cap="none" spc="0" normalizeH="0" baseline="0" noProof="0">
                <a:ln>
                  <a:noFill/>
                </a:ln>
                <a:solidFill>
                  <a:srgbClr val="000000"/>
                </a:solidFill>
                <a:effectLst/>
                <a:uLnTx/>
                <a:uFillTx/>
                <a:latin typeface="Segoe Sans Text"/>
                <a:ea typeface="Calibri" panose="020F0502020204030204" pitchFamily="34" charset="0"/>
                <a:cs typeface="Calibri" panose="020F0502020204030204" pitchFamily="34" charset="0"/>
              </a:rPr>
              <a:t>: Database platform, Analytics, Databricks, Fabric, Purview</a:t>
            </a:r>
          </a:p>
        </p:txBody>
      </p:sp>
      <p:sp>
        <p:nvSpPr>
          <p:cNvPr id="61" name="TextBox 60">
            <a:extLst>
              <a:ext uri="{FF2B5EF4-FFF2-40B4-BE49-F238E27FC236}">
                <a16:creationId xmlns:a16="http://schemas.microsoft.com/office/drawing/2014/main" id="{9EC1B1A6-09E8-EBAE-DD30-CE14228783B1}"/>
              </a:ext>
            </a:extLst>
          </p:cNvPr>
          <p:cNvSpPr txBox="1"/>
          <p:nvPr/>
        </p:nvSpPr>
        <p:spPr>
          <a:xfrm>
            <a:off x="304800" y="6516001"/>
            <a:ext cx="3004667"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Implementation is subject to local legislation</a:t>
            </a:r>
          </a:p>
        </p:txBody>
      </p:sp>
      <p:grpSp>
        <p:nvGrpSpPr>
          <p:cNvPr id="3" name="Group 2">
            <a:extLst>
              <a:ext uri="{FF2B5EF4-FFF2-40B4-BE49-F238E27FC236}">
                <a16:creationId xmlns:a16="http://schemas.microsoft.com/office/drawing/2014/main" id="{6485C59D-E7A0-CCC1-CCE8-B6DBF2F6C6A3}"/>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2" name="Table 2 Cell 1, 1 to Text">
              <a:extLst>
                <a:ext uri="{FF2B5EF4-FFF2-40B4-BE49-F238E27FC236}">
                  <a16:creationId xmlns:a16="http://schemas.microsoft.com/office/drawing/2014/main" id="{6D358A46-F44D-BBCC-AAB1-F2E59A4C3EAE}"/>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3" name="Table 2 Cell 2, 1 to Text">
              <a:extLst>
                <a:ext uri="{FF2B5EF4-FFF2-40B4-BE49-F238E27FC236}">
                  <a16:creationId xmlns:a16="http://schemas.microsoft.com/office/drawing/2014/main" id="{058EA4D4-CFF1-786B-9454-30CF3FB4DEB4}"/>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5" name="Table 2 Cell 3, 1 to Text">
              <a:extLst>
                <a:ext uri="{FF2B5EF4-FFF2-40B4-BE49-F238E27FC236}">
                  <a16:creationId xmlns:a16="http://schemas.microsoft.com/office/drawing/2014/main" id="{80EA0DEA-C0CD-14C5-8B19-A4061DFCEAA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6" name="Table 2 Cell 4, 1 to Text">
              <a:extLst>
                <a:ext uri="{FF2B5EF4-FFF2-40B4-BE49-F238E27FC236}">
                  <a16:creationId xmlns:a16="http://schemas.microsoft.com/office/drawing/2014/main" id="{22AE5572-52EF-7A64-4576-68B5E60D2D83}"/>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7" name="Table 2 Cell 5, 1 to Text">
              <a:extLst>
                <a:ext uri="{FF2B5EF4-FFF2-40B4-BE49-F238E27FC236}">
                  <a16:creationId xmlns:a16="http://schemas.microsoft.com/office/drawing/2014/main" id="{0E1178D6-B268-0076-A565-8D01B8A0AD30}"/>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8" name="Table 2 Cell 6, 1 to Text">
              <a:extLst>
                <a:ext uri="{FF2B5EF4-FFF2-40B4-BE49-F238E27FC236}">
                  <a16:creationId xmlns:a16="http://schemas.microsoft.com/office/drawing/2014/main" id="{FEB8F899-30B5-6D7A-DBC5-DA3374E348CB}"/>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29" name="Table 2 Cell 7, 1 to Text">
              <a:extLst>
                <a:ext uri="{FF2B5EF4-FFF2-40B4-BE49-F238E27FC236}">
                  <a16:creationId xmlns:a16="http://schemas.microsoft.com/office/drawing/2014/main" id="{4F5677CC-1C02-89C5-D22A-74904F40876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1" name="Table 2 Cell 1, 2 to Text">
              <a:extLst>
                <a:ext uri="{FF2B5EF4-FFF2-40B4-BE49-F238E27FC236}">
                  <a16:creationId xmlns:a16="http://schemas.microsoft.com/office/drawing/2014/main" id="{D77AEA1E-1233-F256-BA26-D68D5094BCC2}"/>
                </a:ext>
              </a:extLst>
            </p:cNvPr>
            <p:cNvSpPr txBox="1"/>
            <p:nvPr/>
          </p:nvSpPr>
          <p:spPr>
            <a:xfrm>
              <a:off x="59315"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6.1 Role Overview – Core CE&amp;S</a:t>
              </a:r>
            </a:p>
          </p:txBody>
        </p:sp>
        <p:sp>
          <p:nvSpPr>
            <p:cNvPr id="32" name="Table 2 Cell 1, 3 to Text">
              <a:extLst>
                <a:ext uri="{FF2B5EF4-FFF2-40B4-BE49-F238E27FC236}">
                  <a16:creationId xmlns:a16="http://schemas.microsoft.com/office/drawing/2014/main" id="{3ADC3FBB-E9F9-466C-4081-45ECF289E4CC}"/>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38" name="Table 2 Cell 1, 4 to Text">
              <a:extLst>
                <a:ext uri="{FF2B5EF4-FFF2-40B4-BE49-F238E27FC236}">
                  <a16:creationId xmlns:a16="http://schemas.microsoft.com/office/drawing/2014/main" id="{EE67DAF1-55EE-E4DE-0C81-84FE2BEB1411}"/>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42" name="Table 2 Cell 1, 5 to Text">
              <a:extLst>
                <a:ext uri="{FF2B5EF4-FFF2-40B4-BE49-F238E27FC236}">
                  <a16:creationId xmlns:a16="http://schemas.microsoft.com/office/drawing/2014/main" id="{E39B469E-47ED-5E2B-FFC8-573B8754CB30}"/>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grpSp>
    </p:spTree>
    <p:extLst>
      <p:ext uri="{BB962C8B-B14F-4D97-AF65-F5344CB8AC3E}">
        <p14:creationId xmlns:p14="http://schemas.microsoft.com/office/powerpoint/2010/main" val="122606378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B298D-C9FE-A88F-AA0F-A2DC281E1B87}"/>
              </a:ext>
            </a:extLst>
          </p:cNvPr>
          <p:cNvSpPr>
            <a:spLocks noGrp="1"/>
          </p:cNvSpPr>
          <p:nvPr>
            <p:ph type="title"/>
          </p:nvPr>
        </p:nvSpPr>
        <p:spPr>
          <a:xfrm>
            <a:off x="229063" y="384935"/>
            <a:ext cx="11049000" cy="369332"/>
          </a:xfrm>
        </p:spPr>
        <p:txBody>
          <a:bodyPr/>
          <a:lstStyle/>
          <a:p>
            <a:r>
              <a:rPr lang="en-US" sz="2400"/>
              <a:t>Core Priorities: Cloud &amp; AI - Cloud Solution Architect – Core CE&amp;S Global Solutions</a:t>
            </a:r>
          </a:p>
        </p:txBody>
      </p:sp>
      <p:sp>
        <p:nvSpPr>
          <p:cNvPr id="5" name="Slide Number Placeholder 2">
            <a:extLst>
              <a:ext uri="{FF2B5EF4-FFF2-40B4-BE49-F238E27FC236}">
                <a16:creationId xmlns:a16="http://schemas.microsoft.com/office/drawing/2014/main" id="{3551073D-E95D-C68D-4AFB-007C481BD3B1}"/>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7E21873-6379-4175-8B06-DD5F57EC3DFD}" type="slidenum">
              <a:rPr lang="en-US" sz="1200" smtClean="0">
                <a:solidFill>
                  <a:srgbClr val="000000">
                    <a:tint val="75000"/>
                  </a:srgbClr>
                </a:solidFill>
                <a:latin typeface="Segoe UI"/>
                <a:ea typeface="ＭＳ Ｐゴシック"/>
              </a:rPr>
              <a:pPr algn="r">
                <a:defRPr/>
              </a:pPr>
              <a:t>53</a:t>
            </a:fld>
            <a:endParaRPr lang="en-US" sz="1200">
              <a:solidFill>
                <a:srgbClr val="000000">
                  <a:tint val="75000"/>
                </a:srgbClr>
              </a:solidFill>
              <a:latin typeface="Segoe UI"/>
              <a:ea typeface="ＭＳ Ｐゴシック"/>
            </a:endParaRPr>
          </a:p>
        </p:txBody>
      </p:sp>
      <p:sp>
        <p:nvSpPr>
          <p:cNvPr id="8" name="Rectangle: Rounded Corners 7">
            <a:extLst>
              <a:ext uri="{FF2B5EF4-FFF2-40B4-BE49-F238E27FC236}">
                <a16:creationId xmlns:a16="http://schemas.microsoft.com/office/drawing/2014/main" id="{62121F17-FAA6-4D00-0224-73E909FACE0D}"/>
              </a:ext>
            </a:extLst>
          </p:cNvPr>
          <p:cNvSpPr/>
          <p:nvPr/>
        </p:nvSpPr>
        <p:spPr bwMode="auto">
          <a:xfrm>
            <a:off x="161580" y="955354"/>
            <a:ext cx="11868839" cy="365125"/>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102" fontAlgn="base">
              <a:spcBef>
                <a:spcPts val="600"/>
              </a:spcBef>
              <a:spcAft>
                <a:spcPct val="0"/>
              </a:spcAft>
              <a:defRPr/>
            </a:pPr>
            <a:endParaRPr lang="en-US" b="1"/>
          </a:p>
        </p:txBody>
      </p:sp>
      <p:graphicFrame>
        <p:nvGraphicFramePr>
          <p:cNvPr id="9" name="Table 8">
            <a:extLst>
              <a:ext uri="{FF2B5EF4-FFF2-40B4-BE49-F238E27FC236}">
                <a16:creationId xmlns:a16="http://schemas.microsoft.com/office/drawing/2014/main" id="{55D158C8-13D0-CB48-3D1E-8C281F8D8768}"/>
              </a:ext>
            </a:extLst>
          </p:cNvPr>
          <p:cNvGraphicFramePr>
            <a:graphicFrameLocks noGrp="1"/>
          </p:cNvGraphicFramePr>
          <p:nvPr>
            <p:extLst>
              <p:ext uri="{D42A27DB-BD31-4B8C-83A1-F6EECF244321}">
                <p14:modId xmlns:p14="http://schemas.microsoft.com/office/powerpoint/2010/main" val="1432842692"/>
              </p:ext>
            </p:extLst>
          </p:nvPr>
        </p:nvGraphicFramePr>
        <p:xfrm>
          <a:off x="161580" y="935602"/>
          <a:ext cx="11868839" cy="5907953"/>
        </p:xfrm>
        <a:graphic>
          <a:graphicData uri="http://schemas.openxmlformats.org/drawingml/2006/table">
            <a:tbl>
              <a:tblPr firstRow="1" bandRow="1">
                <a:tableStyleId>{2D5ABB26-0587-4C30-8999-92F81FD0307C}</a:tableStyleId>
              </a:tblPr>
              <a:tblGrid>
                <a:gridCol w="307149">
                  <a:extLst>
                    <a:ext uri="{9D8B030D-6E8A-4147-A177-3AD203B41FA5}">
                      <a16:colId xmlns:a16="http://schemas.microsoft.com/office/drawing/2014/main" val="4195672858"/>
                    </a:ext>
                  </a:extLst>
                </a:gridCol>
                <a:gridCol w="1239390">
                  <a:extLst>
                    <a:ext uri="{9D8B030D-6E8A-4147-A177-3AD203B41FA5}">
                      <a16:colId xmlns:a16="http://schemas.microsoft.com/office/drawing/2014/main" val="2870045406"/>
                    </a:ext>
                  </a:extLst>
                </a:gridCol>
                <a:gridCol w="2007354">
                  <a:extLst>
                    <a:ext uri="{9D8B030D-6E8A-4147-A177-3AD203B41FA5}">
                      <a16:colId xmlns:a16="http://schemas.microsoft.com/office/drawing/2014/main" val="913734882"/>
                    </a:ext>
                  </a:extLst>
                </a:gridCol>
                <a:gridCol w="8314946">
                  <a:extLst>
                    <a:ext uri="{9D8B030D-6E8A-4147-A177-3AD203B41FA5}">
                      <a16:colId xmlns:a16="http://schemas.microsoft.com/office/drawing/2014/main" val="3900489793"/>
                    </a:ext>
                  </a:extLst>
                </a:gridCol>
              </a:tblGrid>
              <a:tr h="375833">
                <a:tc>
                  <a:txBody>
                    <a:bodyPr/>
                    <a:lstStyle/>
                    <a:p>
                      <a:pPr algn="ctr"/>
                      <a:r>
                        <a:rPr lang="en-US" sz="1000">
                          <a:solidFill>
                            <a:schemeClr val="bg1"/>
                          </a:solidFill>
                          <a:latin typeface="+mj-lt"/>
                        </a:rPr>
                        <a:t>#</a:t>
                      </a:r>
                    </a:p>
                  </a:txBody>
                  <a:tcPr anchor="ctr"/>
                </a:tc>
                <a:tc>
                  <a:txBody>
                    <a:bodyPr/>
                    <a:lstStyle/>
                    <a:p>
                      <a:pPr algn="ctr"/>
                      <a:r>
                        <a:rPr lang="en-US" sz="1000">
                          <a:solidFill>
                            <a:schemeClr val="bg1"/>
                          </a:solidFill>
                          <a:latin typeface="+mj-lt"/>
                        </a:rPr>
                        <a:t>Core Priority Title</a:t>
                      </a:r>
                    </a:p>
                  </a:txBody>
                  <a:tcPr anchor="ctr"/>
                </a:tc>
                <a:tc>
                  <a:txBody>
                    <a:bodyPr/>
                    <a:lstStyle/>
                    <a:p>
                      <a:pPr algn="ctr"/>
                      <a:r>
                        <a:rPr lang="en-US" sz="1000">
                          <a:solidFill>
                            <a:schemeClr val="bg1"/>
                          </a:solidFill>
                          <a:latin typeface="+mj-lt"/>
                        </a:rPr>
                        <a:t>Core Priority</a:t>
                      </a:r>
                    </a:p>
                  </a:txBody>
                  <a:tcPr anchor="ctr"/>
                </a:tc>
                <a:tc>
                  <a:txBody>
                    <a:bodyPr/>
                    <a:lstStyle/>
                    <a:p>
                      <a:pPr algn="ctr"/>
                      <a:r>
                        <a:rPr lang="en-US" sz="1000">
                          <a:solidFill>
                            <a:schemeClr val="bg1"/>
                          </a:solidFill>
                          <a:latin typeface="+mj-lt"/>
                        </a:rPr>
                        <a:t>CSA Critical Indicators of Success  (How will you measure success?)</a:t>
                      </a:r>
                    </a:p>
                  </a:txBody>
                  <a:tcPr anchor="ctr"/>
                </a:tc>
                <a:extLst>
                  <a:ext uri="{0D108BD9-81ED-4DB2-BD59-A6C34878D82A}">
                    <a16:rowId xmlns:a16="http://schemas.microsoft.com/office/drawing/2014/main" val="3117565343"/>
                  </a:ext>
                </a:extLst>
              </a:tr>
              <a:tr h="124714">
                <a:tc>
                  <a:txBody>
                    <a:bodyPr/>
                    <a:lstStyle/>
                    <a:p>
                      <a:r>
                        <a:rPr lang="en-US" sz="900">
                          <a:solidFill>
                            <a:schemeClr val="tx2"/>
                          </a:solidFill>
                        </a:rPr>
                        <a:t>1</a:t>
                      </a:r>
                    </a:p>
                  </a:txBody>
                  <a:tcPr>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i="0" u="none" strike="noStrike" baseline="0" noProof="0">
                          <a:solidFill>
                            <a:srgbClr val="000000"/>
                          </a:solidFill>
                          <a:latin typeface="Segoe UI"/>
                        </a:rPr>
                        <a:t>Unleash our talent to unlock customer/partner value </a:t>
                      </a:r>
                      <a:endParaRPr lang="en-US" sz="900" b="1">
                        <a:solidFill>
                          <a:schemeClr val="tx1"/>
                        </a:solidFill>
                      </a:endParaRPr>
                    </a:p>
                  </a:txBody>
                  <a:tcPr>
                    <a:lnB w="9525" cap="flat" cmpd="sng" algn="ctr">
                      <a:solidFill>
                        <a:schemeClr val="bg1">
                          <a:lumMod val="85000"/>
                        </a:schemeClr>
                      </a:solidFill>
                      <a:prstDash val="solid"/>
                      <a:round/>
                      <a:headEnd type="none" w="med" len="med"/>
                      <a:tailEnd type="none" w="med" len="med"/>
                    </a:lnB>
                  </a:tcPr>
                </a:tc>
                <a:tc>
                  <a:txBody>
                    <a:bodyPr/>
                    <a:lstStyle/>
                    <a:p>
                      <a:pPr marL="0" marR="0" lvl="0" indent="0" algn="l">
                        <a:lnSpc>
                          <a:spcPct val="100000"/>
                        </a:lnSpc>
                        <a:spcBef>
                          <a:spcPts val="0"/>
                        </a:spcBef>
                        <a:spcAft>
                          <a:spcPts val="0"/>
                        </a:spcAft>
                        <a:buNone/>
                      </a:pPr>
                      <a:r>
                        <a:rPr lang="en-GB" sz="900" b="0" i="0" u="none" strike="noStrike" baseline="0" noProof="0">
                          <a:solidFill>
                            <a:srgbClr val="000000"/>
                          </a:solidFill>
                          <a:effectLst/>
                          <a:latin typeface="Segoe UI"/>
                        </a:rPr>
                        <a:t>Bring deep customer/partner and domain understanding—product, technical, business, and industry—enabling us to drive customer/partner value</a:t>
                      </a:r>
                      <a:endParaRPr lang="en-GB" sz="900" b="0" u="none" strike="noStrike">
                        <a:solidFill>
                          <a:schemeClr val="tx1"/>
                        </a:solidFill>
                        <a:effectLst/>
                      </a:endParaRPr>
                    </a:p>
                  </a:txBody>
                  <a:tcPr>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1 AI Trusted Advisor: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plete AI training and leverage AI architecture best practices to accelerate AI adoption.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2 Technical Intensity</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plete Required quarterly Cloud &amp; AI training, achieve certifications, accreditations, and skills to deliver with Advanced (L300) and Expert (L400) level proficiency in priority workloads in Azure. Maintain skills inventory. As technical SME, collaborate with WWL to publish new courses, land skilling plan assets for field teams, accreditation of VBDs, and Repeatable IP for adoption.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3 </a:t>
                      </a: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mmunity Engagement</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ctively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ad Cloud &amp; AI local CSU &amp; global technical intensity communities. Own product and time-zone cohorts of Champs and Tech Insiders to extend Engineering capacity for the Field. Coach field to include VBD delivery for all Customer engagements (Factory, Proactive, DE, or EDE)</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1.4 IP Development:</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s a technical SME, capture IP and customer feedback post-engagement and share with engineering. Drive repeatable delivery by creating and maintaining accurate VBD and Factory delivery guides, clearly documenting execution roles for both mature and emerging workload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57263">
                <a:tc>
                  <a:txBody>
                    <a:bodyPr/>
                    <a:lstStyle/>
                    <a:p>
                      <a:r>
                        <a:rPr lang="en-US" sz="900">
                          <a:solidFill>
                            <a:schemeClr val="tx2"/>
                          </a:solidFill>
                        </a:rPr>
                        <a:t>2</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US" sz="900" b="1" i="0" u="none" strike="noStrike" baseline="0" noProof="0">
                          <a:solidFill>
                            <a:srgbClr val="000000"/>
                          </a:solidFill>
                          <a:latin typeface="Segoe UI"/>
                        </a:rPr>
                        <a:t>Build trust through product excellence </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i="0" u="none" strike="noStrike" baseline="0" noProof="0">
                          <a:solidFill>
                            <a:srgbClr val="000000"/>
                          </a:solidFill>
                          <a:effectLst/>
                          <a:latin typeface="Segoe UI"/>
                        </a:rPr>
                        <a:t>Build foundational trust through reliable, resilient, and secure solutions and champion customer/partner feedback to continuously improve the products and solutions we deliver. </a:t>
                      </a:r>
                      <a:endParaRPr lang="en-US" sz="900" b="1">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1 Security #1 Priority</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Deliver Secure Azure architectures, prioritizing Defender for Cloud and Network Security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2 Reliable, resilient, optimized solutions</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ddress “Priority Zero” resiliency vulnerabilities (identified via telemetry and/or WARA) in customers’ mission critical workloads, including networking/ExpressRoute and multi-zone/multi-region architecture</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2.3 Voice of the Customer/Partner: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hampion customer/partner feedback to influence Engineering’s product/services roadmap.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Actively contribute to Engineering MBRs by representing the customer’s product experiences, usage insights and patterns, and execution insights from CSU delivery engines (Unified and Factory engagements).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5139600"/>
                  </a:ext>
                </a:extLst>
              </a:tr>
              <a:tr h="0">
                <a:tc>
                  <a:txBody>
                    <a:bodyPr/>
                    <a:lstStyle/>
                    <a:p>
                      <a:r>
                        <a:rPr lang="en-US" sz="900">
                          <a:solidFill>
                            <a:schemeClr val="tx2"/>
                          </a:solidFill>
                        </a:rPr>
                        <a:t>3</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1" i="0" u="none" strike="noStrike" baseline="0" noProof="0">
                          <a:solidFill>
                            <a:srgbClr val="000000"/>
                          </a:solidFill>
                          <a:effectLst/>
                          <a:latin typeface="Segoe UI"/>
                        </a:rPr>
                        <a:t>Differentiate through world class  Customer Experience </a:t>
                      </a:r>
                    </a:p>
                    <a:p>
                      <a:pPr marL="0" lvl="0" indent="0" algn="l">
                        <a:spcBef>
                          <a:spcPts val="0"/>
                        </a:spcBef>
                        <a:spcAft>
                          <a:spcPts val="0"/>
                        </a:spcAft>
                        <a:buNone/>
                      </a:pPr>
                      <a:endParaRPr lang="en-GB" sz="900" b="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i="0" u="none" strike="noStrike" baseline="0" noProof="0">
                          <a:solidFill>
                            <a:srgbClr val="000000"/>
                          </a:solidFill>
                          <a:effectLst/>
                          <a:latin typeface="Segoe UI"/>
                        </a:rPr>
                        <a:t>Relentlessly pursue a simple, consistent, and connected customer experience that delights customers/partners and grows our business.  </a:t>
                      </a:r>
                    </a:p>
                    <a:p>
                      <a:pPr marL="0" lvl="0" indent="0" algn="l">
                        <a:spcBef>
                          <a:spcPts val="0"/>
                        </a:spcBef>
                        <a:spcAft>
                          <a:spcPts val="0"/>
                        </a:spcAft>
                        <a:buNone/>
                      </a:pPr>
                      <a:endParaRPr lang="en-GB" sz="900" b="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1 Customer Experience</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Together with the CSAM and Area CSA, during delivery, ensure completeness and accuracy of the entire Azure consumption plan and customer success plan</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2 Customer/Partner Outcomes</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Serve as an effective extension of Engineering for Field and Customers to actively drive solutions or workarounds for known product issues and land roadmap innovations.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ad Azure Consumption Plan with CSAM/STU/ATU and continuously update in Job 1. Consistently engage as One Microsoft following MCEM orchestration and</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proactively manage risks to drive on-time, on-revenue closure of CSU/STU/Partner committed milestone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3.3 Customer Zero</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Share AI Ready best practices with your customers/partners to inspire them to accelerate AI adoption. Tell the Microsoft AI story.</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124714">
                <a:tc>
                  <a:txBody>
                    <a:bodyPr/>
                    <a:lstStyle/>
                    <a:p>
                      <a:pPr lvl="0">
                        <a:buNone/>
                      </a:pPr>
                      <a:r>
                        <a:rPr lang="en-US" sz="900">
                          <a:solidFill>
                            <a:schemeClr val="tx2"/>
                          </a:solidFill>
                        </a:rPr>
                        <a:t>4</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lvl="0">
                        <a:buNone/>
                      </a:pPr>
                      <a:r>
                        <a:rPr lang="en-US" sz="900" b="1" i="0" u="none" strike="noStrike" baseline="0" noProof="0">
                          <a:solidFill>
                            <a:srgbClr val="000000"/>
                          </a:solidFill>
                          <a:latin typeface="Segoe UI"/>
                        </a:rPr>
                        <a:t>Drive operational excellence through AI </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a:lnSpc>
                          <a:spcPct val="100000"/>
                        </a:lnSpc>
                        <a:buNone/>
                      </a:pPr>
                      <a:r>
                        <a:rPr lang="en-GB" sz="900" b="0" i="0" u="none" strike="noStrike" baseline="0" noProof="0">
                          <a:solidFill>
                            <a:srgbClr val="000000"/>
                          </a:solidFill>
                          <a:effectLst/>
                          <a:latin typeface="Segoe UI"/>
                        </a:rPr>
                        <a:t>As Customer Zero, leverage AI to accelerate our digital transformation and model the productivity and efficiency gains through our products, platforms, and solutions.</a:t>
                      </a:r>
                      <a:endParaRPr lang="en-US" i="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1 Business Insights: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verage AI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to analyze situations, make informed decisions, &amp; drive strategies that align with your customer’s goals &amp; objectives. Do this in conjunction with your manager.</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2 Operational excellence</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dhere to Guidelines for MCEM, Consumption &amp; Usage Excellence, Customer </a:t>
                      </a:r>
                      <a:r>
                        <a:rPr lang="en-GB" sz="900" kern="1200" err="1">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Contactability</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Comply with 100% Labor Logging (defined by area guidelines), as required by company policy, CE&amp;S business rules, and legal requirements. </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4.3 Maximize MS/CSU-Invested ROI: </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verage scale execution engines (e.g. Cloud Accelerate Factory) as a priority. Through Unified provide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Factory Delivery oversight and escalation support to ensure a successful customer delivery with high customer satisfaction. As Tech Lead, support Area achieve Factory target, contribute to factory pipeline, orchestrate customer/Factory activities, and grow Area CSU capability and capacity to scale</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9779708"/>
                  </a:ext>
                </a:extLst>
              </a:tr>
              <a:tr h="206012">
                <a:tc>
                  <a:txBody>
                    <a:bodyPr/>
                    <a:lstStyle/>
                    <a:p>
                      <a:r>
                        <a:rPr lang="en-US" sz="900">
                          <a:solidFill>
                            <a:schemeClr val="tx2"/>
                          </a:solidFill>
                        </a:rPr>
                        <a:t>5</a:t>
                      </a: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US" sz="900" b="1" i="0" u="none" strike="noStrike" baseline="0" noProof="0">
                          <a:solidFill>
                            <a:srgbClr val="000000"/>
                          </a:solidFill>
                          <a:latin typeface="Segoe UI"/>
                        </a:rPr>
                        <a:t>Drive Unified and Factory delivery to maximize ACR impact and customer outcomes</a:t>
                      </a:r>
                    </a:p>
                  </a:txBody>
                  <a:tcPr>
                    <a:lnT w="9525" cap="flat" cmpd="sng" algn="ctr">
                      <a:solidFill>
                        <a:schemeClr val="bg1">
                          <a:lumMod val="85000"/>
                        </a:schemeClr>
                      </a:solidFill>
                      <a:prstDash val="solid"/>
                      <a:round/>
                      <a:headEnd type="none" w="med" len="med"/>
                      <a:tailEnd type="none" w="med" len="med"/>
                    </a:lnT>
                  </a:tcPr>
                </a:tc>
                <a:tc>
                  <a:txBody>
                    <a:bodyPr/>
                    <a:lstStyle/>
                    <a:p>
                      <a:pPr marL="0" lvl="0" indent="0" algn="l">
                        <a:lnSpc>
                          <a:spcPct val="100000"/>
                        </a:lnSpc>
                        <a:buNone/>
                      </a:pPr>
                      <a:r>
                        <a:rPr lang="en-GB" sz="900" b="0" i="0" u="none" strike="noStrike" baseline="0" noProof="0">
                          <a:solidFill>
                            <a:srgbClr val="000000"/>
                          </a:solidFill>
                          <a:effectLst/>
                          <a:latin typeface="Segoe UI"/>
                        </a:rPr>
                        <a:t>Obsess over driving value for our customers/partners through shaping the right offers, delivering through Unified and Factory engines and our integrated services portfolio</a:t>
                      </a:r>
                      <a:endParaRPr lang="en-GB" sz="900" b="0" i="1" u="none" strike="noStrike" baseline="0" noProof="0">
                        <a:solidFill>
                          <a:srgbClr val="000000"/>
                        </a:solidFill>
                        <a:effectLst/>
                        <a:latin typeface="Segoe UI"/>
                      </a:endParaRPr>
                    </a:p>
                    <a:p>
                      <a:pPr marL="0" marR="0" lvl="0" indent="0" algn="l" defTabSz="1110447">
                        <a:lnSpc>
                          <a:spcPct val="100000"/>
                        </a:lnSpc>
                        <a:spcBef>
                          <a:spcPts val="0"/>
                        </a:spcBef>
                        <a:spcAft>
                          <a:spcPts val="0"/>
                        </a:spcAft>
                        <a:buClrTx/>
                        <a:buSzTx/>
                        <a:buFontTx/>
                        <a:buNone/>
                        <a:tabLst/>
                        <a:defRPr/>
                      </a:pPr>
                      <a:endParaRPr lang="en-GB" sz="900" b="1" i="1" u="none" strike="noStrike">
                        <a:solidFill>
                          <a:schemeClr val="tx1"/>
                        </a:solidFill>
                        <a:effectLst/>
                      </a:endParaRPr>
                    </a:p>
                    <a:p>
                      <a:pPr marL="0" marR="0" lvl="0" indent="0" algn="l" defTabSz="1110447" rtl="0" eaLnBrk="1" fontAlgn="auto" latinLnBrk="0" hangingPunct="1">
                        <a:lnSpc>
                          <a:spcPct val="100000"/>
                        </a:lnSpc>
                        <a:spcBef>
                          <a:spcPts val="0"/>
                        </a:spcBef>
                        <a:spcAft>
                          <a:spcPts val="0"/>
                        </a:spcAft>
                        <a:buClrTx/>
                        <a:buSzTx/>
                        <a:buFontTx/>
                        <a:buNone/>
                        <a:tabLst/>
                        <a:defRPr/>
                      </a:pPr>
                      <a:endParaRPr lang="en-GB" sz="900" b="1" i="1" u="none" strike="noStrike">
                        <a:solidFill>
                          <a:schemeClr val="tx1"/>
                        </a:solidFill>
                        <a:effectLst/>
                      </a:endParaRPr>
                    </a:p>
                  </a:txBody>
                  <a:tcPr>
                    <a:lnT w="9525" cap="flat" cmpd="sng" algn="ctr">
                      <a:solidFill>
                        <a:schemeClr val="bg1">
                          <a:lumMod val="85000"/>
                        </a:schemeClr>
                      </a:solidFill>
                      <a:prstDash val="solid"/>
                      <a:round/>
                      <a:headEnd type="none" w="med" len="med"/>
                      <a:tailEnd type="none" w="med" len="med"/>
                    </a:lnT>
                  </a:tcPr>
                </a:tc>
                <a:tc>
                  <a:txBody>
                    <a:bodyPr/>
                    <a:lstStyle/>
                    <a:p>
                      <a:pPr marL="0" marR="0" lvl="0" indent="0" algn="l" defTabSz="1110447" rtl="0" eaLnBrk="1" fontAlgn="auto" latinLnBrk="0" hangingPunct="1">
                        <a:lnSpc>
                          <a:spcPct val="100000"/>
                        </a:lnSpc>
                        <a:spcBef>
                          <a:spcPts val="0"/>
                        </a:spcBef>
                        <a:spcAft>
                          <a:spcPts val="0"/>
                        </a:spcAft>
                        <a:buClrTx/>
                        <a:buSzTx/>
                        <a:buFontTx/>
                        <a:buNone/>
                        <a:tabLst/>
                        <a:defRPr/>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1 Achieve Factory ACR targets</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for assigned geo and workload through hands-on delivery, active delivery oversight, and proactive support for Field account teams in optimizing delivery proposals by leading with Factory assessments</a:t>
                      </a:r>
                      <a:endParaRPr lang="en-US" sz="12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0000"/>
                        </a:lnSpc>
                        <a:spcAft>
                          <a:spcPts val="0"/>
                        </a:spcAft>
                        <a:buNone/>
                      </a:pPr>
                      <a:r>
                        <a:rPr lang="en-GB"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2 Delivery Excellence &amp; Continuous Improvement</a:t>
                      </a:r>
                      <a:r>
                        <a:rPr lang="en-GB"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Deliver Customer engagements to augment field capability on Innovative workloads. Own committed production milestones, achieving 95%+ commit-to-close rate (Job 1) each quarter for Unified customers in Classic and Accelerate territories. Use repeatable IP/artifacts in delivery to drive efficiency and scale. Prompt customer feedback and earn a VSAT score with each delivery.</a:t>
                      </a:r>
                    </a:p>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5.3 Consumption/Usage Impact</a:t>
                      </a:r>
                      <a:r>
                        <a:rPr lang="en-US" sz="90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 Unblock field engagements thru resolving UAT/TFTs. Apply a consultative approach to Job 2 to drive next best action execution and generate incremental pipeline (Job 2) from every delivery engagement. </a:t>
                      </a:r>
                    </a:p>
                    <a:p>
                      <a:pPr marL="0" marR="0">
                        <a:lnSpc>
                          <a:spcPct val="100000"/>
                        </a:lnSpc>
                        <a:spcAft>
                          <a:spcPts val="0"/>
                        </a:spcAft>
                        <a:buNone/>
                      </a:pPr>
                      <a:r>
                        <a:rPr lang="en-US" sz="900" b="1"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Factory Tech Lead Only] 5.4 Factory Tech Lead: </a:t>
                      </a:r>
                      <a:r>
                        <a:rPr lang="en-US" sz="900" b="0" kern="1200">
                          <a:solidFill>
                            <a:schemeClr val="tx1"/>
                          </a:solidFill>
                          <a:effectLst/>
                          <a:latin typeface="Segoe UI" panose="020B0502040204020203" pitchFamily="34" charset="0"/>
                          <a:ea typeface="MS PGothic" panose="020B0600070205080204" pitchFamily="34" charset="-128"/>
                          <a:cs typeface="Times New Roman" panose="02020603050405020304" pitchFamily="18" charset="0"/>
                        </a:rPr>
                        <a:t>Lead active nominations to closure and run weekly scrum calls with area and PMs. Accountable to agree on any scope deviation (not custom), primary decision maker of technical implementation for any nomination. Align with product and engineering to resolve any issues during project executions. </a:t>
                      </a:r>
                      <a:endParaRPr lang="en-US" sz="1200" b="1"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870294767"/>
                  </a:ext>
                </a:extLst>
              </a:tr>
            </a:tbl>
          </a:graphicData>
        </a:graphic>
      </p:graphicFrame>
      <p:sp>
        <p:nvSpPr>
          <p:cNvPr id="10" name="Title 1">
            <a:extLst>
              <a:ext uri="{FF2B5EF4-FFF2-40B4-BE49-F238E27FC236}">
                <a16:creationId xmlns:a16="http://schemas.microsoft.com/office/drawing/2014/main" id="{962E4B93-1BBB-0969-F629-945F7D7C48E1}"/>
              </a:ext>
            </a:extLst>
          </p:cNvPr>
          <p:cNvSpPr txBox="1">
            <a:spLocks/>
          </p:cNvSpPr>
          <p:nvPr/>
        </p:nvSpPr>
        <p:spPr>
          <a:xfrm>
            <a:off x="913023" y="774019"/>
            <a:ext cx="11049000"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Sans Text" pitchFamily="2" charset="0"/>
              </a:defRPr>
            </a:lvl1pPr>
          </a:lstStyle>
          <a:p>
            <a:pPr algn="r" defTabSz="932563">
              <a:spcBef>
                <a:spcPts val="0"/>
              </a:spcBef>
              <a:defRPr/>
            </a:pPr>
            <a:r>
              <a:rPr lang="en-US" sz="1050">
                <a:solidFill>
                  <a:schemeClr val="tx2"/>
                </a:solidFill>
                <a:ea typeface="Arial Unicode MS"/>
                <a:cs typeface="Arial Unicode MS"/>
              </a:rPr>
              <a:t>FY26 Core Priorities Final – CSA IC – RSG Name: </a:t>
            </a:r>
            <a:r>
              <a:rPr lang="en-US" sz="1050" spc="0">
                <a:ln>
                  <a:noFill/>
                </a:ln>
                <a:solidFill>
                  <a:schemeClr val="tx2"/>
                </a:solidFill>
              </a:rPr>
              <a:t>Cloud Solution Architecture IC – Qual 1: Global Solutions ; Qual 2: Cloud &amp; AI | Role Owner: Samantha Wilder</a:t>
            </a:r>
            <a:endParaRPr lang="en-US" sz="1050">
              <a:solidFill>
                <a:schemeClr val="tx2"/>
              </a:solidFill>
            </a:endParaRPr>
          </a:p>
        </p:txBody>
      </p:sp>
      <p:grpSp>
        <p:nvGrpSpPr>
          <p:cNvPr id="12" name="Group 11">
            <a:extLst>
              <a:ext uri="{FF2B5EF4-FFF2-40B4-BE49-F238E27FC236}">
                <a16:creationId xmlns:a16="http://schemas.microsoft.com/office/drawing/2014/main" id="{3DEDC81D-4230-99A4-762E-8DB99779332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13" name="Table 2 Cell 1, 1 to Text">
              <a:extLst>
                <a:ext uri="{FF2B5EF4-FFF2-40B4-BE49-F238E27FC236}">
                  <a16:creationId xmlns:a16="http://schemas.microsoft.com/office/drawing/2014/main" id="{6983E4D7-859B-E566-7D24-C661104C4818}"/>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4" name="Table 2 Cell 2, 1 to Text">
              <a:extLst>
                <a:ext uri="{FF2B5EF4-FFF2-40B4-BE49-F238E27FC236}">
                  <a16:creationId xmlns:a16="http://schemas.microsoft.com/office/drawing/2014/main" id="{296FFDFD-72DA-280F-786E-3C34F9A1923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5" name="Table 2 Cell 3, 1 to Text">
              <a:extLst>
                <a:ext uri="{FF2B5EF4-FFF2-40B4-BE49-F238E27FC236}">
                  <a16:creationId xmlns:a16="http://schemas.microsoft.com/office/drawing/2014/main" id="{6403E956-380E-83A9-0FC6-A1EF8D723950}"/>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6" name="Table 2 Cell 4, 1 to Text">
              <a:extLst>
                <a:ext uri="{FF2B5EF4-FFF2-40B4-BE49-F238E27FC236}">
                  <a16:creationId xmlns:a16="http://schemas.microsoft.com/office/drawing/2014/main" id="{5FAFBE07-366E-B596-28DC-2DA27170F58D}"/>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7" name="Table 2 Cell 5, 1 to Text">
              <a:extLst>
                <a:ext uri="{FF2B5EF4-FFF2-40B4-BE49-F238E27FC236}">
                  <a16:creationId xmlns:a16="http://schemas.microsoft.com/office/drawing/2014/main" id="{7ABCFBAC-A692-7856-897C-16C4FC39D4F8}"/>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8" name="Table 2 Cell 6, 1 to Text">
              <a:extLst>
                <a:ext uri="{FF2B5EF4-FFF2-40B4-BE49-F238E27FC236}">
                  <a16:creationId xmlns:a16="http://schemas.microsoft.com/office/drawing/2014/main" id="{CE1465CC-6527-FF99-C89C-C4589C9E0338}"/>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19" name="Table 2 Cell 7, 1 to Text">
              <a:extLst>
                <a:ext uri="{FF2B5EF4-FFF2-40B4-BE49-F238E27FC236}">
                  <a16:creationId xmlns:a16="http://schemas.microsoft.com/office/drawing/2014/main" id="{A59F24F0-4C80-7A4F-F338-0A654952B1F1}"/>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20" name="Table 2 Cell 1, 2 to Text">
              <a:extLst>
                <a:ext uri="{FF2B5EF4-FFF2-40B4-BE49-F238E27FC236}">
                  <a16:creationId xmlns:a16="http://schemas.microsoft.com/office/drawing/2014/main" id="{7C769803-D898-FC35-9ED3-458E41CFD69A}"/>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Core CE&amp;S</a:t>
              </a:r>
            </a:p>
          </p:txBody>
        </p:sp>
        <p:sp>
          <p:nvSpPr>
            <p:cNvPr id="21" name="Table 2 Cell 1, 3 to Text">
              <a:extLst>
                <a:ext uri="{FF2B5EF4-FFF2-40B4-BE49-F238E27FC236}">
                  <a16:creationId xmlns:a16="http://schemas.microsoft.com/office/drawing/2014/main" id="{B924C9E2-43E4-DB2D-945B-91E5CEFD8E67}"/>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sz="800">
                  <a:solidFill>
                    <a:schemeClr val="bg1"/>
                  </a:solidFill>
                </a:rPr>
                <a:t>6.2 Core Priorities &amp; Key Habits</a:t>
              </a:r>
            </a:p>
          </p:txBody>
        </p:sp>
        <p:sp>
          <p:nvSpPr>
            <p:cNvPr id="22" name="Table 2 Cell 1, 4 to Text">
              <a:extLst>
                <a:ext uri="{FF2B5EF4-FFF2-40B4-BE49-F238E27FC236}">
                  <a16:creationId xmlns:a16="http://schemas.microsoft.com/office/drawing/2014/main" id="{96047CEC-FA3C-18A8-15EB-66E1623DFC8D}"/>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23" name="Table 2 Cell 1, 5 to Text">
              <a:extLst>
                <a:ext uri="{FF2B5EF4-FFF2-40B4-BE49-F238E27FC236}">
                  <a16:creationId xmlns:a16="http://schemas.microsoft.com/office/drawing/2014/main" id="{C6C06B91-87EF-B0F5-AA36-A65BDDB0542D}"/>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grpSp>
    </p:spTree>
    <p:extLst>
      <p:ext uri="{BB962C8B-B14F-4D97-AF65-F5344CB8AC3E}">
        <p14:creationId xmlns:p14="http://schemas.microsoft.com/office/powerpoint/2010/main" val="4722478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1C01D-7DBD-3F41-3F33-CD7515D4E30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E241AE-8853-7689-D7D2-56B06F237577}"/>
              </a:ext>
            </a:extLst>
          </p:cNvPr>
          <p:cNvSpPr>
            <a:spLocks noGrp="1"/>
          </p:cNvSpPr>
          <p:nvPr>
            <p:ph type="title"/>
          </p:nvPr>
        </p:nvSpPr>
        <p:spPr>
          <a:xfrm>
            <a:off x="569972" y="725801"/>
            <a:ext cx="11049000" cy="492443"/>
          </a:xfrm>
        </p:spPr>
        <p:txBody>
          <a:bodyPr>
            <a:normAutofit fontScale="90000"/>
          </a:bodyPr>
          <a:lstStyle/>
          <a:p>
            <a:r>
              <a:rPr lang="en-US" sz="2800">
                <a:solidFill>
                  <a:schemeClr val="accent1"/>
                </a:solidFill>
              </a:rPr>
              <a:t>FY26 Core CE&amp;S Global Solutions Cloud &amp; AI CSA – IC </a:t>
            </a:r>
            <a:r>
              <a:rPr lang="en-US" sz="2800"/>
              <a:t>| Technical Expectations</a:t>
            </a:r>
          </a:p>
        </p:txBody>
      </p:sp>
      <p:sp>
        <p:nvSpPr>
          <p:cNvPr id="22" name="Rectangle: Rounded Corners 21">
            <a:extLst>
              <a:ext uri="{FF2B5EF4-FFF2-40B4-BE49-F238E27FC236}">
                <a16:creationId xmlns:a16="http://schemas.microsoft.com/office/drawing/2014/main" id="{41FFAA42-47F7-A209-280E-937832EA8874}"/>
              </a:ext>
              <a:ext uri="{C183D7F6-B498-43B3-948B-1728B52AA6E4}">
                <adec:decorative xmlns:adec="http://schemas.microsoft.com/office/drawing/2017/decorative" val="1"/>
              </a:ext>
            </a:extLst>
          </p:cNvPr>
          <p:cNvSpPr>
            <a:spLocks/>
          </p:cNvSpPr>
          <p:nvPr/>
        </p:nvSpPr>
        <p:spPr bwMode="auto">
          <a:xfrm>
            <a:off x="569972" y="1277769"/>
            <a:ext cx="11049000" cy="4839000"/>
          </a:xfrm>
          <a:prstGeom prst="roundRect">
            <a:avLst>
              <a:gd name="adj" fmla="val 4178"/>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3" name="Rectangle: Rounded Corners 22">
            <a:extLst>
              <a:ext uri="{FF2B5EF4-FFF2-40B4-BE49-F238E27FC236}">
                <a16:creationId xmlns:a16="http://schemas.microsoft.com/office/drawing/2014/main" id="{77D02D96-709A-F9B6-1A5B-DC9911B56159}"/>
              </a:ext>
            </a:extLst>
          </p:cNvPr>
          <p:cNvSpPr/>
          <p:nvPr/>
        </p:nvSpPr>
        <p:spPr bwMode="auto">
          <a:xfrm>
            <a:off x="672840" y="1377621"/>
            <a:ext cx="10843263" cy="330677"/>
          </a:xfrm>
          <a:prstGeom prst="roundRect">
            <a:avLst>
              <a:gd name="adj" fmla="val 36323"/>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ore CE&amp;S - Cloud &amp; AI CSA</a:t>
            </a:r>
          </a:p>
        </p:txBody>
      </p:sp>
      <p:sp>
        <p:nvSpPr>
          <p:cNvPr id="40" name="TextBox 39">
            <a:extLst>
              <a:ext uri="{FF2B5EF4-FFF2-40B4-BE49-F238E27FC236}">
                <a16:creationId xmlns:a16="http://schemas.microsoft.com/office/drawing/2014/main" id="{A130C411-613E-8144-BAAD-7FF1DA4EBCF2}"/>
              </a:ext>
            </a:extLst>
          </p:cNvPr>
          <p:cNvSpPr txBox="1"/>
          <p:nvPr/>
        </p:nvSpPr>
        <p:spPr>
          <a:xfrm>
            <a:off x="1015449" y="1844940"/>
            <a:ext cx="3251684" cy="3777957"/>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Pass NEW or Maintain 2 certifications:</a:t>
            </a: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olutions Architect Expert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3">
                  <a:extLst>
                    <a:ext uri="{A12FA001-AC4F-418D-AE19-62706E023703}">
                      <ahyp:hlinkClr xmlns:ahyp="http://schemas.microsoft.com/office/drawing/2018/hyperlinkcolor" val="tx"/>
                    </a:ext>
                  </a:extLst>
                </a:hlinkClick>
              </a:rPr>
              <a:t>AZ-305</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AI Engineer Associate (AI-102)</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base Administrator Associate (DP-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eveloper Associate (AZ-204)</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Network Engineer Associate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AZ-700</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Linux Foundation Certified System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LFCS</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a:t>
            </a:r>
            <a:r>
              <a:rPr kumimoji="0" lang="en-US" sz="900" b="0" i="0" u="none" strike="noStrike" kern="1200" cap="none" spc="0" normalizeH="0" baseline="0" noProof="0">
                <a:ln>
                  <a:noFill/>
                </a:ln>
                <a:solidFill>
                  <a:srgbClr val="0078D4"/>
                </a:solidFill>
                <a:effectLst/>
                <a:uLnTx/>
                <a:uFillTx/>
                <a:latin typeface="Segoe Sans Text"/>
                <a:ea typeface="+mn-ea"/>
                <a:cs typeface="+mn-cs"/>
              </a:rPr>
              <a:t>CKA</a:t>
            </a:r>
            <a:r>
              <a:rPr kumimoji="0" lang="en-US" sz="900" b="0" i="0" u="none" strike="noStrike" kern="1200" cap="none" spc="0" normalizeH="0" baseline="0" noProof="0">
                <a:ln>
                  <a:noFill/>
                </a:ln>
                <a:solidFill>
                  <a:srgbClr val="000000"/>
                </a:solidFill>
                <a:effectLst/>
                <a:uLnTx/>
                <a:uFillTx/>
                <a:latin typeface="Segoe Sans Text"/>
                <a:ea typeface="+mn-ea"/>
                <a:cs typeface="+mn-cs"/>
              </a:rPr>
              <a:t>)</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Security Engineer Associate</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GitHub Copilot Certifications</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evOps Engineer Expert (AZ-4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ertified Kubernetes Administrator (CKA)</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Analytics Engineer Associate (DP-6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Fabric Data Engineer Associate (DP-7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ower BI Data Analyst Associate (PL-3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Data Scientist Associate (DP-100)</a:t>
            </a:r>
            <a:endParaRPr lang="en-US" sz="900" b="0" i="0" u="none" strike="noStrike" kern="1200" cap="none" spc="0" normalizeH="0" baseline="0" noProof="0">
              <a:ln>
                <a:noFill/>
              </a:ln>
              <a:solidFill>
                <a:srgbClr val="000000"/>
              </a:solidFill>
              <a:effectLst/>
              <a:uLnTx/>
              <a:uFillTx/>
              <a:latin typeface="Segoe Sans Text"/>
              <a:cs typeface="Segoe Sans Text"/>
            </a:endParaRPr>
          </a:p>
          <a:p>
            <a:pPr marL="188595" marR="0" lvl="0" indent="-13144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zure Cosmos DB Developer Specialty (DP-420)</a:t>
            </a:r>
            <a:endParaRPr lang="en-US" sz="900" b="0" i="0" u="none" strike="noStrike" kern="1200" cap="none" spc="0" normalizeH="0" baseline="0" noProof="0">
              <a:ln>
                <a:noFill/>
              </a:ln>
              <a:solidFill>
                <a:srgbClr val="000000"/>
              </a:solidFill>
              <a:effectLst/>
              <a:uLnTx/>
              <a:uFillTx/>
              <a:latin typeface="Segoe Sans Text"/>
              <a:cs typeface="Segoe Sans Text"/>
            </a:endParaRPr>
          </a:p>
        </p:txBody>
      </p:sp>
      <p:sp>
        <p:nvSpPr>
          <p:cNvPr id="42" name="TextBox 41">
            <a:extLst>
              <a:ext uri="{FF2B5EF4-FFF2-40B4-BE49-F238E27FC236}">
                <a16:creationId xmlns:a16="http://schemas.microsoft.com/office/drawing/2014/main" id="{69F42FE6-8C19-DD23-7369-ECC29F7FCB63}"/>
              </a:ext>
            </a:extLst>
          </p:cNvPr>
          <p:cNvSpPr txBox="1"/>
          <p:nvPr/>
        </p:nvSpPr>
        <p:spPr>
          <a:xfrm>
            <a:off x="4712610" y="1844940"/>
            <a:ext cx="6161130" cy="419345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srgbClr val="2A446F"/>
                </a:solidFill>
                <a:effectLst/>
                <a:uLnTx/>
                <a:uFillTx/>
                <a:latin typeface="Segoe Sans Text Semibold"/>
                <a:ea typeface="+mn-ea"/>
                <a:cs typeface="+mn-cs"/>
              </a:rPr>
              <a:t>Technical L300/400 proficiency with accreditation for delivery, and contribute to IP for:</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AF + WAF </a:t>
            </a:r>
            <a:r>
              <a:rPr kumimoji="0" lang="en-US" sz="1000" b="0" i="0" u="none" strike="noStrike" kern="1200" cap="none" spc="0" normalizeH="0" baseline="0" noProof="0">
                <a:ln>
                  <a:noFill/>
                </a:ln>
                <a:solidFill>
                  <a:srgbClr val="000000"/>
                </a:solidFill>
                <a:effectLst/>
                <a:uLnTx/>
                <a:uFillTx/>
                <a:latin typeface="Segoe Sans Text"/>
                <a:ea typeface="+mn-ea"/>
                <a:cs typeface="+mn-cs"/>
              </a:rPr>
              <a:t>(e.g. landing zones, WARA, networking, storage, monitor, backup/DR, resiliency et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AI Foundry*​ </a:t>
            </a:r>
            <a:r>
              <a:rPr kumimoji="0" lang="en-US" sz="1000" b="0" i="0" u="none" strike="noStrike" kern="1200" cap="none" spc="0" normalizeH="0" baseline="0" noProof="0">
                <a:ln>
                  <a:noFill/>
                </a:ln>
                <a:solidFill>
                  <a:srgbClr val="000000"/>
                </a:solidFill>
                <a:effectLst/>
                <a:uLnTx/>
                <a:uFillTx/>
                <a:latin typeface="Segoe Sans Text"/>
                <a:ea typeface="+mn-ea"/>
                <a:cs typeface="+mn-cs"/>
              </a:rPr>
              <a:t>(Models, Agent Service, Semantic Kernel, Search, ML, SDK)</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Infra Migration</a:t>
            </a:r>
            <a:r>
              <a:rPr kumimoji="0" lang="en-US" sz="1000" b="0" i="0" u="none" strike="noStrike" kern="1200" cap="none" spc="0" normalizeH="0" baseline="0" noProof="0">
                <a:ln>
                  <a:noFill/>
                </a:ln>
                <a:solidFill>
                  <a:srgbClr val="000000"/>
                </a:solidFill>
                <a:effectLst/>
                <a:uLnTx/>
                <a:uFillTx/>
                <a:latin typeface="Segoe Sans Text"/>
                <a:ea typeface="+mn-ea"/>
                <a:cs typeface="+mn-cs"/>
              </a:rPr>
              <a:t>: Windows Server VMs, Linux VMs, Azure Arc, Azure VMware Solution (AVS), Azure Arc, RISE with SAP,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M-Series Azure VMs, HPC</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Data Migration &amp; Modernization</a:t>
            </a:r>
            <a:r>
              <a:rPr kumimoji="0" lang="en-US" sz="1000" b="0" i="0" u="none" strike="noStrike" kern="1200" cap="none" spc="0" normalizeH="0" baseline="0" noProof="0">
                <a:ln>
                  <a:noFill/>
                </a:ln>
                <a:solidFill>
                  <a:srgbClr val="000000"/>
                </a:solidFill>
                <a:effectLst/>
                <a:uLnTx/>
                <a:uFillTx/>
                <a:latin typeface="Segoe Sans Text"/>
                <a:ea typeface="+mn-ea"/>
                <a:cs typeface="+mn-cs"/>
              </a:rPr>
              <a:t>: Azure SQL (SQL Server on Azure VMs, Azure SQL Managed Instance, Azure SQL Database), Azure Database for PostgreSQL, Azure Database for MySQL</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err="1">
                <a:ln>
                  <a:noFill/>
                </a:ln>
                <a:solidFill>
                  <a:srgbClr val="000000"/>
                </a:solidFill>
                <a:effectLst/>
                <a:uLnTx/>
                <a:uFillTx/>
                <a:latin typeface="Segoe Sans Text Semibold"/>
                <a:ea typeface="+mn-ea"/>
                <a:cs typeface="+mn-cs"/>
              </a:rPr>
              <a:t>AppPlat</a:t>
            </a: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Containers/Serverless </a:t>
            </a:r>
            <a:r>
              <a:rPr kumimoji="0" lang="en-US" sz="1000" b="1" i="0" u="none" strike="noStrike" kern="1200" cap="none" spc="0" normalizeH="0" baseline="0" noProof="0">
                <a:ln>
                  <a:noFill/>
                </a:ln>
                <a:solidFill>
                  <a:srgbClr val="000000"/>
                </a:solidFill>
                <a:effectLst/>
                <a:uLnTx/>
                <a:uFillTx/>
                <a:latin typeface="Segoe Sans Text"/>
                <a:ea typeface="+mn-ea"/>
                <a:cs typeface="+mn-cs"/>
              </a:rPr>
              <a:t>(</a:t>
            </a:r>
            <a:r>
              <a:rPr kumimoji="0" lang="en-US" sz="1000" b="0" i="0" u="none" strike="noStrike" kern="1200" cap="none" spc="0" normalizeH="0" baseline="0" noProof="0">
                <a:ln>
                  <a:noFill/>
                </a:ln>
                <a:solidFill>
                  <a:srgbClr val="000000"/>
                </a:solidFill>
                <a:effectLst/>
                <a:uLnTx/>
                <a:uFillTx/>
                <a:latin typeface="Segoe Sans Text"/>
                <a:ea typeface="+mn-ea"/>
                <a:cs typeface="+mn-cs"/>
              </a:rPr>
              <a:t>App Service, AKS, ACA, ARO, Functions)</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DevOps</a:t>
            </a:r>
            <a:r>
              <a:rPr kumimoji="0" lang="en-US" sz="1000" b="0" i="0" u="none" strike="noStrike" kern="1200" cap="none" spc="0" normalizeH="0" baseline="0" noProof="0">
                <a:ln>
                  <a:noFill/>
                </a:ln>
                <a:solidFill>
                  <a:srgbClr val="000000"/>
                </a:solidFill>
                <a:effectLst/>
                <a:uLnTx/>
                <a:uFillTx/>
                <a:latin typeface="Segoe Sans Text"/>
                <a:ea typeface="+mn-ea"/>
                <a:cs typeface="+mn-cs"/>
              </a:rPr>
              <a:t> (CI/CD, Azure DevOps,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DevSecOps</a:t>
            </a:r>
            <a:r>
              <a:rPr kumimoji="0" lang="en-US" sz="10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Security</a:t>
            </a:r>
            <a:r>
              <a:rPr kumimoji="0" lang="en-US" sz="1000" b="0" i="0" u="none" strike="noStrike" kern="1200" cap="none" spc="0" normalizeH="0" baseline="0" noProof="0">
                <a:ln>
                  <a:noFill/>
                </a:ln>
                <a:solidFill>
                  <a:srgbClr val="000000"/>
                </a:solidFill>
                <a:effectLst/>
                <a:uLnTx/>
                <a:uFillTx/>
                <a:latin typeface="Segoe Sans Text"/>
                <a:ea typeface="+mn-ea"/>
                <a:cs typeface="+mn-cs"/>
              </a:rPr>
              <a:t>: Defender for Cloud, Network Security</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Databases </a:t>
            </a:r>
            <a:r>
              <a:rPr kumimoji="0" lang="en-US" sz="1000" b="0" i="0" u="none" strike="noStrike" kern="1200" cap="none" spc="0" normalizeH="0" baseline="0" noProof="0">
                <a:ln>
                  <a:noFill/>
                </a:ln>
                <a:solidFill>
                  <a:srgbClr val="000000"/>
                </a:solidFill>
                <a:effectLst/>
                <a:uLnTx/>
                <a:uFillTx/>
                <a:latin typeface="Segoe Sans Text"/>
                <a:ea typeface="+mn-ea"/>
                <a:cs typeface="+mn-cs"/>
              </a:rPr>
              <a:t>(Azure SQL, Azure Postgres SQL, Azure MySQL, Cosmos DB)</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Microsoft Fabric (Fabric DW, Real-Time Intelligence),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OneLake</a:t>
            </a:r>
            <a:r>
              <a:rPr kumimoji="0" lang="en-US" sz="1000" b="0" i="0" u="none" strike="noStrike" kern="1200" cap="none" spc="0" normalizeH="0" baseline="0" noProof="0">
                <a:ln>
                  <a:noFill/>
                </a:ln>
                <a:solidFill>
                  <a:srgbClr val="000000"/>
                </a:solidFill>
                <a:effectLst/>
                <a:uLnTx/>
                <a:uFillTx/>
                <a:latin typeface="Segoe Sans Text"/>
                <a:ea typeface="+mn-ea"/>
                <a:cs typeface="+mn-cs"/>
              </a:rPr>
              <a:t>, Data Integration, Data Engineering, Copilot, Data Science)</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Azure Integration Service </a:t>
            </a:r>
            <a:r>
              <a:rPr kumimoji="0" lang="en-US" sz="1000" b="0" i="0" u="none" strike="noStrike" kern="1200" cap="none" spc="0" normalizeH="0" baseline="0" noProof="0">
                <a:ln>
                  <a:noFill/>
                </a:ln>
                <a:solidFill>
                  <a:srgbClr val="000000"/>
                </a:solidFill>
                <a:effectLst/>
                <a:uLnTx/>
                <a:uFillTx/>
                <a:latin typeface="Segoe Sans Text"/>
                <a:ea typeface="+mn-ea"/>
                <a:cs typeface="+mn-cs"/>
              </a:rPr>
              <a:t>(APIM, Logic App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GitHub</a:t>
            </a:r>
            <a:r>
              <a:rPr kumimoji="0" lang="en-US" sz="1000" b="0" i="0" u="none" strike="noStrike" kern="1200" cap="none" spc="0" normalizeH="0" baseline="0" noProof="0">
                <a:ln>
                  <a:noFill/>
                </a:ln>
                <a:solidFill>
                  <a:srgbClr val="000000"/>
                </a:solidFill>
                <a:effectLst/>
                <a:uLnTx/>
                <a:uFillTx/>
                <a:latin typeface="Segoe Sans Text"/>
                <a:ea typeface="+mn-ea"/>
                <a:cs typeface="+mn-cs"/>
              </a:rPr>
              <a:t> (Copilot, Enterprise, Adv Security, Actions, </a:t>
            </a:r>
            <a:r>
              <a:rPr kumimoji="0" lang="en-US" sz="1000" b="0" i="0" u="none" strike="noStrike" kern="1200" cap="none" spc="0" normalizeH="0" baseline="0" noProof="0" err="1">
                <a:ln>
                  <a:noFill/>
                </a:ln>
                <a:solidFill>
                  <a:srgbClr val="000000"/>
                </a:solidFill>
                <a:effectLst/>
                <a:uLnTx/>
                <a:uFillTx/>
                <a:latin typeface="Segoe Sans Text"/>
                <a:ea typeface="+mn-ea"/>
                <a:cs typeface="+mn-cs"/>
              </a:rPr>
              <a:t>Codespaces</a:t>
            </a:r>
            <a:r>
              <a:rPr kumimoji="0" lang="en-US" sz="1000" b="0" i="0" u="none" strike="noStrike" kern="1200" cap="none" spc="0" normalizeH="0" baseline="0" noProof="0">
                <a:ln>
                  <a:noFill/>
                </a:ln>
                <a:solidFill>
                  <a:srgbClr val="000000"/>
                </a:solidFill>
                <a:effectLst/>
                <a:uLnTx/>
                <a:uFillTx/>
                <a:latin typeface="Segoe Sans Text"/>
                <a:ea typeface="+mn-ea"/>
                <a:cs typeface="+mn-cs"/>
              </a:rPr>
              <a:t>)</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zure Databricks</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Microsoft Purview</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pilot Studio​</a:t>
            </a:r>
          </a:p>
          <a:p>
            <a:pPr marL="188913" marR="0" lvl="0" indent="-131763"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Semibold"/>
                <a:ea typeface="+mn-ea"/>
                <a:cs typeface="+mn-cs"/>
              </a:rPr>
              <a:t>3P GPU/AI Infra/BYOAIM</a:t>
            </a:r>
          </a:p>
        </p:txBody>
      </p:sp>
      <p:sp>
        <p:nvSpPr>
          <p:cNvPr id="6" name="TextBox 5">
            <a:extLst>
              <a:ext uri="{FF2B5EF4-FFF2-40B4-BE49-F238E27FC236}">
                <a16:creationId xmlns:a16="http://schemas.microsoft.com/office/drawing/2014/main" id="{284431F1-C158-5172-33BD-291F339B490E}"/>
              </a:ext>
            </a:extLst>
          </p:cNvPr>
          <p:cNvSpPr txBox="1"/>
          <p:nvPr/>
        </p:nvSpPr>
        <p:spPr>
          <a:xfrm>
            <a:off x="4556760" y="6444894"/>
            <a:ext cx="2803653"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Text"/>
                <a:ea typeface="+mn-ea"/>
                <a:cs typeface="+mn-cs"/>
              </a:rPr>
              <a:t>(*) Azure AI Foundry encapsulates AI Services, AOAI, Azure ML</a:t>
            </a:r>
          </a:p>
        </p:txBody>
      </p:sp>
      <p:grpSp>
        <p:nvGrpSpPr>
          <p:cNvPr id="32" name="Group 31">
            <a:extLst>
              <a:ext uri="{FF2B5EF4-FFF2-40B4-BE49-F238E27FC236}">
                <a16:creationId xmlns:a16="http://schemas.microsoft.com/office/drawing/2014/main" id="{7DA25F9B-A053-E68D-CCF6-FCC604A74515}"/>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33" name="Table 2 Cell 1, 1 to Text">
              <a:extLst>
                <a:ext uri="{FF2B5EF4-FFF2-40B4-BE49-F238E27FC236}">
                  <a16:creationId xmlns:a16="http://schemas.microsoft.com/office/drawing/2014/main" id="{7BBB49B3-BFD1-C0C6-BEA9-C0CB83715EB9}"/>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34" name="Table 2 Cell 2, 1 to Text">
              <a:extLst>
                <a:ext uri="{FF2B5EF4-FFF2-40B4-BE49-F238E27FC236}">
                  <a16:creationId xmlns:a16="http://schemas.microsoft.com/office/drawing/2014/main" id="{AD20011A-1FAE-E468-8DF9-C158C4CE0ADA}"/>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35" name="Table 2 Cell 3, 1 to Text">
              <a:extLst>
                <a:ext uri="{FF2B5EF4-FFF2-40B4-BE49-F238E27FC236}">
                  <a16:creationId xmlns:a16="http://schemas.microsoft.com/office/drawing/2014/main" id="{5B765E02-D72E-6D36-460F-4F364486A791}"/>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6" name="Table 2 Cell 4, 1 to Text">
              <a:extLst>
                <a:ext uri="{FF2B5EF4-FFF2-40B4-BE49-F238E27FC236}">
                  <a16:creationId xmlns:a16="http://schemas.microsoft.com/office/drawing/2014/main" id="{B9B784DB-B97A-73D7-685C-9D1BFD4874D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7" name="Table 2 Cell 5, 1 to Text">
              <a:extLst>
                <a:ext uri="{FF2B5EF4-FFF2-40B4-BE49-F238E27FC236}">
                  <a16:creationId xmlns:a16="http://schemas.microsoft.com/office/drawing/2014/main" id="{9CA2CC97-4D5D-7B87-5964-1B14CD284F49}"/>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8" name="Table 2 Cell 6, 1 to Text">
              <a:extLst>
                <a:ext uri="{FF2B5EF4-FFF2-40B4-BE49-F238E27FC236}">
                  <a16:creationId xmlns:a16="http://schemas.microsoft.com/office/drawing/2014/main" id="{737C914B-A172-2BB5-F500-97A6F8241496}"/>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39" name="Table 2 Cell 7, 1 to Text">
              <a:extLst>
                <a:ext uri="{FF2B5EF4-FFF2-40B4-BE49-F238E27FC236}">
                  <a16:creationId xmlns:a16="http://schemas.microsoft.com/office/drawing/2014/main" id="{96E50635-BFE6-C04C-0FE8-9AE234781AC6}"/>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1" name="Table 2 Cell 1, 2 to Text">
              <a:extLst>
                <a:ext uri="{FF2B5EF4-FFF2-40B4-BE49-F238E27FC236}">
                  <a16:creationId xmlns:a16="http://schemas.microsoft.com/office/drawing/2014/main" id="{98EE7C33-96AF-8034-517A-62BD255065BD}"/>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Core CE&amp;S</a:t>
              </a:r>
            </a:p>
          </p:txBody>
        </p:sp>
        <p:sp>
          <p:nvSpPr>
            <p:cNvPr id="43" name="Table 2 Cell 1, 3 to Text">
              <a:extLst>
                <a:ext uri="{FF2B5EF4-FFF2-40B4-BE49-F238E27FC236}">
                  <a16:creationId xmlns:a16="http://schemas.microsoft.com/office/drawing/2014/main" id="{A49FC160-8216-1F43-0343-73B8E251A919}"/>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44" name="Table 2 Cell 1, 4 to Text">
              <a:extLst>
                <a:ext uri="{FF2B5EF4-FFF2-40B4-BE49-F238E27FC236}">
                  <a16:creationId xmlns:a16="http://schemas.microsoft.com/office/drawing/2014/main" id="{09737B2D-C9BD-81D4-0B98-108FB8B65E48}"/>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6.3 Technical Expectations</a:t>
              </a:r>
            </a:p>
          </p:txBody>
        </p:sp>
        <p:sp>
          <p:nvSpPr>
            <p:cNvPr id="45" name="Table 2 Cell 1, 5 to Text">
              <a:extLst>
                <a:ext uri="{FF2B5EF4-FFF2-40B4-BE49-F238E27FC236}">
                  <a16:creationId xmlns:a16="http://schemas.microsoft.com/office/drawing/2014/main" id="{EE1D547F-BAA0-0784-2D24-B8BEE53A7335}"/>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FFFFFF">
                      <a:lumMod val="65000"/>
                    </a:srgbClr>
                  </a:solidFill>
                  <a:latin typeface="Segoe Sans Text"/>
                </a:rPr>
                <a:t>6.4 Stop/Start/Do Differently</a:t>
              </a:r>
            </a:p>
          </p:txBody>
        </p:sp>
      </p:grpSp>
    </p:spTree>
    <p:extLst>
      <p:ext uri="{BB962C8B-B14F-4D97-AF65-F5344CB8AC3E}">
        <p14:creationId xmlns:p14="http://schemas.microsoft.com/office/powerpoint/2010/main" val="160924645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6D9ED-1EA6-CB9B-DE5B-846FAC68FC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DF5956-47C9-CAB5-9ACC-90F1A15AF18F}"/>
              </a:ext>
            </a:extLst>
          </p:cNvPr>
          <p:cNvSpPr>
            <a:spLocks noGrp="1"/>
          </p:cNvSpPr>
          <p:nvPr>
            <p:ph type="title"/>
          </p:nvPr>
        </p:nvSpPr>
        <p:spPr>
          <a:xfrm>
            <a:off x="586739" y="565176"/>
            <a:ext cx="11018520" cy="430887"/>
          </a:xfrm>
        </p:spPr>
        <p:txBody>
          <a:bodyPr/>
          <a:lstStyle/>
          <a:p>
            <a:r>
              <a:rPr lang="fr-FR" sz="2800" err="1"/>
              <a:t>Core</a:t>
            </a:r>
            <a:r>
              <a:rPr lang="fr-FR" sz="2800"/>
              <a:t> CE&amp;S Global Solutions </a:t>
            </a:r>
            <a:r>
              <a:rPr lang="en-US" sz="2800"/>
              <a:t>Cloud &amp; AI CSA Impact Assessment</a:t>
            </a:r>
          </a:p>
        </p:txBody>
      </p:sp>
      <p:sp>
        <p:nvSpPr>
          <p:cNvPr id="13" name="Content Placeholder 12">
            <a:extLst>
              <a:ext uri="{FF2B5EF4-FFF2-40B4-BE49-F238E27FC236}">
                <a16:creationId xmlns:a16="http://schemas.microsoft.com/office/drawing/2014/main" id="{C8A010D6-A5BA-7EB0-D67B-1DFA1155EFEA}"/>
              </a:ext>
            </a:extLst>
          </p:cNvPr>
          <p:cNvSpPr>
            <a:spLocks noGrp="1"/>
          </p:cNvSpPr>
          <p:nvPr>
            <p:ph sz="quarter" idx="11"/>
          </p:nvPr>
        </p:nvSpPr>
        <p:spPr/>
        <p:txBody>
          <a:bodyPr/>
          <a:lstStyle/>
          <a:p>
            <a:r>
              <a:rPr lang="en-US"/>
              <a:t>Core CE&amp;S - Cloud &amp; AI - Cloud Solution Architect will need to…</a:t>
            </a:r>
          </a:p>
        </p:txBody>
      </p:sp>
      <p:sp>
        <p:nvSpPr>
          <p:cNvPr id="17" name="Content Placeholder 16">
            <a:extLst>
              <a:ext uri="{FF2B5EF4-FFF2-40B4-BE49-F238E27FC236}">
                <a16:creationId xmlns:a16="http://schemas.microsoft.com/office/drawing/2014/main" id="{221A87F9-8EA0-7613-DCA8-4930B5377EE2}"/>
              </a:ext>
            </a:extLst>
          </p:cNvPr>
          <p:cNvSpPr>
            <a:spLocks noGrp="1"/>
          </p:cNvSpPr>
          <p:nvPr>
            <p:ph sz="quarter" idx="17"/>
          </p:nvPr>
        </p:nvSpPr>
        <p:spPr>
          <a:xfrm>
            <a:off x="1422001" y="2552394"/>
            <a:ext cx="4663440" cy="3880029"/>
          </a:xfrm>
        </p:spPr>
        <p:txBody>
          <a:bodyPr/>
          <a:lstStyle/>
          <a:p>
            <a:pPr marL="231775" indent="-231775">
              <a:buFont typeface="Arial" panose="020B0604020202020204" pitchFamily="34" charset="0"/>
              <a:buChar char="•"/>
            </a:pPr>
            <a:r>
              <a:rPr lang="en-US" sz="1600"/>
              <a:t>Thinking across “Cloud &amp; AI Platforms”, </a:t>
            </a:r>
            <a:r>
              <a:rPr lang="en-US" sz="1600" i="1"/>
              <a:t>not in “Data &amp; AI”</a:t>
            </a:r>
          </a:p>
          <a:p>
            <a:pPr marL="231775" indent="-231775">
              <a:buFont typeface="Arial" panose="020B0604020202020204" pitchFamily="34" charset="0"/>
              <a:buChar char="•"/>
            </a:pPr>
            <a:r>
              <a:rPr lang="en-US" sz="1600"/>
              <a:t>Deep Skilling on delivery readiness for Cloud &amp; AI Data role specific workloads</a:t>
            </a:r>
          </a:p>
          <a:p>
            <a:pPr marL="231775" indent="-231775">
              <a:buFont typeface="Arial" panose="020B0604020202020204" pitchFamily="34" charset="0"/>
              <a:buChar char="•"/>
            </a:pPr>
            <a:r>
              <a:rPr lang="en-US" sz="1600"/>
              <a:t>By Q3 start delivering in your “new focus” workloads</a:t>
            </a:r>
          </a:p>
          <a:p>
            <a:pPr marL="231775" indent="-231775">
              <a:buFont typeface="Arial" panose="020B0604020202020204" pitchFamily="34" charset="0"/>
              <a:buChar char="•"/>
            </a:pPr>
            <a:r>
              <a:rPr lang="en-US" sz="1600"/>
              <a:t>Feel responsible for the </a:t>
            </a:r>
            <a:r>
              <a:rPr lang="en-US" sz="1600" i="1"/>
              <a:t>entire</a:t>
            </a:r>
            <a:r>
              <a:rPr lang="en-US" sz="1600"/>
              <a:t> Azure Consumption Plan, ensuring the completeness &amp; accuracy, not just the deliveries you are assigned to</a:t>
            </a:r>
          </a:p>
          <a:p>
            <a:pPr marL="285750" indent="-285750">
              <a:buFont typeface="Arial" panose="020B0604020202020204" pitchFamily="34" charset="0"/>
              <a:buChar char="•"/>
            </a:pPr>
            <a:endParaRPr lang="en-US" sz="1600"/>
          </a:p>
        </p:txBody>
      </p:sp>
      <p:sp>
        <p:nvSpPr>
          <p:cNvPr id="18" name="Content Placeholder 17">
            <a:extLst>
              <a:ext uri="{FF2B5EF4-FFF2-40B4-BE49-F238E27FC236}">
                <a16:creationId xmlns:a16="http://schemas.microsoft.com/office/drawing/2014/main" id="{52C97E58-92AE-5449-0572-3D1E539A415B}"/>
              </a:ext>
            </a:extLst>
          </p:cNvPr>
          <p:cNvSpPr>
            <a:spLocks noGrp="1"/>
          </p:cNvSpPr>
          <p:nvPr>
            <p:ph sz="quarter" idx="18"/>
          </p:nvPr>
        </p:nvSpPr>
        <p:spPr>
          <a:xfrm>
            <a:off x="6349588" y="2552394"/>
            <a:ext cx="4663440" cy="3880029"/>
          </a:xfrm>
        </p:spPr>
        <p:txBody>
          <a:bodyPr/>
          <a:lstStyle/>
          <a:p>
            <a:pPr marL="231775" indent="-231775">
              <a:buFont typeface="Arial" panose="020B0604020202020204" pitchFamily="34" charset="0"/>
              <a:buChar char="•"/>
            </a:pPr>
            <a:r>
              <a:rPr lang="en-US" sz="1600"/>
              <a:t>Work directly with your manager to define your skilling plan aligned to your solution play</a:t>
            </a:r>
          </a:p>
          <a:p>
            <a:pPr marL="231775" lvl="0" indent="-231775" defTabSz="914102" fontAlgn="base">
              <a:spcBef>
                <a:spcPts val="600"/>
              </a:spcBef>
              <a:spcAft>
                <a:spcPct val="0"/>
              </a:spcAft>
              <a:buSzTx/>
              <a:buFont typeface="Arial" panose="020B0604020202020204" pitchFamily="34" charset="0"/>
              <a:buChar char="•"/>
              <a:defRPr/>
            </a:pPr>
            <a:r>
              <a:rPr lang="en-US" sz="1600">
                <a:solidFill>
                  <a:srgbClr val="000000"/>
                </a:solidFill>
              </a:rPr>
              <a:t>Unified Add-ons/ Unified Job 2; position VAS for every opportunity</a:t>
            </a:r>
          </a:p>
          <a:p>
            <a:pPr marL="231775" indent="-231775" defTabSz="914102" fontAlgn="base">
              <a:spcBef>
                <a:spcPts val="600"/>
              </a:spcBef>
              <a:spcAft>
                <a:spcPct val="0"/>
              </a:spcAft>
              <a:buSzTx/>
              <a:buFont typeface="Arial" panose="020B0604020202020204" pitchFamily="34" charset="0"/>
              <a:buChar char="•"/>
              <a:defRPr/>
            </a:pPr>
            <a:r>
              <a:rPr lang="en-US" sz="1600">
                <a:solidFill>
                  <a:srgbClr val="000000"/>
                </a:solidFill>
              </a:rPr>
              <a:t>Update Job 2 creation </a:t>
            </a:r>
            <a:r>
              <a:rPr lang="en-US" sz="1600" i="1">
                <a:solidFill>
                  <a:srgbClr val="000000"/>
                </a:solidFill>
              </a:rPr>
              <a:t>to completion</a:t>
            </a:r>
          </a:p>
          <a:p>
            <a:pPr marL="231775" lvl="0" indent="-231775" defTabSz="914102" fontAlgn="base">
              <a:spcBef>
                <a:spcPts val="600"/>
              </a:spcBef>
              <a:spcAft>
                <a:spcPct val="0"/>
              </a:spcAft>
              <a:buSzTx/>
              <a:buFont typeface="Arial" panose="020B0604020202020204" pitchFamily="34" charset="0"/>
              <a:buChar char="•"/>
              <a:defRPr/>
            </a:pPr>
            <a:r>
              <a:rPr lang="en-US" sz="1600">
                <a:solidFill>
                  <a:srgbClr val="000000"/>
                </a:solidFill>
              </a:rPr>
              <a:t>Skills Profile monthly*</a:t>
            </a:r>
          </a:p>
          <a:p>
            <a:pPr marL="231775" lvl="0" indent="-231775" defTabSz="914102" fontAlgn="base">
              <a:spcBef>
                <a:spcPts val="600"/>
              </a:spcBef>
              <a:spcAft>
                <a:spcPct val="0"/>
              </a:spcAft>
              <a:buSzTx/>
              <a:buFont typeface="Arial" panose="020B0604020202020204" pitchFamily="34" charset="0"/>
              <a:buChar char="•"/>
              <a:defRPr/>
            </a:pPr>
            <a:r>
              <a:rPr lang="en-US" sz="1600">
                <a:solidFill>
                  <a:srgbClr val="000000"/>
                </a:solidFill>
              </a:rPr>
              <a:t>Contribute towards champs &amp; VBD IP Development</a:t>
            </a:r>
          </a:p>
        </p:txBody>
      </p:sp>
      <p:sp>
        <p:nvSpPr>
          <p:cNvPr id="21" name="Content Placeholder 20">
            <a:extLst>
              <a:ext uri="{FF2B5EF4-FFF2-40B4-BE49-F238E27FC236}">
                <a16:creationId xmlns:a16="http://schemas.microsoft.com/office/drawing/2014/main" id="{2DC9E4C1-08B0-0D48-204D-B173F3749ED8}"/>
              </a:ext>
            </a:extLst>
          </p:cNvPr>
          <p:cNvSpPr>
            <a:spLocks noGrp="1"/>
          </p:cNvSpPr>
          <p:nvPr>
            <p:ph sz="quarter" idx="16"/>
          </p:nvPr>
        </p:nvSpPr>
        <p:spPr>
          <a:xfrm>
            <a:off x="6349588" y="2167553"/>
            <a:ext cx="4663440" cy="276999"/>
          </a:xfrm>
        </p:spPr>
        <p:txBody>
          <a:bodyPr/>
          <a:lstStyle/>
          <a:p>
            <a:r>
              <a:rPr lang="en-US" sz="1800">
                <a:latin typeface="+mj-lt"/>
              </a:rPr>
              <a:t>PRIORITIZE</a:t>
            </a:r>
          </a:p>
        </p:txBody>
      </p:sp>
      <p:sp>
        <p:nvSpPr>
          <p:cNvPr id="14" name="Content Placeholder 13">
            <a:extLst>
              <a:ext uri="{FF2B5EF4-FFF2-40B4-BE49-F238E27FC236}">
                <a16:creationId xmlns:a16="http://schemas.microsoft.com/office/drawing/2014/main" id="{F40AFAE9-F103-7085-04AE-A5CC32D1824E}"/>
              </a:ext>
            </a:extLst>
          </p:cNvPr>
          <p:cNvSpPr>
            <a:spLocks noGrp="1"/>
          </p:cNvSpPr>
          <p:nvPr>
            <p:ph sz="quarter" idx="14"/>
          </p:nvPr>
        </p:nvSpPr>
        <p:spPr>
          <a:xfrm>
            <a:off x="1422001" y="2162186"/>
            <a:ext cx="4663440" cy="276999"/>
          </a:xfrm>
        </p:spPr>
        <p:txBody>
          <a:bodyPr/>
          <a:lstStyle/>
          <a:p>
            <a:r>
              <a:rPr lang="en-US" sz="1800">
                <a:latin typeface="+mj-lt"/>
              </a:rPr>
              <a:t>START</a:t>
            </a:r>
          </a:p>
        </p:txBody>
      </p:sp>
      <p:grpSp>
        <p:nvGrpSpPr>
          <p:cNvPr id="22" name="Group 21">
            <a:extLst>
              <a:ext uri="{FF2B5EF4-FFF2-40B4-BE49-F238E27FC236}">
                <a16:creationId xmlns:a16="http://schemas.microsoft.com/office/drawing/2014/main" id="{77625F2A-C406-6D7D-5916-B7296FF6C197}"/>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23" name="Table 2 Cell 1, 1 to Text">
              <a:extLst>
                <a:ext uri="{FF2B5EF4-FFF2-40B4-BE49-F238E27FC236}">
                  <a16:creationId xmlns:a16="http://schemas.microsoft.com/office/drawing/2014/main" id="{8D44D45B-E596-61F4-D000-19F314249D9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4" name="Table 2 Cell 2, 1 to Text">
              <a:extLst>
                <a:ext uri="{FF2B5EF4-FFF2-40B4-BE49-F238E27FC236}">
                  <a16:creationId xmlns:a16="http://schemas.microsoft.com/office/drawing/2014/main" id="{3265F0C5-6808-5EFC-3D77-B6D5F7B790A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699F760A-C774-6607-4B75-EC323A54CD84}"/>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7" name="Table 2 Cell 4, 1 to Text">
              <a:extLst>
                <a:ext uri="{FF2B5EF4-FFF2-40B4-BE49-F238E27FC236}">
                  <a16:creationId xmlns:a16="http://schemas.microsoft.com/office/drawing/2014/main" id="{5968BE44-01C4-8F36-1D9A-17C681488D8F}"/>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8" name="Table 2 Cell 5, 1 to Text">
              <a:extLst>
                <a:ext uri="{FF2B5EF4-FFF2-40B4-BE49-F238E27FC236}">
                  <a16:creationId xmlns:a16="http://schemas.microsoft.com/office/drawing/2014/main" id="{3DB0CB5B-6A81-52D7-2F30-A3C22C92C926}"/>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9" name="Table 2 Cell 6, 1 to Text">
              <a:extLst>
                <a:ext uri="{FF2B5EF4-FFF2-40B4-BE49-F238E27FC236}">
                  <a16:creationId xmlns:a16="http://schemas.microsoft.com/office/drawing/2014/main" id="{8AD19B4D-274C-CF26-09CE-78F0F2AF0201}"/>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800">
                  <a:solidFill>
                    <a:schemeClr val="bg1"/>
                  </a:solidFill>
                </a:rPr>
                <a:t>6. Cloud &amp; AI CSA &amp; GSA</a:t>
              </a:r>
              <a:endParaRPr lang="en-US" sz="800">
                <a:solidFill>
                  <a:schemeClr val="bg1"/>
                </a:solidFill>
              </a:endParaRPr>
            </a:p>
          </p:txBody>
        </p:sp>
        <p:sp>
          <p:nvSpPr>
            <p:cNvPr id="30" name="Table 2 Cell 7, 1 to Text">
              <a:extLst>
                <a:ext uri="{FF2B5EF4-FFF2-40B4-BE49-F238E27FC236}">
                  <a16:creationId xmlns:a16="http://schemas.microsoft.com/office/drawing/2014/main" id="{EC00694C-3D13-7C20-50D7-DA3A783B700A}"/>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31" name="Table 2 Cell 1, 2 to Text">
              <a:extLst>
                <a:ext uri="{FF2B5EF4-FFF2-40B4-BE49-F238E27FC236}">
                  <a16:creationId xmlns:a16="http://schemas.microsoft.com/office/drawing/2014/main" id="{E3DE44DD-CBBC-25AE-2D32-AC427D4773C9}"/>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6.1 Role Overview - Enterprise</a:t>
              </a:r>
            </a:p>
          </p:txBody>
        </p:sp>
        <p:sp>
          <p:nvSpPr>
            <p:cNvPr id="32" name="Table 2 Cell 1, 3 to Text">
              <a:extLst>
                <a:ext uri="{FF2B5EF4-FFF2-40B4-BE49-F238E27FC236}">
                  <a16:creationId xmlns:a16="http://schemas.microsoft.com/office/drawing/2014/main" id="{7D250403-5A84-5B15-1F71-6640C7E6E099}"/>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6.2 Core Priorities &amp; Key Habits</a:t>
              </a:r>
            </a:p>
          </p:txBody>
        </p:sp>
        <p:sp>
          <p:nvSpPr>
            <p:cNvPr id="33" name="Table 2 Cell 1, 4 to Text">
              <a:extLst>
                <a:ext uri="{FF2B5EF4-FFF2-40B4-BE49-F238E27FC236}">
                  <a16:creationId xmlns:a16="http://schemas.microsoft.com/office/drawing/2014/main" id="{E5DE37ED-24CA-A0C0-EB9A-5C088D68C61B}"/>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6.3 Technical Expectations</a:t>
              </a:r>
            </a:p>
          </p:txBody>
        </p:sp>
        <p:sp>
          <p:nvSpPr>
            <p:cNvPr id="34" name="Table 2 Cell 1, 5 to Text">
              <a:extLst>
                <a:ext uri="{FF2B5EF4-FFF2-40B4-BE49-F238E27FC236}">
                  <a16:creationId xmlns:a16="http://schemas.microsoft.com/office/drawing/2014/main" id="{33DBBE96-FB3D-5D86-6BCE-69D5F1FF0733}"/>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a:solidFill>
                    <a:schemeClr val="bg1"/>
                  </a:solidFill>
                </a:rPr>
                <a:t>6.4 Stop/Start/Do Differently</a:t>
              </a:r>
            </a:p>
          </p:txBody>
        </p:sp>
      </p:grpSp>
    </p:spTree>
    <p:extLst>
      <p:ext uri="{BB962C8B-B14F-4D97-AF65-F5344CB8AC3E}">
        <p14:creationId xmlns:p14="http://schemas.microsoft.com/office/powerpoint/2010/main" val="141551415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681C9-FEBF-BFBB-293A-BABD771872DD}"/>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EBE2E208-3087-5DC2-CA8D-5C28ADC15C3A}"/>
              </a:ext>
            </a:extLst>
          </p:cNvPr>
          <p:cNvSpPr>
            <a:spLocks noGrp="1"/>
          </p:cNvSpPr>
          <p:nvPr>
            <p:ph type="title"/>
          </p:nvPr>
        </p:nvSpPr>
        <p:spPr>
          <a:xfrm>
            <a:off x="311318" y="705410"/>
            <a:ext cx="3786957" cy="430887"/>
          </a:xfrm>
        </p:spPr>
        <p:txBody>
          <a:bodyPr/>
          <a:lstStyle/>
          <a:p>
            <a:r>
              <a:rPr lang="en-US" sz="2800"/>
              <a:t>Your 30 days in role </a:t>
            </a:r>
          </a:p>
        </p:txBody>
      </p:sp>
      <p:sp>
        <p:nvSpPr>
          <p:cNvPr id="13" name="Content Placeholder 12">
            <a:extLst>
              <a:ext uri="{FF2B5EF4-FFF2-40B4-BE49-F238E27FC236}">
                <a16:creationId xmlns:a16="http://schemas.microsoft.com/office/drawing/2014/main" id="{03BB01FA-CEDA-F1CA-796D-BF2857993D54}"/>
              </a:ext>
            </a:extLst>
          </p:cNvPr>
          <p:cNvSpPr>
            <a:spLocks noGrp="1"/>
          </p:cNvSpPr>
          <p:nvPr>
            <p:ph sz="quarter" idx="19"/>
          </p:nvPr>
        </p:nvSpPr>
        <p:spPr>
          <a:xfrm>
            <a:off x="1376331" y="2775498"/>
            <a:ext cx="1668992" cy="1791777"/>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Receive a Welcome to the </a:t>
            </a:r>
            <a:r>
              <a:rPr lang="en-US"/>
              <a:t>new role</a:t>
            </a:r>
            <a:r>
              <a:rPr kumimoji="0" lang="en-US" sz="1200" b="0" i="0" u="none" strike="noStrike" kern="1200" cap="none" spc="0" normalizeH="0" baseline="0" noProof="0">
                <a:ln>
                  <a:noFill/>
                </a:ln>
                <a:effectLst/>
                <a:uLnTx/>
                <a:uFillTx/>
                <a:ea typeface="+mn-ea"/>
                <a:cs typeface="+mn-cs"/>
              </a:rPr>
              <a:t> email, your Standard title, qualifier 1 and qualifier 2 will automatically add you to the Cloud &amp; AI CSU community channels</a:t>
            </a:r>
            <a:endParaRPr kumimoji="0" lang="en-US" sz="1200" b="0" i="0" u="none" strike="noStrike" kern="1200" cap="none" spc="0" normalizeH="0" baseline="0" noProof="0">
              <a:ln>
                <a:noFill/>
              </a:ln>
              <a:effectLst/>
              <a:uLnTx/>
              <a:uFillTx/>
              <a:ea typeface="+mn-ea"/>
              <a:cs typeface="Segoe UI"/>
            </a:endParaRPr>
          </a:p>
        </p:txBody>
      </p:sp>
      <p:sp>
        <p:nvSpPr>
          <p:cNvPr id="8" name="Content Placeholder 7">
            <a:extLst>
              <a:ext uri="{FF2B5EF4-FFF2-40B4-BE49-F238E27FC236}">
                <a16:creationId xmlns:a16="http://schemas.microsoft.com/office/drawing/2014/main" id="{698F0EC5-8011-65E3-725B-C03EB6AC39DF}"/>
              </a:ext>
            </a:extLst>
          </p:cNvPr>
          <p:cNvSpPr>
            <a:spLocks noGrp="1"/>
          </p:cNvSpPr>
          <p:nvPr>
            <p:ph sz="quarter" idx="16"/>
          </p:nvPr>
        </p:nvSpPr>
        <p:spPr>
          <a:xfrm>
            <a:off x="3045323" y="2775497"/>
            <a:ext cx="1987585" cy="2314295"/>
          </a:xfrm>
        </p:spPr>
        <p:txBody>
          <a:bodyPr/>
          <a:lstStyle/>
          <a:p>
            <a:pPr lvl="0" defTabSz="914400">
              <a:spcBef>
                <a:spcPts val="0"/>
              </a:spcBef>
              <a:buSzTx/>
              <a:defRPr/>
            </a:pPr>
            <a:r>
              <a:rPr lang="en-US"/>
              <a:t>Meet with your manager to define your </a:t>
            </a:r>
            <a:r>
              <a:rPr lang="en-US">
                <a:hlinkClick r:id="rId3"/>
              </a:rPr>
              <a:t>“New Focus” workloads</a:t>
            </a:r>
            <a:r>
              <a:rPr lang="en-US"/>
              <a:t> based on the demand in your area and the shift in solution play alignment</a:t>
            </a:r>
          </a:p>
          <a:p>
            <a:pPr lvl="0" defTabSz="914400">
              <a:spcBef>
                <a:spcPts val="0"/>
              </a:spcBef>
              <a:buSzTx/>
              <a:defRPr/>
            </a:pPr>
            <a:endParaRPr kumimoji="0" lang="en-US" sz="1200" b="0" i="0" u="none" strike="noStrike" kern="1200" cap="none" spc="0" normalizeH="0" baseline="0" noProof="0">
              <a:ln>
                <a:noFill/>
              </a:ln>
              <a:effectLst/>
              <a:uLnTx/>
              <a:uFillTx/>
              <a:ea typeface="+mn-ea"/>
              <a:cs typeface="+mn-cs"/>
            </a:endParaRPr>
          </a:p>
          <a:p>
            <a:pPr lvl="0" defTabSz="914400">
              <a:spcBef>
                <a:spcPts val="0"/>
              </a:spcBef>
              <a:buSzTx/>
              <a:defRPr/>
            </a:pPr>
            <a:r>
              <a:rPr lang="en-US"/>
              <a:t>Ask Skilling Copilot to build a custom skilling plan for your “new focus” workloads</a:t>
            </a:r>
            <a:endParaRPr kumimoji="0" lang="en-US" sz="1200" b="0" i="0" u="none" strike="noStrike" kern="1200" cap="none" spc="0" normalizeH="0" baseline="0" noProof="0">
              <a:ln>
                <a:noFill/>
              </a:ln>
              <a:effectLst/>
              <a:uLnTx/>
              <a:uFillTx/>
              <a:ea typeface="+mn-ea"/>
              <a:cs typeface="+mn-cs"/>
            </a:endParaRPr>
          </a:p>
        </p:txBody>
      </p:sp>
      <p:sp>
        <p:nvSpPr>
          <p:cNvPr id="14" name="Content Placeholder 13">
            <a:extLst>
              <a:ext uri="{FF2B5EF4-FFF2-40B4-BE49-F238E27FC236}">
                <a16:creationId xmlns:a16="http://schemas.microsoft.com/office/drawing/2014/main" id="{586D7D4F-822E-0F6B-990C-9159D2F2B038}"/>
              </a:ext>
            </a:extLst>
          </p:cNvPr>
          <p:cNvSpPr>
            <a:spLocks noGrp="1"/>
          </p:cNvSpPr>
          <p:nvPr>
            <p:ph sz="quarter" idx="20"/>
          </p:nvPr>
        </p:nvSpPr>
        <p:spPr>
          <a:xfrm>
            <a:off x="5130008" y="2775498"/>
            <a:ext cx="1668992" cy="1827876"/>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Consume the Cloud &amp; AI Platforms Landing Show, Role Immersion, and Role Specific Skilling Plan Content</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Understand your KPIs and Compensation</a:t>
            </a:r>
          </a:p>
        </p:txBody>
      </p:sp>
      <p:sp>
        <p:nvSpPr>
          <p:cNvPr id="9" name="Content Placeholder 8">
            <a:extLst>
              <a:ext uri="{FF2B5EF4-FFF2-40B4-BE49-F238E27FC236}">
                <a16:creationId xmlns:a16="http://schemas.microsoft.com/office/drawing/2014/main" id="{361FF9AD-73D4-15CD-EDF6-2F86AAF5A5D2}"/>
              </a:ext>
            </a:extLst>
          </p:cNvPr>
          <p:cNvSpPr>
            <a:spLocks noGrp="1"/>
          </p:cNvSpPr>
          <p:nvPr>
            <p:ph sz="quarter" idx="17"/>
          </p:nvPr>
        </p:nvSpPr>
        <p:spPr>
          <a:xfrm>
            <a:off x="6896100" y="2775498"/>
            <a:ext cx="1891229" cy="2580572"/>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Consume local Area content to understand the Area and Region-specific changes</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Sign up for Technical Communities related to your skilling plan and interest</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Log your hours, especially your skilling as  “Training”</a:t>
            </a:r>
          </a:p>
        </p:txBody>
      </p:sp>
      <p:sp>
        <p:nvSpPr>
          <p:cNvPr id="18" name="Content Placeholder 17">
            <a:extLst>
              <a:ext uri="{FF2B5EF4-FFF2-40B4-BE49-F238E27FC236}">
                <a16:creationId xmlns:a16="http://schemas.microsoft.com/office/drawing/2014/main" id="{2AEBF5E1-9A70-AD5C-E803-C9B58C25310C}"/>
              </a:ext>
            </a:extLst>
          </p:cNvPr>
          <p:cNvSpPr>
            <a:spLocks noGrp="1"/>
          </p:cNvSpPr>
          <p:nvPr>
            <p:ph sz="quarter" idx="21"/>
          </p:nvPr>
        </p:nvSpPr>
        <p:spPr>
          <a:xfrm>
            <a:off x="8698231" y="2775498"/>
            <a:ext cx="2117438" cy="2580572"/>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Attend Level Ups related to your skilling plan and “New </a:t>
            </a:r>
            <a:r>
              <a:rPr lang="en-US"/>
              <a:t>F</a:t>
            </a:r>
            <a:r>
              <a:rPr kumimoji="0" lang="en-US" sz="1200" b="0" i="0" u="none" strike="noStrike" kern="1200" cap="none" spc="0" normalizeH="0" baseline="0" noProof="0" err="1">
                <a:ln>
                  <a:noFill/>
                </a:ln>
                <a:effectLst/>
                <a:uLnTx/>
                <a:uFillTx/>
                <a:ea typeface="+mn-ea"/>
                <a:cs typeface="+mn-cs"/>
              </a:rPr>
              <a:t>ocus</a:t>
            </a:r>
            <a:r>
              <a:rPr kumimoji="0" lang="en-US" sz="1200" b="0" i="0" u="none" strike="noStrike" kern="1200" cap="none" spc="0" normalizeH="0" baseline="0" noProof="0">
                <a:ln>
                  <a:noFill/>
                </a:ln>
                <a:effectLst/>
                <a:uLnTx/>
                <a:uFillTx/>
                <a:ea typeface="+mn-ea"/>
                <a:cs typeface="+mn-cs"/>
              </a:rPr>
              <a:t>” workloads</a:t>
            </a:r>
          </a:p>
          <a:p>
            <a:pPr marR="0" lvl="0" algn="ctr" defTabSz="914400" rtl="0" eaLnBrk="1" fontAlgn="auto" latinLnBrk="0" hangingPunct="1">
              <a:lnSpc>
                <a:spcPct val="100000"/>
              </a:lnSpc>
              <a:spcBef>
                <a:spcPts val="0"/>
              </a:spcBef>
              <a:spcAft>
                <a:spcPts val="0"/>
              </a:spcAft>
              <a:buClrTx/>
              <a:buSzTx/>
              <a:tabLst/>
              <a:defRPr/>
            </a:pPr>
            <a:endParaRPr lang="en-US"/>
          </a:p>
          <a:p>
            <a:pPr defTabSz="914400">
              <a:spcBef>
                <a:spcPts val="0"/>
              </a:spcBef>
              <a:buSzTx/>
              <a:defRPr/>
            </a:pPr>
            <a:r>
              <a:rPr lang="en-US"/>
              <a:t>Consume the relevant learning paths associated with your “New Focus” workloads, including the relevant VBD Learning Path for Accreditation</a:t>
            </a:r>
          </a:p>
          <a:p>
            <a:pPr defTabSz="914400">
              <a:spcBef>
                <a:spcPts val="0"/>
              </a:spcBef>
              <a:buSzTx/>
              <a:defRPr/>
            </a:pPr>
            <a:endParaRPr lang="en-US"/>
          </a:p>
          <a:p>
            <a:pPr defTabSz="914400">
              <a:spcBef>
                <a:spcPts val="0"/>
              </a:spcBef>
              <a:buSzTx/>
              <a:defRPr/>
            </a:pPr>
            <a:r>
              <a:rPr lang="en-US"/>
              <a:t>Schedule a Shadow delivery for new focus workload and schedule to host a Shadow</a:t>
            </a:r>
          </a:p>
          <a:p>
            <a:pPr marR="0" lvl="0" algn="ctr"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effectLst/>
              <a:uLnTx/>
              <a:uFillTx/>
              <a:ea typeface="+mn-ea"/>
              <a:cs typeface="+mn-cs"/>
            </a:endParaRPr>
          </a:p>
        </p:txBody>
      </p:sp>
      <p:sp>
        <p:nvSpPr>
          <p:cNvPr id="5" name="Content Placeholder 4">
            <a:extLst>
              <a:ext uri="{FF2B5EF4-FFF2-40B4-BE49-F238E27FC236}">
                <a16:creationId xmlns:a16="http://schemas.microsoft.com/office/drawing/2014/main" id="{839F7202-4DC8-530A-9EF2-4355B45A9C8F}"/>
              </a:ext>
            </a:extLst>
          </p:cNvPr>
          <p:cNvSpPr>
            <a:spLocks noGrp="1"/>
          </p:cNvSpPr>
          <p:nvPr>
            <p:ph sz="quarter" idx="13"/>
          </p:nvPr>
        </p:nvSpPr>
        <p:spPr/>
        <p:txBody>
          <a:bodyPr/>
          <a:lstStyle/>
          <a:p>
            <a:pPr algn="ctr" defTabSz="932472" fontAlgn="base">
              <a:spcBef>
                <a:spcPct val="0"/>
              </a:spcBef>
              <a:spcAft>
                <a:spcPct val="0"/>
              </a:spcAft>
            </a:pPr>
            <a:r>
              <a:rPr lang="en-US" sz="1400" b="0">
                <a:solidFill>
                  <a:schemeClr val="bg1"/>
                </a:solidFill>
                <a:latin typeface="+mj-lt"/>
                <a:cs typeface="Segoe Sans Text Light" pitchFamily="2" charset="0"/>
              </a:rPr>
              <a:t>Week 0</a:t>
            </a:r>
          </a:p>
        </p:txBody>
      </p:sp>
      <p:sp>
        <p:nvSpPr>
          <p:cNvPr id="2" name="Content Placeholder 1">
            <a:extLst>
              <a:ext uri="{FF2B5EF4-FFF2-40B4-BE49-F238E27FC236}">
                <a16:creationId xmlns:a16="http://schemas.microsoft.com/office/drawing/2014/main" id="{95DC83AD-4F6F-0912-3CE2-BA4E7DD1259E}"/>
              </a:ext>
            </a:extLst>
          </p:cNvPr>
          <p:cNvSpPr>
            <a:spLocks noGrp="1"/>
          </p:cNvSpPr>
          <p:nvPr>
            <p:ph sz="quarter" idx="10"/>
          </p:nvPr>
        </p:nvSpPr>
        <p:spPr/>
        <p:txBody>
          <a:bodyPr/>
          <a:lstStyle/>
          <a:p>
            <a:pPr algn="ctr" defTabSz="932472" fontAlgn="base">
              <a:spcBef>
                <a:spcPct val="0"/>
              </a:spcBef>
              <a:spcAft>
                <a:spcPct val="0"/>
              </a:spcAft>
            </a:pPr>
            <a:r>
              <a:rPr lang="en-US" b="0">
                <a:latin typeface="+mj-lt"/>
              </a:rPr>
              <a:t>Week 1</a:t>
            </a:r>
            <a:endParaRPr lang="en-US" sz="1400" b="0">
              <a:solidFill>
                <a:schemeClr val="bg1"/>
              </a:solidFill>
              <a:latin typeface="+mj-lt"/>
              <a:cs typeface="Segoe Sans Text Light" pitchFamily="2" charset="0"/>
            </a:endParaRPr>
          </a:p>
        </p:txBody>
      </p:sp>
      <p:sp>
        <p:nvSpPr>
          <p:cNvPr id="7" name="Content Placeholder 6">
            <a:extLst>
              <a:ext uri="{FF2B5EF4-FFF2-40B4-BE49-F238E27FC236}">
                <a16:creationId xmlns:a16="http://schemas.microsoft.com/office/drawing/2014/main" id="{85302B74-D798-C4D8-12A6-8F86DE63C7EB}"/>
              </a:ext>
            </a:extLst>
          </p:cNvPr>
          <p:cNvSpPr>
            <a:spLocks noGrp="1"/>
          </p:cNvSpPr>
          <p:nvPr>
            <p:ph sz="quarter" idx="15"/>
          </p:nvPr>
        </p:nvSpPr>
        <p:spPr/>
        <p:txBody>
          <a:bodyPr/>
          <a:lstStyle/>
          <a:p>
            <a:pPr algn="ctr" defTabSz="932472" fontAlgn="base">
              <a:spcBef>
                <a:spcPct val="0"/>
              </a:spcBef>
              <a:spcAft>
                <a:spcPct val="0"/>
              </a:spcAft>
            </a:pPr>
            <a:r>
              <a:rPr lang="en-US" sz="1400" b="0">
                <a:solidFill>
                  <a:schemeClr val="bg1"/>
                </a:solidFill>
                <a:latin typeface="+mj-lt"/>
                <a:cs typeface="Segoe Sans Text Light" pitchFamily="2" charset="0"/>
              </a:rPr>
              <a:t>Week 2</a:t>
            </a:r>
          </a:p>
        </p:txBody>
      </p:sp>
      <p:sp>
        <p:nvSpPr>
          <p:cNvPr id="4" name="Content Placeholder 3">
            <a:extLst>
              <a:ext uri="{FF2B5EF4-FFF2-40B4-BE49-F238E27FC236}">
                <a16:creationId xmlns:a16="http://schemas.microsoft.com/office/drawing/2014/main" id="{88572B14-5290-F0E9-5C02-909630B4BD17}"/>
              </a:ext>
            </a:extLst>
          </p:cNvPr>
          <p:cNvSpPr>
            <a:spLocks noGrp="1"/>
          </p:cNvSpPr>
          <p:nvPr>
            <p:ph sz="quarter" idx="12"/>
          </p:nvPr>
        </p:nvSpPr>
        <p:spPr/>
        <p:txBody>
          <a:bodyPr/>
          <a:lstStyle/>
          <a:p>
            <a:pPr algn="ctr" defTabSz="932472" fontAlgn="base">
              <a:spcBef>
                <a:spcPct val="0"/>
              </a:spcBef>
              <a:spcAft>
                <a:spcPct val="0"/>
              </a:spcAft>
            </a:pPr>
            <a:r>
              <a:rPr lang="en-US" sz="1400" b="0">
                <a:solidFill>
                  <a:schemeClr val="bg1"/>
                </a:solidFill>
                <a:latin typeface="+mj-lt"/>
                <a:cs typeface="Segoe Sans Text Light" pitchFamily="2" charset="0"/>
              </a:rPr>
              <a:t>Week 3</a:t>
            </a:r>
          </a:p>
        </p:txBody>
      </p:sp>
      <p:sp>
        <p:nvSpPr>
          <p:cNvPr id="6" name="Content Placeholder 5">
            <a:extLst>
              <a:ext uri="{FF2B5EF4-FFF2-40B4-BE49-F238E27FC236}">
                <a16:creationId xmlns:a16="http://schemas.microsoft.com/office/drawing/2014/main" id="{ACD834E3-FC9E-1D41-F942-41445F4D60FE}"/>
              </a:ext>
            </a:extLst>
          </p:cNvPr>
          <p:cNvSpPr>
            <a:spLocks noGrp="1"/>
          </p:cNvSpPr>
          <p:nvPr>
            <p:ph sz="quarter" idx="14"/>
          </p:nvPr>
        </p:nvSpPr>
        <p:spPr/>
        <p:txBody>
          <a:bodyPr/>
          <a:lstStyle/>
          <a:p>
            <a:pPr algn="ctr" defTabSz="932472" fontAlgn="base">
              <a:spcBef>
                <a:spcPct val="0"/>
              </a:spcBef>
              <a:spcAft>
                <a:spcPct val="0"/>
              </a:spcAft>
            </a:pPr>
            <a:r>
              <a:rPr lang="en-US" sz="1400" b="0">
                <a:solidFill>
                  <a:schemeClr val="bg1"/>
                </a:solidFill>
                <a:latin typeface="+mj-lt"/>
                <a:cs typeface="Segoe Sans Text Light" pitchFamily="2" charset="0"/>
              </a:rPr>
              <a:t>Week 4</a:t>
            </a:r>
          </a:p>
        </p:txBody>
      </p:sp>
      <p:sp>
        <p:nvSpPr>
          <p:cNvPr id="19" name="Content Placeholder 18">
            <a:extLst>
              <a:ext uri="{FF2B5EF4-FFF2-40B4-BE49-F238E27FC236}">
                <a16:creationId xmlns:a16="http://schemas.microsoft.com/office/drawing/2014/main" id="{95B52D17-B0CA-800E-8558-93EE5C69D2C2}"/>
              </a:ext>
            </a:extLst>
          </p:cNvPr>
          <p:cNvSpPr>
            <a:spLocks noGrp="1"/>
          </p:cNvSpPr>
          <p:nvPr>
            <p:ph sz="quarter" idx="22"/>
          </p:nvPr>
        </p:nvSpPr>
        <p:spPr>
          <a:xfrm>
            <a:off x="1278156" y="5803602"/>
            <a:ext cx="1243038" cy="492443"/>
          </a:xfrm>
        </p:spPr>
        <p:txBody>
          <a:bodyPr/>
          <a:lstStyle/>
          <a:p>
            <a:pPr>
              <a:buClr>
                <a:srgbClr val="000000"/>
              </a:buClr>
              <a:buSzPts val="800"/>
            </a:pPr>
            <a:r>
              <a:rPr lang="en-US" sz="1600" b="1">
                <a:solidFill>
                  <a:schemeClr val="bg1"/>
                </a:solidFill>
                <a:latin typeface="+mj-lt"/>
                <a:cs typeface="Arial"/>
              </a:rPr>
              <a:t>Important Information</a:t>
            </a:r>
          </a:p>
        </p:txBody>
      </p:sp>
      <p:sp>
        <p:nvSpPr>
          <p:cNvPr id="20" name="Content Placeholder 19">
            <a:extLst>
              <a:ext uri="{FF2B5EF4-FFF2-40B4-BE49-F238E27FC236}">
                <a16:creationId xmlns:a16="http://schemas.microsoft.com/office/drawing/2014/main" id="{95E28243-7BC4-D6C3-8C36-DCBC85960270}"/>
              </a:ext>
            </a:extLst>
          </p:cNvPr>
          <p:cNvSpPr>
            <a:spLocks noGrp="1"/>
          </p:cNvSpPr>
          <p:nvPr>
            <p:ph sz="quarter" idx="23"/>
          </p:nvPr>
        </p:nvSpPr>
        <p:spPr>
          <a:xfrm>
            <a:off x="4382647" y="5726658"/>
            <a:ext cx="2091396" cy="646331"/>
          </a:xfrm>
        </p:spPr>
        <p:txBody>
          <a:bodyPr/>
          <a:lstStyle/>
          <a:p>
            <a:pPr lvl="0">
              <a:spcBef>
                <a:spcPts val="600"/>
              </a:spcBef>
              <a:buSzTx/>
            </a:pPr>
            <a:r>
              <a:rPr lang="en-US">
                <a:hlinkClick r:id="rId3"/>
              </a:rPr>
              <a:t>Cloud &amp; AI CSA Skilling Strategy &amp; Technical Expectations</a:t>
            </a:r>
            <a:endParaRPr lang="en-US"/>
          </a:p>
        </p:txBody>
      </p:sp>
      <p:sp>
        <p:nvSpPr>
          <p:cNvPr id="23" name="Content Placeholder 22">
            <a:extLst>
              <a:ext uri="{FF2B5EF4-FFF2-40B4-BE49-F238E27FC236}">
                <a16:creationId xmlns:a16="http://schemas.microsoft.com/office/drawing/2014/main" id="{AC1D8ABC-B22A-B403-897E-E823CBB7C6EF}"/>
              </a:ext>
            </a:extLst>
          </p:cNvPr>
          <p:cNvSpPr>
            <a:spLocks noGrp="1"/>
          </p:cNvSpPr>
          <p:nvPr>
            <p:ph sz="quarter" idx="24"/>
          </p:nvPr>
        </p:nvSpPr>
        <p:spPr/>
        <p:txBody>
          <a:bodyPr/>
          <a:lstStyle/>
          <a:p>
            <a:pPr marL="0" marR="0" lvl="0" indent="0" algn="l" rtl="0" eaLnBrk="1" fontAlgn="auto" latinLnBrk="0" hangingPunct="1">
              <a:lnSpc>
                <a:spcPct val="100000"/>
              </a:lnSpc>
              <a:spcBef>
                <a:spcPts val="600"/>
              </a:spcBef>
              <a:spcAft>
                <a:spcPts val="0"/>
              </a:spcAft>
              <a:buClrTx/>
              <a:buSzTx/>
              <a:buNone/>
            </a:pPr>
            <a:r>
              <a:rPr lang="en-US" sz="1400" b="0" u="none" strike="noStrike" kern="1200" noProof="0">
                <a:solidFill>
                  <a:schemeClr val="tx1"/>
                </a:solidFill>
                <a:latin typeface="+mj-lt"/>
              </a:rPr>
              <a:t>MCAPs Academy in Viva Learning </a:t>
            </a:r>
          </a:p>
        </p:txBody>
      </p:sp>
      <p:sp>
        <p:nvSpPr>
          <p:cNvPr id="30" name="Rectangle 29">
            <a:extLst>
              <a:ext uri="{FF2B5EF4-FFF2-40B4-BE49-F238E27FC236}">
                <a16:creationId xmlns:a16="http://schemas.microsoft.com/office/drawing/2014/main" id="{2F8DE019-6BCB-29F2-4CC8-F702B4845A33}"/>
              </a:ext>
            </a:extLst>
          </p:cNvPr>
          <p:cNvSpPr/>
          <p:nvPr/>
        </p:nvSpPr>
        <p:spPr bwMode="auto">
          <a:xfrm>
            <a:off x="3410643" y="790074"/>
            <a:ext cx="8684231" cy="430887"/>
          </a:xfrm>
          <a:prstGeom prst="rect">
            <a:avLst/>
          </a:prstGeom>
          <a:solidFill>
            <a:schemeClr val="bg1"/>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200" b="1">
                <a:solidFill>
                  <a:schemeClr val="tx2"/>
                </a:solidFill>
                <a:ea typeface="Segoe UI" pitchFamily="34" charset="0"/>
                <a:cs typeface="Segoe UI" pitchFamily="34" charset="0"/>
              </a:rPr>
              <a:t>*CSAs will continue to deliver based on existing Skills &amp; Accreditations while ramping in their new focus workloads</a:t>
            </a:r>
          </a:p>
        </p:txBody>
      </p:sp>
      <p:grpSp>
        <p:nvGrpSpPr>
          <p:cNvPr id="48" name="Group 47">
            <a:extLst>
              <a:ext uri="{FF2B5EF4-FFF2-40B4-BE49-F238E27FC236}">
                <a16:creationId xmlns:a16="http://schemas.microsoft.com/office/drawing/2014/main" id="{F0B17EE4-6DCD-09ED-C40C-EC3AB3589EBC}"/>
              </a:ext>
            </a:extLst>
          </p:cNvPr>
          <p:cNvGrpSpPr/>
          <p:nvPr/>
        </p:nvGrpSpPr>
        <p:grpSpPr>
          <a:xfrm>
            <a:off x="59315" y="20009"/>
            <a:ext cx="12073370" cy="348643"/>
            <a:chOff x="59315" y="20009"/>
            <a:chExt cx="12073370" cy="348643"/>
          </a:xfrm>
        </p:grpSpPr>
        <p:sp>
          <p:nvSpPr>
            <p:cNvPr id="34" name="Table 2 Cell 1, 1 to Text">
              <a:extLst>
                <a:ext uri="{FF2B5EF4-FFF2-40B4-BE49-F238E27FC236}">
                  <a16:creationId xmlns:a16="http://schemas.microsoft.com/office/drawing/2014/main" id="{3681EBFB-6811-BFD7-A86A-5FD75943C7AF}"/>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35" name="Table 2 Cell 2, 1 to Text">
              <a:extLst>
                <a:ext uri="{FF2B5EF4-FFF2-40B4-BE49-F238E27FC236}">
                  <a16:creationId xmlns:a16="http://schemas.microsoft.com/office/drawing/2014/main" id="{1C8BEBDF-E64E-F56A-C8EF-08B4C29D3D35}"/>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36" name="Table 2 Cell 3, 1 to Text">
              <a:extLst>
                <a:ext uri="{FF2B5EF4-FFF2-40B4-BE49-F238E27FC236}">
                  <a16:creationId xmlns:a16="http://schemas.microsoft.com/office/drawing/2014/main" id="{1F177541-65F3-AA3D-80EF-C3A57E50C5A5}"/>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37" name="Table 2 Cell 4, 1 to Text">
              <a:extLst>
                <a:ext uri="{FF2B5EF4-FFF2-40B4-BE49-F238E27FC236}">
                  <a16:creationId xmlns:a16="http://schemas.microsoft.com/office/drawing/2014/main" id="{ABAC6242-94DB-3985-9A3F-16DE20EA10B8}"/>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8" name="Table 2 Cell 5, 1 to Text">
              <a:extLst>
                <a:ext uri="{FF2B5EF4-FFF2-40B4-BE49-F238E27FC236}">
                  <a16:creationId xmlns:a16="http://schemas.microsoft.com/office/drawing/2014/main" id="{0797DAB6-A196-4AE3-4473-316D366F9441}"/>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9" name="Table 2 Cell 6, 1 to Text">
              <a:extLst>
                <a:ext uri="{FF2B5EF4-FFF2-40B4-BE49-F238E27FC236}">
                  <a16:creationId xmlns:a16="http://schemas.microsoft.com/office/drawing/2014/main" id="{B25EBABB-A5D2-B8A1-23E5-14A8EA72F1D8}"/>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40" name="Table 2 Cell 7, 1 to Text">
              <a:extLst>
                <a:ext uri="{FF2B5EF4-FFF2-40B4-BE49-F238E27FC236}">
                  <a16:creationId xmlns:a16="http://schemas.microsoft.com/office/drawing/2014/main" id="{BFC5C180-382A-2148-A574-5CFE23C8A266}"/>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41" name="Table 2 Cell 1, 2 to Text">
              <a:extLst>
                <a:ext uri="{FF2B5EF4-FFF2-40B4-BE49-F238E27FC236}">
                  <a16:creationId xmlns:a16="http://schemas.microsoft.com/office/drawing/2014/main" id="{CA74008C-12A2-210D-A59E-C3BF2D5469C4}"/>
                </a:ext>
              </a:extLst>
            </p:cNvPr>
            <p:cNvSpPr txBox="1"/>
            <p:nvPr/>
          </p:nvSpPr>
          <p:spPr>
            <a:xfrm>
              <a:off x="59315"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t>7.1 30 Days In Role</a:t>
              </a:r>
            </a:p>
          </p:txBody>
        </p:sp>
        <p:sp>
          <p:nvSpPr>
            <p:cNvPr id="42" name="Table 2 Cell 1, 3 to Text">
              <a:extLst>
                <a:ext uri="{FF2B5EF4-FFF2-40B4-BE49-F238E27FC236}">
                  <a16:creationId xmlns:a16="http://schemas.microsoft.com/office/drawing/2014/main" id="{AA78E796-086D-6749-CAA2-DC078168E681}"/>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43" name="Table 2 Cell 1, 4 to Text">
              <a:extLst>
                <a:ext uri="{FF2B5EF4-FFF2-40B4-BE49-F238E27FC236}">
                  <a16:creationId xmlns:a16="http://schemas.microsoft.com/office/drawing/2014/main" id="{101DF127-8C12-1F5F-47AA-21BA6C4C9DC3}"/>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44" name="Table 2 Cell 1, 5 to Text">
              <a:extLst>
                <a:ext uri="{FF2B5EF4-FFF2-40B4-BE49-F238E27FC236}">
                  <a16:creationId xmlns:a16="http://schemas.microsoft.com/office/drawing/2014/main" id="{46801FBA-78E0-64F6-4B5B-997BC48C70D3}"/>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45" name="Table 2 Cell 1, 4 to Text">
              <a:extLst>
                <a:ext uri="{FF2B5EF4-FFF2-40B4-BE49-F238E27FC236}">
                  <a16:creationId xmlns:a16="http://schemas.microsoft.com/office/drawing/2014/main" id="{1CD7F7BE-FFC6-2AB5-9562-2260057FCE63}"/>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46" name="Table 2 Cell 1, 4 to Text">
              <a:extLst>
                <a:ext uri="{FF2B5EF4-FFF2-40B4-BE49-F238E27FC236}">
                  <a16:creationId xmlns:a16="http://schemas.microsoft.com/office/drawing/2014/main" id="{A4A729E8-D50A-DA20-0607-417207836C63}"/>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47" name="Table 2 Cell 1, 4 to Text">
              <a:extLst>
                <a:ext uri="{FF2B5EF4-FFF2-40B4-BE49-F238E27FC236}">
                  <a16:creationId xmlns:a16="http://schemas.microsoft.com/office/drawing/2014/main" id="{EABA6B02-BF87-53DB-A421-7B65B4DE0BCC}"/>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Tree>
    <p:custDataLst>
      <p:tags r:id="rId1"/>
    </p:custDataLst>
    <p:extLst>
      <p:ext uri="{BB962C8B-B14F-4D97-AF65-F5344CB8AC3E}">
        <p14:creationId xmlns:p14="http://schemas.microsoft.com/office/powerpoint/2010/main" val="320437943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8C0B1-52F5-D079-F895-4DE7B668FD98}"/>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598B333B-497D-6B24-D71D-C7AC190AB6C0}"/>
              </a:ext>
            </a:extLst>
          </p:cNvPr>
          <p:cNvSpPr>
            <a:spLocks noGrp="1"/>
          </p:cNvSpPr>
          <p:nvPr>
            <p:ph type="title"/>
          </p:nvPr>
        </p:nvSpPr>
        <p:spPr>
          <a:xfrm>
            <a:off x="308472" y="715804"/>
            <a:ext cx="3558448" cy="430887"/>
          </a:xfrm>
        </p:spPr>
        <p:txBody>
          <a:bodyPr/>
          <a:lstStyle/>
          <a:p>
            <a:r>
              <a:rPr lang="en-US" sz="2800"/>
              <a:t>Your 60 days in role </a:t>
            </a:r>
          </a:p>
        </p:txBody>
      </p:sp>
      <p:sp>
        <p:nvSpPr>
          <p:cNvPr id="27" name="Content Placeholder 26">
            <a:extLst>
              <a:ext uri="{FF2B5EF4-FFF2-40B4-BE49-F238E27FC236}">
                <a16:creationId xmlns:a16="http://schemas.microsoft.com/office/drawing/2014/main" id="{08F7552F-5437-7FBD-3844-75E98FAB732E}"/>
              </a:ext>
            </a:extLst>
          </p:cNvPr>
          <p:cNvSpPr>
            <a:spLocks noGrp="1"/>
          </p:cNvSpPr>
          <p:nvPr>
            <p:ph sz="quarter" idx="19"/>
          </p:nvPr>
        </p:nvSpPr>
        <p:spPr>
          <a:xfrm>
            <a:off x="1278156" y="2795380"/>
            <a:ext cx="1828800" cy="2374012"/>
          </a:xfrm>
        </p:spPr>
        <p:txBody>
          <a:bodyPr lIns="45720" tIns="45720" rIns="45720"/>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Join community calls and office hours to connect, ask questions, and stay aligned with evolving offers and programs</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lang="en-US"/>
              <a:t>Participate in the scheduled shadow delivery aligned to your “new focus” workload to gain hands-on exposure and contextual learning.</a:t>
            </a:r>
          </a:p>
          <a:p>
            <a:pPr marR="0" lvl="0" algn="ctr"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effectLst/>
              <a:uLnTx/>
              <a:uFillTx/>
              <a:ea typeface="+mn-ea"/>
              <a:cs typeface="+mn-cs"/>
            </a:endParaRPr>
          </a:p>
        </p:txBody>
      </p:sp>
      <p:sp>
        <p:nvSpPr>
          <p:cNvPr id="17" name="Content Placeholder 16">
            <a:extLst>
              <a:ext uri="{FF2B5EF4-FFF2-40B4-BE49-F238E27FC236}">
                <a16:creationId xmlns:a16="http://schemas.microsoft.com/office/drawing/2014/main" id="{00111A79-08E2-F71F-2116-C6A00D28A721}"/>
              </a:ext>
            </a:extLst>
          </p:cNvPr>
          <p:cNvSpPr>
            <a:spLocks noGrp="1"/>
          </p:cNvSpPr>
          <p:nvPr>
            <p:ph sz="quarter" idx="16"/>
          </p:nvPr>
        </p:nvSpPr>
        <p:spPr>
          <a:xfrm>
            <a:off x="3176050" y="2795380"/>
            <a:ext cx="1828800" cy="2584570"/>
          </a:xfrm>
        </p:spPr>
        <p:txBody>
          <a:bodyPr lIns="45720" tIns="45720" rIns="45720"/>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Deepen technical proficiency by progressing through your role-aligned learning paths and preparing for required certifications on your Skilling Plan.</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Start the accreditation process, ensuring you are prepared for the knowledge measure</a:t>
            </a:r>
          </a:p>
        </p:txBody>
      </p:sp>
      <p:sp>
        <p:nvSpPr>
          <p:cNvPr id="29" name="Content Placeholder 28">
            <a:extLst>
              <a:ext uri="{FF2B5EF4-FFF2-40B4-BE49-F238E27FC236}">
                <a16:creationId xmlns:a16="http://schemas.microsoft.com/office/drawing/2014/main" id="{67675BF4-ED21-2B0A-A9A3-DF2ACF37A3B2}"/>
              </a:ext>
            </a:extLst>
          </p:cNvPr>
          <p:cNvSpPr>
            <a:spLocks noGrp="1"/>
          </p:cNvSpPr>
          <p:nvPr>
            <p:ph sz="quarter" idx="20"/>
          </p:nvPr>
        </p:nvSpPr>
        <p:spPr>
          <a:xfrm>
            <a:off x="5073944" y="2795380"/>
            <a:ext cx="1828800" cy="1791775"/>
          </a:xfrm>
        </p:spPr>
        <p:txBody>
          <a:bodyPr lIns="45720" tIns="45720" rIns="45720"/>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As appropriate, as it relates to your “new focus” workloads, begin supporting co-delivery engagements, applying repeatable IP and aligning with KPIs such as Commit-to-Close (C2C) and pipeline generation</a:t>
            </a:r>
          </a:p>
        </p:txBody>
      </p:sp>
      <p:sp>
        <p:nvSpPr>
          <p:cNvPr id="19" name="Content Placeholder 18">
            <a:extLst>
              <a:ext uri="{FF2B5EF4-FFF2-40B4-BE49-F238E27FC236}">
                <a16:creationId xmlns:a16="http://schemas.microsoft.com/office/drawing/2014/main" id="{83E50B08-950C-7922-A533-9B6517D7AD6A}"/>
              </a:ext>
            </a:extLst>
          </p:cNvPr>
          <p:cNvSpPr>
            <a:spLocks noGrp="1"/>
          </p:cNvSpPr>
          <p:nvPr>
            <p:ph sz="quarter" idx="17"/>
          </p:nvPr>
        </p:nvSpPr>
        <p:spPr>
          <a:xfrm>
            <a:off x="6971838" y="2795380"/>
            <a:ext cx="1828800" cy="2408300"/>
          </a:xfrm>
        </p:spPr>
        <p:txBody>
          <a:bodyPr lIns="45720" tIns="45720" rIns="45720"/>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Collaborate with CSAMs to ensure completeness and accuracy of the Azure consumption plan and customer success plan.</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Identify and act on next best actions from delivery engagements to generate incremental pipeline and support Unified/Factory delivery goals.</a:t>
            </a:r>
          </a:p>
        </p:txBody>
      </p:sp>
      <p:sp>
        <p:nvSpPr>
          <p:cNvPr id="31" name="Content Placeholder 30">
            <a:extLst>
              <a:ext uri="{FF2B5EF4-FFF2-40B4-BE49-F238E27FC236}">
                <a16:creationId xmlns:a16="http://schemas.microsoft.com/office/drawing/2014/main" id="{91ECF6DD-D9D1-D194-136A-E66773131B25}"/>
              </a:ext>
            </a:extLst>
          </p:cNvPr>
          <p:cNvSpPr>
            <a:spLocks noGrp="1"/>
          </p:cNvSpPr>
          <p:nvPr>
            <p:ph sz="quarter" idx="21"/>
          </p:nvPr>
        </p:nvSpPr>
        <p:spPr>
          <a:xfrm>
            <a:off x="8869733" y="2795380"/>
            <a:ext cx="1828800" cy="2584570"/>
          </a:xfrm>
        </p:spPr>
        <p:txBody>
          <a:bodyPr lIns="45720" tIns="45720" rIns="45720"/>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Review your contributions toward </a:t>
            </a:r>
            <a:r>
              <a:rPr kumimoji="0" lang="en-US" sz="1200" b="0" i="0" u="none" strike="noStrike" kern="1200" cap="none" spc="0" normalizeH="0" baseline="0" noProof="0">
                <a:ln>
                  <a:noFill/>
                </a:ln>
                <a:effectLst/>
                <a:uLnTx/>
                <a:uFillTx/>
                <a:ea typeface="+mn-ea"/>
                <a:cs typeface="+mn-cs"/>
                <a:hlinkClick r:id="rId3"/>
              </a:rPr>
              <a:t>C2C milestones</a:t>
            </a:r>
            <a:r>
              <a:rPr kumimoji="0" lang="en-US" sz="1200" b="0" i="0" u="none" strike="noStrike" kern="1200" cap="none" spc="0" normalizeH="0" baseline="0" noProof="0">
                <a:ln>
                  <a:noFill/>
                </a:ln>
                <a:effectLst/>
                <a:uLnTx/>
                <a:uFillTx/>
                <a:ea typeface="+mn-ea"/>
                <a:cs typeface="+mn-cs"/>
              </a:rPr>
              <a:t>, </a:t>
            </a:r>
            <a:r>
              <a:rPr kumimoji="0" lang="en-US" sz="1200" b="0" i="0" u="none" strike="noStrike" kern="1200" cap="none" spc="0" normalizeH="0" baseline="0" noProof="0">
                <a:ln>
                  <a:noFill/>
                </a:ln>
                <a:effectLst/>
                <a:uLnTx/>
                <a:uFillTx/>
                <a:ea typeface="+mn-ea"/>
                <a:cs typeface="+mn-cs"/>
                <a:hlinkClick r:id="rId4"/>
              </a:rPr>
              <a:t>pipeline targets</a:t>
            </a:r>
            <a:r>
              <a:rPr kumimoji="0" lang="en-US" sz="1200" b="0" i="0" u="none" strike="noStrike" kern="1200" cap="none" spc="0" normalizeH="0" baseline="0" noProof="0">
                <a:ln>
                  <a:noFill/>
                </a:ln>
                <a:effectLst/>
                <a:uLnTx/>
                <a:uFillTx/>
                <a:ea typeface="+mn-ea"/>
                <a:cs typeface="+mn-cs"/>
              </a:rPr>
              <a:t>, and </a:t>
            </a:r>
            <a:r>
              <a:rPr kumimoji="0" lang="en-US" sz="1200" b="0" i="0" u="none" strike="noStrike" kern="1200" cap="none" spc="0" normalizeH="0" baseline="0" noProof="0">
                <a:ln>
                  <a:noFill/>
                </a:ln>
                <a:effectLst/>
                <a:uLnTx/>
                <a:uFillTx/>
                <a:ea typeface="+mn-ea"/>
                <a:cs typeface="+mn-cs"/>
                <a:hlinkClick r:id="rId5"/>
              </a:rPr>
              <a:t>delivery mix </a:t>
            </a:r>
            <a:r>
              <a:rPr kumimoji="0" lang="en-US" sz="1200" b="0" i="0" u="none" strike="noStrike" kern="1200" cap="none" spc="0" normalizeH="0" baseline="0" noProof="0">
                <a:ln>
                  <a:noFill/>
                </a:ln>
                <a:effectLst/>
                <a:uLnTx/>
                <a:uFillTx/>
                <a:ea typeface="+mn-ea"/>
                <a:cs typeface="+mn-cs"/>
              </a:rPr>
              <a:t>(Unified, Factory, On-Strategy).</a:t>
            </a:r>
          </a:p>
          <a:p>
            <a:pPr marR="0" lvl="0" algn="ctr" defTabSz="914400" rtl="0" eaLnBrk="1" fontAlgn="auto" latinLnBrk="0" hangingPunct="1">
              <a:lnSpc>
                <a:spcPct val="100000"/>
              </a:lnSpc>
              <a:spcBef>
                <a:spcPts val="0"/>
              </a:spcBef>
              <a:spcAft>
                <a:spcPts val="0"/>
              </a:spcAft>
              <a:buClrTx/>
              <a:buSzTx/>
              <a:tabLst/>
              <a:defRPr/>
            </a:pPr>
            <a:endParaRPr lang="en-US"/>
          </a:p>
          <a:p>
            <a:pPr lvl="0" defTabSz="914400">
              <a:spcBef>
                <a:spcPts val="0"/>
              </a:spcBef>
              <a:buSzTx/>
              <a:defRPr/>
            </a:pPr>
            <a:r>
              <a:rPr lang="en-US"/>
              <a:t>Consolidate learnings, finalize any outstanding skilling or certifications, and align with your manager on next-phase goals and delivery readiness.</a:t>
            </a:r>
            <a:endParaRPr kumimoji="0" lang="en-US" sz="1200" b="0" i="0" u="none" strike="noStrike" kern="1200" cap="none" spc="0" normalizeH="0" baseline="0" noProof="0">
              <a:ln>
                <a:noFill/>
              </a:ln>
              <a:effectLst/>
              <a:uLnTx/>
              <a:uFillTx/>
              <a:ea typeface="+mn-ea"/>
              <a:cs typeface="+mn-cs"/>
            </a:endParaRPr>
          </a:p>
        </p:txBody>
      </p:sp>
      <p:sp>
        <p:nvSpPr>
          <p:cNvPr id="9" name="Content Placeholder 8">
            <a:extLst>
              <a:ext uri="{FF2B5EF4-FFF2-40B4-BE49-F238E27FC236}">
                <a16:creationId xmlns:a16="http://schemas.microsoft.com/office/drawing/2014/main" id="{5F4DE2C9-11CF-F15F-4629-F6A2ED5A8189}"/>
              </a:ext>
            </a:extLst>
          </p:cNvPr>
          <p:cNvSpPr>
            <a:spLocks noGrp="1"/>
          </p:cNvSpPr>
          <p:nvPr>
            <p:ph sz="quarter" idx="14"/>
          </p:nvPr>
        </p:nvSpPr>
        <p:spPr>
          <a:xfrm>
            <a:off x="9311436" y="1505722"/>
            <a:ext cx="834013" cy="837329"/>
          </a:xfrm>
        </p:spPr>
        <p:txBody>
          <a:bodyPr/>
          <a:lstStyle/>
          <a:p>
            <a:pPr algn="ctr" defTabSz="932472" fontAlgn="base">
              <a:spcBef>
                <a:spcPct val="0"/>
              </a:spcBef>
              <a:spcAft>
                <a:spcPct val="0"/>
              </a:spcAft>
            </a:pPr>
            <a:r>
              <a:rPr lang="en-US" b="0">
                <a:solidFill>
                  <a:schemeClr val="bg1"/>
                </a:solidFill>
                <a:latin typeface="+mj-lt"/>
                <a:cs typeface="Segoe Sans Text Light" pitchFamily="2" charset="0"/>
              </a:rPr>
              <a:t>Week 9</a:t>
            </a:r>
          </a:p>
        </p:txBody>
      </p:sp>
      <p:sp>
        <p:nvSpPr>
          <p:cNvPr id="33" name="Content Placeholder 32">
            <a:extLst>
              <a:ext uri="{FF2B5EF4-FFF2-40B4-BE49-F238E27FC236}">
                <a16:creationId xmlns:a16="http://schemas.microsoft.com/office/drawing/2014/main" id="{3DA944D6-5C9A-B957-CCE5-CFAD620AB27A}"/>
              </a:ext>
            </a:extLst>
          </p:cNvPr>
          <p:cNvSpPr>
            <a:spLocks noGrp="1"/>
          </p:cNvSpPr>
          <p:nvPr>
            <p:ph sz="quarter" idx="22"/>
          </p:nvPr>
        </p:nvSpPr>
        <p:spPr>
          <a:xfrm>
            <a:off x="1278156" y="5791928"/>
            <a:ext cx="1243038" cy="541687"/>
          </a:xfrm>
        </p:spPr>
        <p:txBody>
          <a:bodyPr/>
          <a:lstStyle/>
          <a:p>
            <a:pPr>
              <a:buClr>
                <a:srgbClr val="000000"/>
              </a:buClr>
              <a:buSzPts val="800"/>
            </a:pPr>
            <a:r>
              <a:rPr lang="en-US" sz="1600" b="1">
                <a:solidFill>
                  <a:schemeClr val="bg1"/>
                </a:solidFill>
                <a:latin typeface="+mj-lt"/>
                <a:cs typeface="Arial"/>
              </a:rPr>
              <a:t>Additional </a:t>
            </a:r>
          </a:p>
          <a:p>
            <a:pPr>
              <a:buClr>
                <a:srgbClr val="000000"/>
              </a:buClr>
              <a:buSzPts val="800"/>
            </a:pPr>
            <a:r>
              <a:rPr lang="en-US" sz="1600" b="1">
                <a:solidFill>
                  <a:schemeClr val="bg1"/>
                </a:solidFill>
                <a:latin typeface="+mj-lt"/>
                <a:cs typeface="Arial"/>
              </a:rPr>
              <a:t>Support </a:t>
            </a:r>
          </a:p>
        </p:txBody>
      </p:sp>
      <p:sp>
        <p:nvSpPr>
          <p:cNvPr id="35" name="Content Placeholder 34">
            <a:extLst>
              <a:ext uri="{FF2B5EF4-FFF2-40B4-BE49-F238E27FC236}">
                <a16:creationId xmlns:a16="http://schemas.microsoft.com/office/drawing/2014/main" id="{6823EF5A-F60A-91CF-E1D2-517A17B8D6FD}"/>
              </a:ext>
            </a:extLst>
          </p:cNvPr>
          <p:cNvSpPr>
            <a:spLocks noGrp="1"/>
          </p:cNvSpPr>
          <p:nvPr>
            <p:ph sz="quarter" idx="23"/>
          </p:nvPr>
        </p:nvSpPr>
        <p:spPr>
          <a:xfrm>
            <a:off x="4382647" y="5847328"/>
            <a:ext cx="2091396" cy="430887"/>
          </a:xfrm>
        </p:spPr>
        <p:txBody>
          <a:bodyPr/>
          <a:lstStyle/>
          <a:p>
            <a:pPr marL="0" marR="0" lvl="0" indent="0" algn="l" rtl="0" eaLnBrk="1" fontAlgn="auto" latinLnBrk="0" hangingPunct="1">
              <a:lnSpc>
                <a:spcPct val="100000"/>
              </a:lnSpc>
              <a:spcBef>
                <a:spcPts val="600"/>
              </a:spcBef>
              <a:spcAft>
                <a:spcPts val="0"/>
              </a:spcAft>
              <a:buClrTx/>
              <a:buSzTx/>
              <a:buNone/>
            </a:pPr>
            <a:r>
              <a:rPr lang="en-US" sz="1400" b="0" u="none" strike="noStrike" kern="1200" noProof="0">
                <a:solidFill>
                  <a:schemeClr val="tx1"/>
                </a:solidFill>
                <a:latin typeface="+mj-lt"/>
                <a:hlinkClick r:id="rId6" action="ppaction://hlinksldjump"/>
              </a:rPr>
              <a:t>Cloud &amp; AI CSU Community Calls </a:t>
            </a:r>
            <a:endParaRPr lang="en-US" sz="1400" b="0" u="none" strike="noStrike" kern="1200" noProof="0">
              <a:solidFill>
                <a:schemeClr val="tx1"/>
              </a:solidFill>
              <a:latin typeface="+mj-lt"/>
            </a:endParaRPr>
          </a:p>
        </p:txBody>
      </p:sp>
      <p:sp>
        <p:nvSpPr>
          <p:cNvPr id="37" name="Content Placeholder 36">
            <a:extLst>
              <a:ext uri="{FF2B5EF4-FFF2-40B4-BE49-F238E27FC236}">
                <a16:creationId xmlns:a16="http://schemas.microsoft.com/office/drawing/2014/main" id="{04251110-7A59-4A31-E447-B18E62D58F69}"/>
              </a:ext>
            </a:extLst>
          </p:cNvPr>
          <p:cNvSpPr>
            <a:spLocks noGrp="1"/>
          </p:cNvSpPr>
          <p:nvPr>
            <p:ph sz="quarter" idx="24"/>
          </p:nvPr>
        </p:nvSpPr>
        <p:spPr/>
        <p:txBody>
          <a:bodyPr/>
          <a:lstStyle/>
          <a:p>
            <a:pPr marL="0" marR="0" lvl="0" indent="0" algn="l" rtl="0" eaLnBrk="1" fontAlgn="auto" latinLnBrk="0" hangingPunct="1">
              <a:lnSpc>
                <a:spcPct val="100000"/>
              </a:lnSpc>
              <a:spcBef>
                <a:spcPts val="600"/>
              </a:spcBef>
              <a:spcAft>
                <a:spcPts val="0"/>
              </a:spcAft>
              <a:buClrTx/>
              <a:buSzTx/>
              <a:buNone/>
            </a:pPr>
            <a:r>
              <a:rPr lang="en-US" sz="1400" b="0" u="none" strike="noStrike" kern="1200" noProof="0">
                <a:solidFill>
                  <a:schemeClr val="tx1"/>
                </a:solidFill>
                <a:latin typeface="+mj-lt"/>
              </a:rPr>
              <a:t>MCAPs Academy in Viva Learning </a:t>
            </a:r>
          </a:p>
        </p:txBody>
      </p:sp>
      <p:sp>
        <p:nvSpPr>
          <p:cNvPr id="5" name="Content Placeholder 4">
            <a:extLst>
              <a:ext uri="{FF2B5EF4-FFF2-40B4-BE49-F238E27FC236}">
                <a16:creationId xmlns:a16="http://schemas.microsoft.com/office/drawing/2014/main" id="{331892C4-F200-A0B8-2639-336D7F62A6D6}"/>
              </a:ext>
            </a:extLst>
          </p:cNvPr>
          <p:cNvSpPr>
            <a:spLocks noGrp="1"/>
          </p:cNvSpPr>
          <p:nvPr>
            <p:ph sz="quarter" idx="13"/>
          </p:nvPr>
        </p:nvSpPr>
        <p:spPr/>
        <p:txBody>
          <a:bodyPr/>
          <a:lstStyle/>
          <a:p>
            <a:r>
              <a:rPr lang="en-US" b="0">
                <a:latin typeface="+mj-lt"/>
              </a:rPr>
              <a:t>Week 5</a:t>
            </a:r>
          </a:p>
        </p:txBody>
      </p:sp>
      <p:sp>
        <p:nvSpPr>
          <p:cNvPr id="10" name="Content Placeholder 9">
            <a:extLst>
              <a:ext uri="{FF2B5EF4-FFF2-40B4-BE49-F238E27FC236}">
                <a16:creationId xmlns:a16="http://schemas.microsoft.com/office/drawing/2014/main" id="{50429AFE-E1C2-A6F5-BF22-AE860E23B4FD}"/>
              </a:ext>
            </a:extLst>
          </p:cNvPr>
          <p:cNvSpPr>
            <a:spLocks noGrp="1"/>
          </p:cNvSpPr>
          <p:nvPr>
            <p:ph sz="quarter" idx="10"/>
          </p:nvPr>
        </p:nvSpPr>
        <p:spPr/>
        <p:txBody>
          <a:bodyPr/>
          <a:lstStyle/>
          <a:p>
            <a:r>
              <a:rPr lang="en-US" b="0">
                <a:latin typeface="+mj-lt"/>
              </a:rPr>
              <a:t>Week 6</a:t>
            </a:r>
          </a:p>
        </p:txBody>
      </p:sp>
      <p:sp>
        <p:nvSpPr>
          <p:cNvPr id="13" name="Content Placeholder 12">
            <a:extLst>
              <a:ext uri="{FF2B5EF4-FFF2-40B4-BE49-F238E27FC236}">
                <a16:creationId xmlns:a16="http://schemas.microsoft.com/office/drawing/2014/main" id="{5746FC3A-AED7-E97C-437A-DBC306983D28}"/>
              </a:ext>
            </a:extLst>
          </p:cNvPr>
          <p:cNvSpPr>
            <a:spLocks noGrp="1"/>
          </p:cNvSpPr>
          <p:nvPr>
            <p:ph sz="quarter" idx="15"/>
          </p:nvPr>
        </p:nvSpPr>
        <p:spPr/>
        <p:txBody>
          <a:bodyPr/>
          <a:lstStyle/>
          <a:p>
            <a:r>
              <a:rPr lang="en-US" b="0">
                <a:latin typeface="+mj-lt"/>
              </a:rPr>
              <a:t>Week 7</a:t>
            </a:r>
          </a:p>
        </p:txBody>
      </p:sp>
      <p:sp>
        <p:nvSpPr>
          <p:cNvPr id="18" name="Content Placeholder 17">
            <a:extLst>
              <a:ext uri="{FF2B5EF4-FFF2-40B4-BE49-F238E27FC236}">
                <a16:creationId xmlns:a16="http://schemas.microsoft.com/office/drawing/2014/main" id="{CFEC66CD-A768-3D56-99D0-3CCAD4CF4B91}"/>
              </a:ext>
            </a:extLst>
          </p:cNvPr>
          <p:cNvSpPr>
            <a:spLocks noGrp="1"/>
          </p:cNvSpPr>
          <p:nvPr>
            <p:ph sz="quarter" idx="12"/>
          </p:nvPr>
        </p:nvSpPr>
        <p:spPr/>
        <p:txBody>
          <a:bodyPr/>
          <a:lstStyle/>
          <a:p>
            <a:r>
              <a:rPr lang="en-US" b="0">
                <a:latin typeface="+mj-lt"/>
              </a:rPr>
              <a:t>Week 8</a:t>
            </a:r>
          </a:p>
        </p:txBody>
      </p:sp>
      <p:sp>
        <p:nvSpPr>
          <p:cNvPr id="21" name="Rectangle 20">
            <a:extLst>
              <a:ext uri="{FF2B5EF4-FFF2-40B4-BE49-F238E27FC236}">
                <a16:creationId xmlns:a16="http://schemas.microsoft.com/office/drawing/2014/main" id="{34E49AA3-A83E-52B0-4923-99870033DD10}"/>
              </a:ext>
            </a:extLst>
          </p:cNvPr>
          <p:cNvSpPr/>
          <p:nvPr/>
        </p:nvSpPr>
        <p:spPr bwMode="auto">
          <a:xfrm>
            <a:off x="3349256" y="766873"/>
            <a:ext cx="8652334" cy="430887"/>
          </a:xfrm>
          <a:prstGeom prst="rect">
            <a:avLst/>
          </a:prstGeom>
          <a:solidFill>
            <a:schemeClr val="bg1"/>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200" b="1">
                <a:solidFill>
                  <a:schemeClr val="tx2"/>
                </a:solidFill>
                <a:ea typeface="Segoe UI" pitchFamily="34" charset="0"/>
                <a:cs typeface="Segoe UI" pitchFamily="34" charset="0"/>
              </a:rPr>
              <a:t>*CSAs will continue to deliver based on existing Skills &amp; Accreditations while ramping in their new focus workloads</a:t>
            </a:r>
          </a:p>
        </p:txBody>
      </p:sp>
      <p:grpSp>
        <p:nvGrpSpPr>
          <p:cNvPr id="22" name="Group 21">
            <a:extLst>
              <a:ext uri="{FF2B5EF4-FFF2-40B4-BE49-F238E27FC236}">
                <a16:creationId xmlns:a16="http://schemas.microsoft.com/office/drawing/2014/main" id="{7EAE7739-F799-81D4-2A70-8EF75B7C44C6}"/>
              </a:ext>
            </a:extLst>
          </p:cNvPr>
          <p:cNvGrpSpPr/>
          <p:nvPr/>
        </p:nvGrpSpPr>
        <p:grpSpPr>
          <a:xfrm>
            <a:off x="59315" y="20009"/>
            <a:ext cx="12073370" cy="348643"/>
            <a:chOff x="59315" y="20009"/>
            <a:chExt cx="12073370" cy="348643"/>
          </a:xfrm>
        </p:grpSpPr>
        <p:sp>
          <p:nvSpPr>
            <p:cNvPr id="24" name="Table 2 Cell 1, 1 to Text">
              <a:extLst>
                <a:ext uri="{FF2B5EF4-FFF2-40B4-BE49-F238E27FC236}">
                  <a16:creationId xmlns:a16="http://schemas.microsoft.com/office/drawing/2014/main" id="{81FA2CBE-A91E-A979-5BDE-48FBE2290768}"/>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44EBA0B7-5955-4A57-760F-5D2C1904C3CA}"/>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B28DB344-C17E-60F2-6E59-8E7CEC18C804}"/>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8" name="Table 2 Cell 4, 1 to Text">
              <a:extLst>
                <a:ext uri="{FF2B5EF4-FFF2-40B4-BE49-F238E27FC236}">
                  <a16:creationId xmlns:a16="http://schemas.microsoft.com/office/drawing/2014/main" id="{8F6A3855-9394-88BE-0F62-FC662EE43AC7}"/>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0" name="Table 2 Cell 5, 1 to Text">
              <a:extLst>
                <a:ext uri="{FF2B5EF4-FFF2-40B4-BE49-F238E27FC236}">
                  <a16:creationId xmlns:a16="http://schemas.microsoft.com/office/drawing/2014/main" id="{06E53810-9128-9596-7DBB-55148260B9AE}"/>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2" name="Table 2 Cell 6, 1 to Text">
              <a:extLst>
                <a:ext uri="{FF2B5EF4-FFF2-40B4-BE49-F238E27FC236}">
                  <a16:creationId xmlns:a16="http://schemas.microsoft.com/office/drawing/2014/main" id="{D654089C-7544-94C8-A223-51717DD23D59}"/>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34" name="Table 2 Cell 7, 1 to Text">
              <a:extLst>
                <a:ext uri="{FF2B5EF4-FFF2-40B4-BE49-F238E27FC236}">
                  <a16:creationId xmlns:a16="http://schemas.microsoft.com/office/drawing/2014/main" id="{8F1F762B-7C45-DC1F-18B9-B0AA38CE6489}"/>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36" name="Table 2 Cell 1, 2 to Text">
              <a:extLst>
                <a:ext uri="{FF2B5EF4-FFF2-40B4-BE49-F238E27FC236}">
                  <a16:creationId xmlns:a16="http://schemas.microsoft.com/office/drawing/2014/main" id="{754C05F8-9A03-596D-8EE9-B2153D69024A}"/>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38" name="Table 2 Cell 1, 3 to Text">
              <a:extLst>
                <a:ext uri="{FF2B5EF4-FFF2-40B4-BE49-F238E27FC236}">
                  <a16:creationId xmlns:a16="http://schemas.microsoft.com/office/drawing/2014/main" id="{78082FE7-51FC-9B8B-BE8F-390CCE8FF167}"/>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2 60 Days In Role</a:t>
              </a:r>
            </a:p>
          </p:txBody>
        </p:sp>
        <p:sp>
          <p:nvSpPr>
            <p:cNvPr id="40" name="Table 2 Cell 1, 4 to Text">
              <a:extLst>
                <a:ext uri="{FF2B5EF4-FFF2-40B4-BE49-F238E27FC236}">
                  <a16:creationId xmlns:a16="http://schemas.microsoft.com/office/drawing/2014/main" id="{4BCE6FBD-4379-D5E4-4C8B-DFF86551B0C3}"/>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41" name="Table 2 Cell 1, 5 to Text">
              <a:extLst>
                <a:ext uri="{FF2B5EF4-FFF2-40B4-BE49-F238E27FC236}">
                  <a16:creationId xmlns:a16="http://schemas.microsoft.com/office/drawing/2014/main" id="{1A17D925-E7B7-BE79-7512-C32C80FF0379}"/>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42" name="Table 2 Cell 1, 4 to Text">
              <a:extLst>
                <a:ext uri="{FF2B5EF4-FFF2-40B4-BE49-F238E27FC236}">
                  <a16:creationId xmlns:a16="http://schemas.microsoft.com/office/drawing/2014/main" id="{54C24BE4-1F7F-2DF8-ACF5-D749D6087720}"/>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43" name="Table 2 Cell 1, 4 to Text">
              <a:extLst>
                <a:ext uri="{FF2B5EF4-FFF2-40B4-BE49-F238E27FC236}">
                  <a16:creationId xmlns:a16="http://schemas.microsoft.com/office/drawing/2014/main" id="{08BF914A-831A-0E63-4CE1-4BDA94224C6C}"/>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44" name="Table 2 Cell 1, 4 to Text">
              <a:extLst>
                <a:ext uri="{FF2B5EF4-FFF2-40B4-BE49-F238E27FC236}">
                  <a16:creationId xmlns:a16="http://schemas.microsoft.com/office/drawing/2014/main" id="{AF0FDA4C-B070-114B-48BF-4BAF3C8071B4}"/>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Tree>
    <p:custDataLst>
      <p:tags r:id="rId1"/>
    </p:custDataLst>
    <p:extLst>
      <p:ext uri="{BB962C8B-B14F-4D97-AF65-F5344CB8AC3E}">
        <p14:creationId xmlns:p14="http://schemas.microsoft.com/office/powerpoint/2010/main" val="315592206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930AD-0D9D-C06D-7A87-72A29A9BF591}"/>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744B8D20-6A39-F0CC-4015-A90A77381685}"/>
              </a:ext>
            </a:extLst>
          </p:cNvPr>
          <p:cNvSpPr>
            <a:spLocks noGrp="1"/>
          </p:cNvSpPr>
          <p:nvPr>
            <p:ph type="title"/>
          </p:nvPr>
        </p:nvSpPr>
        <p:spPr>
          <a:xfrm>
            <a:off x="297455" y="679564"/>
            <a:ext cx="3150825" cy="430887"/>
          </a:xfrm>
        </p:spPr>
        <p:txBody>
          <a:bodyPr/>
          <a:lstStyle/>
          <a:p>
            <a:r>
              <a:rPr lang="en-US" sz="2800"/>
              <a:t>Your 90 days in role </a:t>
            </a:r>
          </a:p>
        </p:txBody>
      </p:sp>
      <p:sp>
        <p:nvSpPr>
          <p:cNvPr id="27" name="Content Placeholder 26">
            <a:extLst>
              <a:ext uri="{FF2B5EF4-FFF2-40B4-BE49-F238E27FC236}">
                <a16:creationId xmlns:a16="http://schemas.microsoft.com/office/drawing/2014/main" id="{1B4F7972-A6C9-DBFB-1EF7-596C671A8812}"/>
              </a:ext>
            </a:extLst>
          </p:cNvPr>
          <p:cNvSpPr>
            <a:spLocks noGrp="1"/>
          </p:cNvSpPr>
          <p:nvPr>
            <p:ph sz="quarter" idx="19"/>
          </p:nvPr>
        </p:nvSpPr>
        <p:spPr>
          <a:xfrm>
            <a:off x="1394380" y="2792944"/>
            <a:ext cx="1668992" cy="2396001"/>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Review and validate your Azure consumption and customer success plans with CSAMs</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Identify the next accreditation and/or certification to complete aligned to your role</a:t>
            </a:r>
          </a:p>
        </p:txBody>
      </p:sp>
      <p:sp>
        <p:nvSpPr>
          <p:cNvPr id="17" name="Content Placeholder 16">
            <a:extLst>
              <a:ext uri="{FF2B5EF4-FFF2-40B4-BE49-F238E27FC236}">
                <a16:creationId xmlns:a16="http://schemas.microsoft.com/office/drawing/2014/main" id="{6409F267-B404-48CF-FEA2-F927636010F7}"/>
              </a:ext>
            </a:extLst>
          </p:cNvPr>
          <p:cNvSpPr>
            <a:spLocks noGrp="1"/>
          </p:cNvSpPr>
          <p:nvPr>
            <p:ph sz="quarter" idx="16"/>
          </p:nvPr>
        </p:nvSpPr>
        <p:spPr>
          <a:xfrm>
            <a:off x="3256039" y="2792944"/>
            <a:ext cx="1668992" cy="2307865"/>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Lead or co-lead a delivery aligned to your “new focus” workload using repeatable IP</a:t>
            </a:r>
          </a:p>
          <a:p>
            <a:pPr marR="0" lvl="0" algn="ctr" defTabSz="914400" rtl="0" eaLnBrk="1" fontAlgn="auto" latinLnBrk="0" hangingPunct="1">
              <a:lnSpc>
                <a:spcPct val="100000"/>
              </a:lnSpc>
              <a:spcBef>
                <a:spcPts val="0"/>
              </a:spcBef>
              <a:spcAft>
                <a:spcPts val="0"/>
              </a:spcAft>
              <a:buClrTx/>
              <a:buSzTx/>
              <a:tabLst/>
              <a:defRPr/>
            </a:pPr>
            <a:endParaRPr lang="en-US"/>
          </a:p>
          <a:p>
            <a:pPr lvl="0" defTabSz="914400">
              <a:spcBef>
                <a:spcPts val="0"/>
              </a:spcBef>
              <a:buSzTx/>
              <a:defRPr/>
            </a:pPr>
            <a:r>
              <a:rPr kumimoji="0" lang="en-US" sz="1200" b="0" i="0" u="none" strike="noStrike" kern="1200" cap="none" spc="0" normalizeH="0" baseline="0" noProof="0">
                <a:ln>
                  <a:noFill/>
                </a:ln>
                <a:effectLst/>
                <a:uLnTx/>
                <a:uFillTx/>
                <a:ea typeface="+mn-ea"/>
                <a:cs typeface="+mn-cs"/>
              </a:rPr>
              <a:t>Share learnings or best practices in your technical </a:t>
            </a:r>
            <a:r>
              <a:rPr lang="en-US"/>
              <a:t>community, Tech Intensity community, or Tech Insider</a:t>
            </a:r>
            <a:endParaRPr kumimoji="0" lang="en-US" sz="1200" b="0" i="0" u="none" strike="noStrike" kern="1200" cap="none" spc="0" normalizeH="0" baseline="0" noProof="0">
              <a:ln>
                <a:noFill/>
              </a:ln>
              <a:effectLst/>
              <a:uLnTx/>
              <a:uFillTx/>
              <a:ea typeface="+mn-ea"/>
              <a:cs typeface="+mn-cs"/>
            </a:endParaRPr>
          </a:p>
        </p:txBody>
      </p:sp>
      <p:sp>
        <p:nvSpPr>
          <p:cNvPr id="29" name="Content Placeholder 28">
            <a:extLst>
              <a:ext uri="{FF2B5EF4-FFF2-40B4-BE49-F238E27FC236}">
                <a16:creationId xmlns:a16="http://schemas.microsoft.com/office/drawing/2014/main" id="{1C7B2BD9-9D53-27DE-A741-94C039CAC37A}"/>
              </a:ext>
            </a:extLst>
          </p:cNvPr>
          <p:cNvSpPr>
            <a:spLocks noGrp="1"/>
          </p:cNvSpPr>
          <p:nvPr>
            <p:ph sz="quarter" idx="20"/>
          </p:nvPr>
        </p:nvSpPr>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Conduct a self-assessment against KPIs (e.g., C2C rate, pipeline contribution)</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Identify and act on a “next best workload” opportunity to drive Job 2 impact</a:t>
            </a:r>
          </a:p>
        </p:txBody>
      </p:sp>
      <p:sp>
        <p:nvSpPr>
          <p:cNvPr id="19" name="Content Placeholder 18">
            <a:extLst>
              <a:ext uri="{FF2B5EF4-FFF2-40B4-BE49-F238E27FC236}">
                <a16:creationId xmlns:a16="http://schemas.microsoft.com/office/drawing/2014/main" id="{F88F4D88-C688-9068-13A0-6161A6DC475C}"/>
              </a:ext>
            </a:extLst>
          </p:cNvPr>
          <p:cNvSpPr>
            <a:spLocks noGrp="1"/>
          </p:cNvSpPr>
          <p:nvPr>
            <p:ph sz="quarter" idx="17"/>
          </p:nvPr>
        </p:nvSpPr>
        <p:spPr>
          <a:xfrm>
            <a:off x="7009558" y="2792945"/>
            <a:ext cx="1668992" cy="2307864"/>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Provide delivery oversight or escalation support for a Factory engagement</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Update your skills profile and confirm alignment with area demand and customer needs.</a:t>
            </a:r>
          </a:p>
        </p:txBody>
      </p:sp>
      <p:sp>
        <p:nvSpPr>
          <p:cNvPr id="31" name="Content Placeholder 30">
            <a:extLst>
              <a:ext uri="{FF2B5EF4-FFF2-40B4-BE49-F238E27FC236}">
                <a16:creationId xmlns:a16="http://schemas.microsoft.com/office/drawing/2014/main" id="{625FD5C5-CD6D-F40D-4B5E-6642E454CFF2}"/>
              </a:ext>
            </a:extLst>
          </p:cNvPr>
          <p:cNvSpPr>
            <a:spLocks noGrp="1"/>
          </p:cNvSpPr>
          <p:nvPr>
            <p:ph sz="quarter" idx="21"/>
          </p:nvPr>
        </p:nvSpPr>
        <p:spPr>
          <a:xfrm>
            <a:off x="8893946" y="2792944"/>
            <a:ext cx="1668992" cy="2559334"/>
          </a:xfrm>
        </p:spPr>
        <p:txBody>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Document progress in </a:t>
            </a:r>
            <a:r>
              <a:rPr lang="en-US"/>
              <a:t>Connect, m</a:t>
            </a:r>
            <a:r>
              <a:rPr kumimoji="0" lang="en-US" sz="1200" b="0" i="0" u="none" strike="noStrike" kern="1200" cap="none" spc="0" normalizeH="0" baseline="0" noProof="0" err="1">
                <a:ln>
                  <a:noFill/>
                </a:ln>
                <a:effectLst/>
                <a:uLnTx/>
                <a:uFillTx/>
                <a:ea typeface="+mn-ea"/>
                <a:cs typeface="+mn-cs"/>
              </a:rPr>
              <a:t>eet</a:t>
            </a:r>
            <a:r>
              <a:rPr kumimoji="0" lang="en-US" sz="1200" b="0" i="0" u="none" strike="noStrike" kern="1200" cap="none" spc="0" normalizeH="0" baseline="0" noProof="0">
                <a:ln>
                  <a:noFill/>
                </a:ln>
                <a:effectLst/>
                <a:uLnTx/>
                <a:uFillTx/>
                <a:ea typeface="+mn-ea"/>
                <a:cs typeface="+mn-cs"/>
              </a:rPr>
              <a:t> with your manager to review and set goals for the next 90 days</a:t>
            </a:r>
          </a:p>
          <a:p>
            <a:pPr marR="0" lvl="0" algn="ctr" defTabSz="914400" rtl="0" eaLnBrk="1" fontAlgn="auto" latinLnBrk="0" hangingPunct="1">
              <a:lnSpc>
                <a:spcPct val="100000"/>
              </a:lnSpc>
              <a:spcBef>
                <a:spcPts val="0"/>
              </a:spcBef>
              <a:spcAft>
                <a:spcPts val="0"/>
              </a:spcAft>
              <a:buClrTx/>
              <a:buSzTx/>
              <a:tabLst/>
              <a:defRPr/>
            </a:pPr>
            <a:endParaRPr lang="en-US"/>
          </a:p>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effectLst/>
                <a:uLnTx/>
                <a:uFillTx/>
                <a:ea typeface="+mn-ea"/>
                <a:cs typeface="+mn-cs"/>
              </a:rPr>
              <a:t>Contribute to IP development or shadow a peer to expand technical breadth</a:t>
            </a:r>
          </a:p>
        </p:txBody>
      </p:sp>
      <p:sp>
        <p:nvSpPr>
          <p:cNvPr id="33" name="Content Placeholder 32">
            <a:extLst>
              <a:ext uri="{FF2B5EF4-FFF2-40B4-BE49-F238E27FC236}">
                <a16:creationId xmlns:a16="http://schemas.microsoft.com/office/drawing/2014/main" id="{18FCDB16-3E43-16AC-4C96-744D51A7D10E}"/>
              </a:ext>
            </a:extLst>
          </p:cNvPr>
          <p:cNvSpPr>
            <a:spLocks noGrp="1"/>
          </p:cNvSpPr>
          <p:nvPr>
            <p:ph sz="quarter" idx="22"/>
          </p:nvPr>
        </p:nvSpPr>
        <p:spPr>
          <a:xfrm>
            <a:off x="1278156" y="5797026"/>
            <a:ext cx="1243038" cy="541687"/>
          </a:xfrm>
        </p:spPr>
        <p:txBody>
          <a:bodyPr/>
          <a:lstStyle/>
          <a:p>
            <a:pPr>
              <a:buClr>
                <a:srgbClr val="000000"/>
              </a:buClr>
              <a:buSzPts val="800"/>
            </a:pPr>
            <a:r>
              <a:rPr lang="en-US" sz="1600" b="1">
                <a:solidFill>
                  <a:schemeClr val="bg1"/>
                </a:solidFill>
                <a:latin typeface="+mj-lt"/>
                <a:cs typeface="Arial"/>
              </a:rPr>
              <a:t>Additional </a:t>
            </a:r>
          </a:p>
          <a:p>
            <a:pPr>
              <a:buClr>
                <a:srgbClr val="000000"/>
              </a:buClr>
              <a:buSzPts val="800"/>
            </a:pPr>
            <a:r>
              <a:rPr lang="en-US" sz="1600" b="1">
                <a:solidFill>
                  <a:schemeClr val="bg1"/>
                </a:solidFill>
                <a:latin typeface="+mj-lt"/>
                <a:cs typeface="Arial"/>
              </a:rPr>
              <a:t>Support </a:t>
            </a:r>
          </a:p>
        </p:txBody>
      </p:sp>
      <p:sp>
        <p:nvSpPr>
          <p:cNvPr id="35" name="Content Placeholder 34">
            <a:extLst>
              <a:ext uri="{FF2B5EF4-FFF2-40B4-BE49-F238E27FC236}">
                <a16:creationId xmlns:a16="http://schemas.microsoft.com/office/drawing/2014/main" id="{892F0C45-C0AB-242E-0FAC-A3379F8147FB}"/>
              </a:ext>
            </a:extLst>
          </p:cNvPr>
          <p:cNvSpPr>
            <a:spLocks noGrp="1"/>
          </p:cNvSpPr>
          <p:nvPr>
            <p:ph sz="quarter" idx="23"/>
          </p:nvPr>
        </p:nvSpPr>
        <p:spPr>
          <a:xfrm>
            <a:off x="4308164" y="5891099"/>
            <a:ext cx="2091396" cy="430887"/>
          </a:xfrm>
        </p:spPr>
        <p:txBody>
          <a:bodyPr/>
          <a:lstStyle/>
          <a:p>
            <a:pPr lvl="0">
              <a:spcBef>
                <a:spcPts val="600"/>
              </a:spcBef>
              <a:buSzTx/>
            </a:pPr>
            <a:r>
              <a:rPr lang="en-US">
                <a:hlinkClick r:id="rId3" action="ppaction://hlinksldjump"/>
              </a:rPr>
              <a:t>Cloud &amp; AI CSU Community Calls </a:t>
            </a:r>
            <a:endParaRPr lang="en-US"/>
          </a:p>
        </p:txBody>
      </p:sp>
      <p:sp>
        <p:nvSpPr>
          <p:cNvPr id="37" name="Content Placeholder 36">
            <a:extLst>
              <a:ext uri="{FF2B5EF4-FFF2-40B4-BE49-F238E27FC236}">
                <a16:creationId xmlns:a16="http://schemas.microsoft.com/office/drawing/2014/main" id="{ED5072C8-A718-63A8-5A18-6F8830D8B82A}"/>
              </a:ext>
            </a:extLst>
          </p:cNvPr>
          <p:cNvSpPr>
            <a:spLocks noGrp="1"/>
          </p:cNvSpPr>
          <p:nvPr>
            <p:ph sz="quarter" idx="24"/>
          </p:nvPr>
        </p:nvSpPr>
        <p:spPr/>
        <p:txBody>
          <a:bodyPr/>
          <a:lstStyle/>
          <a:p>
            <a:pPr marL="0" marR="0" lvl="0" indent="0" algn="l" rtl="0" eaLnBrk="1" fontAlgn="auto" latinLnBrk="0" hangingPunct="1">
              <a:lnSpc>
                <a:spcPct val="100000"/>
              </a:lnSpc>
              <a:spcBef>
                <a:spcPts val="600"/>
              </a:spcBef>
              <a:spcAft>
                <a:spcPts val="0"/>
              </a:spcAft>
              <a:buClrTx/>
              <a:buSzTx/>
              <a:buNone/>
            </a:pPr>
            <a:r>
              <a:rPr lang="en-US" sz="1400" b="0" u="none" strike="noStrike" kern="1200" noProof="0">
                <a:solidFill>
                  <a:schemeClr val="tx1"/>
                </a:solidFill>
                <a:latin typeface="+mj-lt"/>
              </a:rPr>
              <a:t>MCAPs Academy in Viva Learning </a:t>
            </a:r>
          </a:p>
        </p:txBody>
      </p:sp>
      <p:sp>
        <p:nvSpPr>
          <p:cNvPr id="5" name="Content Placeholder 4">
            <a:extLst>
              <a:ext uri="{FF2B5EF4-FFF2-40B4-BE49-F238E27FC236}">
                <a16:creationId xmlns:a16="http://schemas.microsoft.com/office/drawing/2014/main" id="{BC8BAE00-0D88-116D-2683-FCB1FA3D3FF6}"/>
              </a:ext>
            </a:extLst>
          </p:cNvPr>
          <p:cNvSpPr>
            <a:spLocks noGrp="1"/>
          </p:cNvSpPr>
          <p:nvPr>
            <p:ph sz="quarter" idx="13"/>
          </p:nvPr>
        </p:nvSpPr>
        <p:spPr/>
        <p:txBody>
          <a:bodyPr/>
          <a:lstStyle/>
          <a:p>
            <a:r>
              <a:rPr lang="en-US" sz="1200" b="0">
                <a:latin typeface="+mj-lt"/>
              </a:rPr>
              <a:t>Week 10</a:t>
            </a:r>
          </a:p>
        </p:txBody>
      </p:sp>
      <p:sp>
        <p:nvSpPr>
          <p:cNvPr id="10" name="Content Placeholder 9">
            <a:extLst>
              <a:ext uri="{FF2B5EF4-FFF2-40B4-BE49-F238E27FC236}">
                <a16:creationId xmlns:a16="http://schemas.microsoft.com/office/drawing/2014/main" id="{E21C40EB-B004-EF95-0F81-4DE2F9329A5F}"/>
              </a:ext>
            </a:extLst>
          </p:cNvPr>
          <p:cNvSpPr>
            <a:spLocks noGrp="1"/>
          </p:cNvSpPr>
          <p:nvPr>
            <p:ph sz="quarter" idx="10"/>
          </p:nvPr>
        </p:nvSpPr>
        <p:spPr/>
        <p:txBody>
          <a:bodyPr/>
          <a:lstStyle/>
          <a:p>
            <a:r>
              <a:rPr lang="en-US" sz="1200" b="0">
                <a:latin typeface="+mj-lt"/>
              </a:rPr>
              <a:t>Week 11</a:t>
            </a:r>
          </a:p>
        </p:txBody>
      </p:sp>
      <p:sp>
        <p:nvSpPr>
          <p:cNvPr id="12" name="Content Placeholder 11">
            <a:extLst>
              <a:ext uri="{FF2B5EF4-FFF2-40B4-BE49-F238E27FC236}">
                <a16:creationId xmlns:a16="http://schemas.microsoft.com/office/drawing/2014/main" id="{567D82F8-070E-002D-EEC4-376523FCC6D6}"/>
              </a:ext>
            </a:extLst>
          </p:cNvPr>
          <p:cNvSpPr>
            <a:spLocks noGrp="1"/>
          </p:cNvSpPr>
          <p:nvPr>
            <p:ph sz="quarter" idx="15"/>
          </p:nvPr>
        </p:nvSpPr>
        <p:spPr/>
        <p:txBody>
          <a:bodyPr/>
          <a:lstStyle/>
          <a:p>
            <a:r>
              <a:rPr lang="en-US" sz="1200" b="0">
                <a:latin typeface="+mj-lt"/>
              </a:rPr>
              <a:t>Week 12</a:t>
            </a:r>
          </a:p>
        </p:txBody>
      </p:sp>
      <p:sp>
        <p:nvSpPr>
          <p:cNvPr id="14" name="Content Placeholder 13">
            <a:extLst>
              <a:ext uri="{FF2B5EF4-FFF2-40B4-BE49-F238E27FC236}">
                <a16:creationId xmlns:a16="http://schemas.microsoft.com/office/drawing/2014/main" id="{F2FA7728-6704-F5F8-0D5D-2E7DEA1C73F7}"/>
              </a:ext>
            </a:extLst>
          </p:cNvPr>
          <p:cNvSpPr>
            <a:spLocks noGrp="1"/>
          </p:cNvSpPr>
          <p:nvPr>
            <p:ph sz="quarter" idx="12"/>
          </p:nvPr>
        </p:nvSpPr>
        <p:spPr/>
        <p:txBody>
          <a:bodyPr/>
          <a:lstStyle/>
          <a:p>
            <a:r>
              <a:rPr lang="en-US" sz="1200" b="0">
                <a:latin typeface="+mj-lt"/>
              </a:rPr>
              <a:t>Week 13</a:t>
            </a:r>
          </a:p>
        </p:txBody>
      </p:sp>
      <p:sp>
        <p:nvSpPr>
          <p:cNvPr id="20" name="Content Placeholder 19">
            <a:extLst>
              <a:ext uri="{FF2B5EF4-FFF2-40B4-BE49-F238E27FC236}">
                <a16:creationId xmlns:a16="http://schemas.microsoft.com/office/drawing/2014/main" id="{5615A7B3-1BBD-DC2B-0202-23870C1B4E26}"/>
              </a:ext>
            </a:extLst>
          </p:cNvPr>
          <p:cNvSpPr>
            <a:spLocks noGrp="1"/>
          </p:cNvSpPr>
          <p:nvPr>
            <p:ph sz="quarter" idx="14"/>
          </p:nvPr>
        </p:nvSpPr>
        <p:spPr/>
        <p:txBody>
          <a:bodyPr/>
          <a:lstStyle/>
          <a:p>
            <a:r>
              <a:rPr lang="en-US" sz="1200" b="0">
                <a:latin typeface="+mj-lt"/>
              </a:rPr>
              <a:t>Week 14</a:t>
            </a:r>
          </a:p>
        </p:txBody>
      </p:sp>
      <p:sp>
        <p:nvSpPr>
          <p:cNvPr id="21" name="Rectangle 20">
            <a:extLst>
              <a:ext uri="{FF2B5EF4-FFF2-40B4-BE49-F238E27FC236}">
                <a16:creationId xmlns:a16="http://schemas.microsoft.com/office/drawing/2014/main" id="{25FFEC64-6D9E-5C12-4379-1BFAF4873589}"/>
              </a:ext>
            </a:extLst>
          </p:cNvPr>
          <p:cNvSpPr/>
          <p:nvPr/>
        </p:nvSpPr>
        <p:spPr bwMode="auto">
          <a:xfrm>
            <a:off x="3063372" y="766873"/>
            <a:ext cx="8938217" cy="430887"/>
          </a:xfrm>
          <a:prstGeom prst="rect">
            <a:avLst/>
          </a:prstGeom>
          <a:no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200" b="1">
                <a:solidFill>
                  <a:schemeClr val="tx2"/>
                </a:solidFill>
                <a:ea typeface="Segoe UI" pitchFamily="34" charset="0"/>
                <a:cs typeface="Segoe UI" pitchFamily="34" charset="0"/>
              </a:rPr>
              <a:t>*CSAs will continue to deliver based on existing Skills &amp; Accreditations while ramping in their new focus workloads</a:t>
            </a:r>
          </a:p>
        </p:txBody>
      </p:sp>
      <p:grpSp>
        <p:nvGrpSpPr>
          <p:cNvPr id="22" name="Group 21">
            <a:extLst>
              <a:ext uri="{FF2B5EF4-FFF2-40B4-BE49-F238E27FC236}">
                <a16:creationId xmlns:a16="http://schemas.microsoft.com/office/drawing/2014/main" id="{496D243B-BB10-F2AC-FE6A-E655693B060B}"/>
              </a:ext>
            </a:extLst>
          </p:cNvPr>
          <p:cNvGrpSpPr/>
          <p:nvPr/>
        </p:nvGrpSpPr>
        <p:grpSpPr>
          <a:xfrm>
            <a:off x="59315" y="20009"/>
            <a:ext cx="12073370" cy="348643"/>
            <a:chOff x="59315" y="20009"/>
            <a:chExt cx="12073370" cy="348643"/>
          </a:xfrm>
        </p:grpSpPr>
        <p:sp>
          <p:nvSpPr>
            <p:cNvPr id="24" name="Table 2 Cell 1, 1 to Text">
              <a:extLst>
                <a:ext uri="{FF2B5EF4-FFF2-40B4-BE49-F238E27FC236}">
                  <a16:creationId xmlns:a16="http://schemas.microsoft.com/office/drawing/2014/main" id="{F2256A89-4E72-F6FE-4BB7-437D291188D1}"/>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C808FC30-9AE8-7921-577D-80AB09C0BB4D}"/>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6" name="Table 2 Cell 3, 1 to Text">
              <a:extLst>
                <a:ext uri="{FF2B5EF4-FFF2-40B4-BE49-F238E27FC236}">
                  <a16:creationId xmlns:a16="http://schemas.microsoft.com/office/drawing/2014/main" id="{8D884747-AECE-3EB0-BC9C-8226E762A6AA}"/>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8" name="Table 2 Cell 4, 1 to Text">
              <a:extLst>
                <a:ext uri="{FF2B5EF4-FFF2-40B4-BE49-F238E27FC236}">
                  <a16:creationId xmlns:a16="http://schemas.microsoft.com/office/drawing/2014/main" id="{ADD19145-40EE-D495-D88A-91390B4DF7A4}"/>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30" name="Table 2 Cell 5, 1 to Text">
              <a:extLst>
                <a:ext uri="{FF2B5EF4-FFF2-40B4-BE49-F238E27FC236}">
                  <a16:creationId xmlns:a16="http://schemas.microsoft.com/office/drawing/2014/main" id="{C4B8C334-C94C-8CAF-BDEB-1CF8BEDBD4C6}"/>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2" name="Table 2 Cell 6, 1 to Text">
              <a:extLst>
                <a:ext uri="{FF2B5EF4-FFF2-40B4-BE49-F238E27FC236}">
                  <a16:creationId xmlns:a16="http://schemas.microsoft.com/office/drawing/2014/main" id="{015FFF77-8470-0AF9-BE13-6152FAF80D8B}"/>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34" name="Table 2 Cell 7, 1 to Text">
              <a:extLst>
                <a:ext uri="{FF2B5EF4-FFF2-40B4-BE49-F238E27FC236}">
                  <a16:creationId xmlns:a16="http://schemas.microsoft.com/office/drawing/2014/main" id="{C4E85D5F-AFC9-526B-8E8D-37185A931C8E}"/>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36" name="Table 2 Cell 1, 2 to Text">
              <a:extLst>
                <a:ext uri="{FF2B5EF4-FFF2-40B4-BE49-F238E27FC236}">
                  <a16:creationId xmlns:a16="http://schemas.microsoft.com/office/drawing/2014/main" id="{58706116-A8C9-FB0B-1823-5B721A14D675}"/>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38" name="Table 2 Cell 1, 3 to Text">
              <a:extLst>
                <a:ext uri="{FF2B5EF4-FFF2-40B4-BE49-F238E27FC236}">
                  <a16:creationId xmlns:a16="http://schemas.microsoft.com/office/drawing/2014/main" id="{452EA113-6F50-3C0F-7562-88609719ECF2}"/>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40" name="Table 2 Cell 1, 4 to Text">
              <a:extLst>
                <a:ext uri="{FF2B5EF4-FFF2-40B4-BE49-F238E27FC236}">
                  <a16:creationId xmlns:a16="http://schemas.microsoft.com/office/drawing/2014/main" id="{AED5DCEC-7C53-AA7B-EA2F-AA44888B4197}"/>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3 90 Days In Role</a:t>
              </a:r>
            </a:p>
          </p:txBody>
        </p:sp>
        <p:sp>
          <p:nvSpPr>
            <p:cNvPr id="41" name="Table 2 Cell 1, 5 to Text">
              <a:extLst>
                <a:ext uri="{FF2B5EF4-FFF2-40B4-BE49-F238E27FC236}">
                  <a16:creationId xmlns:a16="http://schemas.microsoft.com/office/drawing/2014/main" id="{1820A802-A125-10F9-7BBA-6ECAD242011E}"/>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42" name="Table 2 Cell 1, 4 to Text">
              <a:extLst>
                <a:ext uri="{FF2B5EF4-FFF2-40B4-BE49-F238E27FC236}">
                  <a16:creationId xmlns:a16="http://schemas.microsoft.com/office/drawing/2014/main" id="{C0AFB490-783B-FBE7-85CC-15EE7D7B524D}"/>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43" name="Table 2 Cell 1, 4 to Text">
              <a:extLst>
                <a:ext uri="{FF2B5EF4-FFF2-40B4-BE49-F238E27FC236}">
                  <a16:creationId xmlns:a16="http://schemas.microsoft.com/office/drawing/2014/main" id="{2C1F9A90-09AB-6BBC-17B7-2F6CF4FD7316}"/>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44" name="Table 2 Cell 1, 4 to Text">
              <a:extLst>
                <a:ext uri="{FF2B5EF4-FFF2-40B4-BE49-F238E27FC236}">
                  <a16:creationId xmlns:a16="http://schemas.microsoft.com/office/drawing/2014/main" id="{A7A42EE4-F155-C9EA-5486-0170CCA760AD}"/>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Tree>
    <p:custDataLst>
      <p:tags r:id="rId1"/>
    </p:custDataLst>
    <p:extLst>
      <p:ext uri="{BB962C8B-B14F-4D97-AF65-F5344CB8AC3E}">
        <p14:creationId xmlns:p14="http://schemas.microsoft.com/office/powerpoint/2010/main" val="276616496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3F8BF-8E1F-CCDE-EA51-95CA25475D54}"/>
            </a:ext>
          </a:extLst>
        </p:cNvPr>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F6572D0D-6CD6-CEA5-045B-FB59FB865532}"/>
              </a:ext>
              <a:ext uri="{C183D7F6-B498-43B3-948B-1728B52AA6E4}">
                <adec:decorative xmlns:adec="http://schemas.microsoft.com/office/drawing/2017/decorative" val="1"/>
              </a:ext>
            </a:extLst>
          </p:cNvPr>
          <p:cNvSpPr>
            <a:spLocks/>
          </p:cNvSpPr>
          <p:nvPr/>
        </p:nvSpPr>
        <p:spPr bwMode="auto">
          <a:xfrm>
            <a:off x="573876" y="1048993"/>
            <a:ext cx="3633645" cy="3269749"/>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35" name="Rectangle: Rounded Corners 34">
            <a:extLst>
              <a:ext uri="{FF2B5EF4-FFF2-40B4-BE49-F238E27FC236}">
                <a16:creationId xmlns:a16="http://schemas.microsoft.com/office/drawing/2014/main" id="{C7E79231-D38D-FF40-F271-606FB2EF111C}"/>
              </a:ext>
              <a:ext uri="{C183D7F6-B498-43B3-948B-1728B52AA6E4}">
                <adec:decorative xmlns:adec="http://schemas.microsoft.com/office/drawing/2017/decorative" val="1"/>
              </a:ext>
            </a:extLst>
          </p:cNvPr>
          <p:cNvSpPr>
            <a:spLocks/>
          </p:cNvSpPr>
          <p:nvPr/>
        </p:nvSpPr>
        <p:spPr bwMode="auto">
          <a:xfrm>
            <a:off x="4281553" y="1048993"/>
            <a:ext cx="3633645" cy="3269749"/>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37" name="Rectangle: Rounded Corners 36">
            <a:extLst>
              <a:ext uri="{FF2B5EF4-FFF2-40B4-BE49-F238E27FC236}">
                <a16:creationId xmlns:a16="http://schemas.microsoft.com/office/drawing/2014/main" id="{6ED5232B-D9E5-C080-DC7B-62C0C83E31DA}"/>
              </a:ext>
              <a:ext uri="{C183D7F6-B498-43B3-948B-1728B52AA6E4}">
                <adec:decorative xmlns:adec="http://schemas.microsoft.com/office/drawing/2017/decorative" val="1"/>
              </a:ext>
            </a:extLst>
          </p:cNvPr>
          <p:cNvSpPr>
            <a:spLocks/>
          </p:cNvSpPr>
          <p:nvPr/>
        </p:nvSpPr>
        <p:spPr bwMode="auto">
          <a:xfrm>
            <a:off x="7989230" y="1048993"/>
            <a:ext cx="3633645" cy="3269749"/>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pic>
        <p:nvPicPr>
          <p:cNvPr id="4" name="Picture 3">
            <a:extLst>
              <a:ext uri="{FF2B5EF4-FFF2-40B4-BE49-F238E27FC236}">
                <a16:creationId xmlns:a16="http://schemas.microsoft.com/office/drawing/2014/main" id="{0C2585FC-8BB1-E029-B5B7-2FDB6C439DA0}"/>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1499" y="449986"/>
            <a:ext cx="513894" cy="448010"/>
          </a:xfrm>
          <a:prstGeom prst="rect">
            <a:avLst/>
          </a:prstGeom>
        </p:spPr>
      </p:pic>
      <p:sp>
        <p:nvSpPr>
          <p:cNvPr id="3" name="Title 2">
            <a:extLst>
              <a:ext uri="{FF2B5EF4-FFF2-40B4-BE49-F238E27FC236}">
                <a16:creationId xmlns:a16="http://schemas.microsoft.com/office/drawing/2014/main" id="{8A1EB86F-7AE4-6329-EFF5-0747689E6BAF}"/>
              </a:ext>
            </a:extLst>
          </p:cNvPr>
          <p:cNvSpPr>
            <a:spLocks noGrp="1"/>
          </p:cNvSpPr>
          <p:nvPr>
            <p:ph type="title"/>
          </p:nvPr>
        </p:nvSpPr>
        <p:spPr>
          <a:xfrm>
            <a:off x="1236663" y="457200"/>
            <a:ext cx="11049000" cy="492125"/>
          </a:xfrm>
        </p:spPr>
        <p:txBody>
          <a:bodyPr/>
          <a:lstStyle/>
          <a:p>
            <a:r>
              <a:rPr lang="en-US">
                <a:solidFill>
                  <a:schemeClr val="accent1"/>
                </a:solidFill>
              </a:rPr>
              <a:t>Cloud &amp; AI Platforms FY26 Skilling Priorities &amp; Strategy</a:t>
            </a:r>
          </a:p>
        </p:txBody>
      </p:sp>
      <p:sp>
        <p:nvSpPr>
          <p:cNvPr id="23" name="Rectangle: Rounded Corners 22">
            <a:extLst>
              <a:ext uri="{FF2B5EF4-FFF2-40B4-BE49-F238E27FC236}">
                <a16:creationId xmlns:a16="http://schemas.microsoft.com/office/drawing/2014/main" id="{815BD008-4BB6-38B9-8A3B-2CD7623E7295}"/>
              </a:ext>
              <a:ext uri="{C183D7F6-B498-43B3-948B-1728B52AA6E4}">
                <adec:decorative xmlns:adec="http://schemas.microsoft.com/office/drawing/2017/decorative" val="1"/>
              </a:ext>
            </a:extLst>
          </p:cNvPr>
          <p:cNvSpPr/>
          <p:nvPr/>
        </p:nvSpPr>
        <p:spPr bwMode="auto">
          <a:xfrm>
            <a:off x="574159" y="4385552"/>
            <a:ext cx="11048999" cy="867001"/>
          </a:xfrm>
          <a:prstGeom prst="roundRect">
            <a:avLst>
              <a:gd name="adj" fmla="val 1423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24" name="Rectangle: Rounded Corners 23">
            <a:extLst>
              <a:ext uri="{FF2B5EF4-FFF2-40B4-BE49-F238E27FC236}">
                <a16:creationId xmlns:a16="http://schemas.microsoft.com/office/drawing/2014/main" id="{5DC73CE0-F75E-0D93-03DC-5B50D9F747E4}"/>
              </a:ext>
              <a:ext uri="{C183D7F6-B498-43B3-948B-1728B52AA6E4}">
                <adec:decorative xmlns:adec="http://schemas.microsoft.com/office/drawing/2017/decorative" val="1"/>
              </a:ext>
            </a:extLst>
          </p:cNvPr>
          <p:cNvSpPr>
            <a:spLocks/>
          </p:cNvSpPr>
          <p:nvPr/>
        </p:nvSpPr>
        <p:spPr bwMode="auto">
          <a:xfrm>
            <a:off x="574159" y="4427697"/>
            <a:ext cx="11048999" cy="1840863"/>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31" name="Text Placeholder 2">
            <a:extLst>
              <a:ext uri="{FF2B5EF4-FFF2-40B4-BE49-F238E27FC236}">
                <a16:creationId xmlns:a16="http://schemas.microsoft.com/office/drawing/2014/main" id="{5E9DB36C-6264-DD0F-2AEF-3E9BD1D12EBB}"/>
              </a:ext>
            </a:extLst>
          </p:cNvPr>
          <p:cNvSpPr txBox="1">
            <a:spLocks/>
          </p:cNvSpPr>
          <p:nvPr/>
        </p:nvSpPr>
        <p:spPr>
          <a:xfrm>
            <a:off x="761542" y="5237121"/>
            <a:ext cx="1422972" cy="923330"/>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Evaluate Existing Skills with Manager &amp; Define “New Focus” Skills, 1 new skill minimum</a:t>
            </a:r>
          </a:p>
        </p:txBody>
      </p:sp>
      <p:sp>
        <p:nvSpPr>
          <p:cNvPr id="38" name="Rectangle: Rounded Corners 37">
            <a:extLst>
              <a:ext uri="{FF2B5EF4-FFF2-40B4-BE49-F238E27FC236}">
                <a16:creationId xmlns:a16="http://schemas.microsoft.com/office/drawing/2014/main" id="{41F46D2F-F449-5069-AF3B-0600ED359061}"/>
              </a:ext>
            </a:extLst>
          </p:cNvPr>
          <p:cNvSpPr/>
          <p:nvPr/>
        </p:nvSpPr>
        <p:spPr bwMode="auto">
          <a:xfrm>
            <a:off x="8086349" y="1136983"/>
            <a:ext cx="3439406" cy="564817"/>
          </a:xfrm>
          <a:prstGeom prst="roundRect">
            <a:avLst>
              <a:gd name="adj" fmla="val 1544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Accredit on VBD titles and </a:t>
            </a:r>
            <a:b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b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Enhanced Solution Leads</a:t>
            </a:r>
          </a:p>
        </p:txBody>
      </p:sp>
      <p:sp>
        <p:nvSpPr>
          <p:cNvPr id="44" name="Rectangle: Rounded Corners 43">
            <a:extLst>
              <a:ext uri="{FF2B5EF4-FFF2-40B4-BE49-F238E27FC236}">
                <a16:creationId xmlns:a16="http://schemas.microsoft.com/office/drawing/2014/main" id="{3F485508-AAB6-0A4C-241E-82A934228EB3}"/>
              </a:ext>
            </a:extLst>
          </p:cNvPr>
          <p:cNvSpPr/>
          <p:nvPr/>
        </p:nvSpPr>
        <p:spPr bwMode="auto">
          <a:xfrm>
            <a:off x="4376298" y="1136983"/>
            <a:ext cx="3439406" cy="564817"/>
          </a:xfrm>
          <a:prstGeom prst="roundRect">
            <a:avLst>
              <a:gd name="adj" fmla="val 1544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Maintain your technical and </a:t>
            </a:r>
            <a:b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b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consultative Skills</a:t>
            </a:r>
          </a:p>
        </p:txBody>
      </p:sp>
      <p:sp>
        <p:nvSpPr>
          <p:cNvPr id="45" name="Rectangle: Rounded Corners 44">
            <a:extLst>
              <a:ext uri="{FF2B5EF4-FFF2-40B4-BE49-F238E27FC236}">
                <a16:creationId xmlns:a16="http://schemas.microsoft.com/office/drawing/2014/main" id="{2690C3E8-2721-B8EA-D4D6-5F88C5FDC120}"/>
              </a:ext>
            </a:extLst>
          </p:cNvPr>
          <p:cNvSpPr/>
          <p:nvPr/>
        </p:nvSpPr>
        <p:spPr bwMode="auto">
          <a:xfrm>
            <a:off x="670995" y="1136983"/>
            <a:ext cx="3439406" cy="564817"/>
          </a:xfrm>
          <a:prstGeom prst="roundRect">
            <a:avLst>
              <a:gd name="adj" fmla="val 1544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Evolve your Technical Intensity</a:t>
            </a:r>
            <a:b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br>
            <a:r>
              <a:rPr kumimoji="0" lang="en-US" sz="14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and expand your Skill Set</a:t>
            </a:r>
          </a:p>
        </p:txBody>
      </p:sp>
      <p:sp>
        <p:nvSpPr>
          <p:cNvPr id="15" name="TextBox 14">
            <a:extLst>
              <a:ext uri="{FF2B5EF4-FFF2-40B4-BE49-F238E27FC236}">
                <a16:creationId xmlns:a16="http://schemas.microsoft.com/office/drawing/2014/main" id="{93B3E4C6-911A-5162-C1FF-0799CBCBD642}"/>
              </a:ext>
            </a:extLst>
          </p:cNvPr>
          <p:cNvSpPr txBox="1"/>
          <p:nvPr/>
        </p:nvSpPr>
        <p:spPr>
          <a:xfrm>
            <a:off x="4440306" y="1779497"/>
            <a:ext cx="3258312" cy="218521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Regularly update your skills in Engage 360 </a:t>
            </a:r>
            <a:br>
              <a:rPr kumimoji="0" lang="en-US" sz="12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200" b="0" i="0" u="none" strike="noStrike" kern="1200" cap="none" spc="0" normalizeH="0" baseline="0" noProof="0">
                <a:ln>
                  <a:noFill/>
                </a:ln>
                <a:solidFill>
                  <a:srgbClr val="0078D4"/>
                </a:solidFill>
                <a:effectLst/>
                <a:uLnTx/>
                <a:uFillTx/>
                <a:latin typeface="Segoe Sans Text"/>
                <a:ea typeface="+mn-ea"/>
                <a:cs typeface="+mn-cs"/>
                <a:hlinkClick r:id="rId4">
                  <a:extLst>
                    <a:ext uri="{A12FA001-AC4F-418D-AE19-62706E023703}">
                      <ahyp:hlinkClr xmlns:ahyp="http://schemas.microsoft.com/office/drawing/2018/hyperlinkcolor" val="tx"/>
                    </a:ext>
                  </a:extLst>
                </a:hlinkClick>
              </a:rPr>
              <a:t>Skill Workspace</a:t>
            </a:r>
            <a:r>
              <a:rPr kumimoji="0" lang="en-US" sz="1200" b="0" i="0" u="none" strike="noStrike" kern="1200" cap="none" spc="0" normalizeH="0" baseline="0" noProof="0">
                <a:ln>
                  <a:noFill/>
                </a:ln>
                <a:solidFill>
                  <a:srgbClr val="0078D4"/>
                </a:solidFill>
                <a:effectLst/>
                <a:uLnTx/>
                <a:uFillTx/>
                <a:latin typeface="Segoe Sans Text"/>
                <a:ea typeface="+mn-ea"/>
                <a:cs typeface="+mn-cs"/>
              </a:rPr>
              <a:t> </a:t>
            </a:r>
            <a:r>
              <a:rPr kumimoji="0" lang="en-US" sz="1200" b="0" i="0" u="none" strike="noStrike" kern="1200" cap="none" spc="0" normalizeH="0" baseline="0" noProof="0">
                <a:ln>
                  <a:noFill/>
                </a:ln>
                <a:solidFill>
                  <a:srgbClr val="000000"/>
                </a:solidFill>
                <a:effectLst/>
                <a:uLnTx/>
                <a:uFillTx/>
                <a:latin typeface="Segoe Sans Text"/>
                <a:ea typeface="+mn-ea"/>
                <a:cs typeface="+mn-cs"/>
              </a:rPr>
              <a:t>to assure assignments to customer requests,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Skill Proficiency % </a:t>
            </a:r>
            <a:r>
              <a:rPr kumimoji="0" lang="en-US" sz="1200" b="0" i="0" u="none" strike="noStrike" kern="1200" cap="none" spc="0" normalizeH="0" baseline="0" noProof="0">
                <a:ln>
                  <a:noFill/>
                </a:ln>
                <a:solidFill>
                  <a:srgbClr val="000000"/>
                </a:solidFill>
                <a:effectLst/>
                <a:uLnTx/>
                <a:uFillTx/>
                <a:latin typeface="Segoe Sans Text"/>
                <a:ea typeface="+mn-ea"/>
                <a:cs typeface="+mn-cs"/>
              </a:rPr>
              <a:t>tracked for each area according to Customer Deman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Utilize Co-Pilot enabled skilling </a:t>
            </a:r>
            <a:r>
              <a:rPr kumimoji="0" lang="en-US" sz="1200" b="0" i="0" u="none" strike="noStrike" kern="1200" cap="none" spc="0" normalizeH="0" baseline="0" noProof="0">
                <a:ln>
                  <a:noFill/>
                </a:ln>
                <a:solidFill>
                  <a:srgbClr val="000000"/>
                </a:solidFill>
                <a:effectLst/>
                <a:uLnTx/>
                <a:uFillTx/>
                <a:latin typeface="Segoe Sans Text"/>
                <a:ea typeface="+mn-ea"/>
                <a:cs typeface="+mn-cs"/>
              </a:rPr>
              <a:t>to improve skill level from Foundational/Intermediate to Advanced/Expert for your related skills in scope to cover customer deman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onsume Learning through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Quarterly Skilling Plan Updates</a:t>
            </a:r>
            <a:r>
              <a:rPr kumimoji="0" lang="en-US" sz="1200" b="0" i="0" u="none" strike="noStrike" kern="1200" cap="none" spc="0" normalizeH="0" baseline="0" noProof="0">
                <a:ln>
                  <a:noFill/>
                </a:ln>
                <a:solidFill>
                  <a:srgbClr val="000000"/>
                </a:solidFill>
                <a:effectLst/>
                <a:uLnTx/>
                <a:uFillTx/>
                <a:latin typeface="Segoe Sans Text"/>
                <a:ea typeface="+mn-ea"/>
                <a:cs typeface="+mn-cs"/>
              </a:rPr>
              <a:t> to stay up to date. Assignment based on qualifier and available in </a:t>
            </a:r>
            <a:r>
              <a:rPr kumimoji="0" lang="en-US" sz="1200" b="0" i="0" u="none" strike="noStrike" kern="1200" cap="none" spc="0" normalizeH="0" baseline="0" noProof="0">
                <a:ln>
                  <a:noFill/>
                </a:ln>
                <a:solidFill>
                  <a:srgbClr val="0078D4"/>
                </a:solidFill>
                <a:effectLst/>
                <a:uLnTx/>
                <a:uFillTx/>
                <a:latin typeface="Segoe Sans Text"/>
                <a:ea typeface="+mn-ea"/>
                <a:cs typeface="+mn-cs"/>
                <a:hlinkClick r:id="rId5">
                  <a:extLst>
                    <a:ext uri="{A12FA001-AC4F-418D-AE19-62706E023703}">
                      <ahyp:hlinkClr xmlns:ahyp="http://schemas.microsoft.com/office/drawing/2018/hyperlinkcolor" val="tx"/>
                    </a:ext>
                  </a:extLst>
                </a:hlinkClick>
              </a:rPr>
              <a:t>Viva Learning</a:t>
            </a:r>
            <a:endParaRPr kumimoji="0" lang="en-US" sz="1200" b="0" i="0" u="none" strike="noStrike" kern="1200" cap="none" spc="0" normalizeH="0" baseline="0" noProof="0">
              <a:ln>
                <a:noFill/>
              </a:ln>
              <a:solidFill>
                <a:srgbClr val="0078D4"/>
              </a:solidFill>
              <a:effectLst/>
              <a:uLnTx/>
              <a:uFillTx/>
              <a:latin typeface="Segoe Sans Text"/>
              <a:ea typeface="+mn-ea"/>
              <a:cs typeface="+mn-cs"/>
            </a:endParaRPr>
          </a:p>
        </p:txBody>
      </p:sp>
      <p:sp>
        <p:nvSpPr>
          <p:cNvPr id="52" name="TextBox 51">
            <a:extLst>
              <a:ext uri="{FF2B5EF4-FFF2-40B4-BE49-F238E27FC236}">
                <a16:creationId xmlns:a16="http://schemas.microsoft.com/office/drawing/2014/main" id="{0B26D456-DA18-3D1B-B9A4-A9BFA5BA6D52}"/>
              </a:ext>
            </a:extLst>
          </p:cNvPr>
          <p:cNvSpPr txBox="1"/>
          <p:nvPr/>
        </p:nvSpPr>
        <p:spPr>
          <a:xfrm>
            <a:off x="761542" y="1779497"/>
            <a:ext cx="3258312" cy="252376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omplete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Skilling Plans </a:t>
            </a:r>
            <a:r>
              <a:rPr kumimoji="0" lang="en-US" sz="1200" b="0" i="0" u="none" strike="noStrike" kern="1200" cap="none" spc="0" normalizeH="0" baseline="0" noProof="0">
                <a:ln>
                  <a:noFill/>
                </a:ln>
                <a:solidFill>
                  <a:srgbClr val="000000"/>
                </a:solidFill>
                <a:effectLst/>
                <a:uLnTx/>
                <a:uFillTx/>
                <a:latin typeface="Segoe Sans Text"/>
                <a:ea typeface="+mn-ea"/>
                <a:cs typeface="+mn-cs"/>
              </a:rPr>
              <a:t>according to your Solution Play, Role and Qualifi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Strengthen your primary technical skills in Level 300 &amp; 400 (L300/400) Proficienc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Expand your Skills profile with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New Focus” </a:t>
            </a:r>
            <a:r>
              <a:rPr kumimoji="0" lang="en-US" sz="1200" b="0" i="0" u="none" strike="noStrike" kern="1200" cap="none" spc="0" normalizeH="0" baseline="0" noProof="0">
                <a:ln>
                  <a:noFill/>
                </a:ln>
                <a:solidFill>
                  <a:srgbClr val="000000"/>
                </a:solidFill>
                <a:effectLst/>
                <a:uLnTx/>
                <a:uFillTx/>
                <a:latin typeface="Segoe Sans Text"/>
                <a:ea typeface="+mn-ea"/>
                <a:cs typeface="+mn-cs"/>
              </a:rPr>
              <a:t>technical Skills to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L300 by end of H1</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omplement your Skillset with profound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onsultative skills </a:t>
            </a:r>
            <a:r>
              <a:rPr kumimoji="0" lang="en-US" sz="1200" b="0" i="0" u="none" strike="noStrike" kern="1200" cap="none" spc="0" normalizeH="0" baseline="0" noProof="0">
                <a:ln>
                  <a:noFill/>
                </a:ln>
                <a:solidFill>
                  <a:srgbClr val="000000"/>
                </a:solidFill>
                <a:effectLst/>
                <a:uLnTx/>
                <a:uFillTx/>
                <a:latin typeface="Segoe Sans Text"/>
                <a:ea typeface="+mn-ea"/>
                <a:cs typeface="+mn-cs"/>
              </a:rPr>
              <a:t>assuring Customer Satisfaction and Job 2 pipeline, according to Role Capability Map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Complete role aligned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Certifications</a:t>
            </a:r>
            <a:r>
              <a:rPr kumimoji="0" lang="en-US" sz="1200" b="0" i="0" u="none" strike="noStrike" kern="1200" cap="none" spc="0" normalizeH="0" baseline="0" noProof="0">
                <a:ln>
                  <a:noFill/>
                </a:ln>
                <a:solidFill>
                  <a:srgbClr val="000000"/>
                </a:solidFill>
                <a:effectLst/>
                <a:uLnTx/>
                <a:uFillTx/>
                <a:latin typeface="Segoe Sans Text"/>
                <a:ea typeface="+mn-ea"/>
                <a:cs typeface="+mn-cs"/>
              </a:rPr>
              <a:t> in skilling plans to ensure quality delivery of our solutions</a:t>
            </a:r>
          </a:p>
        </p:txBody>
      </p:sp>
      <p:sp>
        <p:nvSpPr>
          <p:cNvPr id="53" name="TextBox 52">
            <a:extLst>
              <a:ext uri="{FF2B5EF4-FFF2-40B4-BE49-F238E27FC236}">
                <a16:creationId xmlns:a16="http://schemas.microsoft.com/office/drawing/2014/main" id="{889499B5-4039-30E1-BC1D-B05396C2FB7B}"/>
              </a:ext>
            </a:extLst>
          </p:cNvPr>
          <p:cNvSpPr txBox="1"/>
          <p:nvPr/>
        </p:nvSpPr>
        <p:spPr>
          <a:xfrm>
            <a:off x="8172146" y="1779497"/>
            <a:ext cx="3258312" cy="226215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Demonstrate Delivery Readiness </a:t>
            </a:r>
            <a:r>
              <a:rPr kumimoji="0" lang="en-US" sz="1200" b="0" i="0" u="none" strike="noStrike" kern="1200" cap="none" spc="0" normalizeH="0" baseline="0" noProof="0">
                <a:ln>
                  <a:noFill/>
                </a:ln>
                <a:solidFill>
                  <a:srgbClr val="000000"/>
                </a:solidFill>
                <a:effectLst/>
                <a:uLnTx/>
                <a:uFillTx/>
                <a:latin typeface="Segoe Sans Text"/>
                <a:ea typeface="+mn-ea"/>
                <a:cs typeface="+mn-cs"/>
              </a:rPr>
              <a:t>with VBD and ES Lead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ccredit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Perform </a:t>
            </a:r>
            <a:r>
              <a:rPr kumimoji="0" lang="en-US" sz="1200" b="0" i="0" u="none" strike="noStrike" kern="1200" cap="none" spc="0" normalizeH="0" baseline="0" noProof="0">
                <a:ln>
                  <a:noFill/>
                </a:ln>
                <a:solidFill>
                  <a:srgbClr val="000000"/>
                </a:solidFill>
                <a:effectLst/>
                <a:uLnTx/>
                <a:uFillTx/>
                <a:latin typeface="Segoe Sans Text Semibold"/>
                <a:ea typeface="+mn-ea"/>
                <a:cs typeface="+mn-cs"/>
              </a:rPr>
              <a:t>accreditation on VBDs </a:t>
            </a:r>
            <a:r>
              <a:rPr kumimoji="0" lang="en-US" sz="1200" b="0" i="0" u="none" strike="noStrike" kern="1200" cap="none" spc="0" normalizeH="0" baseline="0" noProof="0">
                <a:ln>
                  <a:noFill/>
                </a:ln>
                <a:solidFill>
                  <a:srgbClr val="000000"/>
                </a:solidFill>
                <a:effectLst/>
                <a:uLnTx/>
                <a:uFillTx/>
                <a:latin typeface="Segoe Sans Text"/>
                <a:ea typeface="+mn-ea"/>
                <a:cs typeface="+mn-cs"/>
              </a:rPr>
              <a:t>according to your Skilling Plan, and VBD Journey across MCEM Phases, including upcoming VBD titles and VAS Offerings in FY26</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Improve Accreditation Coverage to a minimum of 40% for each area and Team by end of H1</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mn-cs"/>
              </a:rPr>
              <a:t>Plan for sufficient EDE Lead accreditations in each area – according to customer demand and trend analysis</a:t>
            </a:r>
          </a:p>
        </p:txBody>
      </p:sp>
      <p:sp>
        <p:nvSpPr>
          <p:cNvPr id="54" name="Text Placeholder 2">
            <a:extLst>
              <a:ext uri="{FF2B5EF4-FFF2-40B4-BE49-F238E27FC236}">
                <a16:creationId xmlns:a16="http://schemas.microsoft.com/office/drawing/2014/main" id="{A85D2177-A397-FCE6-8E82-82A14F8C6C00}"/>
              </a:ext>
            </a:extLst>
          </p:cNvPr>
          <p:cNvSpPr txBox="1">
            <a:spLocks/>
          </p:cNvSpPr>
          <p:nvPr/>
        </p:nvSpPr>
        <p:spPr>
          <a:xfrm>
            <a:off x="2608637" y="5237121"/>
            <a:ext cx="1422972" cy="923330"/>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Consume trainings for “New Focus” Skills to L300+ by end of H1, tracked through skills shift</a:t>
            </a:r>
          </a:p>
        </p:txBody>
      </p:sp>
      <p:sp>
        <p:nvSpPr>
          <p:cNvPr id="55" name="Text Placeholder 2">
            <a:extLst>
              <a:ext uri="{FF2B5EF4-FFF2-40B4-BE49-F238E27FC236}">
                <a16:creationId xmlns:a16="http://schemas.microsoft.com/office/drawing/2014/main" id="{48C9B5B6-D190-B128-2198-B2605275618B}"/>
              </a:ext>
            </a:extLst>
          </p:cNvPr>
          <p:cNvSpPr txBox="1">
            <a:spLocks/>
          </p:cNvSpPr>
          <p:nvPr/>
        </p:nvSpPr>
        <p:spPr>
          <a:xfrm>
            <a:off x="4455732" y="5237121"/>
            <a:ext cx="1422972" cy="738664"/>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Strengthen role aligned Skills in Primary Technical L300 &amp; 400</a:t>
            </a:r>
          </a:p>
        </p:txBody>
      </p:sp>
      <p:sp>
        <p:nvSpPr>
          <p:cNvPr id="56" name="Text Placeholder 2">
            <a:extLst>
              <a:ext uri="{FF2B5EF4-FFF2-40B4-BE49-F238E27FC236}">
                <a16:creationId xmlns:a16="http://schemas.microsoft.com/office/drawing/2014/main" id="{92290F7A-FB28-2545-D7A4-87A7F6AA932E}"/>
              </a:ext>
            </a:extLst>
          </p:cNvPr>
          <p:cNvSpPr txBox="1">
            <a:spLocks/>
          </p:cNvSpPr>
          <p:nvPr/>
        </p:nvSpPr>
        <p:spPr>
          <a:xfrm>
            <a:off x="6302827" y="5237121"/>
            <a:ext cx="1422972" cy="738664"/>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Deep Dive into Cloud Accelerate Factory + Azure Unified ES Offers</a:t>
            </a:r>
          </a:p>
        </p:txBody>
      </p:sp>
      <p:sp>
        <p:nvSpPr>
          <p:cNvPr id="57" name="Text Placeholder 2">
            <a:extLst>
              <a:ext uri="{FF2B5EF4-FFF2-40B4-BE49-F238E27FC236}">
                <a16:creationId xmlns:a16="http://schemas.microsoft.com/office/drawing/2014/main" id="{837EE61B-35C5-F882-5E97-6D277F3BD514}"/>
              </a:ext>
            </a:extLst>
          </p:cNvPr>
          <p:cNvSpPr txBox="1">
            <a:spLocks/>
          </p:cNvSpPr>
          <p:nvPr/>
        </p:nvSpPr>
        <p:spPr>
          <a:xfrm>
            <a:off x="8149922" y="5237121"/>
            <a:ext cx="1422972" cy="553998"/>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Get accredited for new Azure Unified ES Offers/ VBDs</a:t>
            </a:r>
          </a:p>
        </p:txBody>
      </p:sp>
      <p:sp>
        <p:nvSpPr>
          <p:cNvPr id="58" name="Text Placeholder 2">
            <a:extLst>
              <a:ext uri="{FF2B5EF4-FFF2-40B4-BE49-F238E27FC236}">
                <a16:creationId xmlns:a16="http://schemas.microsoft.com/office/drawing/2014/main" id="{FA076693-AC28-D337-0BB2-5E86A49EA8BB}"/>
              </a:ext>
            </a:extLst>
          </p:cNvPr>
          <p:cNvSpPr txBox="1">
            <a:spLocks/>
          </p:cNvSpPr>
          <p:nvPr/>
        </p:nvSpPr>
        <p:spPr>
          <a:xfrm>
            <a:off x="9997015" y="5237121"/>
            <a:ext cx="1422972" cy="738664"/>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200" b="0" i="0" u="none" strike="noStrike" kern="0" cap="none" spc="0" normalizeH="0" baseline="0" noProof="0">
                <a:ln/>
                <a:solidFill>
                  <a:srgbClr val="0078D4"/>
                </a:solidFill>
                <a:effectLst/>
                <a:uLnTx/>
                <a:uFillTx/>
                <a:latin typeface="Segoe Sans Text Semibold"/>
                <a:ea typeface="+mn-ea"/>
                <a:cs typeface="Segoe UI Semilight" panose="020B0402040204020203" pitchFamily="34" charset="0"/>
              </a:rPr>
              <a:t>Update your Skills Profile on a monthly/quarterly basis</a:t>
            </a:r>
          </a:p>
        </p:txBody>
      </p:sp>
      <p:sp>
        <p:nvSpPr>
          <p:cNvPr id="60" name="Rectangle 59">
            <a:extLst>
              <a:ext uri="{FF2B5EF4-FFF2-40B4-BE49-F238E27FC236}">
                <a16:creationId xmlns:a16="http://schemas.microsoft.com/office/drawing/2014/main" id="{E834C833-301C-7B98-09B1-7DDDE739A897}"/>
              </a:ext>
            </a:extLst>
          </p:cNvPr>
          <p:cNvSpPr/>
          <p:nvPr/>
        </p:nvSpPr>
        <p:spPr bwMode="auto">
          <a:xfrm>
            <a:off x="568842" y="4562076"/>
            <a:ext cx="11051658" cy="52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Semibold"/>
                <a:ea typeface="Segoe UI" pitchFamily="34" charset="0"/>
                <a:cs typeface="Segoe Sans Text" pitchFamily="2" charset="0"/>
              </a:rPr>
              <a:t>Foundational Actions for a Connected Learner Journey</a:t>
            </a:r>
          </a:p>
        </p:txBody>
      </p:sp>
      <p:cxnSp>
        <p:nvCxnSpPr>
          <p:cNvPr id="62" name="Straight Connector 61">
            <a:extLst>
              <a:ext uri="{FF2B5EF4-FFF2-40B4-BE49-F238E27FC236}">
                <a16:creationId xmlns:a16="http://schemas.microsoft.com/office/drawing/2014/main" id="{F7D685A9-7883-17D9-4628-946D83E72A7C}"/>
              </a:ext>
              <a:ext uri="{C183D7F6-B498-43B3-948B-1728B52AA6E4}">
                <adec:decorative xmlns:adec="http://schemas.microsoft.com/office/drawing/2017/decorative" val="1"/>
              </a:ext>
            </a:extLst>
          </p:cNvPr>
          <p:cNvCxnSpPr/>
          <p:nvPr/>
        </p:nvCxnSpPr>
        <p:spPr>
          <a:xfrm>
            <a:off x="2396575" y="5237121"/>
            <a:ext cx="0" cy="738664"/>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B27B140-55F9-AAED-2F96-63788702F60B}"/>
              </a:ext>
              <a:ext uri="{C183D7F6-B498-43B3-948B-1728B52AA6E4}">
                <adec:decorative xmlns:adec="http://schemas.microsoft.com/office/drawing/2017/decorative" val="1"/>
              </a:ext>
            </a:extLst>
          </p:cNvPr>
          <p:cNvCxnSpPr/>
          <p:nvPr/>
        </p:nvCxnSpPr>
        <p:spPr>
          <a:xfrm>
            <a:off x="4243669" y="5237121"/>
            <a:ext cx="0" cy="738664"/>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F7984B5-E9F8-0240-4700-96E6D06E9C0F}"/>
              </a:ext>
              <a:ext uri="{C183D7F6-B498-43B3-948B-1728B52AA6E4}">
                <adec:decorative xmlns:adec="http://schemas.microsoft.com/office/drawing/2017/decorative" val="1"/>
              </a:ext>
            </a:extLst>
          </p:cNvPr>
          <p:cNvCxnSpPr/>
          <p:nvPr/>
        </p:nvCxnSpPr>
        <p:spPr>
          <a:xfrm>
            <a:off x="6090763" y="5237121"/>
            <a:ext cx="0" cy="738664"/>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047C38D-2F26-923C-D821-92B7A2E3D941}"/>
              </a:ext>
              <a:ext uri="{C183D7F6-B498-43B3-948B-1728B52AA6E4}">
                <adec:decorative xmlns:adec="http://schemas.microsoft.com/office/drawing/2017/decorative" val="1"/>
              </a:ext>
            </a:extLst>
          </p:cNvPr>
          <p:cNvCxnSpPr/>
          <p:nvPr/>
        </p:nvCxnSpPr>
        <p:spPr>
          <a:xfrm>
            <a:off x="7937857" y="5237121"/>
            <a:ext cx="0" cy="738664"/>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3551441-A7A0-35BA-39C2-51A306D3B66D}"/>
              </a:ext>
              <a:ext uri="{C183D7F6-B498-43B3-948B-1728B52AA6E4}">
                <adec:decorative xmlns:adec="http://schemas.microsoft.com/office/drawing/2017/decorative" val="1"/>
              </a:ext>
            </a:extLst>
          </p:cNvPr>
          <p:cNvCxnSpPr/>
          <p:nvPr/>
        </p:nvCxnSpPr>
        <p:spPr>
          <a:xfrm>
            <a:off x="9784951" y="5237121"/>
            <a:ext cx="0" cy="738664"/>
          </a:xfrm>
          <a:prstGeom prst="line">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FFBD910-8D14-7FF5-8EC6-733A93089606}"/>
              </a:ext>
            </a:extLst>
          </p:cNvPr>
          <p:cNvGrpSpPr/>
          <p:nvPr/>
        </p:nvGrpSpPr>
        <p:grpSpPr>
          <a:xfrm>
            <a:off x="59315" y="20009"/>
            <a:ext cx="12073370" cy="348643"/>
            <a:chOff x="59315" y="20009"/>
            <a:chExt cx="12073370" cy="348643"/>
          </a:xfrm>
        </p:grpSpPr>
        <p:sp>
          <p:nvSpPr>
            <p:cNvPr id="11" name="Table 2 Cell 1, 1 to Text">
              <a:extLst>
                <a:ext uri="{FF2B5EF4-FFF2-40B4-BE49-F238E27FC236}">
                  <a16:creationId xmlns:a16="http://schemas.microsoft.com/office/drawing/2014/main" id="{2F3CBF60-B8A9-2333-FDFD-AF90670822A2}"/>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17" name="Table 2 Cell 2, 1 to Text">
              <a:extLst>
                <a:ext uri="{FF2B5EF4-FFF2-40B4-BE49-F238E27FC236}">
                  <a16:creationId xmlns:a16="http://schemas.microsoft.com/office/drawing/2014/main" id="{DB24E79F-67CD-A431-60DE-85A49617FAAA}"/>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0" name="Table 2 Cell 3, 1 to Text">
              <a:extLst>
                <a:ext uri="{FF2B5EF4-FFF2-40B4-BE49-F238E27FC236}">
                  <a16:creationId xmlns:a16="http://schemas.microsoft.com/office/drawing/2014/main" id="{B55B5C91-A195-103F-521F-F2249AF56288}"/>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2" name="Table 2 Cell 4, 1 to Text">
              <a:extLst>
                <a:ext uri="{FF2B5EF4-FFF2-40B4-BE49-F238E27FC236}">
                  <a16:creationId xmlns:a16="http://schemas.microsoft.com/office/drawing/2014/main" id="{DD7E2D3C-7720-9AA0-A87E-E931DB4C0712}"/>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5" name="Table 2 Cell 5, 1 to Text">
              <a:extLst>
                <a:ext uri="{FF2B5EF4-FFF2-40B4-BE49-F238E27FC236}">
                  <a16:creationId xmlns:a16="http://schemas.microsoft.com/office/drawing/2014/main" id="{40DBEA79-BD45-1DEB-13DE-4FC2789DEC66}"/>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26" name="Table 2 Cell 6, 1 to Text">
              <a:extLst>
                <a:ext uri="{FF2B5EF4-FFF2-40B4-BE49-F238E27FC236}">
                  <a16:creationId xmlns:a16="http://schemas.microsoft.com/office/drawing/2014/main" id="{A629D186-91E3-3705-1386-3D66E840C040}"/>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27" name="Table 2 Cell 7, 1 to Text">
              <a:extLst>
                <a:ext uri="{FF2B5EF4-FFF2-40B4-BE49-F238E27FC236}">
                  <a16:creationId xmlns:a16="http://schemas.microsoft.com/office/drawing/2014/main" id="{925DA3F2-C3E9-F056-CB48-4DEA29613EB5}"/>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28" name="Table 2 Cell 1, 2 to Text">
              <a:extLst>
                <a:ext uri="{FF2B5EF4-FFF2-40B4-BE49-F238E27FC236}">
                  <a16:creationId xmlns:a16="http://schemas.microsoft.com/office/drawing/2014/main" id="{8FC13697-BAC9-8531-3E45-C33D67A6982D}"/>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29" name="Table 2 Cell 1, 3 to Text">
              <a:extLst>
                <a:ext uri="{FF2B5EF4-FFF2-40B4-BE49-F238E27FC236}">
                  <a16:creationId xmlns:a16="http://schemas.microsoft.com/office/drawing/2014/main" id="{FB4EAAB4-A8DB-F628-2FEC-ECB663069FF5}"/>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30" name="Table 2 Cell 1, 4 to Text">
              <a:extLst>
                <a:ext uri="{FF2B5EF4-FFF2-40B4-BE49-F238E27FC236}">
                  <a16:creationId xmlns:a16="http://schemas.microsoft.com/office/drawing/2014/main" id="{9169E749-E190-76C3-161D-57A1A9A305DC}"/>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32" name="Table 2 Cell 1, 5 to Text">
              <a:extLst>
                <a:ext uri="{FF2B5EF4-FFF2-40B4-BE49-F238E27FC236}">
                  <a16:creationId xmlns:a16="http://schemas.microsoft.com/office/drawing/2014/main" id="{2E83B252-4AF7-637A-2CFA-E9AC2A58543D}"/>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4 Skilling Strategy</a:t>
              </a:r>
            </a:p>
          </p:txBody>
        </p:sp>
        <p:sp>
          <p:nvSpPr>
            <p:cNvPr id="33" name="Table 2 Cell 1, 4 to Text">
              <a:extLst>
                <a:ext uri="{FF2B5EF4-FFF2-40B4-BE49-F238E27FC236}">
                  <a16:creationId xmlns:a16="http://schemas.microsoft.com/office/drawing/2014/main" id="{D3714C97-DBB0-446A-8AC3-636F4320D7CC}"/>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34" name="Table 2 Cell 1, 4 to Text">
              <a:extLst>
                <a:ext uri="{FF2B5EF4-FFF2-40B4-BE49-F238E27FC236}">
                  <a16:creationId xmlns:a16="http://schemas.microsoft.com/office/drawing/2014/main" id="{74E87139-8E9D-9467-75B3-E167675E6B8A}"/>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36" name="Table 2 Cell 1, 4 to Text">
              <a:extLst>
                <a:ext uri="{FF2B5EF4-FFF2-40B4-BE49-F238E27FC236}">
                  <a16:creationId xmlns:a16="http://schemas.microsoft.com/office/drawing/2014/main" id="{348EA529-48FC-0DCB-6E4E-2F949455CE2B}"/>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
        <p:nvSpPr>
          <p:cNvPr id="40" name="Rectangle: Rounded Corners 39">
            <a:extLst>
              <a:ext uri="{FF2B5EF4-FFF2-40B4-BE49-F238E27FC236}">
                <a16:creationId xmlns:a16="http://schemas.microsoft.com/office/drawing/2014/main" id="{4F61A8FC-1642-4FD6-36AD-FF08DB477FFC}"/>
              </a:ext>
            </a:extLst>
          </p:cNvPr>
          <p:cNvSpPr/>
          <p:nvPr/>
        </p:nvSpPr>
        <p:spPr bwMode="auto">
          <a:xfrm>
            <a:off x="3945161" y="6361117"/>
            <a:ext cx="4301679"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chemeClr val="bg1"/>
                </a:solidFill>
                <a:latin typeface="Segoe Sans Display Semibold"/>
                <a:cs typeface="Segoe UI" pitchFamily="34" charset="0"/>
              </a:rPr>
              <a:t>See the detailed Skilling Plan at </a:t>
            </a:r>
            <a:r>
              <a:rPr lang="en-US" sz="1200">
                <a:solidFill>
                  <a:schemeClr val="bg1"/>
                </a:solidFill>
                <a:hlinkClick r:id="rId6">
                  <a:extLst>
                    <a:ext uri="{A12FA001-AC4F-418D-AE19-62706E023703}">
                      <ahyp:hlinkClr xmlns:ahyp="http://schemas.microsoft.com/office/drawing/2018/hyperlinkcolor" val="tx"/>
                    </a:ext>
                  </a:extLst>
                </a:hlinkClick>
              </a:rPr>
              <a:t>aka.ms/caipcsuskills</a:t>
            </a:r>
            <a:r>
              <a:rPr lang="en-US" sz="1200">
                <a:solidFill>
                  <a:schemeClr val="bg1"/>
                </a:solidFill>
                <a:latin typeface="Segoe Sans Display Semibold"/>
                <a:cs typeface="Segoe UI" pitchFamily="34" charset="0"/>
              </a:rPr>
              <a:t> </a:t>
            </a:r>
          </a:p>
        </p:txBody>
      </p:sp>
    </p:spTree>
    <p:extLst>
      <p:ext uri="{BB962C8B-B14F-4D97-AF65-F5344CB8AC3E}">
        <p14:creationId xmlns:p14="http://schemas.microsoft.com/office/powerpoint/2010/main" val="83427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42" presetClass="path" presetSubtype="0" decel="100000" fill="hold" grpId="1" nodeType="withEffect">
                                  <p:stCondLst>
                                    <p:cond delay="0"/>
                                  </p:stCondLst>
                                  <p:childTnLst>
                                    <p:animMotion origin="layout" path="M -3.75E-6 -4.44444E-6 L -3.75E-6 0.03542 " pathEditMode="relative" rAng="0" ptsTypes="AA">
                                      <p:cBhvr>
                                        <p:cTn id="9" dur="700" spd="-100000" fill="hold"/>
                                        <p:tgtEl>
                                          <p:spTgt spid="45"/>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42" presetClass="path" presetSubtype="0" decel="100000" fill="hold" grpId="1" nodeType="withEffect">
                                  <p:stCondLst>
                                    <p:cond delay="0"/>
                                  </p:stCondLst>
                                  <p:childTnLst>
                                    <p:animMotion origin="layout" path="M 0 -4.44444E-6 L 0 0.03542 " pathEditMode="relative" rAng="0" ptsTypes="AA">
                                      <p:cBhvr>
                                        <p:cTn id="14" dur="700" spd="-100000" fill="hold"/>
                                        <p:tgtEl>
                                          <p:spTgt spid="44"/>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par>
                                <p:cTn id="18" presetID="42" presetClass="path" presetSubtype="0" decel="100000" fill="hold" grpId="1" nodeType="withEffect">
                                  <p:stCondLst>
                                    <p:cond delay="0"/>
                                  </p:stCondLst>
                                  <p:childTnLst>
                                    <p:animMotion origin="layout" path="M 3.125E-6 -4.44444E-6 L 3.125E-6 0.03542 " pathEditMode="relative" rAng="0" ptsTypes="AA">
                                      <p:cBhvr>
                                        <p:cTn id="19" dur="700" spd="-100000" fill="hold"/>
                                        <p:tgtEl>
                                          <p:spTgt spid="38"/>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grpId="1" nodeType="withEffect">
                                  <p:stCondLst>
                                    <p:cond delay="200"/>
                                  </p:stCondLst>
                                  <p:childTnLst>
                                    <p:animMotion origin="layout" path="M 3.54167E-6 0 L 3.54167E-6 0.03542 " pathEditMode="relative" rAng="0" ptsTypes="AA">
                                      <p:cBhvr>
                                        <p:cTn id="24" dur="700" spd="-100000" fill="hold"/>
                                        <p:tgtEl>
                                          <p:spTgt spid="15"/>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grpId="1" nodeType="withEffect">
                                  <p:stCondLst>
                                    <p:cond delay="200"/>
                                  </p:stCondLst>
                                  <p:childTnLst>
                                    <p:animMotion origin="layout" path="M -3.75E-6 0 L -3.75E-6 0.03542 " pathEditMode="relative" rAng="0" ptsTypes="AA">
                                      <p:cBhvr>
                                        <p:cTn id="29" dur="700" spd="-100000" fill="hold"/>
                                        <p:tgtEl>
                                          <p:spTgt spid="52"/>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42" presetClass="path" presetSubtype="0" decel="100000" fill="hold" grpId="1" nodeType="withEffect">
                                  <p:stCondLst>
                                    <p:cond delay="200"/>
                                  </p:stCondLst>
                                  <p:childTnLst>
                                    <p:animMotion origin="layout" path="M 3.75E-6 -3.7037E-6 L 3.75E-6 0.03542 " pathEditMode="relative" rAng="0" ptsTypes="AA">
                                      <p:cBhvr>
                                        <p:cTn id="34" dur="700" spd="-100000" fill="hold"/>
                                        <p:tgtEl>
                                          <p:spTgt spid="53"/>
                                        </p:tgtEl>
                                        <p:attrNameLst>
                                          <p:attrName>ppt_x</p:attrName>
                                          <p:attrName>ppt_y</p:attrName>
                                        </p:attrNameLst>
                                      </p:cBhvr>
                                      <p:rCtr x="0" y="1759"/>
                                    </p:animMotion>
                                  </p:childTnLst>
                                </p:cTn>
                              </p:par>
                              <p:par>
                                <p:cTn id="35" presetID="10" presetClass="entr" presetSubtype="0" fill="hold" grpId="0"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42" presetClass="path" presetSubtype="0" decel="100000" fill="hold" grpId="1" nodeType="withEffect">
                                  <p:stCondLst>
                                    <p:cond delay="0"/>
                                  </p:stCondLst>
                                  <p:childTnLst>
                                    <p:animMotion origin="layout" path="M 4.16667E-7 -2.22222E-6 L 4.16667E-7 0.03542 " pathEditMode="relative" rAng="0" ptsTypes="AA">
                                      <p:cBhvr>
                                        <p:cTn id="39" dur="700" spd="-100000" fill="hold"/>
                                        <p:tgtEl>
                                          <p:spTgt spid="60"/>
                                        </p:tgtEl>
                                        <p:attrNameLst>
                                          <p:attrName>ppt_x</p:attrName>
                                          <p:attrName>ppt_y</p:attrName>
                                        </p:attrNameLst>
                                      </p:cBhvr>
                                      <p:rCtr x="0" y="1759"/>
                                    </p:animMotion>
                                  </p:childTnLst>
                                </p:cTn>
                              </p:par>
                              <p:par>
                                <p:cTn id="40" presetID="1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par>
                                <p:cTn id="43" presetID="42" presetClass="path" presetSubtype="0" decel="100000" fill="hold" grpId="1" nodeType="withEffect">
                                  <p:stCondLst>
                                    <p:cond delay="0"/>
                                  </p:stCondLst>
                                  <p:childTnLst>
                                    <p:animMotion origin="layout" path="M -3.33333E-6 1.48148E-6 L -3.33333E-6 0.03542 " pathEditMode="relative" rAng="0" ptsTypes="AA">
                                      <p:cBhvr>
                                        <p:cTn id="44" dur="700" spd="-100000" fill="hold"/>
                                        <p:tgtEl>
                                          <p:spTgt spid="31"/>
                                        </p:tgtEl>
                                        <p:attrNameLst>
                                          <p:attrName>ppt_x</p:attrName>
                                          <p:attrName>ppt_y</p:attrName>
                                        </p:attrNameLst>
                                      </p:cBhvr>
                                      <p:rCtr x="0" y="1759"/>
                                    </p:animMotion>
                                  </p:childTnLst>
                                </p:cTn>
                              </p:par>
                              <p:par>
                                <p:cTn id="45" presetID="10"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500"/>
                                        <p:tgtEl>
                                          <p:spTgt spid="54"/>
                                        </p:tgtEl>
                                      </p:cBhvr>
                                    </p:animEffect>
                                  </p:childTnLst>
                                </p:cTn>
                              </p:par>
                              <p:par>
                                <p:cTn id="48" presetID="42" presetClass="path" presetSubtype="0" decel="100000" fill="hold" grpId="1" nodeType="withEffect">
                                  <p:stCondLst>
                                    <p:cond delay="0"/>
                                  </p:stCondLst>
                                  <p:childTnLst>
                                    <p:animMotion origin="layout" path="M 4.375E-6 1.48148E-6 L 4.375E-6 0.03542 " pathEditMode="relative" rAng="0" ptsTypes="AA">
                                      <p:cBhvr>
                                        <p:cTn id="49" dur="700" spd="-100000" fill="hold"/>
                                        <p:tgtEl>
                                          <p:spTgt spid="54"/>
                                        </p:tgtEl>
                                        <p:attrNameLst>
                                          <p:attrName>ppt_x</p:attrName>
                                          <p:attrName>ppt_y</p:attrName>
                                        </p:attrNameLst>
                                      </p:cBhvr>
                                      <p:rCtr x="0" y="1759"/>
                                    </p:animMotion>
                                  </p:childTnLst>
                                </p:cTn>
                              </p:par>
                              <p:par>
                                <p:cTn id="50" presetID="10" presetClass="entr" presetSubtype="0" fill="hold" grpId="0" nodeType="withEffect">
                                  <p:stCondLst>
                                    <p:cond delay="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500"/>
                                        <p:tgtEl>
                                          <p:spTgt spid="55"/>
                                        </p:tgtEl>
                                      </p:cBhvr>
                                    </p:animEffect>
                                  </p:childTnLst>
                                </p:cTn>
                              </p:par>
                              <p:par>
                                <p:cTn id="53" presetID="42" presetClass="path" presetSubtype="0" decel="100000" fill="hold" grpId="1" nodeType="withEffect">
                                  <p:stCondLst>
                                    <p:cond delay="0"/>
                                  </p:stCondLst>
                                  <p:childTnLst>
                                    <p:animMotion origin="layout" path="M 1.875E-6 -1.11111E-6 L 1.875E-6 0.03542 " pathEditMode="relative" rAng="0" ptsTypes="AA">
                                      <p:cBhvr>
                                        <p:cTn id="54" dur="700" spd="-100000" fill="hold"/>
                                        <p:tgtEl>
                                          <p:spTgt spid="55"/>
                                        </p:tgtEl>
                                        <p:attrNameLst>
                                          <p:attrName>ppt_x</p:attrName>
                                          <p:attrName>ppt_y</p:attrName>
                                        </p:attrNameLst>
                                      </p:cBhvr>
                                      <p:rCtr x="0" y="1759"/>
                                    </p:animMotion>
                                  </p:childTnLst>
                                </p:cTn>
                              </p:par>
                              <p:par>
                                <p:cTn id="55" presetID="10" presetClass="entr" presetSubtype="0"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500"/>
                                        <p:tgtEl>
                                          <p:spTgt spid="56"/>
                                        </p:tgtEl>
                                      </p:cBhvr>
                                    </p:animEffect>
                                  </p:childTnLst>
                                </p:cTn>
                              </p:par>
                              <p:par>
                                <p:cTn id="58" presetID="42" presetClass="path" presetSubtype="0" decel="100000" fill="hold" grpId="1" nodeType="withEffect">
                                  <p:stCondLst>
                                    <p:cond delay="0"/>
                                  </p:stCondLst>
                                  <p:childTnLst>
                                    <p:animMotion origin="layout" path="M -4.16667E-7 -1.11111E-6 L -4.16667E-7 0.03542 " pathEditMode="relative" rAng="0" ptsTypes="AA">
                                      <p:cBhvr>
                                        <p:cTn id="59" dur="700" spd="-100000" fill="hold"/>
                                        <p:tgtEl>
                                          <p:spTgt spid="56"/>
                                        </p:tgtEl>
                                        <p:attrNameLst>
                                          <p:attrName>ppt_x</p:attrName>
                                          <p:attrName>ppt_y</p:attrName>
                                        </p:attrNameLst>
                                      </p:cBhvr>
                                      <p:rCtr x="0" y="1759"/>
                                    </p:animMotion>
                                  </p:childTnLst>
                                </p:cTn>
                              </p:par>
                              <p:par>
                                <p:cTn id="60" presetID="10" presetClass="entr" presetSubtype="0" fill="hold" grpId="0"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42" presetClass="path" presetSubtype="0" decel="100000" fill="hold" grpId="1" nodeType="withEffect">
                                  <p:stCondLst>
                                    <p:cond delay="0"/>
                                  </p:stCondLst>
                                  <p:childTnLst>
                                    <p:animMotion origin="layout" path="M -2.91667E-6 4.81481E-6 L -2.91667E-6 0.03541 " pathEditMode="relative" rAng="0" ptsTypes="AA">
                                      <p:cBhvr>
                                        <p:cTn id="64" dur="700" spd="-100000" fill="hold"/>
                                        <p:tgtEl>
                                          <p:spTgt spid="57"/>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58"/>
                                        </p:tgtEl>
                                        <p:attrNameLst>
                                          <p:attrName>style.visibility</p:attrName>
                                        </p:attrNameLst>
                                      </p:cBhvr>
                                      <p:to>
                                        <p:strVal val="visible"/>
                                      </p:to>
                                    </p:set>
                                    <p:animEffect transition="in" filter="fade">
                                      <p:cBhvr>
                                        <p:cTn id="67" dur="500"/>
                                        <p:tgtEl>
                                          <p:spTgt spid="58"/>
                                        </p:tgtEl>
                                      </p:cBhvr>
                                    </p:animEffect>
                                  </p:childTnLst>
                                </p:cTn>
                              </p:par>
                              <p:par>
                                <p:cTn id="68" presetID="42" presetClass="path" presetSubtype="0" decel="100000" fill="hold" grpId="1" nodeType="withEffect">
                                  <p:stCondLst>
                                    <p:cond delay="0"/>
                                  </p:stCondLst>
                                  <p:childTnLst>
                                    <p:animMotion origin="layout" path="M 4.79167E-6 -1.11111E-6 L 4.79167E-6 0.03542 " pathEditMode="relative" rAng="0" ptsTypes="AA">
                                      <p:cBhvr>
                                        <p:cTn id="69" dur="700" spd="-100000" fill="hold"/>
                                        <p:tgtEl>
                                          <p:spTgt spid="5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38" grpId="0" animBg="1"/>
      <p:bldP spid="38" grpId="1" animBg="1"/>
      <p:bldP spid="44" grpId="0" animBg="1"/>
      <p:bldP spid="44" grpId="1" animBg="1"/>
      <p:bldP spid="45" grpId="0" animBg="1"/>
      <p:bldP spid="45" grpId="1" animBg="1"/>
      <p:bldP spid="15" grpId="0"/>
      <p:bldP spid="15" grpId="1"/>
      <p:bldP spid="52" grpId="0"/>
      <p:bldP spid="52" grpId="1"/>
      <p:bldP spid="53" grpId="0"/>
      <p:bldP spid="53" grpId="1"/>
      <p:bldP spid="54" grpId="0"/>
      <p:bldP spid="54" grpId="1"/>
      <p:bldP spid="55" grpId="0"/>
      <p:bldP spid="55" grpId="1"/>
      <p:bldP spid="56" grpId="0"/>
      <p:bldP spid="56" grpId="1"/>
      <p:bldP spid="57" grpId="0"/>
      <p:bldP spid="57" grpId="1"/>
      <p:bldP spid="58" grpId="0"/>
      <p:bldP spid="58" grpId="1"/>
      <p:bldP spid="60" grpId="0" animBg="1"/>
      <p:bldP spid="60"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02110-B6E7-4D7F-BF20-21A33FED23F4}"/>
              </a:ext>
            </a:extLst>
          </p:cNvPr>
          <p:cNvSpPr>
            <a:spLocks noGrp="1"/>
          </p:cNvSpPr>
          <p:nvPr>
            <p:ph type="title"/>
          </p:nvPr>
        </p:nvSpPr>
        <p:spPr>
          <a:xfrm>
            <a:off x="426520" y="597775"/>
            <a:ext cx="11018520" cy="492443"/>
          </a:xfrm>
        </p:spPr>
        <p:txBody>
          <a:bodyPr/>
          <a:lstStyle/>
          <a:p>
            <a:r>
              <a:rPr lang="en-US" sz="3200">
                <a:cs typeface="Segoe UI"/>
              </a:rPr>
              <a:t>Delivery Order of Operations – How we deliver</a:t>
            </a:r>
            <a:endParaRPr lang="en-US" sz="1600">
              <a:cs typeface="Segoe UI"/>
            </a:endParaRPr>
          </a:p>
        </p:txBody>
      </p:sp>
      <p:grpSp>
        <p:nvGrpSpPr>
          <p:cNvPr id="6" name="Group 5">
            <a:extLst>
              <a:ext uri="{FF2B5EF4-FFF2-40B4-BE49-F238E27FC236}">
                <a16:creationId xmlns:a16="http://schemas.microsoft.com/office/drawing/2014/main" id="{D0D4E013-98B6-462A-A919-3A069920666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7" name="Table 2 Cell 1, 1 to Text">
              <a:extLst>
                <a:ext uri="{FF2B5EF4-FFF2-40B4-BE49-F238E27FC236}">
                  <a16:creationId xmlns:a16="http://schemas.microsoft.com/office/drawing/2014/main" id="{EC339C90-8701-A406-DD70-696D0B4E848D}"/>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8" name="Table 2 Cell 2, 1 to Text">
              <a:extLst>
                <a:ext uri="{FF2B5EF4-FFF2-40B4-BE49-F238E27FC236}">
                  <a16:creationId xmlns:a16="http://schemas.microsoft.com/office/drawing/2014/main" id="{B1735FDF-78E0-7868-4EA0-F4BD833FB7EE}"/>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9" name="Table 2 Cell 3, 1 to Text">
              <a:extLst>
                <a:ext uri="{FF2B5EF4-FFF2-40B4-BE49-F238E27FC236}">
                  <a16:creationId xmlns:a16="http://schemas.microsoft.com/office/drawing/2014/main" id="{1678E518-3FEF-F8E7-CC81-1ADFC555A882}"/>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10" name="Table 2 Cell 4, 1 to Text">
              <a:extLst>
                <a:ext uri="{FF2B5EF4-FFF2-40B4-BE49-F238E27FC236}">
                  <a16:creationId xmlns:a16="http://schemas.microsoft.com/office/drawing/2014/main" id="{1B897348-699E-0C75-71A4-B2C6CD9CBFA2}"/>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1" name="Table 2 Cell 5, 1 to Text">
              <a:extLst>
                <a:ext uri="{FF2B5EF4-FFF2-40B4-BE49-F238E27FC236}">
                  <a16:creationId xmlns:a16="http://schemas.microsoft.com/office/drawing/2014/main" id="{D54C7F3A-24AD-863B-7756-046B6617E44A}"/>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2" name="Table 2 Cell 6, 1 to Text">
              <a:extLst>
                <a:ext uri="{FF2B5EF4-FFF2-40B4-BE49-F238E27FC236}">
                  <a16:creationId xmlns:a16="http://schemas.microsoft.com/office/drawing/2014/main" id="{453A5F5F-FC25-D945-E5F3-FAC41ABEFCED}"/>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13" name="Table 2 Cell 7, 1 to Text">
              <a:extLst>
                <a:ext uri="{FF2B5EF4-FFF2-40B4-BE49-F238E27FC236}">
                  <a16:creationId xmlns:a16="http://schemas.microsoft.com/office/drawing/2014/main" id="{AC6DE1D8-1598-CE71-1D16-8109E5D2A325}"/>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15" name="Table 2 Cell 1, 2 to Text">
              <a:extLst>
                <a:ext uri="{FF2B5EF4-FFF2-40B4-BE49-F238E27FC236}">
                  <a16:creationId xmlns:a16="http://schemas.microsoft.com/office/drawing/2014/main" id="{23E4714F-B048-DE71-C256-9700B49F7014}"/>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16" name="Table 2 Cell 1, 3 to Text">
              <a:extLst>
                <a:ext uri="{FF2B5EF4-FFF2-40B4-BE49-F238E27FC236}">
                  <a16:creationId xmlns:a16="http://schemas.microsoft.com/office/drawing/2014/main" id="{1BB5D7B0-8169-E21D-2E33-E3B3FE7EFD3B}"/>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17" name="Table 2 Cell 1, 4 to Text">
              <a:extLst>
                <a:ext uri="{FF2B5EF4-FFF2-40B4-BE49-F238E27FC236}">
                  <a16:creationId xmlns:a16="http://schemas.microsoft.com/office/drawing/2014/main" id="{EC290721-FAAE-CEF0-31B1-5BA80669DA77}"/>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3 CSU Delivery Strategy</a:t>
              </a:r>
            </a:p>
          </p:txBody>
        </p:sp>
        <p:sp>
          <p:nvSpPr>
            <p:cNvPr id="18" name="Table 2 Cell 1, 5 to Text">
              <a:extLst>
                <a:ext uri="{FF2B5EF4-FFF2-40B4-BE49-F238E27FC236}">
                  <a16:creationId xmlns:a16="http://schemas.microsoft.com/office/drawing/2014/main" id="{C70B6758-6AE6-D038-5B3D-B60B544A313A}"/>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4 Sales Model &amp; Role Changes</a:t>
              </a:r>
            </a:p>
          </p:txBody>
        </p:sp>
        <p:sp>
          <p:nvSpPr>
            <p:cNvPr id="19" name="Table 2 Cell 1, 6 to Text">
              <a:extLst>
                <a:ext uri="{FF2B5EF4-FFF2-40B4-BE49-F238E27FC236}">
                  <a16:creationId xmlns:a16="http://schemas.microsoft.com/office/drawing/2014/main" id="{0CEF1824-2460-20AE-9BFD-DB5BE6EB02D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21" name="Table 2 Cell 1, 7 to Text">
              <a:extLst>
                <a:ext uri="{FF2B5EF4-FFF2-40B4-BE49-F238E27FC236}">
                  <a16:creationId xmlns:a16="http://schemas.microsoft.com/office/drawing/2014/main" id="{559CD1D7-3443-A71E-4757-2B549A876F11}"/>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22" name="Table 2 Cell 1, 8 to Text">
              <a:extLst>
                <a:ext uri="{FF2B5EF4-FFF2-40B4-BE49-F238E27FC236}">
                  <a16:creationId xmlns:a16="http://schemas.microsoft.com/office/drawing/2014/main" id="{88D9EC64-E199-4A3B-68E1-F94771ECE56F}"/>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
        <p:nvSpPr>
          <p:cNvPr id="24" name="Rounded Rectangle 3">
            <a:extLst>
              <a:ext uri="{FF2B5EF4-FFF2-40B4-BE49-F238E27FC236}">
                <a16:creationId xmlns:a16="http://schemas.microsoft.com/office/drawing/2014/main" id="{F34DE3E9-0421-0D73-FDA0-15365C702C30}"/>
              </a:ext>
              <a:ext uri="{C183D7F6-B498-43B3-948B-1728B52AA6E4}">
                <adec:decorative xmlns:adec="http://schemas.microsoft.com/office/drawing/2017/decorative" val="1"/>
              </a:ext>
            </a:extLst>
          </p:cNvPr>
          <p:cNvSpPr/>
          <p:nvPr/>
        </p:nvSpPr>
        <p:spPr bwMode="auto">
          <a:xfrm>
            <a:off x="426520" y="1637771"/>
            <a:ext cx="11018520" cy="4622454"/>
          </a:xfrm>
          <a:prstGeom prst="roundRect">
            <a:avLst>
              <a:gd name="adj" fmla="val 3727"/>
            </a:avLst>
          </a:prstGeom>
          <a:solidFill>
            <a:srgbClr val="FDFDFD"/>
          </a:solidFill>
          <a:ln w="38100">
            <a:gradFill flip="none" rotWithShape="1">
              <a:gsLst>
                <a:gs pos="0">
                  <a:schemeClr val="accent1"/>
                </a:gs>
                <a:gs pos="100000">
                  <a:schemeClr val="bg2"/>
                </a:gs>
              </a:gsLst>
              <a:path path="circle">
                <a:fillToRect l="100000" t="100000"/>
              </a:path>
              <a:tileRect r="-100000" b="-100000"/>
            </a:gradFill>
            <a:headEnd type="none" w="med" len="med"/>
            <a:tailEnd type="none" w="med" len="med"/>
          </a:ln>
          <a:effectLst>
            <a:outerShdw blurRad="394929" dist="598600" dir="5400000" sx="90000" sy="90000" algn="t" rotWithShape="0">
              <a:prstClr val="black">
                <a:alpha val="58429"/>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25" name="Freeform: Shape 24">
            <a:extLst>
              <a:ext uri="{FF2B5EF4-FFF2-40B4-BE49-F238E27FC236}">
                <a16:creationId xmlns:a16="http://schemas.microsoft.com/office/drawing/2014/main" id="{F8546F78-F72B-44EC-11D8-25FE1D51CA4E}"/>
              </a:ext>
            </a:extLst>
          </p:cNvPr>
          <p:cNvSpPr/>
          <p:nvPr/>
        </p:nvSpPr>
        <p:spPr>
          <a:xfrm>
            <a:off x="4046327" y="1808366"/>
            <a:ext cx="4207997" cy="3885963"/>
          </a:xfrm>
          <a:custGeom>
            <a:avLst/>
            <a:gdLst>
              <a:gd name="connsiteX0" fmla="*/ 3836088 w 3912431"/>
              <a:gd name="connsiteY0" fmla="*/ 1349981 h 3637544"/>
              <a:gd name="connsiteX1" fmla="*/ 3627843 w 3912431"/>
              <a:gd name="connsiteY1" fmla="*/ 1658852 h 3637544"/>
              <a:gd name="connsiteX2" fmla="*/ 3318972 w 3912431"/>
              <a:gd name="connsiteY2" fmla="*/ 1867097 h 3637544"/>
              <a:gd name="connsiteX3" fmla="*/ 2940730 w 3912431"/>
              <a:gd name="connsiteY3" fmla="*/ 1943460 h 3637544"/>
              <a:gd name="connsiteX4" fmla="*/ 2633415 w 3912431"/>
              <a:gd name="connsiteY4" fmla="*/ 1893858 h 3637544"/>
              <a:gd name="connsiteX5" fmla="*/ 2633415 w 3912431"/>
              <a:gd name="connsiteY5" fmla="*/ 1894338 h 3637544"/>
              <a:gd name="connsiteX6" fmla="*/ 2612860 w 3912431"/>
              <a:gd name="connsiteY6" fmla="*/ 1932971 h 3637544"/>
              <a:gd name="connsiteX7" fmla="*/ 2946474 w 3912431"/>
              <a:gd name="connsiteY7" fmla="*/ 2665824 h 3637544"/>
              <a:gd name="connsiteX8" fmla="*/ 2870111 w 3912431"/>
              <a:gd name="connsiteY8" fmla="*/ 3044065 h 3637544"/>
              <a:gd name="connsiteX9" fmla="*/ 2661866 w 3912431"/>
              <a:gd name="connsiteY9" fmla="*/ 3352936 h 3637544"/>
              <a:gd name="connsiteX10" fmla="*/ 2352995 w 3912431"/>
              <a:gd name="connsiteY10" fmla="*/ 3561181 h 3637544"/>
              <a:gd name="connsiteX11" fmla="*/ 1974754 w 3912431"/>
              <a:gd name="connsiteY11" fmla="*/ 3637544 h 3637544"/>
              <a:gd name="connsiteX12" fmla="*/ 1596513 w 3912431"/>
              <a:gd name="connsiteY12" fmla="*/ 3561181 h 3637544"/>
              <a:gd name="connsiteX13" fmla="*/ 1287642 w 3912431"/>
              <a:gd name="connsiteY13" fmla="*/ 3352936 h 3637544"/>
              <a:gd name="connsiteX14" fmla="*/ 1079397 w 3912431"/>
              <a:gd name="connsiteY14" fmla="*/ 3044065 h 3637544"/>
              <a:gd name="connsiteX15" fmla="*/ 1003034 w 3912431"/>
              <a:gd name="connsiteY15" fmla="*/ 2665824 h 3637544"/>
              <a:gd name="connsiteX16" fmla="*/ 1089963 w 3912431"/>
              <a:gd name="connsiteY16" fmla="*/ 2263512 h 3637544"/>
              <a:gd name="connsiteX17" fmla="*/ 1300955 w 3912431"/>
              <a:gd name="connsiteY17" fmla="*/ 1965648 h 3637544"/>
              <a:gd name="connsiteX18" fmla="*/ 1271370 w 3912431"/>
              <a:gd name="connsiteY18" fmla="*/ 1922270 h 3637544"/>
              <a:gd name="connsiteX19" fmla="*/ 1271581 w 3912431"/>
              <a:gd name="connsiteY19" fmla="*/ 1917813 h 3637544"/>
              <a:gd name="connsiteX20" fmla="*/ 971778 w 3912431"/>
              <a:gd name="connsiteY20" fmla="*/ 1964957 h 3637544"/>
              <a:gd name="connsiteX21" fmla="*/ 593537 w 3912431"/>
              <a:gd name="connsiteY21" fmla="*/ 1888594 h 3637544"/>
              <a:gd name="connsiteX22" fmla="*/ 284665 w 3912431"/>
              <a:gd name="connsiteY22" fmla="*/ 1680349 h 3637544"/>
              <a:gd name="connsiteX23" fmla="*/ 76421 w 3912431"/>
              <a:gd name="connsiteY23" fmla="*/ 1371478 h 3637544"/>
              <a:gd name="connsiteX24" fmla="*/ 0 w 3912431"/>
              <a:gd name="connsiteY24" fmla="*/ 993256 h 3637544"/>
              <a:gd name="connsiteX25" fmla="*/ 76363 w 3912431"/>
              <a:gd name="connsiteY25" fmla="*/ 615014 h 3637544"/>
              <a:gd name="connsiteX26" fmla="*/ 284608 w 3912431"/>
              <a:gd name="connsiteY26" fmla="*/ 306143 h 3637544"/>
              <a:gd name="connsiteX27" fmla="*/ 593479 w 3912431"/>
              <a:gd name="connsiteY27" fmla="*/ 97898 h 3637544"/>
              <a:gd name="connsiteX28" fmla="*/ 971720 w 3912431"/>
              <a:gd name="connsiteY28" fmla="*/ 21535 h 3637544"/>
              <a:gd name="connsiteX29" fmla="*/ 1645462 w 3912431"/>
              <a:gd name="connsiteY29" fmla="*/ 293022 h 3637544"/>
              <a:gd name="connsiteX30" fmla="*/ 1939579 w 3912431"/>
              <a:gd name="connsiteY30" fmla="*/ 905770 h 3637544"/>
              <a:gd name="connsiteX31" fmla="*/ 1955159 w 3912431"/>
              <a:gd name="connsiteY31" fmla="*/ 903099 h 3637544"/>
              <a:gd name="connsiteX32" fmla="*/ 1971162 w 3912431"/>
              <a:gd name="connsiteY32" fmla="*/ 905923 h 3637544"/>
              <a:gd name="connsiteX33" fmla="*/ 2050425 w 3912431"/>
              <a:gd name="connsiteY33" fmla="*/ 581741 h 3637544"/>
              <a:gd name="connsiteX34" fmla="*/ 2259573 w 3912431"/>
              <a:gd name="connsiteY34" fmla="*/ 278710 h 3637544"/>
              <a:gd name="connsiteX35" fmla="*/ 2566408 w 3912431"/>
              <a:gd name="connsiteY35" fmla="*/ 74749 h 3637544"/>
              <a:gd name="connsiteX36" fmla="*/ 2940711 w 3912431"/>
              <a:gd name="connsiteY36" fmla="*/ 0 h 3637544"/>
              <a:gd name="connsiteX37" fmla="*/ 3318952 w 3912431"/>
              <a:gd name="connsiteY37" fmla="*/ 76363 h 3637544"/>
              <a:gd name="connsiteX38" fmla="*/ 3627824 w 3912431"/>
              <a:gd name="connsiteY38" fmla="*/ 284608 h 3637544"/>
              <a:gd name="connsiteX39" fmla="*/ 3836068 w 3912431"/>
              <a:gd name="connsiteY39" fmla="*/ 593479 h 3637544"/>
              <a:gd name="connsiteX40" fmla="*/ 3912431 w 3912431"/>
              <a:gd name="connsiteY40" fmla="*/ 971720 h 3637544"/>
              <a:gd name="connsiteX41" fmla="*/ 3836068 w 3912431"/>
              <a:gd name="connsiteY41" fmla="*/ 1349962 h 3637544"/>
              <a:gd name="connsiteX42" fmla="*/ 2940711 w 3912431"/>
              <a:gd name="connsiteY42" fmla="*/ 18634 h 3637544"/>
              <a:gd name="connsiteX43" fmla="*/ 1989124 w 3912431"/>
              <a:gd name="connsiteY43" fmla="*/ 917776 h 3637544"/>
              <a:gd name="connsiteX44" fmla="*/ 2001745 w 3912431"/>
              <a:gd name="connsiteY44" fmla="*/ 949647 h 3637544"/>
              <a:gd name="connsiteX45" fmla="*/ 1955159 w 3912431"/>
              <a:gd name="connsiteY45" fmla="*/ 996233 h 3637544"/>
              <a:gd name="connsiteX46" fmla="*/ 1908573 w 3912431"/>
              <a:gd name="connsiteY46" fmla="*/ 949647 h 3637544"/>
              <a:gd name="connsiteX47" fmla="*/ 1921848 w 3912431"/>
              <a:gd name="connsiteY47" fmla="*/ 917104 h 3637544"/>
              <a:gd name="connsiteX48" fmla="*/ 971739 w 3912431"/>
              <a:gd name="connsiteY48" fmla="*/ 40151 h 3637544"/>
              <a:gd name="connsiteX49" fmla="*/ 18634 w 3912431"/>
              <a:gd name="connsiteY49" fmla="*/ 993256 h 3637544"/>
              <a:gd name="connsiteX50" fmla="*/ 971739 w 3912431"/>
              <a:gd name="connsiteY50" fmla="*/ 1946361 h 3637544"/>
              <a:gd name="connsiteX51" fmla="*/ 1279861 w 3912431"/>
              <a:gd name="connsiteY51" fmla="*/ 1895452 h 3637544"/>
              <a:gd name="connsiteX52" fmla="*/ 1317918 w 3912431"/>
              <a:gd name="connsiteY52" fmla="*/ 1875723 h 3637544"/>
              <a:gd name="connsiteX53" fmla="*/ 1364504 w 3912431"/>
              <a:gd name="connsiteY53" fmla="*/ 1922309 h 3637544"/>
              <a:gd name="connsiteX54" fmla="*/ 1325276 w 3912431"/>
              <a:gd name="connsiteY54" fmla="*/ 1968299 h 3637544"/>
              <a:gd name="connsiteX55" fmla="*/ 1021630 w 3912431"/>
              <a:gd name="connsiteY55" fmla="*/ 2665843 h 3637544"/>
              <a:gd name="connsiteX56" fmla="*/ 1974735 w 3912431"/>
              <a:gd name="connsiteY56" fmla="*/ 3618948 h 3637544"/>
              <a:gd name="connsiteX57" fmla="*/ 2927840 w 3912431"/>
              <a:gd name="connsiteY57" fmla="*/ 2665843 h 3637544"/>
              <a:gd name="connsiteX58" fmla="*/ 2593034 w 3912431"/>
              <a:gd name="connsiteY58" fmla="*/ 1940501 h 3637544"/>
              <a:gd name="connsiteX59" fmla="*/ 2586848 w 3912431"/>
              <a:gd name="connsiteY59" fmla="*/ 1940924 h 3637544"/>
              <a:gd name="connsiteX60" fmla="*/ 2540262 w 3912431"/>
              <a:gd name="connsiteY60" fmla="*/ 1894338 h 3637544"/>
              <a:gd name="connsiteX61" fmla="*/ 2586848 w 3912431"/>
              <a:gd name="connsiteY61" fmla="*/ 1847752 h 3637544"/>
              <a:gd name="connsiteX62" fmla="*/ 2627883 w 3912431"/>
              <a:gd name="connsiteY62" fmla="*/ 1872284 h 3637544"/>
              <a:gd name="connsiteX63" fmla="*/ 2940730 w 3912431"/>
              <a:gd name="connsiteY63" fmla="*/ 1924825 h 3637544"/>
              <a:gd name="connsiteX64" fmla="*/ 3893835 w 3912431"/>
              <a:gd name="connsiteY64" fmla="*/ 971720 h 3637544"/>
              <a:gd name="connsiteX65" fmla="*/ 2940711 w 3912431"/>
              <a:gd name="connsiteY65" fmla="*/ 18634 h 363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912431" h="3637544">
                <a:moveTo>
                  <a:pt x="3836088" y="1349981"/>
                </a:moveTo>
                <a:cubicBezTo>
                  <a:pt x="3787138" y="1465687"/>
                  <a:pt x="3717077" y="1569618"/>
                  <a:pt x="3627843" y="1658852"/>
                </a:cubicBezTo>
                <a:cubicBezTo>
                  <a:pt x="3538608" y="1748086"/>
                  <a:pt x="3434678" y="1818148"/>
                  <a:pt x="3318972" y="1867097"/>
                </a:cubicBezTo>
                <a:cubicBezTo>
                  <a:pt x="3199173" y="1917775"/>
                  <a:pt x="3071902" y="1943460"/>
                  <a:pt x="2940730" y="1943460"/>
                </a:cubicBezTo>
                <a:cubicBezTo>
                  <a:pt x="2835436" y="1943460"/>
                  <a:pt x="2732216" y="1926785"/>
                  <a:pt x="2633415" y="1893858"/>
                </a:cubicBezTo>
                <a:cubicBezTo>
                  <a:pt x="2633415" y="1894011"/>
                  <a:pt x="2633415" y="1894184"/>
                  <a:pt x="2633415" y="1894338"/>
                </a:cubicBezTo>
                <a:cubicBezTo>
                  <a:pt x="2633415" y="1910437"/>
                  <a:pt x="2625251" y="1924614"/>
                  <a:pt x="2612860" y="1932971"/>
                </a:cubicBezTo>
                <a:cubicBezTo>
                  <a:pt x="2825274" y="2117932"/>
                  <a:pt x="2946474" y="2383252"/>
                  <a:pt x="2946474" y="2665824"/>
                </a:cubicBezTo>
                <a:cubicBezTo>
                  <a:pt x="2946474" y="2796995"/>
                  <a:pt x="2920790" y="2924267"/>
                  <a:pt x="2870111" y="3044065"/>
                </a:cubicBezTo>
                <a:cubicBezTo>
                  <a:pt x="2821162" y="3159772"/>
                  <a:pt x="2751101" y="3263702"/>
                  <a:pt x="2661866" y="3352936"/>
                </a:cubicBezTo>
                <a:cubicBezTo>
                  <a:pt x="2572632" y="3442171"/>
                  <a:pt x="2468702" y="3512232"/>
                  <a:pt x="2352995" y="3561181"/>
                </a:cubicBezTo>
                <a:cubicBezTo>
                  <a:pt x="2233197" y="3611860"/>
                  <a:pt x="2105925" y="3637544"/>
                  <a:pt x="1974754" y="3637544"/>
                </a:cubicBezTo>
                <a:cubicBezTo>
                  <a:pt x="1843583" y="3637544"/>
                  <a:pt x="1716311" y="3611860"/>
                  <a:pt x="1596513" y="3561181"/>
                </a:cubicBezTo>
                <a:cubicBezTo>
                  <a:pt x="1480806" y="3512232"/>
                  <a:pt x="1376876" y="3442171"/>
                  <a:pt x="1287642" y="3352936"/>
                </a:cubicBezTo>
                <a:cubicBezTo>
                  <a:pt x="1198408" y="3263702"/>
                  <a:pt x="1128346" y="3159772"/>
                  <a:pt x="1079397" y="3044065"/>
                </a:cubicBezTo>
                <a:cubicBezTo>
                  <a:pt x="1028719" y="2924267"/>
                  <a:pt x="1003034" y="2796995"/>
                  <a:pt x="1003034" y="2665824"/>
                </a:cubicBezTo>
                <a:cubicBezTo>
                  <a:pt x="1003034" y="2525547"/>
                  <a:pt x="1032273" y="2390188"/>
                  <a:pt x="1089963" y="2263512"/>
                </a:cubicBezTo>
                <a:cubicBezTo>
                  <a:pt x="1141121" y="2151186"/>
                  <a:pt x="1212028" y="2051136"/>
                  <a:pt x="1300955" y="1965648"/>
                </a:cubicBezTo>
                <a:cubicBezTo>
                  <a:pt x="1283627" y="1958848"/>
                  <a:pt x="1271370" y="1942000"/>
                  <a:pt x="1271370" y="1922270"/>
                </a:cubicBezTo>
                <a:cubicBezTo>
                  <a:pt x="1271370" y="1920772"/>
                  <a:pt x="1271447" y="1919273"/>
                  <a:pt x="1271581" y="1917813"/>
                </a:cubicBezTo>
                <a:cubicBezTo>
                  <a:pt x="1175066" y="1949108"/>
                  <a:pt x="1074344" y="1964957"/>
                  <a:pt x="971778" y="1964957"/>
                </a:cubicBezTo>
                <a:cubicBezTo>
                  <a:pt x="840607" y="1964957"/>
                  <a:pt x="713335" y="1939272"/>
                  <a:pt x="593537" y="1888594"/>
                </a:cubicBezTo>
                <a:cubicBezTo>
                  <a:pt x="477830" y="1839645"/>
                  <a:pt x="373900" y="1769583"/>
                  <a:pt x="284665" y="1680349"/>
                </a:cubicBezTo>
                <a:cubicBezTo>
                  <a:pt x="195431" y="1591115"/>
                  <a:pt x="125370" y="1487184"/>
                  <a:pt x="76421" y="1371478"/>
                </a:cubicBezTo>
                <a:cubicBezTo>
                  <a:pt x="25685" y="1251698"/>
                  <a:pt x="0" y="1124427"/>
                  <a:pt x="0" y="993256"/>
                </a:cubicBezTo>
                <a:cubicBezTo>
                  <a:pt x="0" y="862084"/>
                  <a:pt x="25685" y="734813"/>
                  <a:pt x="76363" y="615014"/>
                </a:cubicBezTo>
                <a:cubicBezTo>
                  <a:pt x="125312" y="499308"/>
                  <a:pt x="195374" y="395377"/>
                  <a:pt x="284608" y="306143"/>
                </a:cubicBezTo>
                <a:cubicBezTo>
                  <a:pt x="373842" y="216909"/>
                  <a:pt x="477772" y="146847"/>
                  <a:pt x="593479" y="97898"/>
                </a:cubicBezTo>
                <a:cubicBezTo>
                  <a:pt x="713277" y="47220"/>
                  <a:pt x="840549" y="21535"/>
                  <a:pt x="971720" y="21535"/>
                </a:cubicBezTo>
                <a:cubicBezTo>
                  <a:pt x="1224265" y="21535"/>
                  <a:pt x="1463536" y="117954"/>
                  <a:pt x="1645462" y="293022"/>
                </a:cubicBezTo>
                <a:cubicBezTo>
                  <a:pt x="1815439" y="456602"/>
                  <a:pt x="1918812" y="672685"/>
                  <a:pt x="1939579" y="905770"/>
                </a:cubicBezTo>
                <a:cubicBezTo>
                  <a:pt x="1944459" y="904041"/>
                  <a:pt x="1949684" y="903099"/>
                  <a:pt x="1955159" y="903099"/>
                </a:cubicBezTo>
                <a:cubicBezTo>
                  <a:pt x="1960634" y="903099"/>
                  <a:pt x="1966167" y="904098"/>
                  <a:pt x="1971162" y="905923"/>
                </a:cubicBezTo>
                <a:cubicBezTo>
                  <a:pt x="1978635" y="793598"/>
                  <a:pt x="2005222" y="684750"/>
                  <a:pt x="2050425" y="581741"/>
                </a:cubicBezTo>
                <a:cubicBezTo>
                  <a:pt x="2100297" y="468052"/>
                  <a:pt x="2170666" y="366100"/>
                  <a:pt x="2259573" y="278710"/>
                </a:cubicBezTo>
                <a:cubicBezTo>
                  <a:pt x="2348558" y="191243"/>
                  <a:pt x="2451796" y="122622"/>
                  <a:pt x="2566408" y="74749"/>
                </a:cubicBezTo>
                <a:cubicBezTo>
                  <a:pt x="2685073" y="25128"/>
                  <a:pt x="2811019" y="0"/>
                  <a:pt x="2940711" y="0"/>
                </a:cubicBezTo>
                <a:cubicBezTo>
                  <a:pt x="3070403" y="0"/>
                  <a:pt x="3199154" y="25685"/>
                  <a:pt x="3318952" y="76363"/>
                </a:cubicBezTo>
                <a:cubicBezTo>
                  <a:pt x="3434659" y="125312"/>
                  <a:pt x="3538589" y="195374"/>
                  <a:pt x="3627824" y="284608"/>
                </a:cubicBezTo>
                <a:cubicBezTo>
                  <a:pt x="3717058" y="373842"/>
                  <a:pt x="3787119" y="477772"/>
                  <a:pt x="3836068" y="593479"/>
                </a:cubicBezTo>
                <a:cubicBezTo>
                  <a:pt x="3886746" y="713278"/>
                  <a:pt x="3912431" y="840549"/>
                  <a:pt x="3912431" y="971720"/>
                </a:cubicBezTo>
                <a:cubicBezTo>
                  <a:pt x="3912431" y="1102892"/>
                  <a:pt x="3886746" y="1230163"/>
                  <a:pt x="3836068" y="1349962"/>
                </a:cubicBezTo>
                <a:close/>
                <a:moveTo>
                  <a:pt x="2940711" y="18634"/>
                </a:moveTo>
                <a:cubicBezTo>
                  <a:pt x="2436812" y="18634"/>
                  <a:pt x="2017325" y="418738"/>
                  <a:pt x="1989124" y="917776"/>
                </a:cubicBezTo>
                <a:cubicBezTo>
                  <a:pt x="1996942" y="926114"/>
                  <a:pt x="2001745" y="937314"/>
                  <a:pt x="2001745" y="949647"/>
                </a:cubicBezTo>
                <a:cubicBezTo>
                  <a:pt x="2001745" y="975370"/>
                  <a:pt x="1980882" y="996233"/>
                  <a:pt x="1955159" y="996233"/>
                </a:cubicBezTo>
                <a:cubicBezTo>
                  <a:pt x="1929436" y="996233"/>
                  <a:pt x="1908573" y="975370"/>
                  <a:pt x="1908573" y="949647"/>
                </a:cubicBezTo>
                <a:cubicBezTo>
                  <a:pt x="1908573" y="936987"/>
                  <a:pt x="1913645" y="925499"/>
                  <a:pt x="1921848" y="917104"/>
                </a:cubicBezTo>
                <a:cubicBezTo>
                  <a:pt x="1883042" y="422445"/>
                  <a:pt x="1472565" y="40151"/>
                  <a:pt x="971739" y="40151"/>
                </a:cubicBezTo>
                <a:cubicBezTo>
                  <a:pt x="446190" y="40151"/>
                  <a:pt x="18634" y="467706"/>
                  <a:pt x="18634" y="993256"/>
                </a:cubicBezTo>
                <a:cubicBezTo>
                  <a:pt x="18634" y="1518805"/>
                  <a:pt x="446190" y="1946361"/>
                  <a:pt x="971739" y="1946361"/>
                </a:cubicBezTo>
                <a:cubicBezTo>
                  <a:pt x="1077341" y="1946361"/>
                  <a:pt x="1180926" y="1929225"/>
                  <a:pt x="1279861" y="1895452"/>
                </a:cubicBezTo>
                <a:cubicBezTo>
                  <a:pt x="1288295" y="1883522"/>
                  <a:pt x="1302184" y="1875723"/>
                  <a:pt x="1317918" y="1875723"/>
                </a:cubicBezTo>
                <a:cubicBezTo>
                  <a:pt x="1343641" y="1875723"/>
                  <a:pt x="1364504" y="1896586"/>
                  <a:pt x="1364504" y="1922309"/>
                </a:cubicBezTo>
                <a:cubicBezTo>
                  <a:pt x="1364504" y="1945535"/>
                  <a:pt x="1347503" y="1964784"/>
                  <a:pt x="1325276" y="1968299"/>
                </a:cubicBezTo>
                <a:cubicBezTo>
                  <a:pt x="1132111" y="2148285"/>
                  <a:pt x="1021630" y="2401541"/>
                  <a:pt x="1021630" y="2665843"/>
                </a:cubicBezTo>
                <a:cubicBezTo>
                  <a:pt x="1021630" y="3191393"/>
                  <a:pt x="1449185" y="3618948"/>
                  <a:pt x="1974735" y="3618948"/>
                </a:cubicBezTo>
                <a:cubicBezTo>
                  <a:pt x="2500284" y="3618948"/>
                  <a:pt x="2927840" y="3191393"/>
                  <a:pt x="2927840" y="2665843"/>
                </a:cubicBezTo>
                <a:cubicBezTo>
                  <a:pt x="2927840" y="2385347"/>
                  <a:pt x="2806063" y="2122178"/>
                  <a:pt x="2593034" y="1940501"/>
                </a:cubicBezTo>
                <a:cubicBezTo>
                  <a:pt x="2590998" y="1940770"/>
                  <a:pt x="2588942" y="1940924"/>
                  <a:pt x="2586848" y="1940924"/>
                </a:cubicBezTo>
                <a:cubicBezTo>
                  <a:pt x="2561125" y="1940924"/>
                  <a:pt x="2540262" y="1920061"/>
                  <a:pt x="2540262" y="1894338"/>
                </a:cubicBezTo>
                <a:cubicBezTo>
                  <a:pt x="2540262" y="1868615"/>
                  <a:pt x="2561125" y="1847752"/>
                  <a:pt x="2586848" y="1847752"/>
                </a:cubicBezTo>
                <a:cubicBezTo>
                  <a:pt x="2604599" y="1847752"/>
                  <a:pt x="2620025" y="1857684"/>
                  <a:pt x="2627883" y="1872284"/>
                </a:cubicBezTo>
                <a:cubicBezTo>
                  <a:pt x="2728221" y="1907151"/>
                  <a:pt x="2833380" y="1924825"/>
                  <a:pt x="2940730" y="1924825"/>
                </a:cubicBezTo>
                <a:cubicBezTo>
                  <a:pt x="3466280" y="1924825"/>
                  <a:pt x="3893835" y="1497270"/>
                  <a:pt x="3893835" y="971720"/>
                </a:cubicBezTo>
                <a:cubicBezTo>
                  <a:pt x="3893835" y="446171"/>
                  <a:pt x="3466261" y="18634"/>
                  <a:pt x="2940711" y="18634"/>
                </a:cubicBezTo>
                <a:close/>
              </a:path>
            </a:pathLst>
          </a:custGeom>
          <a:gradFill flip="none" rotWithShape="1">
            <a:gsLst>
              <a:gs pos="0">
                <a:srgbClr val="F65567"/>
              </a:gs>
              <a:gs pos="32000">
                <a:srgbClr val="AC35AF"/>
              </a:gs>
              <a:gs pos="68000">
                <a:srgbClr val="0A6BBA"/>
              </a:gs>
              <a:gs pos="100000">
                <a:srgbClr val="318581"/>
              </a:gs>
            </a:gsLst>
            <a:lin ang="10800000" scaled="1"/>
            <a:tileRect/>
          </a:gradFill>
          <a:ln w="63897" cap="flat">
            <a:noFill/>
            <a:prstDash val="solid"/>
            <a:miter/>
          </a:ln>
          <a:effectLst/>
        </p:spPr>
        <p:txBody>
          <a:bodyPr rot="0" spcFirstLastPara="0" vertOverflow="overflow" horzOverflow="overflow" vert="horz" wrap="square" lIns="54864" tIns="27094" rIns="54187" bIns="27094" numCol="1" spcCol="0" rtlCol="0" fromWordArt="0" anchor="ctr" anchorCtr="0" forceAA="0" compatLnSpc="1">
            <a:prstTxWarp prst="textNoShape">
              <a:avLst/>
            </a:prstTxWarp>
            <a:noAutofit/>
          </a:bodyPr>
          <a:lstStyle/>
          <a:p>
            <a:pPr marL="0" marR="0" lvl="0" indent="0" algn="ctr" defTabSz="1865484" rtl="0" eaLnBrk="1" fontAlgn="auto" latinLnBrk="0" hangingPunct="1">
              <a:lnSpc>
                <a:spcPct val="100000"/>
              </a:lnSpc>
              <a:spcBef>
                <a:spcPts val="1200"/>
              </a:spcBef>
              <a:spcAft>
                <a:spcPts val="1200"/>
              </a:spcAft>
              <a:buClr>
                <a:srgbClr val="0078D4"/>
              </a:buClr>
              <a:buSzPct val="90000"/>
              <a:buFontTx/>
              <a:buNone/>
              <a:tabLst/>
              <a:defRPr/>
            </a:pPr>
            <a:endParaRPr kumimoji="0" lang="en-GB"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A6EAC2D3-DF0F-A7D2-394F-261B77016C41}"/>
              </a:ext>
            </a:extLst>
          </p:cNvPr>
          <p:cNvSpPr txBox="1"/>
          <p:nvPr/>
        </p:nvSpPr>
        <p:spPr>
          <a:xfrm>
            <a:off x="5288233" y="4727188"/>
            <a:ext cx="1724183" cy="21544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I Consulting</a:t>
            </a:r>
          </a:p>
        </p:txBody>
      </p:sp>
      <p:sp>
        <p:nvSpPr>
          <p:cNvPr id="27" name="TextBox 26">
            <a:extLst>
              <a:ext uri="{FF2B5EF4-FFF2-40B4-BE49-F238E27FC236}">
                <a16:creationId xmlns:a16="http://schemas.microsoft.com/office/drawing/2014/main" id="{1BFC61ED-6469-E60A-B56F-7B034C58745C}"/>
              </a:ext>
            </a:extLst>
          </p:cNvPr>
          <p:cNvSpPr txBox="1">
            <a:spLocks/>
          </p:cNvSpPr>
          <p:nvPr/>
        </p:nvSpPr>
        <p:spPr>
          <a:xfrm>
            <a:off x="971083" y="2556086"/>
            <a:ext cx="2972871"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A1A1A"/>
                </a:solidFill>
                <a:effectLst/>
                <a:uLnTx/>
                <a:uFillTx/>
                <a:latin typeface="Segoe UI"/>
                <a:ea typeface="+mn-ea"/>
                <a:cs typeface="+mn-cs"/>
              </a:rPr>
              <a:t>Drive Platform health and success </a:t>
            </a:r>
          </a:p>
        </p:txBody>
      </p:sp>
      <p:sp>
        <p:nvSpPr>
          <p:cNvPr id="28" name="TextBox 27">
            <a:extLst>
              <a:ext uri="{FF2B5EF4-FFF2-40B4-BE49-F238E27FC236}">
                <a16:creationId xmlns:a16="http://schemas.microsoft.com/office/drawing/2014/main" id="{C7BF6A11-C9CE-462E-824A-502C0A2DBBF0}"/>
              </a:ext>
            </a:extLst>
          </p:cNvPr>
          <p:cNvSpPr txBox="1"/>
          <p:nvPr/>
        </p:nvSpPr>
        <p:spPr>
          <a:xfrm>
            <a:off x="8368243" y="2556086"/>
            <a:ext cx="2772044"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A1A1A"/>
                </a:solidFill>
                <a:effectLst/>
                <a:uLnTx/>
                <a:uFillTx/>
                <a:latin typeface="Segoe UI"/>
                <a:ea typeface="+mn-ea"/>
                <a:cs typeface="+mn-cs"/>
              </a:rPr>
              <a:t>Jumpstart deployments with hands-on delivery by Microsoft experts </a:t>
            </a:r>
          </a:p>
        </p:txBody>
      </p:sp>
      <p:sp>
        <p:nvSpPr>
          <p:cNvPr id="29" name="TextBox 28">
            <a:extLst>
              <a:ext uri="{FF2B5EF4-FFF2-40B4-BE49-F238E27FC236}">
                <a16:creationId xmlns:a16="http://schemas.microsoft.com/office/drawing/2014/main" id="{7588E8C3-D321-4BA2-A56C-58FCB0346DC7}"/>
              </a:ext>
            </a:extLst>
          </p:cNvPr>
          <p:cNvSpPr txBox="1"/>
          <p:nvPr/>
        </p:nvSpPr>
        <p:spPr>
          <a:xfrm>
            <a:off x="1740392" y="5155722"/>
            <a:ext cx="333733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A1A1A"/>
                </a:solidFill>
                <a:effectLst/>
                <a:uLnTx/>
                <a:uFillTx/>
                <a:latin typeface="Segoe UI"/>
                <a:ea typeface="+mn-ea"/>
                <a:cs typeface="+mn-cs"/>
              </a:rPr>
              <a:t>Drive Transformation journeys with end-to-end ownership</a:t>
            </a:r>
          </a:p>
        </p:txBody>
      </p:sp>
      <p:sp>
        <p:nvSpPr>
          <p:cNvPr id="30" name="Announcing">
            <a:extLst>
              <a:ext uri="{FF2B5EF4-FFF2-40B4-BE49-F238E27FC236}">
                <a16:creationId xmlns:a16="http://schemas.microsoft.com/office/drawing/2014/main" id="{C5E72100-8A71-D87C-F2DD-9374493C8359}"/>
              </a:ext>
              <a:ext uri="{C183D7F6-B498-43B3-948B-1728B52AA6E4}">
                <adec:decorative xmlns:adec="http://schemas.microsoft.com/office/drawing/2017/decorative" val="0"/>
              </a:ext>
            </a:extLst>
          </p:cNvPr>
          <p:cNvSpPr/>
          <p:nvPr/>
        </p:nvSpPr>
        <p:spPr bwMode="auto">
          <a:xfrm>
            <a:off x="1671970" y="6044778"/>
            <a:ext cx="8496958" cy="430894"/>
          </a:xfrm>
          <a:prstGeom prst="roundRect">
            <a:avLst>
              <a:gd name="adj" fmla="val 50000"/>
            </a:avLst>
          </a:prstGeom>
          <a:gradFill flip="none" rotWithShape="1">
            <a:gsLst>
              <a:gs pos="0">
                <a:srgbClr val="F65567"/>
              </a:gs>
              <a:gs pos="32000">
                <a:srgbClr val="AC35AF"/>
              </a:gs>
              <a:gs pos="68000">
                <a:srgbClr val="0A6BBA"/>
              </a:gs>
              <a:gs pos="100000">
                <a:srgbClr val="318581"/>
              </a:gs>
            </a:gsLst>
            <a:lin ang="10800000" scaled="1"/>
            <a:tileRect/>
          </a:gradFill>
          <a:ln w="63897" cap="flat">
            <a:noFill/>
            <a:prstDash val="solid"/>
            <a:miter/>
          </a:ln>
          <a:effectLst/>
        </p:spPr>
        <p:txBody>
          <a:bodyPr rot="0" spcFirstLastPara="0" vertOverflow="overflow" horzOverflow="overflow" vert="horz" wrap="square" lIns="54864" tIns="27094" rIns="54187" bIns="27094" numCol="1" spcCol="0" rtlCol="0" fromWordArt="0" anchor="ctr" anchorCtr="0" forceAA="0" compatLnSpc="1">
            <a:prstTxWarp prst="textNoShape">
              <a:avLst/>
            </a:prstTxWarp>
            <a:noAutofit/>
          </a:bodyPr>
          <a:lstStyle/>
          <a:p>
            <a:pPr marL="0" marR="0" lvl="0" indent="0" algn="ctr" defTabSz="1865484" rtl="0" eaLnBrk="1" fontAlgn="auto" latinLnBrk="0" hangingPunct="1">
              <a:lnSpc>
                <a:spcPct val="100000"/>
              </a:lnSpc>
              <a:spcBef>
                <a:spcPts val="1200"/>
              </a:spcBef>
              <a:spcAft>
                <a:spcPts val="1200"/>
              </a:spcAft>
              <a:buClr>
                <a:srgbClr val="0078D4"/>
              </a:buClr>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Unified &amp; Factory applied as first order of delivery operations</a:t>
            </a:r>
          </a:p>
        </p:txBody>
      </p:sp>
      <p:grpSp>
        <p:nvGrpSpPr>
          <p:cNvPr id="31" name="Group 30">
            <a:extLst>
              <a:ext uri="{FF2B5EF4-FFF2-40B4-BE49-F238E27FC236}">
                <a16:creationId xmlns:a16="http://schemas.microsoft.com/office/drawing/2014/main" id="{58082BE8-9822-9299-710B-B79CBCBC6520}"/>
              </a:ext>
            </a:extLst>
          </p:cNvPr>
          <p:cNvGrpSpPr/>
          <p:nvPr/>
        </p:nvGrpSpPr>
        <p:grpSpPr>
          <a:xfrm>
            <a:off x="4160246" y="2471041"/>
            <a:ext cx="1724183" cy="736281"/>
            <a:chOff x="4337319" y="2314475"/>
            <a:chExt cx="1724183" cy="736281"/>
          </a:xfrm>
        </p:grpSpPr>
        <p:sp>
          <p:nvSpPr>
            <p:cNvPr id="33" name="TextBox 32">
              <a:extLst>
                <a:ext uri="{FF2B5EF4-FFF2-40B4-BE49-F238E27FC236}">
                  <a16:creationId xmlns:a16="http://schemas.microsoft.com/office/drawing/2014/main" id="{3A874E4F-3160-D828-D527-6DF0F91DE764}"/>
                </a:ext>
              </a:extLst>
            </p:cNvPr>
            <p:cNvSpPr txBox="1"/>
            <p:nvPr/>
          </p:nvSpPr>
          <p:spPr>
            <a:xfrm>
              <a:off x="4337319" y="2835312"/>
              <a:ext cx="1724183" cy="21544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Unified</a:t>
              </a:r>
            </a:p>
          </p:txBody>
        </p:sp>
        <p:pic>
          <p:nvPicPr>
            <p:cNvPr id="34" name="Graphic 33" descr="Shield Tick with solid fill">
              <a:extLst>
                <a:ext uri="{FF2B5EF4-FFF2-40B4-BE49-F238E27FC236}">
                  <a16:creationId xmlns:a16="http://schemas.microsoft.com/office/drawing/2014/main" id="{8B1A896C-FAE6-94DB-FF47-030FD0FE8F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9065" y="2314475"/>
              <a:ext cx="460692" cy="460692"/>
            </a:xfrm>
            <a:prstGeom prst="rect">
              <a:avLst/>
            </a:prstGeom>
          </p:spPr>
        </p:pic>
      </p:grpSp>
      <p:pic>
        <p:nvPicPr>
          <p:cNvPr id="35" name="Graphic 34" descr="Fluorescent Light Bulb with solid fill">
            <a:extLst>
              <a:ext uri="{FF2B5EF4-FFF2-40B4-BE49-F238E27FC236}">
                <a16:creationId xmlns:a16="http://schemas.microsoft.com/office/drawing/2014/main" id="{9E1DE550-DF9F-B65D-BAEC-D507224830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2906" y="4169278"/>
            <a:ext cx="534838" cy="534838"/>
          </a:xfrm>
          <a:prstGeom prst="rect">
            <a:avLst/>
          </a:prstGeom>
        </p:spPr>
      </p:pic>
      <p:grpSp>
        <p:nvGrpSpPr>
          <p:cNvPr id="36" name="Group 35">
            <a:extLst>
              <a:ext uri="{FF2B5EF4-FFF2-40B4-BE49-F238E27FC236}">
                <a16:creationId xmlns:a16="http://schemas.microsoft.com/office/drawing/2014/main" id="{42DD0223-811E-524C-1CE8-7B769AA175D1}"/>
              </a:ext>
            </a:extLst>
          </p:cNvPr>
          <p:cNvGrpSpPr/>
          <p:nvPr/>
        </p:nvGrpSpPr>
        <p:grpSpPr>
          <a:xfrm>
            <a:off x="6418881" y="2524315"/>
            <a:ext cx="1724183" cy="989683"/>
            <a:chOff x="6133767" y="2096397"/>
            <a:chExt cx="1724183" cy="989683"/>
          </a:xfrm>
          <a:solidFill>
            <a:srgbClr val="F45469"/>
          </a:solidFill>
        </p:grpSpPr>
        <p:sp>
          <p:nvSpPr>
            <p:cNvPr id="38" name="TextBox 37">
              <a:extLst>
                <a:ext uri="{FF2B5EF4-FFF2-40B4-BE49-F238E27FC236}">
                  <a16:creationId xmlns:a16="http://schemas.microsoft.com/office/drawing/2014/main" id="{6D5C7EA7-EDE0-C7C4-F626-5D8F8086BB96}"/>
                </a:ext>
              </a:extLst>
            </p:cNvPr>
            <p:cNvSpPr txBox="1"/>
            <p:nvPr/>
          </p:nvSpPr>
          <p:spPr>
            <a:xfrm>
              <a:off x="6133767" y="2655193"/>
              <a:ext cx="1724183" cy="43088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Cloud Acceler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Factory</a:t>
              </a:r>
            </a:p>
          </p:txBody>
        </p:sp>
        <p:pic>
          <p:nvPicPr>
            <p:cNvPr id="39" name="Graphic 38">
              <a:extLst>
                <a:ext uri="{FF2B5EF4-FFF2-40B4-BE49-F238E27FC236}">
                  <a16:creationId xmlns:a16="http://schemas.microsoft.com/office/drawing/2014/main" id="{74441F1B-90D8-AEE5-D9A6-0E04E7A1A4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58436" y="2096397"/>
              <a:ext cx="450365" cy="450365"/>
            </a:xfrm>
            <a:prstGeom prst="rect">
              <a:avLst/>
            </a:prstGeom>
          </p:spPr>
        </p:pic>
      </p:grpSp>
      <p:sp>
        <p:nvSpPr>
          <p:cNvPr id="40" name="Title 194">
            <a:extLst>
              <a:ext uri="{FF2B5EF4-FFF2-40B4-BE49-F238E27FC236}">
                <a16:creationId xmlns:a16="http://schemas.microsoft.com/office/drawing/2014/main" id="{126FA908-56F0-58E0-A8D3-23542BE8A51D}"/>
              </a:ext>
            </a:extLst>
          </p:cNvPr>
          <p:cNvSpPr txBox="1">
            <a:spLocks/>
          </p:cNvSpPr>
          <p:nvPr/>
        </p:nvSpPr>
        <p:spPr>
          <a:xfrm>
            <a:off x="717663" y="1107506"/>
            <a:ext cx="104025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457109"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50" normalizeH="0" baseline="0" noProof="0">
                <a:ln w="3175">
                  <a:noFill/>
                </a:ln>
                <a:solidFill>
                  <a:srgbClr val="2A446F"/>
                </a:solidFill>
                <a:effectLst/>
                <a:uLnTx/>
                <a:uFillTx/>
                <a:latin typeface="Segoe UI Semibold"/>
                <a:ea typeface="+mn-ea"/>
                <a:cs typeface="Segoe UI" pitchFamily="34" charset="0"/>
              </a:rPr>
              <a:t>Maximize customer value acceleration with efficiency across the holistic cloud journey</a:t>
            </a:r>
            <a:endParaRPr kumimoji="0" lang="en-US" sz="1800" b="0" i="0" u="none" strike="noStrike" kern="1200" cap="none" spc="0" normalizeH="0" baseline="0" noProof="0">
              <a:ln w="3175">
                <a:noFill/>
              </a:ln>
              <a:solidFill>
                <a:srgbClr val="2A446F"/>
              </a:solidFill>
              <a:effectLst/>
              <a:uLnTx/>
              <a:uFillTx/>
              <a:latin typeface="Segoe UI Semibold"/>
              <a:ea typeface="+mn-ea"/>
              <a:cs typeface="Segoe Sans Text Semibold" pitchFamily="2" charset="0"/>
            </a:endParaRPr>
          </a:p>
        </p:txBody>
      </p:sp>
      <p:sp>
        <p:nvSpPr>
          <p:cNvPr id="41" name="TextBox 40">
            <a:extLst>
              <a:ext uri="{FF2B5EF4-FFF2-40B4-BE49-F238E27FC236}">
                <a16:creationId xmlns:a16="http://schemas.microsoft.com/office/drawing/2014/main" id="{3E30A531-B7C6-5DBD-AC52-CA1AA60F8FE8}"/>
              </a:ext>
            </a:extLst>
          </p:cNvPr>
          <p:cNvSpPr txBox="1"/>
          <p:nvPr/>
        </p:nvSpPr>
        <p:spPr>
          <a:xfrm>
            <a:off x="6483815" y="2158617"/>
            <a:ext cx="1569836" cy="320978"/>
          </a:xfrm>
          <a:prstGeom prst="wave">
            <a:avLst>
              <a:gd name="adj1" fmla="val 12500"/>
              <a:gd name="adj2" fmla="val 1847"/>
            </a:avLst>
          </a:prstGeom>
          <a:solidFill>
            <a:srgbClr val="F45469"/>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A1A1A"/>
                </a:solidFill>
                <a:effectLst/>
                <a:uLnTx/>
                <a:uFillTx/>
                <a:latin typeface="Segoe UI"/>
                <a:ea typeface="+mn-ea"/>
                <a:cs typeface="+mn-cs"/>
              </a:rPr>
              <a:t>Azure Accelerate Benefit</a:t>
            </a:r>
          </a:p>
        </p:txBody>
      </p:sp>
    </p:spTree>
    <p:extLst>
      <p:ext uri="{BB962C8B-B14F-4D97-AF65-F5344CB8AC3E}">
        <p14:creationId xmlns:p14="http://schemas.microsoft.com/office/powerpoint/2010/main" val="387698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42" presetClass="path" presetSubtype="0" decel="100000" fill="hold" grpId="1" nodeType="withEffect">
                                  <p:stCondLst>
                                    <p:cond delay="100"/>
                                  </p:stCondLst>
                                  <p:childTnLst>
                                    <p:animMotion origin="layout" path="M 0 1.85185E-6 L 0 0.03541 " pathEditMode="relative" rAng="0" ptsTypes="AA">
                                      <p:cBhvr>
                                        <p:cTn id="12" dur="700" spd="-100000" fill="hold"/>
                                        <p:tgtEl>
                                          <p:spTgt spid="30"/>
                                        </p:tgtEl>
                                        <p:attrNameLst>
                                          <p:attrName>ppt_x</p:attrName>
                                          <p:attrName>ppt_y</p:attrName>
                                        </p:attrNameLst>
                                      </p:cBhvr>
                                      <p:rCtr x="0" y="1759"/>
                                    </p:animMotion>
                                  </p:childTnLst>
                                </p:cTn>
                              </p:par>
                              <p:par>
                                <p:cTn id="13" presetID="10" presetClass="entr" presetSubtype="0" fill="hold" grpId="0" nodeType="withEffect">
                                  <p:stCondLst>
                                    <p:cond delay="3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300"/>
                                        <p:tgtEl>
                                          <p:spTgt spid="27"/>
                                        </p:tgtEl>
                                      </p:cBhvr>
                                    </p:animEffect>
                                  </p:childTnLst>
                                </p:cTn>
                              </p:par>
                              <p:par>
                                <p:cTn id="16" presetID="6" presetClass="emph" presetSubtype="0" accel="100000" autoRev="1" fill="hold" grpId="1" nodeType="withEffect">
                                  <p:stCondLst>
                                    <p:cond delay="0"/>
                                  </p:stCondLst>
                                  <p:childTnLst>
                                    <p:animScale>
                                      <p:cBhvr>
                                        <p:cTn id="17" dur="300" fill="hold"/>
                                        <p:tgtEl>
                                          <p:spTgt spid="27"/>
                                        </p:tgtEl>
                                      </p:cBhvr>
                                      <p:by x="80000" y="80000"/>
                                    </p:animScale>
                                  </p:childTnLst>
                                </p:cTn>
                              </p:par>
                              <p:par>
                                <p:cTn id="18" presetID="10" presetClass="entr" presetSubtype="0" fill="hold" grpId="0" nodeType="withEffect">
                                  <p:stCondLst>
                                    <p:cond delay="30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300"/>
                                        <p:tgtEl>
                                          <p:spTgt spid="25"/>
                                        </p:tgtEl>
                                      </p:cBhvr>
                                    </p:animEffect>
                                  </p:childTnLst>
                                </p:cTn>
                              </p:par>
                              <p:par>
                                <p:cTn id="21" presetID="6" presetClass="emph" presetSubtype="0" accel="100000" autoRev="1" fill="hold" grpId="1" nodeType="withEffect">
                                  <p:stCondLst>
                                    <p:cond delay="0"/>
                                  </p:stCondLst>
                                  <p:childTnLst>
                                    <p:animScale>
                                      <p:cBhvr>
                                        <p:cTn id="22" dur="300" fill="hold"/>
                                        <p:tgtEl>
                                          <p:spTgt spid="25"/>
                                        </p:tgtEl>
                                      </p:cBhvr>
                                      <p:by x="80000" y="80000"/>
                                    </p:animScale>
                                  </p:childTnLst>
                                </p:cTn>
                              </p:par>
                              <p:par>
                                <p:cTn id="23" presetID="10" presetClass="entr" presetSubtype="0" fill="hold" nodeType="withEffect">
                                  <p:stCondLst>
                                    <p:cond delay="30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300"/>
                                        <p:tgtEl>
                                          <p:spTgt spid="31"/>
                                        </p:tgtEl>
                                      </p:cBhvr>
                                    </p:animEffect>
                                  </p:childTnLst>
                                </p:cTn>
                              </p:par>
                              <p:par>
                                <p:cTn id="26" presetID="6" presetClass="emph" presetSubtype="0" accel="100000" autoRev="1" fill="hold" nodeType="withEffect">
                                  <p:stCondLst>
                                    <p:cond delay="0"/>
                                  </p:stCondLst>
                                  <p:childTnLst>
                                    <p:animScale>
                                      <p:cBhvr>
                                        <p:cTn id="27" dur="300" fill="hold"/>
                                        <p:tgtEl>
                                          <p:spTgt spid="31"/>
                                        </p:tgtEl>
                                      </p:cBhvr>
                                      <p:by x="80000" y="80000"/>
                                    </p:animScale>
                                  </p:childTnLst>
                                </p:cTn>
                              </p:par>
                              <p:par>
                                <p:cTn id="28" presetID="10" presetClass="entr" presetSubtype="0" fill="hold" nodeType="withEffect">
                                  <p:stCondLst>
                                    <p:cond delay="30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300"/>
                                        <p:tgtEl>
                                          <p:spTgt spid="36"/>
                                        </p:tgtEl>
                                      </p:cBhvr>
                                    </p:animEffect>
                                  </p:childTnLst>
                                </p:cTn>
                              </p:par>
                              <p:par>
                                <p:cTn id="31" presetID="6" presetClass="emph" presetSubtype="0" accel="100000" autoRev="1" fill="hold" nodeType="withEffect">
                                  <p:stCondLst>
                                    <p:cond delay="0"/>
                                  </p:stCondLst>
                                  <p:childTnLst>
                                    <p:animScale>
                                      <p:cBhvr>
                                        <p:cTn id="32" dur="300" fill="hold"/>
                                        <p:tgtEl>
                                          <p:spTgt spid="36"/>
                                        </p:tgtEl>
                                      </p:cBhvr>
                                      <p:by x="80000" y="80000"/>
                                    </p:animScale>
                                  </p:childTnLst>
                                </p:cTn>
                              </p:par>
                              <p:par>
                                <p:cTn id="33" presetID="10" presetClass="entr" presetSubtype="0"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par>
                                <p:cTn id="36" presetID="10" presetClass="entr" presetSubtype="0" fill="hold" grpId="0" nodeType="withEffect">
                                  <p:stCondLst>
                                    <p:cond delay="30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300"/>
                                        <p:tgtEl>
                                          <p:spTgt spid="28"/>
                                        </p:tgtEl>
                                      </p:cBhvr>
                                    </p:animEffect>
                                  </p:childTnLst>
                                </p:cTn>
                              </p:par>
                              <p:par>
                                <p:cTn id="39" presetID="6" presetClass="emph" presetSubtype="0" accel="100000" autoRev="1" fill="hold" grpId="1" nodeType="withEffect">
                                  <p:stCondLst>
                                    <p:cond delay="0"/>
                                  </p:stCondLst>
                                  <p:childTnLst>
                                    <p:animScale>
                                      <p:cBhvr>
                                        <p:cTn id="40" dur="300" fill="hold"/>
                                        <p:tgtEl>
                                          <p:spTgt spid="28"/>
                                        </p:tgtEl>
                                      </p:cBhvr>
                                      <p:by x="80000" y="80000"/>
                                    </p:animScale>
                                  </p:childTnLst>
                                </p:cTn>
                              </p:par>
                              <p:par>
                                <p:cTn id="41" presetID="10" presetClass="entr" presetSubtype="0" fill="hold" nodeType="withEffect">
                                  <p:stCondLst>
                                    <p:cond delay="30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300"/>
                                        <p:tgtEl>
                                          <p:spTgt spid="35"/>
                                        </p:tgtEl>
                                      </p:cBhvr>
                                    </p:animEffect>
                                  </p:childTnLst>
                                </p:cTn>
                              </p:par>
                              <p:par>
                                <p:cTn id="44" presetID="6" presetClass="emph" presetSubtype="0" accel="100000" autoRev="1" fill="hold" nodeType="withEffect">
                                  <p:stCondLst>
                                    <p:cond delay="0"/>
                                  </p:stCondLst>
                                  <p:childTnLst>
                                    <p:animScale>
                                      <p:cBhvr>
                                        <p:cTn id="45" dur="300" fill="hold"/>
                                        <p:tgtEl>
                                          <p:spTgt spid="35"/>
                                        </p:tgtEl>
                                      </p:cBhvr>
                                      <p:by x="80000" y="80000"/>
                                    </p:animScale>
                                  </p:childTnLst>
                                </p:cTn>
                              </p:par>
                              <p:par>
                                <p:cTn id="46" presetID="10" presetClass="entr" presetSubtype="0" fill="hold" grpId="0" nodeType="withEffect">
                                  <p:stCondLst>
                                    <p:cond delay="30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300"/>
                                        <p:tgtEl>
                                          <p:spTgt spid="26"/>
                                        </p:tgtEl>
                                      </p:cBhvr>
                                    </p:animEffect>
                                  </p:childTnLst>
                                </p:cTn>
                              </p:par>
                              <p:par>
                                <p:cTn id="49" presetID="6" presetClass="emph" presetSubtype="0" accel="100000" autoRev="1" fill="hold" grpId="1" nodeType="withEffect">
                                  <p:stCondLst>
                                    <p:cond delay="0"/>
                                  </p:stCondLst>
                                  <p:childTnLst>
                                    <p:animScale>
                                      <p:cBhvr>
                                        <p:cTn id="50" dur="300" fill="hold"/>
                                        <p:tgtEl>
                                          <p:spTgt spid="26"/>
                                        </p:tgtEl>
                                      </p:cBhvr>
                                      <p:by x="80000" y="80000"/>
                                    </p:animScale>
                                  </p:childTnLst>
                                </p:cTn>
                              </p:par>
                              <p:par>
                                <p:cTn id="51" presetID="10" presetClass="entr" presetSubtype="0" fill="hold" grpId="0" nodeType="withEffect">
                                  <p:stCondLst>
                                    <p:cond delay="30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300"/>
                                        <p:tgtEl>
                                          <p:spTgt spid="29"/>
                                        </p:tgtEl>
                                      </p:cBhvr>
                                    </p:animEffect>
                                  </p:childTnLst>
                                </p:cTn>
                              </p:par>
                              <p:par>
                                <p:cTn id="54" presetID="6" presetClass="emph" presetSubtype="0" accel="100000" autoRev="1" fill="hold" grpId="1" nodeType="withEffect">
                                  <p:stCondLst>
                                    <p:cond delay="0"/>
                                  </p:stCondLst>
                                  <p:childTnLst>
                                    <p:animScale>
                                      <p:cBhvr>
                                        <p:cTn id="55" dur="300" fill="hold"/>
                                        <p:tgtEl>
                                          <p:spTgt spid="29"/>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5" grpId="1" animBg="1"/>
      <p:bldP spid="26" grpId="0"/>
      <p:bldP spid="26" grpId="1"/>
      <p:bldP spid="27" grpId="0"/>
      <p:bldP spid="27" grpId="1"/>
      <p:bldP spid="28" grpId="0"/>
      <p:bldP spid="28" grpId="1"/>
      <p:bldP spid="29" grpId="0"/>
      <p:bldP spid="29" grpId="1"/>
      <p:bldP spid="30" grpId="0" animBg="1"/>
      <p:bldP spid="30" grpId="1" animBg="1"/>
      <p:bldP spid="41"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4B83D-88F2-3319-F3E2-8B8ADEF9DA51}"/>
            </a:ext>
          </a:extLst>
        </p:cNvPr>
        <p:cNvGrpSpPr/>
        <p:nvPr/>
      </p:nvGrpSpPr>
      <p:grpSpPr>
        <a:xfrm>
          <a:off x="0" y="0"/>
          <a:ext cx="0" cy="0"/>
          <a:chOff x="0" y="0"/>
          <a:chExt cx="0" cy="0"/>
        </a:xfrm>
      </p:grpSpPr>
      <p:sp>
        <p:nvSpPr>
          <p:cNvPr id="83" name="Rectangle: Rounded Corners 82">
            <a:extLst>
              <a:ext uri="{FF2B5EF4-FFF2-40B4-BE49-F238E27FC236}">
                <a16:creationId xmlns:a16="http://schemas.microsoft.com/office/drawing/2014/main" id="{3A46A1F8-12FA-94CA-9ACC-2B31D3056B09}"/>
              </a:ext>
              <a:ext uri="{C183D7F6-B498-43B3-948B-1728B52AA6E4}">
                <adec:decorative xmlns:adec="http://schemas.microsoft.com/office/drawing/2017/decorative" val="1"/>
              </a:ext>
            </a:extLst>
          </p:cNvPr>
          <p:cNvSpPr/>
          <p:nvPr/>
        </p:nvSpPr>
        <p:spPr bwMode="auto">
          <a:xfrm>
            <a:off x="574160" y="3823885"/>
            <a:ext cx="2681880" cy="914400"/>
          </a:xfrm>
          <a:prstGeom prst="roundRect">
            <a:avLst>
              <a:gd name="adj" fmla="val 1423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35" name="Rectangle: Rounded Corners 34">
            <a:extLst>
              <a:ext uri="{FF2B5EF4-FFF2-40B4-BE49-F238E27FC236}">
                <a16:creationId xmlns:a16="http://schemas.microsoft.com/office/drawing/2014/main" id="{B394720D-5F11-B41F-BE29-A9DF8E0FE1DA}"/>
              </a:ext>
              <a:ext uri="{C183D7F6-B498-43B3-948B-1728B52AA6E4}">
                <adec:decorative xmlns:adec="http://schemas.microsoft.com/office/drawing/2017/decorative" val="1"/>
              </a:ext>
            </a:extLst>
          </p:cNvPr>
          <p:cNvSpPr>
            <a:spLocks/>
          </p:cNvSpPr>
          <p:nvPr/>
        </p:nvSpPr>
        <p:spPr bwMode="auto">
          <a:xfrm>
            <a:off x="574160" y="3868335"/>
            <a:ext cx="2681880" cy="1812333"/>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 name="Title 15">
            <a:extLst>
              <a:ext uri="{FF2B5EF4-FFF2-40B4-BE49-F238E27FC236}">
                <a16:creationId xmlns:a16="http://schemas.microsoft.com/office/drawing/2014/main" id="{F8B8E055-3AC8-33EC-345A-22415F2B05DA}"/>
              </a:ext>
            </a:extLst>
          </p:cNvPr>
          <p:cNvSpPr>
            <a:spLocks noGrp="1"/>
          </p:cNvSpPr>
          <p:nvPr>
            <p:ph type="title"/>
          </p:nvPr>
        </p:nvSpPr>
        <p:spPr>
          <a:xfrm>
            <a:off x="571500" y="520396"/>
            <a:ext cx="11049000" cy="492443"/>
          </a:xfrm>
        </p:spPr>
        <p:txBody>
          <a:bodyPr>
            <a:normAutofit/>
          </a:bodyPr>
          <a:lstStyle/>
          <a:p>
            <a:r>
              <a:rPr lang="en-US" sz="2800">
                <a:solidFill>
                  <a:schemeClr val="tx1"/>
                </a:solidFill>
                <a:ea typeface="+mj-ea"/>
                <a:cs typeface="+mj-cs"/>
              </a:rPr>
              <a:t>Community Key Changes </a:t>
            </a:r>
            <a:r>
              <a:rPr lang="en-US" sz="2800">
                <a:ea typeface="+mj-ea"/>
                <a:cs typeface="+mj-cs"/>
              </a:rPr>
              <a:t>| </a:t>
            </a:r>
            <a:r>
              <a:rPr lang="en-US" sz="2800">
                <a:solidFill>
                  <a:schemeClr val="accent1"/>
                </a:solidFill>
                <a:ea typeface="+mj-ea"/>
                <a:cs typeface="+mj-cs"/>
              </a:rPr>
              <a:t>Cloud &amp; AI CSU</a:t>
            </a:r>
          </a:p>
        </p:txBody>
      </p:sp>
      <p:sp>
        <p:nvSpPr>
          <p:cNvPr id="17" name="Rectangle 16">
            <a:extLst>
              <a:ext uri="{FF2B5EF4-FFF2-40B4-BE49-F238E27FC236}">
                <a16:creationId xmlns:a16="http://schemas.microsoft.com/office/drawing/2014/main" id="{C5F27763-57EC-7258-7E50-51BF24E59E93}"/>
              </a:ext>
              <a:ext uri="{C183D7F6-B498-43B3-948B-1728B52AA6E4}">
                <adec:decorative xmlns:adec="http://schemas.microsoft.com/office/drawing/2017/decorative" val="1"/>
              </a:ext>
            </a:extLst>
          </p:cNvPr>
          <p:cNvSpPr/>
          <p:nvPr/>
        </p:nvSpPr>
        <p:spPr bwMode="auto">
          <a:xfrm>
            <a:off x="0" y="5771569"/>
            <a:ext cx="12192000" cy="529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Sans Text" pitchFamily="2" charset="0"/>
            </a:endParaRPr>
          </a:p>
        </p:txBody>
      </p:sp>
      <p:sp>
        <p:nvSpPr>
          <p:cNvPr id="18" name="Rectangle: Rounded Corners 17">
            <a:extLst>
              <a:ext uri="{FF2B5EF4-FFF2-40B4-BE49-F238E27FC236}">
                <a16:creationId xmlns:a16="http://schemas.microsoft.com/office/drawing/2014/main" id="{091FF5C6-EEEB-72D2-8825-4B75CE8685A2}"/>
              </a:ext>
              <a:ext uri="{C183D7F6-B498-43B3-948B-1728B52AA6E4}">
                <adec:decorative xmlns:adec="http://schemas.microsoft.com/office/drawing/2017/decorative" val="1"/>
              </a:ext>
            </a:extLst>
          </p:cNvPr>
          <p:cNvSpPr>
            <a:spLocks/>
          </p:cNvSpPr>
          <p:nvPr/>
        </p:nvSpPr>
        <p:spPr bwMode="auto">
          <a:xfrm>
            <a:off x="573878" y="1048994"/>
            <a:ext cx="5468112" cy="2171726"/>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0" name="Rectangle: Rounded Corners 19">
            <a:extLst>
              <a:ext uri="{FF2B5EF4-FFF2-40B4-BE49-F238E27FC236}">
                <a16:creationId xmlns:a16="http://schemas.microsoft.com/office/drawing/2014/main" id="{076559E5-39BE-1CCA-722B-B6AD3ACB6709}"/>
              </a:ext>
            </a:extLst>
          </p:cNvPr>
          <p:cNvSpPr/>
          <p:nvPr/>
        </p:nvSpPr>
        <p:spPr bwMode="auto">
          <a:xfrm>
            <a:off x="662936" y="1140434"/>
            <a:ext cx="5280028" cy="330677"/>
          </a:xfrm>
          <a:prstGeom prst="roundRect">
            <a:avLst>
              <a:gd name="adj" fmla="val 1544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FY26 Changes</a:t>
            </a:r>
          </a:p>
        </p:txBody>
      </p:sp>
      <p:sp>
        <p:nvSpPr>
          <p:cNvPr id="21" name="Rectangle: Rounded Corners 20">
            <a:extLst>
              <a:ext uri="{FF2B5EF4-FFF2-40B4-BE49-F238E27FC236}">
                <a16:creationId xmlns:a16="http://schemas.microsoft.com/office/drawing/2014/main" id="{C5410CE9-F2DC-7A0D-5CB9-29A24F8705D8}"/>
              </a:ext>
              <a:ext uri="{C183D7F6-B498-43B3-948B-1728B52AA6E4}">
                <adec:decorative xmlns:adec="http://schemas.microsoft.com/office/drawing/2017/decorative" val="1"/>
              </a:ext>
            </a:extLst>
          </p:cNvPr>
          <p:cNvSpPr>
            <a:spLocks/>
          </p:cNvSpPr>
          <p:nvPr/>
        </p:nvSpPr>
        <p:spPr bwMode="auto">
          <a:xfrm>
            <a:off x="6157849" y="1048994"/>
            <a:ext cx="5464239" cy="2171726"/>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26" name="Rectangle: Rounded Corners 25">
            <a:extLst>
              <a:ext uri="{FF2B5EF4-FFF2-40B4-BE49-F238E27FC236}">
                <a16:creationId xmlns:a16="http://schemas.microsoft.com/office/drawing/2014/main" id="{16F0586D-8A9A-6CC0-FEE3-7E2B2B5985DB}"/>
              </a:ext>
            </a:extLst>
          </p:cNvPr>
          <p:cNvSpPr/>
          <p:nvPr/>
        </p:nvSpPr>
        <p:spPr bwMode="auto">
          <a:xfrm>
            <a:off x="6249289" y="1140434"/>
            <a:ext cx="5283329" cy="330677"/>
          </a:xfrm>
          <a:prstGeom prst="roundRect">
            <a:avLst>
              <a:gd name="adj" fmla="val 1544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What Won’t Change</a:t>
            </a:r>
          </a:p>
        </p:txBody>
      </p:sp>
      <p:sp>
        <p:nvSpPr>
          <p:cNvPr id="48" name="Text Placeholder 2">
            <a:extLst>
              <a:ext uri="{FF2B5EF4-FFF2-40B4-BE49-F238E27FC236}">
                <a16:creationId xmlns:a16="http://schemas.microsoft.com/office/drawing/2014/main" id="{8605877C-2479-1DDD-696B-5EEBC73EFF3B}"/>
              </a:ext>
            </a:extLst>
          </p:cNvPr>
          <p:cNvSpPr txBox="1">
            <a:spLocks/>
          </p:cNvSpPr>
          <p:nvPr/>
        </p:nvSpPr>
        <p:spPr>
          <a:xfrm>
            <a:off x="6419915" y="1579723"/>
            <a:ext cx="5062217" cy="1277273"/>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Solution area community calls</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sym typeface="Wingdings" panose="05000000000000000000" pitchFamily="2" charset="2"/>
              </a:rPr>
              <a:t>Broad gathering moments for knowledge share and best practices</a:t>
            </a:r>
          </a:p>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Workload support rigor</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sym typeface="Wingdings" panose="05000000000000000000" pitchFamily="2" charset="2"/>
              </a:rPr>
              <a:t>Office hours with Q&amp;A, peer sharing and tech intensity learning</a:t>
            </a:r>
          </a:p>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Formalized contribution through champion efforts</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sym typeface="Wingdings" panose="05000000000000000000" pitchFamily="2" charset="2"/>
              </a:rPr>
              <a:t>IP development, engineer feedback and customer story contributions </a:t>
            </a:r>
          </a:p>
        </p:txBody>
      </p:sp>
      <p:sp>
        <p:nvSpPr>
          <p:cNvPr id="49" name="Text Placeholder 2">
            <a:extLst>
              <a:ext uri="{FF2B5EF4-FFF2-40B4-BE49-F238E27FC236}">
                <a16:creationId xmlns:a16="http://schemas.microsoft.com/office/drawing/2014/main" id="{464B2BAC-BFBB-4B9D-1F19-103DF547F603}"/>
              </a:ext>
            </a:extLst>
          </p:cNvPr>
          <p:cNvSpPr txBox="1">
            <a:spLocks/>
          </p:cNvSpPr>
          <p:nvPr/>
        </p:nvSpPr>
        <p:spPr>
          <a:xfrm>
            <a:off x="726120" y="1579723"/>
            <a:ext cx="5062217" cy="1585049"/>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Enable role &amp; goal clarity</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Centralized support for solution priorities that drive role success outcomes</a:t>
            </a:r>
          </a:p>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Interactive engagement</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Community engagement connections with global flexibility, knowledge share and feedback</a:t>
            </a:r>
          </a:p>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000000"/>
                </a:solidFill>
                <a:effectLst/>
                <a:uLnTx/>
                <a:uFillTx/>
                <a:latin typeface="Segoe Sans Text Semibold"/>
                <a:ea typeface="+mn-ea"/>
                <a:cs typeface="Segoe UI Semilight" panose="020B0402040204020203" pitchFamily="34" charset="0"/>
              </a:rPr>
              <a:t>Tech intensity communities</a:t>
            </a:r>
          </a:p>
          <a:p>
            <a:pPr marL="0" marR="0" lvl="0" indent="0" algn="l" defTabSz="932742"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Communities to support your depth and breadth (T-shaped tech skills approach) in Cloud &amp; AI</a:t>
            </a:r>
          </a:p>
        </p:txBody>
      </p:sp>
      <p:sp>
        <p:nvSpPr>
          <p:cNvPr id="86" name="Rectangle: Rounded Corners 85">
            <a:extLst>
              <a:ext uri="{FF2B5EF4-FFF2-40B4-BE49-F238E27FC236}">
                <a16:creationId xmlns:a16="http://schemas.microsoft.com/office/drawing/2014/main" id="{A4441605-6A0D-BDFC-08AE-E4C1D8EF8448}"/>
              </a:ext>
              <a:ext uri="{C183D7F6-B498-43B3-948B-1728B52AA6E4}">
                <adec:decorative xmlns:adec="http://schemas.microsoft.com/office/drawing/2017/decorative" val="1"/>
              </a:ext>
            </a:extLst>
          </p:cNvPr>
          <p:cNvSpPr/>
          <p:nvPr/>
        </p:nvSpPr>
        <p:spPr bwMode="auto">
          <a:xfrm>
            <a:off x="3360969" y="3823885"/>
            <a:ext cx="2681880" cy="914400"/>
          </a:xfrm>
          <a:prstGeom prst="roundRect">
            <a:avLst>
              <a:gd name="adj" fmla="val 1423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2" name="Rectangle: Rounded Corners 51">
            <a:extLst>
              <a:ext uri="{FF2B5EF4-FFF2-40B4-BE49-F238E27FC236}">
                <a16:creationId xmlns:a16="http://schemas.microsoft.com/office/drawing/2014/main" id="{402BECB9-168D-752E-9EF2-17C8C971466B}"/>
              </a:ext>
              <a:ext uri="{C183D7F6-B498-43B3-948B-1728B52AA6E4}">
                <adec:decorative xmlns:adec="http://schemas.microsoft.com/office/drawing/2017/decorative" val="1"/>
              </a:ext>
            </a:extLst>
          </p:cNvPr>
          <p:cNvSpPr>
            <a:spLocks/>
          </p:cNvSpPr>
          <p:nvPr/>
        </p:nvSpPr>
        <p:spPr bwMode="auto">
          <a:xfrm>
            <a:off x="3360969" y="3868335"/>
            <a:ext cx="2681880" cy="1812333"/>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8" name="Rectangle: Rounded Corners 87">
            <a:extLst>
              <a:ext uri="{FF2B5EF4-FFF2-40B4-BE49-F238E27FC236}">
                <a16:creationId xmlns:a16="http://schemas.microsoft.com/office/drawing/2014/main" id="{0F6325BF-C14E-91FA-2860-5958BC6F6B0C}"/>
              </a:ext>
              <a:ext uri="{C183D7F6-B498-43B3-948B-1728B52AA6E4}">
                <adec:decorative xmlns:adec="http://schemas.microsoft.com/office/drawing/2017/decorative" val="1"/>
              </a:ext>
            </a:extLst>
          </p:cNvPr>
          <p:cNvSpPr/>
          <p:nvPr/>
        </p:nvSpPr>
        <p:spPr bwMode="auto">
          <a:xfrm>
            <a:off x="6147777" y="3823885"/>
            <a:ext cx="2681880" cy="914400"/>
          </a:xfrm>
          <a:prstGeom prst="roundRect">
            <a:avLst>
              <a:gd name="adj" fmla="val 1423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55" name="Rectangle: Rounded Corners 54">
            <a:extLst>
              <a:ext uri="{FF2B5EF4-FFF2-40B4-BE49-F238E27FC236}">
                <a16:creationId xmlns:a16="http://schemas.microsoft.com/office/drawing/2014/main" id="{CE412B91-D901-0F1A-F9C1-BA4E8894993E}"/>
              </a:ext>
              <a:ext uri="{C183D7F6-B498-43B3-948B-1728B52AA6E4}">
                <adec:decorative xmlns:adec="http://schemas.microsoft.com/office/drawing/2017/decorative" val="1"/>
              </a:ext>
            </a:extLst>
          </p:cNvPr>
          <p:cNvSpPr>
            <a:spLocks/>
          </p:cNvSpPr>
          <p:nvPr/>
        </p:nvSpPr>
        <p:spPr bwMode="auto">
          <a:xfrm>
            <a:off x="6147778" y="3868335"/>
            <a:ext cx="2681880" cy="1812333"/>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9" name="Rectangle: Rounded Corners 88">
            <a:extLst>
              <a:ext uri="{FF2B5EF4-FFF2-40B4-BE49-F238E27FC236}">
                <a16:creationId xmlns:a16="http://schemas.microsoft.com/office/drawing/2014/main" id="{BFEE63C4-2DF0-2787-DF3C-A088DC3F8945}"/>
              </a:ext>
              <a:ext uri="{C183D7F6-B498-43B3-948B-1728B52AA6E4}">
                <adec:decorative xmlns:adec="http://schemas.microsoft.com/office/drawing/2017/decorative" val="1"/>
              </a:ext>
            </a:extLst>
          </p:cNvPr>
          <p:cNvSpPr/>
          <p:nvPr/>
        </p:nvSpPr>
        <p:spPr bwMode="auto">
          <a:xfrm>
            <a:off x="8931766" y="3823885"/>
            <a:ext cx="2681880" cy="914400"/>
          </a:xfrm>
          <a:prstGeom prst="roundRect">
            <a:avLst>
              <a:gd name="adj" fmla="val 1423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Semibold"/>
              <a:ea typeface="+mn-ea"/>
              <a:cs typeface="+mn-cs"/>
            </a:endParaRPr>
          </a:p>
        </p:txBody>
      </p:sp>
      <p:sp>
        <p:nvSpPr>
          <p:cNvPr id="60" name="Rectangle: Rounded Corners 59">
            <a:extLst>
              <a:ext uri="{FF2B5EF4-FFF2-40B4-BE49-F238E27FC236}">
                <a16:creationId xmlns:a16="http://schemas.microsoft.com/office/drawing/2014/main" id="{BEECF3E3-C3A6-C197-3069-4102FC6BCE99}"/>
              </a:ext>
              <a:ext uri="{C183D7F6-B498-43B3-948B-1728B52AA6E4}">
                <adec:decorative xmlns:adec="http://schemas.microsoft.com/office/drawing/2017/decorative" val="1"/>
              </a:ext>
            </a:extLst>
          </p:cNvPr>
          <p:cNvSpPr>
            <a:spLocks/>
          </p:cNvSpPr>
          <p:nvPr/>
        </p:nvSpPr>
        <p:spPr bwMode="auto">
          <a:xfrm>
            <a:off x="8931766" y="3868335"/>
            <a:ext cx="2681880" cy="1812333"/>
          </a:xfrm>
          <a:prstGeom prst="roundRect">
            <a:avLst>
              <a:gd name="adj" fmla="val 2779"/>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39" name="Text Placeholder 2">
            <a:extLst>
              <a:ext uri="{FF2B5EF4-FFF2-40B4-BE49-F238E27FC236}">
                <a16:creationId xmlns:a16="http://schemas.microsoft.com/office/drawing/2014/main" id="{DC9B0993-A21E-6DCD-A966-0714BAAD24F7}"/>
              </a:ext>
            </a:extLst>
          </p:cNvPr>
          <p:cNvSpPr txBox="1">
            <a:spLocks/>
          </p:cNvSpPr>
          <p:nvPr/>
        </p:nvSpPr>
        <p:spPr>
          <a:xfrm>
            <a:off x="756666" y="4269571"/>
            <a:ext cx="2105598" cy="1323439"/>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2A446F"/>
                </a:solidFill>
                <a:effectLst/>
                <a:uLnTx/>
                <a:uFillTx/>
                <a:latin typeface="Segoe Sans Text Semibold"/>
                <a:ea typeface="+mn-ea"/>
                <a:cs typeface="Segoe UI Semilight" panose="020B0402040204020203" pitchFamily="34" charset="0"/>
              </a:rPr>
              <a:t>Web Presence &amp; Viva Engage</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Solution Area Priorities</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Initiatives (e.g. Factory)</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Role execution</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Announcements</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Peer engagement</a:t>
            </a:r>
          </a:p>
        </p:txBody>
      </p:sp>
      <p:sp>
        <p:nvSpPr>
          <p:cNvPr id="41" name="Text Placeholder 2">
            <a:extLst>
              <a:ext uri="{FF2B5EF4-FFF2-40B4-BE49-F238E27FC236}">
                <a16:creationId xmlns:a16="http://schemas.microsoft.com/office/drawing/2014/main" id="{0DBD0E5A-4C0F-DF3C-A416-813DB2953333}"/>
              </a:ext>
            </a:extLst>
          </p:cNvPr>
          <p:cNvSpPr txBox="1">
            <a:spLocks/>
          </p:cNvSpPr>
          <p:nvPr/>
        </p:nvSpPr>
        <p:spPr>
          <a:xfrm>
            <a:off x="3567364" y="4279278"/>
            <a:ext cx="2472670" cy="1438855"/>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2A446F"/>
                </a:solidFill>
                <a:effectLst/>
                <a:uLnTx/>
                <a:uFillTx/>
                <a:latin typeface="Segoe Sans Text Semibold"/>
                <a:ea typeface="+mn-ea"/>
                <a:cs typeface="Segoe UI Semilight" panose="020B0402040204020203" pitchFamily="34" charset="0"/>
              </a:rPr>
              <a:t>Community Calls</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Solution Area calls</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Office Hours</a:t>
            </a:r>
          </a:p>
          <a:p>
            <a:pPr marL="161925" lvl="0" indent="-104775">
              <a:spcBef>
                <a:spcPts val="0"/>
              </a:spcBef>
              <a:spcAft>
                <a:spcPts val="600"/>
              </a:spcAft>
              <a:defRPr/>
            </a:pPr>
            <a:r>
              <a:rPr lang="en-US" sz="1000" kern="0">
                <a:ln/>
                <a:solidFill>
                  <a:srgbClr val="000000"/>
                </a:solidFill>
                <a:cs typeface="Segoe UI Semilight"/>
              </a:rPr>
              <a:t>Tech Intensity Community Call Workload prioritization includes primary and secondary hero products including AI, Fabric, SAP, AKS, App Service, Azure Cosmos DB, Azure SQL, Linux VMs</a:t>
            </a:r>
          </a:p>
        </p:txBody>
      </p:sp>
      <p:sp>
        <p:nvSpPr>
          <p:cNvPr id="40" name="Text Placeholder 2">
            <a:extLst>
              <a:ext uri="{FF2B5EF4-FFF2-40B4-BE49-F238E27FC236}">
                <a16:creationId xmlns:a16="http://schemas.microsoft.com/office/drawing/2014/main" id="{1DA49A45-6B84-5E47-3CC7-5ABCA7BEFE8C}"/>
              </a:ext>
            </a:extLst>
          </p:cNvPr>
          <p:cNvSpPr txBox="1">
            <a:spLocks/>
          </p:cNvSpPr>
          <p:nvPr/>
        </p:nvSpPr>
        <p:spPr>
          <a:xfrm>
            <a:off x="6315074" y="4269571"/>
            <a:ext cx="2243139" cy="1107996"/>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0"/>
              </a:spcBef>
              <a:spcAft>
                <a:spcPts val="400"/>
              </a:spcAft>
              <a:buNone/>
              <a:defRPr/>
            </a:pPr>
            <a:r>
              <a:rPr lang="en-US" sz="1100">
                <a:solidFill>
                  <a:srgbClr val="2A446F"/>
                </a:solidFill>
                <a:latin typeface="Segoe Sans Text Semibold"/>
              </a:rPr>
              <a:t>LevelUp</a:t>
            </a:r>
          </a:p>
          <a:p>
            <a:pPr lvl="0">
              <a:spcBef>
                <a:spcPts val="0"/>
              </a:spcBef>
              <a:spcAft>
                <a:spcPts val="400"/>
              </a:spcAft>
              <a:defRPr/>
            </a:pPr>
            <a:r>
              <a:rPr lang="en-US" sz="1000">
                <a:solidFill>
                  <a:srgbClr val="000000"/>
                </a:solidFill>
              </a:rPr>
              <a:t>Demonstrations, in-depth product readiness and release updates</a:t>
            </a:r>
          </a:p>
          <a:p>
            <a:pPr marL="0" lvl="0" indent="0">
              <a:spcBef>
                <a:spcPts val="0"/>
              </a:spcBef>
              <a:spcAft>
                <a:spcPts val="400"/>
              </a:spcAft>
              <a:buNone/>
              <a:defRPr/>
            </a:pPr>
            <a:r>
              <a:rPr lang="en-US" sz="1100">
                <a:solidFill>
                  <a:srgbClr val="2A446F"/>
                </a:solidFill>
                <a:latin typeface="Segoe Sans Text Semibold"/>
                <a:cs typeface="+mn-cs"/>
              </a:rPr>
              <a:t>VAS Champs</a:t>
            </a:r>
            <a:endParaRPr lang="en-US" sz="1100">
              <a:solidFill>
                <a:srgbClr val="2A446F"/>
              </a:solidFill>
              <a:latin typeface="Segoe Sans Text Semibold"/>
              <a:cs typeface="Segoe Sans Text Semibold"/>
            </a:endParaRPr>
          </a:p>
          <a:p>
            <a:pPr marL="0" lvl="0" indent="0" defTabSz="914400">
              <a:spcBef>
                <a:spcPts val="0"/>
              </a:spcBef>
              <a:spcAft>
                <a:spcPts val="400"/>
              </a:spcAft>
              <a:buSzTx/>
              <a:buNone/>
              <a:defRPr/>
            </a:pPr>
            <a:r>
              <a:rPr lang="en-US" sz="1000">
                <a:solidFill>
                  <a:srgbClr val="000000"/>
                </a:solidFill>
                <a:cs typeface="+mn-cs"/>
              </a:rPr>
              <a:t>Nominated champions to evangelize and scale VAS offers</a:t>
            </a:r>
            <a:endParaRPr lang="en-US" sz="1000">
              <a:solidFill>
                <a:srgbClr val="000000"/>
              </a:solidFill>
              <a:cs typeface="Segoe Sans Text"/>
            </a:endParaRPr>
          </a:p>
        </p:txBody>
      </p:sp>
      <p:sp>
        <p:nvSpPr>
          <p:cNvPr id="82" name="Text Placeholder 2">
            <a:extLst>
              <a:ext uri="{FF2B5EF4-FFF2-40B4-BE49-F238E27FC236}">
                <a16:creationId xmlns:a16="http://schemas.microsoft.com/office/drawing/2014/main" id="{607C6F8D-6D4C-9C71-3888-4C6CD8DC0A9B}"/>
              </a:ext>
            </a:extLst>
          </p:cNvPr>
          <p:cNvSpPr txBox="1">
            <a:spLocks/>
          </p:cNvSpPr>
          <p:nvPr/>
        </p:nvSpPr>
        <p:spPr>
          <a:xfrm>
            <a:off x="9172465" y="4269571"/>
            <a:ext cx="2105598" cy="1284967"/>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Semilight" panose="020B0402040204020203" pitchFamily="34" charset="0"/>
              </a:defRPr>
            </a:lvl1pPr>
            <a:lvl2pPr marL="265176" marR="0" indent="-128016"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Arial" panose="020B0604020202020204" pitchFamily="34" charset="0"/>
              <a:buNone/>
              <a:tabLst/>
              <a:defRPr/>
            </a:pPr>
            <a:r>
              <a:rPr kumimoji="0" lang="en-US" sz="1100" b="0" i="0" u="none" strike="noStrike" kern="0" cap="none" spc="0" normalizeH="0" baseline="0" noProof="0">
                <a:ln/>
                <a:solidFill>
                  <a:srgbClr val="2A446F"/>
                </a:solidFill>
                <a:effectLst/>
                <a:uLnTx/>
                <a:uFillTx/>
                <a:latin typeface="Segoe Sans Text Semibold"/>
                <a:ea typeface="+mn-ea"/>
                <a:cs typeface="Segoe UI Semilight" panose="020B0402040204020203" pitchFamily="34" charset="0"/>
              </a:rPr>
              <a:t>Formalized Contribution</a:t>
            </a:r>
          </a:p>
          <a:p>
            <a:pPr marL="161925" lvl="0" indent="-104775">
              <a:spcBef>
                <a:spcPts val="0"/>
              </a:spcBef>
              <a:spcAft>
                <a:spcPts val="600"/>
              </a:spcAft>
              <a:defRPr/>
            </a:pPr>
            <a:r>
              <a:rPr lang="en-US" sz="1000" kern="0">
                <a:ln/>
                <a:solidFill>
                  <a:srgbClr val="000000"/>
                </a:solidFill>
                <a:cs typeface="Segoe UI Semilight"/>
              </a:rPr>
              <a:t>Prioritized workloads within Cloud &amp; AI Solution Area with the aim to create an extension of Engineering</a:t>
            </a:r>
          </a:p>
          <a:p>
            <a:pPr marL="161925" lvl="0" indent="-104775">
              <a:spcBef>
                <a:spcPts val="0"/>
              </a:spcBef>
              <a:spcAft>
                <a:spcPts val="600"/>
              </a:spcAf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IP Contribution</a:t>
            </a:r>
          </a:p>
          <a:p>
            <a:pPr marL="161925" marR="0" lvl="0" indent="-104775"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000" b="0" i="0" u="none" strike="noStrike" kern="0" cap="none" spc="0" normalizeH="0" baseline="0" noProof="0">
                <a:ln/>
                <a:solidFill>
                  <a:srgbClr val="000000"/>
                </a:solidFill>
                <a:effectLst/>
                <a:uLnTx/>
                <a:uFillTx/>
                <a:latin typeface="Segoe Sans Text"/>
                <a:ea typeface="+mn-ea"/>
                <a:cs typeface="Segoe UI Semilight" panose="020B0402040204020203" pitchFamily="34" charset="0"/>
              </a:rPr>
              <a:t>Engineering feedback and engagement</a:t>
            </a:r>
          </a:p>
        </p:txBody>
      </p:sp>
      <p:grpSp>
        <p:nvGrpSpPr>
          <p:cNvPr id="3" name="Group 2">
            <a:extLst>
              <a:ext uri="{FF2B5EF4-FFF2-40B4-BE49-F238E27FC236}">
                <a16:creationId xmlns:a16="http://schemas.microsoft.com/office/drawing/2014/main" id="{B1FCA96C-BB34-2F64-0573-F4B04951B4DD}"/>
              </a:ext>
              <a:ext uri="{C183D7F6-B498-43B3-948B-1728B52AA6E4}">
                <adec:decorative xmlns:adec="http://schemas.microsoft.com/office/drawing/2017/decorative" val="1"/>
              </a:ext>
            </a:extLst>
          </p:cNvPr>
          <p:cNvGrpSpPr/>
          <p:nvPr/>
        </p:nvGrpSpPr>
        <p:grpSpPr>
          <a:xfrm>
            <a:off x="762978" y="3968823"/>
            <a:ext cx="1981324" cy="202525"/>
            <a:chOff x="762978" y="3968823"/>
            <a:chExt cx="1981324" cy="202525"/>
          </a:xfrm>
        </p:grpSpPr>
        <p:sp>
          <p:nvSpPr>
            <p:cNvPr id="36" name="Rectangle: Rounded Corners 35">
              <a:extLst>
                <a:ext uri="{FF2B5EF4-FFF2-40B4-BE49-F238E27FC236}">
                  <a16:creationId xmlns:a16="http://schemas.microsoft.com/office/drawing/2014/main" id="{FBF4261C-3263-84D3-753A-69A3E96AEEA0}"/>
                </a:ext>
              </a:extLst>
            </p:cNvPr>
            <p:cNvSpPr/>
            <p:nvPr/>
          </p:nvSpPr>
          <p:spPr bwMode="auto">
            <a:xfrm>
              <a:off x="1006942" y="3968823"/>
              <a:ext cx="1737360" cy="202525"/>
            </a:xfrm>
            <a:prstGeom prst="roundRect">
              <a:avLst>
                <a:gd name="adj" fmla="val 1544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Segoe UI" pitchFamily="34" charset="0"/>
                  <a:cs typeface="Segoe Sans Text" pitchFamily="2" charset="0"/>
                </a:rPr>
                <a:t>Always-on</a:t>
              </a:r>
            </a:p>
          </p:txBody>
        </p:sp>
        <p:sp>
          <p:nvSpPr>
            <p:cNvPr id="84" name="Graphic 78">
              <a:extLst>
                <a:ext uri="{FF2B5EF4-FFF2-40B4-BE49-F238E27FC236}">
                  <a16:creationId xmlns:a16="http://schemas.microsoft.com/office/drawing/2014/main" id="{69FFBEB0-78FB-3C48-7367-8BAB565C9E89}"/>
                </a:ext>
              </a:extLst>
            </p:cNvPr>
            <p:cNvSpPr/>
            <p:nvPr/>
          </p:nvSpPr>
          <p:spPr>
            <a:xfrm>
              <a:off x="762978" y="3988513"/>
              <a:ext cx="158806" cy="172104"/>
            </a:xfrm>
            <a:custGeom>
              <a:avLst/>
              <a:gdLst>
                <a:gd name="connsiteX0" fmla="*/ 49568 w 171430"/>
                <a:gd name="connsiteY0" fmla="*/ 22136 h 185785"/>
                <a:gd name="connsiteX1" fmla="*/ 59065 w 171430"/>
                <a:gd name="connsiteY1" fmla="*/ 25594 h 185785"/>
                <a:gd name="connsiteX2" fmla="*/ 55607 w 171430"/>
                <a:gd name="connsiteY2" fmla="*/ 35090 h 185785"/>
                <a:gd name="connsiteX3" fmla="*/ 14288 w 171430"/>
                <a:gd name="connsiteY3" fmla="*/ 99965 h 185785"/>
                <a:gd name="connsiteX4" fmla="*/ 85715 w 171430"/>
                <a:gd name="connsiteY4" fmla="*/ 171498 h 185785"/>
                <a:gd name="connsiteX5" fmla="*/ 157143 w 171430"/>
                <a:gd name="connsiteY5" fmla="*/ 99965 h 185785"/>
                <a:gd name="connsiteX6" fmla="*/ 115967 w 171430"/>
                <a:gd name="connsiteY6" fmla="*/ 35157 h 185785"/>
                <a:gd name="connsiteX7" fmla="*/ 112482 w 171430"/>
                <a:gd name="connsiteY7" fmla="*/ 25674 h 185785"/>
                <a:gd name="connsiteX8" fmla="*/ 121964 w 171430"/>
                <a:gd name="connsiteY8" fmla="*/ 22189 h 185785"/>
                <a:gd name="connsiteX9" fmla="*/ 122034 w 171430"/>
                <a:gd name="connsiteY9" fmla="*/ 22222 h 185785"/>
                <a:gd name="connsiteX10" fmla="*/ 171431 w 171430"/>
                <a:gd name="connsiteY10" fmla="*/ 99965 h 185785"/>
                <a:gd name="connsiteX11" fmla="*/ 85706 w 171430"/>
                <a:gd name="connsiteY11" fmla="*/ 185785 h 185785"/>
                <a:gd name="connsiteX12" fmla="*/ 0 w 171430"/>
                <a:gd name="connsiteY12" fmla="*/ 99955 h 185785"/>
                <a:gd name="connsiteX13" fmla="*/ 49568 w 171430"/>
                <a:gd name="connsiteY13" fmla="*/ 22136 h 185785"/>
                <a:gd name="connsiteX14" fmla="*/ 85725 w 171430"/>
                <a:gd name="connsiteY14" fmla="*/ 0 h 185785"/>
                <a:gd name="connsiteX15" fmla="*/ 92802 w 171430"/>
                <a:gd name="connsiteY15" fmla="*/ 6172 h 185785"/>
                <a:gd name="connsiteX16" fmla="*/ 92869 w 171430"/>
                <a:gd name="connsiteY16" fmla="*/ 7144 h 185785"/>
                <a:gd name="connsiteX17" fmla="*/ 92869 w 171430"/>
                <a:gd name="connsiteY17" fmla="*/ 78581 h 185785"/>
                <a:gd name="connsiteX18" fmla="*/ 85723 w 171430"/>
                <a:gd name="connsiteY18" fmla="*/ 85723 h 185785"/>
                <a:gd name="connsiteX19" fmla="*/ 78648 w 171430"/>
                <a:gd name="connsiteY19" fmla="*/ 79553 h 185785"/>
                <a:gd name="connsiteX20" fmla="*/ 78581 w 171430"/>
                <a:gd name="connsiteY20" fmla="*/ 78581 h 185785"/>
                <a:gd name="connsiteX21" fmla="*/ 78581 w 171430"/>
                <a:gd name="connsiteY21" fmla="*/ 7144 h 185785"/>
                <a:gd name="connsiteX22" fmla="*/ 85725 w 171430"/>
                <a:gd name="connsiteY22" fmla="*/ 0 h 18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1430" h="185785">
                  <a:moveTo>
                    <a:pt x="49568" y="22136"/>
                  </a:moveTo>
                  <a:cubicBezTo>
                    <a:pt x="53145" y="20469"/>
                    <a:pt x="57397" y="22017"/>
                    <a:pt x="59065" y="25594"/>
                  </a:cubicBezTo>
                  <a:cubicBezTo>
                    <a:pt x="60732" y="29171"/>
                    <a:pt x="59184" y="33423"/>
                    <a:pt x="55607" y="35090"/>
                  </a:cubicBezTo>
                  <a:cubicBezTo>
                    <a:pt x="30390" y="46840"/>
                    <a:pt x="14274" y="72145"/>
                    <a:pt x="14288" y="99965"/>
                  </a:cubicBezTo>
                  <a:cubicBezTo>
                    <a:pt x="14288" y="139475"/>
                    <a:pt x="46272" y="171498"/>
                    <a:pt x="85715" y="171498"/>
                  </a:cubicBezTo>
                  <a:cubicBezTo>
                    <a:pt x="125159" y="171498"/>
                    <a:pt x="157143" y="139475"/>
                    <a:pt x="157143" y="99965"/>
                  </a:cubicBezTo>
                  <a:cubicBezTo>
                    <a:pt x="157158" y="72202"/>
                    <a:pt x="141106" y="46938"/>
                    <a:pt x="115967" y="35157"/>
                  </a:cubicBezTo>
                  <a:cubicBezTo>
                    <a:pt x="112385" y="33501"/>
                    <a:pt x="110825" y="29255"/>
                    <a:pt x="112482" y="25674"/>
                  </a:cubicBezTo>
                  <a:cubicBezTo>
                    <a:pt x="114137" y="22093"/>
                    <a:pt x="118382" y="20533"/>
                    <a:pt x="121964" y="22189"/>
                  </a:cubicBezTo>
                  <a:cubicBezTo>
                    <a:pt x="121988" y="22200"/>
                    <a:pt x="122010" y="22211"/>
                    <a:pt x="122034" y="22222"/>
                  </a:cubicBezTo>
                  <a:cubicBezTo>
                    <a:pt x="152190" y="36356"/>
                    <a:pt x="171445" y="66661"/>
                    <a:pt x="171431" y="99965"/>
                  </a:cubicBezTo>
                  <a:cubicBezTo>
                    <a:pt x="171431" y="147361"/>
                    <a:pt x="133055" y="185785"/>
                    <a:pt x="85706" y="185785"/>
                  </a:cubicBezTo>
                  <a:cubicBezTo>
                    <a:pt x="38376" y="185776"/>
                    <a:pt x="0" y="147352"/>
                    <a:pt x="0" y="99955"/>
                  </a:cubicBezTo>
                  <a:cubicBezTo>
                    <a:pt x="-12" y="66585"/>
                    <a:pt x="19321" y="36233"/>
                    <a:pt x="49568" y="22136"/>
                  </a:cubicBezTo>
                  <a:close/>
                  <a:moveTo>
                    <a:pt x="85725" y="0"/>
                  </a:moveTo>
                  <a:cubicBezTo>
                    <a:pt x="89295" y="0"/>
                    <a:pt x="92316" y="2636"/>
                    <a:pt x="92802" y="6172"/>
                  </a:cubicBezTo>
                  <a:lnTo>
                    <a:pt x="92869" y="7144"/>
                  </a:lnTo>
                  <a:lnTo>
                    <a:pt x="92869" y="78581"/>
                  </a:lnTo>
                  <a:cubicBezTo>
                    <a:pt x="92868" y="82527"/>
                    <a:pt x="89668" y="85724"/>
                    <a:pt x="85723" y="85723"/>
                  </a:cubicBezTo>
                  <a:cubicBezTo>
                    <a:pt x="82154" y="85722"/>
                    <a:pt x="79135" y="83088"/>
                    <a:pt x="78648" y="79553"/>
                  </a:cubicBezTo>
                  <a:lnTo>
                    <a:pt x="78581" y="78581"/>
                  </a:lnTo>
                  <a:lnTo>
                    <a:pt x="78581" y="7144"/>
                  </a:lnTo>
                  <a:cubicBezTo>
                    <a:pt x="78581" y="3198"/>
                    <a:pt x="81780" y="0"/>
                    <a:pt x="85725" y="0"/>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5" name="Group 14">
            <a:extLst>
              <a:ext uri="{FF2B5EF4-FFF2-40B4-BE49-F238E27FC236}">
                <a16:creationId xmlns:a16="http://schemas.microsoft.com/office/drawing/2014/main" id="{994A0F54-09D3-8737-AD61-C3C3632068D2}"/>
              </a:ext>
              <a:ext uri="{C183D7F6-B498-43B3-948B-1728B52AA6E4}">
                <adec:decorative xmlns:adec="http://schemas.microsoft.com/office/drawing/2017/decorative" val="1"/>
              </a:ext>
            </a:extLst>
          </p:cNvPr>
          <p:cNvGrpSpPr/>
          <p:nvPr/>
        </p:nvGrpSpPr>
        <p:grpSpPr>
          <a:xfrm>
            <a:off x="3567364" y="3968823"/>
            <a:ext cx="2040596" cy="202525"/>
            <a:chOff x="3567364" y="3968823"/>
            <a:chExt cx="2040596" cy="202525"/>
          </a:xfrm>
        </p:grpSpPr>
        <p:sp>
          <p:nvSpPr>
            <p:cNvPr id="53" name="Rectangle: Rounded Corners 52">
              <a:extLst>
                <a:ext uri="{FF2B5EF4-FFF2-40B4-BE49-F238E27FC236}">
                  <a16:creationId xmlns:a16="http://schemas.microsoft.com/office/drawing/2014/main" id="{5E82E019-D7D2-CEC5-9F98-FAFD002DB9D4}"/>
                </a:ext>
              </a:extLst>
            </p:cNvPr>
            <p:cNvSpPr/>
            <p:nvPr/>
          </p:nvSpPr>
          <p:spPr bwMode="auto">
            <a:xfrm>
              <a:off x="3870600" y="3968823"/>
              <a:ext cx="1737360" cy="202525"/>
            </a:xfrm>
            <a:prstGeom prst="roundRect">
              <a:avLst>
                <a:gd name="adj" fmla="val 1544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Segoe UI" pitchFamily="34" charset="0"/>
                  <a:cs typeface="Segoe Sans Text" pitchFamily="2" charset="0"/>
                </a:rPr>
                <a:t>Interactive</a:t>
              </a:r>
            </a:p>
          </p:txBody>
        </p:sp>
        <p:sp>
          <p:nvSpPr>
            <p:cNvPr id="66" name="Graphic 31" descr="Icon of a group of three people">
              <a:extLst>
                <a:ext uri="{FF2B5EF4-FFF2-40B4-BE49-F238E27FC236}">
                  <a16:creationId xmlns:a16="http://schemas.microsoft.com/office/drawing/2014/main" id="{2B507144-961C-F57D-90F7-EF6B9BDFDBF8}"/>
                </a:ext>
              </a:extLst>
            </p:cNvPr>
            <p:cNvSpPr/>
            <p:nvPr/>
          </p:nvSpPr>
          <p:spPr>
            <a:xfrm>
              <a:off x="3567364" y="3979554"/>
              <a:ext cx="201128" cy="181062"/>
            </a:xfrm>
            <a:custGeom>
              <a:avLst/>
              <a:gdLst>
                <a:gd name="connsiteX0" fmla="*/ 198244 w 311045"/>
                <a:gd name="connsiteY0" fmla="*/ 186583 h 280014"/>
                <a:gd name="connsiteX1" fmla="*/ 225454 w 311045"/>
                <a:gd name="connsiteY1" fmla="*/ 213793 h 280014"/>
                <a:gd name="connsiteX2" fmla="*/ 225437 w 311045"/>
                <a:gd name="connsiteY2" fmla="*/ 228752 h 280014"/>
                <a:gd name="connsiteX3" fmla="*/ 156524 w 311045"/>
                <a:gd name="connsiteY3" fmla="*/ 280014 h 280014"/>
                <a:gd name="connsiteX4" fmla="*/ 85517 w 311045"/>
                <a:gd name="connsiteY4" fmla="*/ 229342 h 280014"/>
                <a:gd name="connsiteX5" fmla="*/ 85517 w 311045"/>
                <a:gd name="connsiteY5" fmla="*/ 213793 h 280014"/>
                <a:gd name="connsiteX6" fmla="*/ 112727 w 311045"/>
                <a:gd name="connsiteY6" fmla="*/ 186583 h 280014"/>
                <a:gd name="connsiteX7" fmla="*/ 198244 w 311045"/>
                <a:gd name="connsiteY7" fmla="*/ 186583 h 280014"/>
                <a:gd name="connsiteX8" fmla="*/ 198244 w 311045"/>
                <a:gd name="connsiteY8" fmla="*/ 209906 h 280014"/>
                <a:gd name="connsiteX9" fmla="*/ 112727 w 311045"/>
                <a:gd name="connsiteY9" fmla="*/ 209906 h 280014"/>
                <a:gd name="connsiteX10" fmla="*/ 108840 w 311045"/>
                <a:gd name="connsiteY10" fmla="*/ 213793 h 280014"/>
                <a:gd name="connsiteX11" fmla="*/ 108840 w 311045"/>
                <a:gd name="connsiteY11" fmla="*/ 229342 h 280014"/>
                <a:gd name="connsiteX12" fmla="*/ 156524 w 311045"/>
                <a:gd name="connsiteY12" fmla="*/ 256692 h 280014"/>
                <a:gd name="connsiteX13" fmla="*/ 202132 w 311045"/>
                <a:gd name="connsiteY13" fmla="*/ 229373 h 280014"/>
                <a:gd name="connsiteX14" fmla="*/ 202132 w 311045"/>
                <a:gd name="connsiteY14" fmla="*/ 213793 h 280014"/>
                <a:gd name="connsiteX15" fmla="*/ 198244 w 311045"/>
                <a:gd name="connsiteY15" fmla="*/ 209906 h 280014"/>
                <a:gd name="connsiteX16" fmla="*/ 27210 w 311045"/>
                <a:gd name="connsiteY16" fmla="*/ 108840 h 280014"/>
                <a:gd name="connsiteX17" fmla="*/ 95251 w 311045"/>
                <a:gd name="connsiteY17" fmla="*/ 108842 h 280014"/>
                <a:gd name="connsiteX18" fmla="*/ 93292 w 311045"/>
                <a:gd name="connsiteY18" fmla="*/ 124389 h 280014"/>
                <a:gd name="connsiteX19" fmla="*/ 93771 w 311045"/>
                <a:gd name="connsiteY19" fmla="*/ 132152 h 280014"/>
                <a:gd name="connsiteX20" fmla="*/ 27210 w 311045"/>
                <a:gd name="connsiteY20" fmla="*/ 132163 h 280014"/>
                <a:gd name="connsiteX21" fmla="*/ 23323 w 311045"/>
                <a:gd name="connsiteY21" fmla="*/ 136050 h 280014"/>
                <a:gd name="connsiteX22" fmla="*/ 23323 w 311045"/>
                <a:gd name="connsiteY22" fmla="*/ 151599 h 280014"/>
                <a:gd name="connsiteX23" fmla="*/ 71007 w 311045"/>
                <a:gd name="connsiteY23" fmla="*/ 178949 h 280014"/>
                <a:gd name="connsiteX24" fmla="*/ 89783 w 311045"/>
                <a:gd name="connsiteY24" fmla="*/ 177747 h 280014"/>
                <a:gd name="connsiteX25" fmla="*/ 71542 w 311045"/>
                <a:gd name="connsiteY25" fmla="*/ 202259 h 280014"/>
                <a:gd name="connsiteX26" fmla="*/ 71007 w 311045"/>
                <a:gd name="connsiteY26" fmla="*/ 202272 h 280014"/>
                <a:gd name="connsiteX27" fmla="*/ 0 w 311045"/>
                <a:gd name="connsiteY27" fmla="*/ 151599 h 280014"/>
                <a:gd name="connsiteX28" fmla="*/ 0 w 311045"/>
                <a:gd name="connsiteY28" fmla="*/ 136050 h 280014"/>
                <a:gd name="connsiteX29" fmla="*/ 27210 w 311045"/>
                <a:gd name="connsiteY29" fmla="*/ 108840 h 280014"/>
                <a:gd name="connsiteX30" fmla="*/ 283762 w 311045"/>
                <a:gd name="connsiteY30" fmla="*/ 108840 h 280014"/>
                <a:gd name="connsiteX31" fmla="*/ 310972 w 311045"/>
                <a:gd name="connsiteY31" fmla="*/ 136050 h 280014"/>
                <a:gd name="connsiteX32" fmla="*/ 310955 w 311045"/>
                <a:gd name="connsiteY32" fmla="*/ 151009 h 280014"/>
                <a:gd name="connsiteX33" fmla="*/ 242042 w 311045"/>
                <a:gd name="connsiteY33" fmla="*/ 202272 h 280014"/>
                <a:gd name="connsiteX34" fmla="*/ 239425 w 311045"/>
                <a:gd name="connsiteY34" fmla="*/ 202245 h 280014"/>
                <a:gd name="connsiteX35" fmla="*/ 220484 w 311045"/>
                <a:gd name="connsiteY35" fmla="*/ 177266 h 280014"/>
                <a:gd name="connsiteX36" fmla="*/ 242042 w 311045"/>
                <a:gd name="connsiteY36" fmla="*/ 178949 h 280014"/>
                <a:gd name="connsiteX37" fmla="*/ 287649 w 311045"/>
                <a:gd name="connsiteY37" fmla="*/ 151630 h 280014"/>
                <a:gd name="connsiteX38" fmla="*/ 287649 w 311045"/>
                <a:gd name="connsiteY38" fmla="*/ 136050 h 280014"/>
                <a:gd name="connsiteX39" fmla="*/ 283762 w 311045"/>
                <a:gd name="connsiteY39" fmla="*/ 132163 h 280014"/>
                <a:gd name="connsiteX40" fmla="*/ 217201 w 311045"/>
                <a:gd name="connsiteY40" fmla="*/ 132151 h 280014"/>
                <a:gd name="connsiteX41" fmla="*/ 217680 w 311045"/>
                <a:gd name="connsiteY41" fmla="*/ 124389 h 280014"/>
                <a:gd name="connsiteX42" fmla="*/ 215721 w 311045"/>
                <a:gd name="connsiteY42" fmla="*/ 108842 h 280014"/>
                <a:gd name="connsiteX43" fmla="*/ 283762 w 311045"/>
                <a:gd name="connsiteY43" fmla="*/ 108840 h 280014"/>
                <a:gd name="connsiteX44" fmla="*/ 155486 w 311045"/>
                <a:gd name="connsiteY44" fmla="*/ 77743 h 280014"/>
                <a:gd name="connsiteX45" fmla="*/ 202132 w 311045"/>
                <a:gd name="connsiteY45" fmla="*/ 124389 h 280014"/>
                <a:gd name="connsiteX46" fmla="*/ 155486 w 311045"/>
                <a:gd name="connsiteY46" fmla="*/ 171034 h 280014"/>
                <a:gd name="connsiteX47" fmla="*/ 108840 w 311045"/>
                <a:gd name="connsiteY47" fmla="*/ 124389 h 280014"/>
                <a:gd name="connsiteX48" fmla="*/ 155486 w 311045"/>
                <a:gd name="connsiteY48" fmla="*/ 77743 h 280014"/>
                <a:gd name="connsiteX49" fmla="*/ 155486 w 311045"/>
                <a:gd name="connsiteY49" fmla="*/ 101066 h 280014"/>
                <a:gd name="connsiteX50" fmla="*/ 132163 w 311045"/>
                <a:gd name="connsiteY50" fmla="*/ 124389 h 280014"/>
                <a:gd name="connsiteX51" fmla="*/ 155486 w 311045"/>
                <a:gd name="connsiteY51" fmla="*/ 147712 h 280014"/>
                <a:gd name="connsiteX52" fmla="*/ 178809 w 311045"/>
                <a:gd name="connsiteY52" fmla="*/ 124389 h 280014"/>
                <a:gd name="connsiteX53" fmla="*/ 155486 w 311045"/>
                <a:gd name="connsiteY53" fmla="*/ 101066 h 280014"/>
                <a:gd name="connsiteX54" fmla="*/ 69969 w 311045"/>
                <a:gd name="connsiteY54" fmla="*/ 0 h 280014"/>
                <a:gd name="connsiteX55" fmla="*/ 116614 w 311045"/>
                <a:gd name="connsiteY55" fmla="*/ 46646 h 280014"/>
                <a:gd name="connsiteX56" fmla="*/ 69969 w 311045"/>
                <a:gd name="connsiteY56" fmla="*/ 93292 h 280014"/>
                <a:gd name="connsiteX57" fmla="*/ 23323 w 311045"/>
                <a:gd name="connsiteY57" fmla="*/ 46646 h 280014"/>
                <a:gd name="connsiteX58" fmla="*/ 69969 w 311045"/>
                <a:gd name="connsiteY58" fmla="*/ 0 h 280014"/>
                <a:gd name="connsiteX59" fmla="*/ 241003 w 311045"/>
                <a:gd name="connsiteY59" fmla="*/ 0 h 280014"/>
                <a:gd name="connsiteX60" fmla="*/ 287649 w 311045"/>
                <a:gd name="connsiteY60" fmla="*/ 46646 h 280014"/>
                <a:gd name="connsiteX61" fmla="*/ 241003 w 311045"/>
                <a:gd name="connsiteY61" fmla="*/ 93292 h 280014"/>
                <a:gd name="connsiteX62" fmla="*/ 194357 w 311045"/>
                <a:gd name="connsiteY62" fmla="*/ 46646 h 280014"/>
                <a:gd name="connsiteX63" fmla="*/ 241003 w 311045"/>
                <a:gd name="connsiteY63" fmla="*/ 0 h 280014"/>
                <a:gd name="connsiteX64" fmla="*/ 69969 w 311045"/>
                <a:gd name="connsiteY64" fmla="*/ 23323 h 280014"/>
                <a:gd name="connsiteX65" fmla="*/ 46646 w 311045"/>
                <a:gd name="connsiteY65" fmla="*/ 46646 h 280014"/>
                <a:gd name="connsiteX66" fmla="*/ 69969 w 311045"/>
                <a:gd name="connsiteY66" fmla="*/ 69969 h 280014"/>
                <a:gd name="connsiteX67" fmla="*/ 93292 w 311045"/>
                <a:gd name="connsiteY67" fmla="*/ 46646 h 280014"/>
                <a:gd name="connsiteX68" fmla="*/ 69969 w 311045"/>
                <a:gd name="connsiteY68" fmla="*/ 23323 h 280014"/>
                <a:gd name="connsiteX69" fmla="*/ 241003 w 311045"/>
                <a:gd name="connsiteY69" fmla="*/ 23323 h 280014"/>
                <a:gd name="connsiteX70" fmla="*/ 217680 w 311045"/>
                <a:gd name="connsiteY70" fmla="*/ 46646 h 280014"/>
                <a:gd name="connsiteX71" fmla="*/ 241003 w 311045"/>
                <a:gd name="connsiteY71" fmla="*/ 69969 h 280014"/>
                <a:gd name="connsiteX72" fmla="*/ 264326 w 311045"/>
                <a:gd name="connsiteY72" fmla="*/ 46646 h 280014"/>
                <a:gd name="connsiteX73" fmla="*/ 241003 w 311045"/>
                <a:gd name="connsiteY73" fmla="*/ 23323 h 2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11045" h="280014">
                  <a:moveTo>
                    <a:pt x="198244" y="186583"/>
                  </a:moveTo>
                  <a:cubicBezTo>
                    <a:pt x="213272" y="186583"/>
                    <a:pt x="225454" y="198765"/>
                    <a:pt x="225454" y="213793"/>
                  </a:cubicBezTo>
                  <a:lnTo>
                    <a:pt x="225437" y="228752"/>
                  </a:lnTo>
                  <a:cubicBezTo>
                    <a:pt x="227252" y="262790"/>
                    <a:pt x="201943" y="280014"/>
                    <a:pt x="156524" y="280014"/>
                  </a:cubicBezTo>
                  <a:cubicBezTo>
                    <a:pt x="111295" y="280014"/>
                    <a:pt x="85517" y="263070"/>
                    <a:pt x="85517" y="229342"/>
                  </a:cubicBezTo>
                  <a:lnTo>
                    <a:pt x="85517" y="213793"/>
                  </a:lnTo>
                  <a:cubicBezTo>
                    <a:pt x="85517" y="198765"/>
                    <a:pt x="97700" y="186583"/>
                    <a:pt x="112727" y="186583"/>
                  </a:cubicBezTo>
                  <a:lnTo>
                    <a:pt x="198244" y="186583"/>
                  </a:lnTo>
                  <a:close/>
                  <a:moveTo>
                    <a:pt x="198244" y="209906"/>
                  </a:moveTo>
                  <a:lnTo>
                    <a:pt x="112727" y="209906"/>
                  </a:lnTo>
                  <a:cubicBezTo>
                    <a:pt x="110580" y="209906"/>
                    <a:pt x="108840" y="211646"/>
                    <a:pt x="108840" y="213793"/>
                  </a:cubicBezTo>
                  <a:lnTo>
                    <a:pt x="108840" y="229342"/>
                  </a:lnTo>
                  <a:cubicBezTo>
                    <a:pt x="108840" y="247630"/>
                    <a:pt x="122627" y="256692"/>
                    <a:pt x="156524" y="256692"/>
                  </a:cubicBezTo>
                  <a:cubicBezTo>
                    <a:pt x="190232" y="256692"/>
                    <a:pt x="203103" y="247930"/>
                    <a:pt x="202132" y="229373"/>
                  </a:cubicBezTo>
                  <a:lnTo>
                    <a:pt x="202132" y="213793"/>
                  </a:lnTo>
                  <a:cubicBezTo>
                    <a:pt x="202132" y="211646"/>
                    <a:pt x="200392" y="209906"/>
                    <a:pt x="198244" y="209906"/>
                  </a:cubicBezTo>
                  <a:close/>
                  <a:moveTo>
                    <a:pt x="27210" y="108840"/>
                  </a:moveTo>
                  <a:lnTo>
                    <a:pt x="95251" y="108842"/>
                  </a:lnTo>
                  <a:cubicBezTo>
                    <a:pt x="93972" y="113811"/>
                    <a:pt x="93292" y="119020"/>
                    <a:pt x="93292" y="124389"/>
                  </a:cubicBezTo>
                  <a:cubicBezTo>
                    <a:pt x="93292" y="127018"/>
                    <a:pt x="93455" y="129610"/>
                    <a:pt x="93771" y="132152"/>
                  </a:cubicBezTo>
                  <a:lnTo>
                    <a:pt x="27210" y="132163"/>
                  </a:lnTo>
                  <a:cubicBezTo>
                    <a:pt x="25063" y="132163"/>
                    <a:pt x="23323" y="133903"/>
                    <a:pt x="23323" y="136050"/>
                  </a:cubicBezTo>
                  <a:lnTo>
                    <a:pt x="23323" y="151599"/>
                  </a:lnTo>
                  <a:cubicBezTo>
                    <a:pt x="23323" y="169887"/>
                    <a:pt x="37109" y="178949"/>
                    <a:pt x="71007" y="178949"/>
                  </a:cubicBezTo>
                  <a:cubicBezTo>
                    <a:pt x="78189" y="178949"/>
                    <a:pt x="84425" y="178552"/>
                    <a:pt x="89783" y="177747"/>
                  </a:cubicBezTo>
                  <a:cubicBezTo>
                    <a:pt x="80995" y="183313"/>
                    <a:pt x="74407" y="192009"/>
                    <a:pt x="71542" y="202259"/>
                  </a:cubicBezTo>
                  <a:lnTo>
                    <a:pt x="71007" y="202272"/>
                  </a:lnTo>
                  <a:cubicBezTo>
                    <a:pt x="25777" y="202272"/>
                    <a:pt x="0" y="185327"/>
                    <a:pt x="0" y="151599"/>
                  </a:cubicBezTo>
                  <a:lnTo>
                    <a:pt x="0" y="136050"/>
                  </a:lnTo>
                  <a:cubicBezTo>
                    <a:pt x="0" y="121022"/>
                    <a:pt x="12182" y="108840"/>
                    <a:pt x="27210" y="108840"/>
                  </a:cubicBezTo>
                  <a:close/>
                  <a:moveTo>
                    <a:pt x="283762" y="108840"/>
                  </a:moveTo>
                  <a:cubicBezTo>
                    <a:pt x="298789" y="108840"/>
                    <a:pt x="310972" y="121022"/>
                    <a:pt x="310972" y="136050"/>
                  </a:cubicBezTo>
                  <a:lnTo>
                    <a:pt x="310955" y="151009"/>
                  </a:lnTo>
                  <a:cubicBezTo>
                    <a:pt x="312769" y="185047"/>
                    <a:pt x="287461" y="202272"/>
                    <a:pt x="242042" y="202272"/>
                  </a:cubicBezTo>
                  <a:lnTo>
                    <a:pt x="239425" y="202245"/>
                  </a:lnTo>
                  <a:cubicBezTo>
                    <a:pt x="236480" y="191717"/>
                    <a:pt x="229606" y="182831"/>
                    <a:pt x="220484" y="177266"/>
                  </a:cubicBezTo>
                  <a:cubicBezTo>
                    <a:pt x="226496" y="178394"/>
                    <a:pt x="233653" y="178949"/>
                    <a:pt x="242042" y="178949"/>
                  </a:cubicBezTo>
                  <a:cubicBezTo>
                    <a:pt x="275749" y="178949"/>
                    <a:pt x="288621" y="170187"/>
                    <a:pt x="287649" y="151630"/>
                  </a:cubicBezTo>
                  <a:lnTo>
                    <a:pt x="287649" y="136050"/>
                  </a:lnTo>
                  <a:cubicBezTo>
                    <a:pt x="287649" y="133903"/>
                    <a:pt x="285909" y="132163"/>
                    <a:pt x="283762" y="132163"/>
                  </a:cubicBezTo>
                  <a:lnTo>
                    <a:pt x="217201" y="132151"/>
                  </a:lnTo>
                  <a:cubicBezTo>
                    <a:pt x="217517" y="129608"/>
                    <a:pt x="217680" y="127018"/>
                    <a:pt x="217680" y="124389"/>
                  </a:cubicBezTo>
                  <a:cubicBezTo>
                    <a:pt x="217680" y="119020"/>
                    <a:pt x="217001" y="113811"/>
                    <a:pt x="215721" y="108842"/>
                  </a:cubicBezTo>
                  <a:lnTo>
                    <a:pt x="283762" y="108840"/>
                  </a:lnTo>
                  <a:close/>
                  <a:moveTo>
                    <a:pt x="155486" y="77743"/>
                  </a:moveTo>
                  <a:cubicBezTo>
                    <a:pt x="181248" y="77743"/>
                    <a:pt x="202132" y="98627"/>
                    <a:pt x="202132" y="124389"/>
                  </a:cubicBezTo>
                  <a:cubicBezTo>
                    <a:pt x="202132" y="150151"/>
                    <a:pt x="181248" y="171034"/>
                    <a:pt x="155486" y="171034"/>
                  </a:cubicBezTo>
                  <a:cubicBezTo>
                    <a:pt x="129723" y="171034"/>
                    <a:pt x="108840" y="150151"/>
                    <a:pt x="108840" y="124389"/>
                  </a:cubicBezTo>
                  <a:cubicBezTo>
                    <a:pt x="108840" y="98627"/>
                    <a:pt x="129723" y="77743"/>
                    <a:pt x="155486" y="77743"/>
                  </a:cubicBezTo>
                  <a:close/>
                  <a:moveTo>
                    <a:pt x="155486" y="101066"/>
                  </a:moveTo>
                  <a:cubicBezTo>
                    <a:pt x="142605" y="101066"/>
                    <a:pt x="132163" y="111508"/>
                    <a:pt x="132163" y="124389"/>
                  </a:cubicBezTo>
                  <a:cubicBezTo>
                    <a:pt x="132163" y="137269"/>
                    <a:pt x="142605" y="147712"/>
                    <a:pt x="155486" y="147712"/>
                  </a:cubicBezTo>
                  <a:cubicBezTo>
                    <a:pt x="168366" y="147712"/>
                    <a:pt x="178809" y="137269"/>
                    <a:pt x="178809" y="124389"/>
                  </a:cubicBezTo>
                  <a:cubicBezTo>
                    <a:pt x="178809" y="111508"/>
                    <a:pt x="168366" y="101066"/>
                    <a:pt x="155486" y="101066"/>
                  </a:cubicBezTo>
                  <a:close/>
                  <a:moveTo>
                    <a:pt x="69969" y="0"/>
                  </a:moveTo>
                  <a:cubicBezTo>
                    <a:pt x="95730" y="0"/>
                    <a:pt x="116614" y="20884"/>
                    <a:pt x="116614" y="46646"/>
                  </a:cubicBezTo>
                  <a:cubicBezTo>
                    <a:pt x="116614" y="72407"/>
                    <a:pt x="95730" y="93292"/>
                    <a:pt x="69969" y="93292"/>
                  </a:cubicBezTo>
                  <a:cubicBezTo>
                    <a:pt x="44207" y="93292"/>
                    <a:pt x="23323" y="72407"/>
                    <a:pt x="23323" y="46646"/>
                  </a:cubicBezTo>
                  <a:cubicBezTo>
                    <a:pt x="23323" y="20884"/>
                    <a:pt x="44207" y="0"/>
                    <a:pt x="69969" y="0"/>
                  </a:cubicBezTo>
                  <a:close/>
                  <a:moveTo>
                    <a:pt x="241003" y="0"/>
                  </a:moveTo>
                  <a:cubicBezTo>
                    <a:pt x="266766" y="0"/>
                    <a:pt x="287649" y="20884"/>
                    <a:pt x="287649" y="46646"/>
                  </a:cubicBezTo>
                  <a:cubicBezTo>
                    <a:pt x="287649" y="72407"/>
                    <a:pt x="266766" y="93292"/>
                    <a:pt x="241003" y="93292"/>
                  </a:cubicBezTo>
                  <a:cubicBezTo>
                    <a:pt x="215241" y="93292"/>
                    <a:pt x="194357" y="72407"/>
                    <a:pt x="194357" y="46646"/>
                  </a:cubicBezTo>
                  <a:cubicBezTo>
                    <a:pt x="194357" y="20884"/>
                    <a:pt x="215241" y="0"/>
                    <a:pt x="241003" y="0"/>
                  </a:cubicBezTo>
                  <a:close/>
                  <a:moveTo>
                    <a:pt x="69969" y="23323"/>
                  </a:moveTo>
                  <a:cubicBezTo>
                    <a:pt x="57088" y="23323"/>
                    <a:pt x="46646" y="33765"/>
                    <a:pt x="46646" y="46646"/>
                  </a:cubicBezTo>
                  <a:cubicBezTo>
                    <a:pt x="46646" y="59527"/>
                    <a:pt x="57088" y="69969"/>
                    <a:pt x="69969" y="69969"/>
                  </a:cubicBezTo>
                  <a:cubicBezTo>
                    <a:pt x="82850" y="69969"/>
                    <a:pt x="93292" y="59527"/>
                    <a:pt x="93292" y="46646"/>
                  </a:cubicBezTo>
                  <a:cubicBezTo>
                    <a:pt x="93292" y="33765"/>
                    <a:pt x="82850" y="23323"/>
                    <a:pt x="69969" y="23323"/>
                  </a:cubicBezTo>
                  <a:close/>
                  <a:moveTo>
                    <a:pt x="241003" y="23323"/>
                  </a:moveTo>
                  <a:cubicBezTo>
                    <a:pt x="228123" y="23323"/>
                    <a:pt x="217680" y="33765"/>
                    <a:pt x="217680" y="46646"/>
                  </a:cubicBezTo>
                  <a:cubicBezTo>
                    <a:pt x="217680" y="59527"/>
                    <a:pt x="228123" y="69969"/>
                    <a:pt x="241003" y="69969"/>
                  </a:cubicBezTo>
                  <a:cubicBezTo>
                    <a:pt x="253883" y="69969"/>
                    <a:pt x="264326" y="59527"/>
                    <a:pt x="264326" y="46646"/>
                  </a:cubicBezTo>
                  <a:cubicBezTo>
                    <a:pt x="264326" y="33765"/>
                    <a:pt x="253883" y="23323"/>
                    <a:pt x="241003" y="23323"/>
                  </a:cubicBez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9" name="Group 18">
            <a:extLst>
              <a:ext uri="{FF2B5EF4-FFF2-40B4-BE49-F238E27FC236}">
                <a16:creationId xmlns:a16="http://schemas.microsoft.com/office/drawing/2014/main" id="{F967F23F-AB67-D008-4A65-2963FF9C6CCE}"/>
              </a:ext>
              <a:ext uri="{C183D7F6-B498-43B3-948B-1728B52AA6E4}">
                <adec:decorative xmlns:adec="http://schemas.microsoft.com/office/drawing/2017/decorative" val="1"/>
              </a:ext>
            </a:extLst>
          </p:cNvPr>
          <p:cNvGrpSpPr/>
          <p:nvPr/>
        </p:nvGrpSpPr>
        <p:grpSpPr>
          <a:xfrm>
            <a:off x="6315074" y="3967348"/>
            <a:ext cx="2030318" cy="204000"/>
            <a:chOff x="6315074" y="3967348"/>
            <a:chExt cx="2030318" cy="204000"/>
          </a:xfrm>
        </p:grpSpPr>
        <p:sp>
          <p:nvSpPr>
            <p:cNvPr id="56" name="Rectangle: Rounded Corners 55">
              <a:extLst>
                <a:ext uri="{FF2B5EF4-FFF2-40B4-BE49-F238E27FC236}">
                  <a16:creationId xmlns:a16="http://schemas.microsoft.com/office/drawing/2014/main" id="{67E5A805-4149-CDB3-9350-5333A3CE887D}"/>
                </a:ext>
              </a:extLst>
            </p:cNvPr>
            <p:cNvSpPr/>
            <p:nvPr/>
          </p:nvSpPr>
          <p:spPr bwMode="auto">
            <a:xfrm>
              <a:off x="6608032" y="3968823"/>
              <a:ext cx="1737360" cy="202525"/>
            </a:xfrm>
            <a:prstGeom prst="roundRect">
              <a:avLst>
                <a:gd name="adj" fmla="val 1544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Segoe UI" pitchFamily="34" charset="0"/>
                  <a:cs typeface="Segoe Sans Text" pitchFamily="2" charset="0"/>
                </a:rPr>
                <a:t>Interactive</a:t>
              </a:r>
            </a:p>
          </p:txBody>
        </p:sp>
        <p:sp>
          <p:nvSpPr>
            <p:cNvPr id="67" name="Graphic 11" descr="Icon of a star with a plus sign">
              <a:extLst>
                <a:ext uri="{FF2B5EF4-FFF2-40B4-BE49-F238E27FC236}">
                  <a16:creationId xmlns:a16="http://schemas.microsoft.com/office/drawing/2014/main" id="{CD4F926B-74CB-673A-AC47-4C8577C960DC}"/>
                </a:ext>
              </a:extLst>
            </p:cNvPr>
            <p:cNvSpPr>
              <a:spLocks noChangeAspect="1"/>
            </p:cNvSpPr>
            <p:nvPr/>
          </p:nvSpPr>
          <p:spPr>
            <a:xfrm>
              <a:off x="6315074" y="3967348"/>
              <a:ext cx="207458" cy="204000"/>
            </a:xfrm>
            <a:custGeom>
              <a:avLst/>
              <a:gdLst>
                <a:gd name="connsiteX0" fmla="*/ 198662 w 474738"/>
                <a:gd name="connsiteY0" fmla="*/ 17012 h 466825"/>
                <a:gd name="connsiteX1" fmla="*/ 253397 w 474738"/>
                <a:gd name="connsiteY1" fmla="*/ 17012 h 466825"/>
                <a:gd name="connsiteX2" fmla="*/ 306704 w 474738"/>
                <a:gd name="connsiteY2" fmla="*/ 125020 h 466825"/>
                <a:gd name="connsiteX3" fmla="*/ 425897 w 474738"/>
                <a:gd name="connsiteY3" fmla="*/ 142340 h 466825"/>
                <a:gd name="connsiteX4" fmla="*/ 442811 w 474738"/>
                <a:gd name="connsiteY4" fmla="*/ 194396 h 466825"/>
                <a:gd name="connsiteX5" fmla="*/ 422352 w 474738"/>
                <a:gd name="connsiteY5" fmla="*/ 214337 h 466825"/>
                <a:gd name="connsiteX6" fmla="*/ 388053 w 474738"/>
                <a:gd name="connsiteY6" fmla="*/ 200416 h 466825"/>
                <a:gd name="connsiteX7" fmla="*/ 414220 w 474738"/>
                <a:gd name="connsiteY7" fmla="*/ 174909 h 466825"/>
                <a:gd name="connsiteX8" fmla="*/ 300062 w 474738"/>
                <a:gd name="connsiteY8" fmla="*/ 158321 h 466825"/>
                <a:gd name="connsiteX9" fmla="*/ 277084 w 474738"/>
                <a:gd name="connsiteY9" fmla="*/ 141626 h 466825"/>
                <a:gd name="connsiteX10" fmla="*/ 226030 w 474738"/>
                <a:gd name="connsiteY10" fmla="*/ 38181 h 466825"/>
                <a:gd name="connsiteX11" fmla="*/ 174977 w 474738"/>
                <a:gd name="connsiteY11" fmla="*/ 141626 h 466825"/>
                <a:gd name="connsiteX12" fmla="*/ 151998 w 474738"/>
                <a:gd name="connsiteY12" fmla="*/ 158321 h 466825"/>
                <a:gd name="connsiteX13" fmla="*/ 37839 w 474738"/>
                <a:gd name="connsiteY13" fmla="*/ 174909 h 466825"/>
                <a:gd name="connsiteX14" fmla="*/ 120445 w 474738"/>
                <a:gd name="connsiteY14" fmla="*/ 255432 h 466825"/>
                <a:gd name="connsiteX15" fmla="*/ 129222 w 474738"/>
                <a:gd name="connsiteY15" fmla="*/ 282444 h 466825"/>
                <a:gd name="connsiteX16" fmla="*/ 109722 w 474738"/>
                <a:gd name="connsiteY16" fmla="*/ 396142 h 466825"/>
                <a:gd name="connsiteX17" fmla="*/ 203523 w 474738"/>
                <a:gd name="connsiteY17" fmla="*/ 346828 h 466825"/>
                <a:gd name="connsiteX18" fmla="*/ 208916 w 474738"/>
                <a:gd name="connsiteY18" fmla="*/ 382302 h 466825"/>
                <a:gd name="connsiteX19" fmla="*/ 119420 w 474738"/>
                <a:gd name="connsiteY19" fmla="*/ 429353 h 466825"/>
                <a:gd name="connsiteX20" fmla="*/ 75138 w 474738"/>
                <a:gd name="connsiteY20" fmla="*/ 397182 h 466825"/>
                <a:gd name="connsiteX21" fmla="*/ 95499 w 474738"/>
                <a:gd name="connsiteY21" fmla="*/ 278468 h 466825"/>
                <a:gd name="connsiteX22" fmla="*/ 9250 w 474738"/>
                <a:gd name="connsiteY22" fmla="*/ 194396 h 466825"/>
                <a:gd name="connsiteX23" fmla="*/ 26164 w 474738"/>
                <a:gd name="connsiteY23" fmla="*/ 142340 h 466825"/>
                <a:gd name="connsiteX24" fmla="*/ 145358 w 474738"/>
                <a:gd name="connsiteY24" fmla="*/ 125020 h 466825"/>
                <a:gd name="connsiteX25" fmla="*/ 198662 w 474738"/>
                <a:gd name="connsiteY25" fmla="*/ 17012 h 466825"/>
                <a:gd name="connsiteX26" fmla="*/ 474738 w 474738"/>
                <a:gd name="connsiteY26" fmla="*/ 342489 h 466825"/>
                <a:gd name="connsiteX27" fmla="*/ 350402 w 474738"/>
                <a:gd name="connsiteY27" fmla="*/ 218153 h 466825"/>
                <a:gd name="connsiteX28" fmla="*/ 226066 w 474738"/>
                <a:gd name="connsiteY28" fmla="*/ 342489 h 466825"/>
                <a:gd name="connsiteX29" fmla="*/ 350402 w 474738"/>
                <a:gd name="connsiteY29" fmla="*/ 466826 h 466825"/>
                <a:gd name="connsiteX30" fmla="*/ 474738 w 474738"/>
                <a:gd name="connsiteY30" fmla="*/ 342489 h 466825"/>
                <a:gd name="connsiteX31" fmla="*/ 361719 w 474738"/>
                <a:gd name="connsiteY31" fmla="*/ 353793 h 466825"/>
                <a:gd name="connsiteX32" fmla="*/ 361730 w 474738"/>
                <a:gd name="connsiteY32" fmla="*/ 410391 h 466825"/>
                <a:gd name="connsiteX33" fmla="*/ 350427 w 474738"/>
                <a:gd name="connsiteY33" fmla="*/ 421694 h 466825"/>
                <a:gd name="connsiteX34" fmla="*/ 339124 w 474738"/>
                <a:gd name="connsiteY34" fmla="*/ 410391 h 466825"/>
                <a:gd name="connsiteX35" fmla="*/ 339112 w 474738"/>
                <a:gd name="connsiteY35" fmla="*/ 353793 h 466825"/>
                <a:gd name="connsiteX36" fmla="*/ 282483 w 474738"/>
                <a:gd name="connsiteY36" fmla="*/ 353793 h 466825"/>
                <a:gd name="connsiteX37" fmla="*/ 271191 w 474738"/>
                <a:gd name="connsiteY37" fmla="*/ 342489 h 466825"/>
                <a:gd name="connsiteX38" fmla="*/ 282483 w 474738"/>
                <a:gd name="connsiteY38" fmla="*/ 331186 h 466825"/>
                <a:gd name="connsiteX39" fmla="*/ 339110 w 474738"/>
                <a:gd name="connsiteY39" fmla="*/ 331186 h 466825"/>
                <a:gd name="connsiteX40" fmla="*/ 339099 w 474738"/>
                <a:gd name="connsiteY40" fmla="*/ 274654 h 466825"/>
                <a:gd name="connsiteX41" fmla="*/ 350402 w 474738"/>
                <a:gd name="connsiteY41" fmla="*/ 263351 h 466825"/>
                <a:gd name="connsiteX42" fmla="*/ 361705 w 474738"/>
                <a:gd name="connsiteY42" fmla="*/ 274654 h 466825"/>
                <a:gd name="connsiteX43" fmla="*/ 361717 w 474738"/>
                <a:gd name="connsiteY43" fmla="*/ 331186 h 466825"/>
                <a:gd name="connsiteX44" fmla="*/ 418145 w 474738"/>
                <a:gd name="connsiteY44" fmla="*/ 331186 h 466825"/>
                <a:gd name="connsiteX45" fmla="*/ 429437 w 474738"/>
                <a:gd name="connsiteY45" fmla="*/ 342489 h 466825"/>
                <a:gd name="connsiteX46" fmla="*/ 418145 w 474738"/>
                <a:gd name="connsiteY46" fmla="*/ 353793 h 466825"/>
                <a:gd name="connsiteX47" fmla="*/ 361719 w 474738"/>
                <a:gd name="connsiteY47" fmla="*/ 353793 h 4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74738" h="466825">
                  <a:moveTo>
                    <a:pt x="198662" y="17012"/>
                  </a:moveTo>
                  <a:cubicBezTo>
                    <a:pt x="209857" y="-5671"/>
                    <a:pt x="242202" y="-5671"/>
                    <a:pt x="253397" y="17012"/>
                  </a:cubicBezTo>
                  <a:lnTo>
                    <a:pt x="306704" y="125020"/>
                  </a:lnTo>
                  <a:lnTo>
                    <a:pt x="425897" y="142340"/>
                  </a:lnTo>
                  <a:cubicBezTo>
                    <a:pt x="450929" y="145977"/>
                    <a:pt x="460923" y="176740"/>
                    <a:pt x="442811" y="194396"/>
                  </a:cubicBezTo>
                  <a:lnTo>
                    <a:pt x="422352" y="214337"/>
                  </a:lnTo>
                  <a:cubicBezTo>
                    <a:pt x="411675" y="208331"/>
                    <a:pt x="400170" y="203620"/>
                    <a:pt x="388053" y="200416"/>
                  </a:cubicBezTo>
                  <a:lnTo>
                    <a:pt x="414220" y="174909"/>
                  </a:lnTo>
                  <a:lnTo>
                    <a:pt x="300062" y="158321"/>
                  </a:lnTo>
                  <a:cubicBezTo>
                    <a:pt x="290122" y="156877"/>
                    <a:pt x="281529" y="150634"/>
                    <a:pt x="277084" y="141626"/>
                  </a:cubicBezTo>
                  <a:lnTo>
                    <a:pt x="226030" y="38181"/>
                  </a:lnTo>
                  <a:lnTo>
                    <a:pt x="174977" y="141626"/>
                  </a:lnTo>
                  <a:cubicBezTo>
                    <a:pt x="170531" y="150634"/>
                    <a:pt x="161938" y="156877"/>
                    <a:pt x="151998" y="158321"/>
                  </a:cubicBezTo>
                  <a:lnTo>
                    <a:pt x="37839" y="174909"/>
                  </a:lnTo>
                  <a:lnTo>
                    <a:pt x="120445" y="255432"/>
                  </a:lnTo>
                  <a:cubicBezTo>
                    <a:pt x="127638" y="262442"/>
                    <a:pt x="130920" y="272542"/>
                    <a:pt x="129222" y="282444"/>
                  </a:cubicBezTo>
                  <a:lnTo>
                    <a:pt x="109722" y="396142"/>
                  </a:lnTo>
                  <a:lnTo>
                    <a:pt x="203523" y="346828"/>
                  </a:lnTo>
                  <a:cubicBezTo>
                    <a:pt x="203877" y="359087"/>
                    <a:pt x="205736" y="370972"/>
                    <a:pt x="208916" y="382302"/>
                  </a:cubicBezTo>
                  <a:lnTo>
                    <a:pt x="119420" y="429353"/>
                  </a:lnTo>
                  <a:cubicBezTo>
                    <a:pt x="97030" y="441124"/>
                    <a:pt x="70862" y="422112"/>
                    <a:pt x="75138" y="397182"/>
                  </a:cubicBezTo>
                  <a:lnTo>
                    <a:pt x="95499" y="278468"/>
                  </a:lnTo>
                  <a:lnTo>
                    <a:pt x="9250" y="194396"/>
                  </a:lnTo>
                  <a:cubicBezTo>
                    <a:pt x="-8864" y="176740"/>
                    <a:pt x="1131" y="145977"/>
                    <a:pt x="26164" y="142340"/>
                  </a:cubicBezTo>
                  <a:lnTo>
                    <a:pt x="145358" y="125020"/>
                  </a:lnTo>
                  <a:lnTo>
                    <a:pt x="198662" y="17012"/>
                  </a:lnTo>
                  <a:close/>
                  <a:moveTo>
                    <a:pt x="474738" y="342489"/>
                  </a:moveTo>
                  <a:cubicBezTo>
                    <a:pt x="474738" y="273822"/>
                    <a:pt x="419072" y="218153"/>
                    <a:pt x="350402" y="218153"/>
                  </a:cubicBezTo>
                  <a:cubicBezTo>
                    <a:pt x="281732" y="218153"/>
                    <a:pt x="226066" y="273822"/>
                    <a:pt x="226066" y="342489"/>
                  </a:cubicBezTo>
                  <a:cubicBezTo>
                    <a:pt x="226066" y="411159"/>
                    <a:pt x="281732" y="466826"/>
                    <a:pt x="350402" y="466826"/>
                  </a:cubicBezTo>
                  <a:cubicBezTo>
                    <a:pt x="419072" y="466826"/>
                    <a:pt x="474738" y="411159"/>
                    <a:pt x="474738" y="342489"/>
                  </a:cubicBezTo>
                  <a:close/>
                  <a:moveTo>
                    <a:pt x="361719" y="353793"/>
                  </a:moveTo>
                  <a:lnTo>
                    <a:pt x="361730" y="410391"/>
                  </a:lnTo>
                  <a:cubicBezTo>
                    <a:pt x="361730" y="416632"/>
                    <a:pt x="356671" y="421694"/>
                    <a:pt x="350427" y="421694"/>
                  </a:cubicBezTo>
                  <a:cubicBezTo>
                    <a:pt x="344185" y="421694"/>
                    <a:pt x="339124" y="416632"/>
                    <a:pt x="339124" y="410391"/>
                  </a:cubicBezTo>
                  <a:lnTo>
                    <a:pt x="339112" y="353793"/>
                  </a:lnTo>
                  <a:lnTo>
                    <a:pt x="282483" y="353793"/>
                  </a:lnTo>
                  <a:cubicBezTo>
                    <a:pt x="276246" y="353793"/>
                    <a:pt x="271191" y="348733"/>
                    <a:pt x="271191" y="342489"/>
                  </a:cubicBezTo>
                  <a:cubicBezTo>
                    <a:pt x="271191" y="336248"/>
                    <a:pt x="276246" y="331186"/>
                    <a:pt x="282483" y="331186"/>
                  </a:cubicBezTo>
                  <a:lnTo>
                    <a:pt x="339110" y="331186"/>
                  </a:lnTo>
                  <a:lnTo>
                    <a:pt x="339099" y="274654"/>
                  </a:lnTo>
                  <a:cubicBezTo>
                    <a:pt x="339099" y="268412"/>
                    <a:pt x="344160" y="263351"/>
                    <a:pt x="350402" y="263351"/>
                  </a:cubicBezTo>
                  <a:cubicBezTo>
                    <a:pt x="356644" y="263351"/>
                    <a:pt x="361705" y="268412"/>
                    <a:pt x="361705" y="274654"/>
                  </a:cubicBezTo>
                  <a:lnTo>
                    <a:pt x="361717" y="331186"/>
                  </a:lnTo>
                  <a:lnTo>
                    <a:pt x="418145" y="331186"/>
                  </a:lnTo>
                  <a:cubicBezTo>
                    <a:pt x="424382" y="331186"/>
                    <a:pt x="429437" y="336248"/>
                    <a:pt x="429437" y="342489"/>
                  </a:cubicBezTo>
                  <a:cubicBezTo>
                    <a:pt x="429437" y="348733"/>
                    <a:pt x="424382" y="353793"/>
                    <a:pt x="418145" y="353793"/>
                  </a:cubicBezTo>
                  <a:lnTo>
                    <a:pt x="361719" y="353793"/>
                  </a:ln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22" name="Group 21">
            <a:extLst>
              <a:ext uri="{FF2B5EF4-FFF2-40B4-BE49-F238E27FC236}">
                <a16:creationId xmlns:a16="http://schemas.microsoft.com/office/drawing/2014/main" id="{7F4CBAFA-C7CA-3EBE-EF44-D19FEADE77B0}"/>
              </a:ext>
              <a:ext uri="{C183D7F6-B498-43B3-948B-1728B52AA6E4}">
                <adec:decorative xmlns:adec="http://schemas.microsoft.com/office/drawing/2017/decorative" val="1"/>
              </a:ext>
            </a:extLst>
          </p:cNvPr>
          <p:cNvGrpSpPr/>
          <p:nvPr/>
        </p:nvGrpSpPr>
        <p:grpSpPr>
          <a:xfrm>
            <a:off x="9172465" y="3968823"/>
            <a:ext cx="2029653" cy="202525"/>
            <a:chOff x="9172465" y="3968823"/>
            <a:chExt cx="2029653" cy="202525"/>
          </a:xfrm>
        </p:grpSpPr>
        <p:sp>
          <p:nvSpPr>
            <p:cNvPr id="61" name="Rectangle: Rounded Corners 60">
              <a:extLst>
                <a:ext uri="{FF2B5EF4-FFF2-40B4-BE49-F238E27FC236}">
                  <a16:creationId xmlns:a16="http://schemas.microsoft.com/office/drawing/2014/main" id="{BDD4F770-FFC4-5B83-4CDD-2AEABFD4E99A}"/>
                </a:ext>
              </a:extLst>
            </p:cNvPr>
            <p:cNvSpPr/>
            <p:nvPr/>
          </p:nvSpPr>
          <p:spPr bwMode="auto">
            <a:xfrm>
              <a:off x="9464758" y="3968823"/>
              <a:ext cx="1737360" cy="202525"/>
            </a:xfrm>
            <a:prstGeom prst="roundRect">
              <a:avLst>
                <a:gd name="adj" fmla="val 1544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Sans Text Semibold"/>
                  <a:ea typeface="Segoe UI" pitchFamily="34" charset="0"/>
                  <a:cs typeface="Segoe Sans Text" pitchFamily="2" charset="0"/>
                </a:rPr>
                <a:t>Interactive</a:t>
              </a:r>
            </a:p>
          </p:txBody>
        </p:sp>
        <p:sp>
          <p:nvSpPr>
            <p:cNvPr id="68" name="Graphic 37" descr="Icon of a handshake">
              <a:extLst>
                <a:ext uri="{FF2B5EF4-FFF2-40B4-BE49-F238E27FC236}">
                  <a16:creationId xmlns:a16="http://schemas.microsoft.com/office/drawing/2014/main" id="{C240A6AD-1FD7-CABD-B569-69C78F666DED}"/>
                </a:ext>
              </a:extLst>
            </p:cNvPr>
            <p:cNvSpPr/>
            <p:nvPr/>
          </p:nvSpPr>
          <p:spPr>
            <a:xfrm>
              <a:off x="9172465" y="3975726"/>
              <a:ext cx="208764" cy="188718"/>
            </a:xfrm>
            <a:custGeom>
              <a:avLst/>
              <a:gdLst>
                <a:gd name="connsiteX0" fmla="*/ 143312 w 279350"/>
                <a:gd name="connsiteY0" fmla="*/ 1 h 252526"/>
                <a:gd name="connsiteX1" fmla="*/ 135192 w 279350"/>
                <a:gd name="connsiteY1" fmla="*/ 3864 h 252526"/>
                <a:gd name="connsiteX2" fmla="*/ 134380 w 279350"/>
                <a:gd name="connsiteY2" fmla="*/ 4466 h 252526"/>
                <a:gd name="connsiteX3" fmla="*/ 46663 w 279350"/>
                <a:gd name="connsiteY3" fmla="*/ 26207 h 252526"/>
                <a:gd name="connsiteX4" fmla="*/ 22361 w 279350"/>
                <a:gd name="connsiteY4" fmla="*/ 103340 h 252526"/>
                <a:gd name="connsiteX5" fmla="*/ 22151 w 279350"/>
                <a:gd name="connsiteY5" fmla="*/ 103550 h 252526"/>
                <a:gd name="connsiteX6" fmla="*/ 8741 w 279350"/>
                <a:gd name="connsiteY6" fmla="*/ 116863 h 252526"/>
                <a:gd name="connsiteX7" fmla="*/ 8546 w 279350"/>
                <a:gd name="connsiteY7" fmla="*/ 158595 h 252526"/>
                <a:gd name="connsiteX8" fmla="*/ 8741 w 279350"/>
                <a:gd name="connsiteY8" fmla="*/ 158790 h 252526"/>
                <a:gd name="connsiteX9" fmla="*/ 33841 w 279350"/>
                <a:gd name="connsiteY9" fmla="*/ 167203 h 252526"/>
                <a:gd name="connsiteX10" fmla="*/ 60200 w 279350"/>
                <a:gd name="connsiteY10" fmla="*/ 189014 h 252526"/>
                <a:gd name="connsiteX11" fmla="*/ 88436 w 279350"/>
                <a:gd name="connsiteY11" fmla="*/ 216199 h 252526"/>
                <a:gd name="connsiteX12" fmla="*/ 97143 w 279350"/>
                <a:gd name="connsiteY12" fmla="*/ 235672 h 252526"/>
                <a:gd name="connsiteX13" fmla="*/ 136158 w 279350"/>
                <a:gd name="connsiteY13" fmla="*/ 238430 h 252526"/>
                <a:gd name="connsiteX14" fmla="*/ 141576 w 279350"/>
                <a:gd name="connsiteY14" fmla="*/ 243805 h 252526"/>
                <a:gd name="connsiteX15" fmla="*/ 183964 w 279350"/>
                <a:gd name="connsiteY15" fmla="*/ 243805 h 252526"/>
                <a:gd name="connsiteX16" fmla="*/ 192644 w 279350"/>
                <a:gd name="connsiteY16" fmla="*/ 225355 h 252526"/>
                <a:gd name="connsiteX17" fmla="*/ 219802 w 279350"/>
                <a:gd name="connsiteY17" fmla="*/ 198309 h 252526"/>
                <a:gd name="connsiteX18" fmla="*/ 245979 w 279350"/>
                <a:gd name="connsiteY18" fmla="*/ 175855 h 252526"/>
                <a:gd name="connsiteX19" fmla="*/ 270617 w 279350"/>
                <a:gd name="connsiteY19" fmla="*/ 167371 h 252526"/>
                <a:gd name="connsiteX20" fmla="*/ 270798 w 279350"/>
                <a:gd name="connsiteY20" fmla="*/ 125639 h 252526"/>
                <a:gd name="connsiteX21" fmla="*/ 270617 w 279350"/>
                <a:gd name="connsiteY21" fmla="*/ 125459 h 252526"/>
                <a:gd name="connsiteX22" fmla="*/ 258956 w 279350"/>
                <a:gd name="connsiteY22" fmla="*/ 113854 h 252526"/>
                <a:gd name="connsiteX23" fmla="*/ 261364 w 279350"/>
                <a:gd name="connsiteY23" fmla="*/ 104530 h 252526"/>
                <a:gd name="connsiteX24" fmla="*/ 254015 w 279350"/>
                <a:gd name="connsiteY24" fmla="*/ 44293 h 252526"/>
                <a:gd name="connsiteX25" fmla="*/ 179779 w 279350"/>
                <a:gd name="connsiteY25" fmla="*/ 57 h 252526"/>
                <a:gd name="connsiteX26" fmla="*/ 157283 w 279350"/>
                <a:gd name="connsiteY26" fmla="*/ 57 h 252526"/>
                <a:gd name="connsiteX27" fmla="*/ 154399 w 279350"/>
                <a:gd name="connsiteY27" fmla="*/ 1 h 252526"/>
                <a:gd name="connsiteX28" fmla="*/ 143326 w 279350"/>
                <a:gd name="connsiteY28" fmla="*/ 1 h 252526"/>
                <a:gd name="connsiteX29" fmla="*/ 184258 w 279350"/>
                <a:gd name="connsiteY29" fmla="*/ 69225 h 252526"/>
                <a:gd name="connsiteX30" fmla="*/ 232751 w 279350"/>
                <a:gd name="connsiteY30" fmla="*/ 117409 h 252526"/>
                <a:gd name="connsiteX31" fmla="*/ 232793 w 279350"/>
                <a:gd name="connsiteY31" fmla="*/ 117465 h 252526"/>
                <a:gd name="connsiteX32" fmla="*/ 232989 w 279350"/>
                <a:gd name="connsiteY32" fmla="*/ 117647 h 252526"/>
                <a:gd name="connsiteX33" fmla="*/ 255737 w 279350"/>
                <a:gd name="connsiteY33" fmla="*/ 140255 h 252526"/>
                <a:gd name="connsiteX34" fmla="*/ 255781 w 279350"/>
                <a:gd name="connsiteY34" fmla="*/ 152530 h 252526"/>
                <a:gd name="connsiteX35" fmla="*/ 255737 w 279350"/>
                <a:gd name="connsiteY35" fmla="*/ 152574 h 252526"/>
                <a:gd name="connsiteX36" fmla="*/ 243334 w 279350"/>
                <a:gd name="connsiteY36" fmla="*/ 152574 h 252526"/>
                <a:gd name="connsiteX37" fmla="*/ 220586 w 279350"/>
                <a:gd name="connsiteY37" fmla="*/ 129966 h 252526"/>
                <a:gd name="connsiteX38" fmla="*/ 205691 w 279350"/>
                <a:gd name="connsiteY38" fmla="*/ 129966 h 252526"/>
                <a:gd name="connsiteX39" fmla="*/ 205467 w 279350"/>
                <a:gd name="connsiteY39" fmla="*/ 130204 h 252526"/>
                <a:gd name="connsiteX40" fmla="*/ 205400 w 279350"/>
                <a:gd name="connsiteY40" fmla="*/ 144934 h 252526"/>
                <a:gd name="connsiteX41" fmla="*/ 205467 w 279350"/>
                <a:gd name="connsiteY41" fmla="*/ 145001 h 252526"/>
                <a:gd name="connsiteX42" fmla="*/ 223189 w 279350"/>
                <a:gd name="connsiteY42" fmla="*/ 162626 h 252526"/>
                <a:gd name="connsiteX43" fmla="*/ 223234 w 279350"/>
                <a:gd name="connsiteY43" fmla="*/ 174900 h 252526"/>
                <a:gd name="connsiteX44" fmla="*/ 223189 w 279350"/>
                <a:gd name="connsiteY44" fmla="*/ 174945 h 252526"/>
                <a:gd name="connsiteX45" fmla="*/ 211724 w 279350"/>
                <a:gd name="connsiteY45" fmla="*/ 175785 h 252526"/>
                <a:gd name="connsiteX46" fmla="*/ 197907 w 279350"/>
                <a:gd name="connsiteY46" fmla="*/ 176764 h 252526"/>
                <a:gd name="connsiteX47" fmla="*/ 197039 w 279350"/>
                <a:gd name="connsiteY47" fmla="*/ 190511 h 252526"/>
                <a:gd name="connsiteX48" fmla="*/ 196269 w 279350"/>
                <a:gd name="connsiteY48" fmla="*/ 201976 h 252526"/>
                <a:gd name="connsiteX49" fmla="*/ 184650 w 279350"/>
                <a:gd name="connsiteY49" fmla="*/ 202676 h 252526"/>
                <a:gd name="connsiteX50" fmla="*/ 170722 w 279350"/>
                <a:gd name="connsiteY50" fmla="*/ 203474 h 252526"/>
                <a:gd name="connsiteX51" fmla="*/ 169826 w 279350"/>
                <a:gd name="connsiteY51" fmla="*/ 217319 h 252526"/>
                <a:gd name="connsiteX52" fmla="*/ 169070 w 279350"/>
                <a:gd name="connsiteY52" fmla="*/ 228994 h 252526"/>
                <a:gd name="connsiteX53" fmla="*/ 156471 w 279350"/>
                <a:gd name="connsiteY53" fmla="*/ 228994 h 252526"/>
                <a:gd name="connsiteX54" fmla="*/ 151263 w 279350"/>
                <a:gd name="connsiteY54" fmla="*/ 223829 h 252526"/>
                <a:gd name="connsiteX55" fmla="*/ 152733 w 279350"/>
                <a:gd name="connsiteY55" fmla="*/ 222359 h 252526"/>
                <a:gd name="connsiteX56" fmla="*/ 152914 w 279350"/>
                <a:gd name="connsiteY56" fmla="*/ 180627 h 252526"/>
                <a:gd name="connsiteX57" fmla="*/ 152733 w 279350"/>
                <a:gd name="connsiteY57" fmla="*/ 180446 h 252526"/>
                <a:gd name="connsiteX58" fmla="*/ 133135 w 279350"/>
                <a:gd name="connsiteY58" fmla="*/ 171795 h 252526"/>
                <a:gd name="connsiteX59" fmla="*/ 105781 w 279350"/>
                <a:gd name="connsiteY59" fmla="*/ 143741 h 252526"/>
                <a:gd name="connsiteX60" fmla="*/ 97143 w 279350"/>
                <a:gd name="connsiteY60" fmla="*/ 125207 h 252526"/>
                <a:gd name="connsiteX61" fmla="*/ 72043 w 279350"/>
                <a:gd name="connsiteY61" fmla="*/ 116793 h 252526"/>
                <a:gd name="connsiteX62" fmla="*/ 42394 w 279350"/>
                <a:gd name="connsiteY62" fmla="*/ 94885 h 252526"/>
                <a:gd name="connsiteX63" fmla="*/ 61558 w 279350"/>
                <a:gd name="connsiteY63" fmla="*/ 40989 h 252526"/>
                <a:gd name="connsiteX64" fmla="*/ 111688 w 279350"/>
                <a:gd name="connsiteY64" fmla="*/ 21671 h 252526"/>
                <a:gd name="connsiteX65" fmla="*/ 90732 w 279350"/>
                <a:gd name="connsiteY65" fmla="*/ 37532 h 252526"/>
                <a:gd name="connsiteX66" fmla="*/ 84451 w 279350"/>
                <a:gd name="connsiteY66" fmla="*/ 82910 h 252526"/>
                <a:gd name="connsiteX67" fmla="*/ 84572 w 279350"/>
                <a:gd name="connsiteY67" fmla="*/ 83070 h 252526"/>
                <a:gd name="connsiteX68" fmla="*/ 130181 w 279350"/>
                <a:gd name="connsiteY68" fmla="*/ 89244 h 252526"/>
                <a:gd name="connsiteX69" fmla="*/ 156625 w 279350"/>
                <a:gd name="connsiteY69" fmla="*/ 69211 h 252526"/>
                <a:gd name="connsiteX70" fmla="*/ 184258 w 279350"/>
                <a:gd name="connsiteY70" fmla="*/ 69211 h 252526"/>
                <a:gd name="connsiteX71" fmla="*/ 103401 w 279350"/>
                <a:gd name="connsiteY71" fmla="*/ 54288 h 252526"/>
                <a:gd name="connsiteX72" fmla="*/ 147343 w 279350"/>
                <a:gd name="connsiteY72" fmla="*/ 20999 h 252526"/>
                <a:gd name="connsiteX73" fmla="*/ 154399 w 279350"/>
                <a:gd name="connsiteY73" fmla="*/ 20999 h 252526"/>
                <a:gd name="connsiteX74" fmla="*/ 157017 w 279350"/>
                <a:gd name="connsiteY74" fmla="*/ 21069 h 252526"/>
                <a:gd name="connsiteX75" fmla="*/ 179779 w 279350"/>
                <a:gd name="connsiteY75" fmla="*/ 21069 h 252526"/>
                <a:gd name="connsiteX76" fmla="*/ 235522 w 279350"/>
                <a:gd name="connsiteY76" fmla="*/ 54246 h 252526"/>
                <a:gd name="connsiteX77" fmla="*/ 241738 w 279350"/>
                <a:gd name="connsiteY77" fmla="*/ 96173 h 252526"/>
                <a:gd name="connsiteX78" fmla="*/ 196787 w 279350"/>
                <a:gd name="connsiteY78" fmla="*/ 51433 h 252526"/>
                <a:gd name="connsiteX79" fmla="*/ 189242 w 279350"/>
                <a:gd name="connsiteY79" fmla="*/ 48227 h 252526"/>
                <a:gd name="connsiteX80" fmla="*/ 153111 w 279350"/>
                <a:gd name="connsiteY80" fmla="*/ 48227 h 252526"/>
                <a:gd name="connsiteX81" fmla="*/ 146769 w 279350"/>
                <a:gd name="connsiteY81" fmla="*/ 50355 h 252526"/>
                <a:gd name="connsiteX82" fmla="*/ 117512 w 279350"/>
                <a:gd name="connsiteY82" fmla="*/ 72515 h 252526"/>
                <a:gd name="connsiteX83" fmla="*/ 101245 w 279350"/>
                <a:gd name="connsiteY83" fmla="*/ 70317 h 252526"/>
                <a:gd name="connsiteX84" fmla="*/ 103347 w 279350"/>
                <a:gd name="connsiteY84" fmla="*/ 54340 h 252526"/>
                <a:gd name="connsiteX85" fmla="*/ 103415 w 279350"/>
                <a:gd name="connsiteY85" fmla="*/ 54288 h 252526"/>
                <a:gd name="connsiteX86" fmla="*/ 56449 w 279350"/>
                <a:gd name="connsiteY86" fmla="*/ 165649 h 252526"/>
                <a:gd name="connsiteX87" fmla="*/ 56404 w 279350"/>
                <a:gd name="connsiteY87" fmla="*/ 153375 h 252526"/>
                <a:gd name="connsiteX88" fmla="*/ 56449 w 279350"/>
                <a:gd name="connsiteY88" fmla="*/ 153330 h 252526"/>
                <a:gd name="connsiteX89" fmla="*/ 69846 w 279350"/>
                <a:gd name="connsiteY89" fmla="*/ 140003 h 252526"/>
                <a:gd name="connsiteX90" fmla="*/ 82249 w 279350"/>
                <a:gd name="connsiteY90" fmla="*/ 140003 h 252526"/>
                <a:gd name="connsiteX91" fmla="*/ 82361 w 279350"/>
                <a:gd name="connsiteY91" fmla="*/ 152210 h 252526"/>
                <a:gd name="connsiteX92" fmla="*/ 82249 w 279350"/>
                <a:gd name="connsiteY92" fmla="*/ 152322 h 252526"/>
                <a:gd name="connsiteX93" fmla="*/ 68852 w 279350"/>
                <a:gd name="connsiteY93" fmla="*/ 165635 h 252526"/>
                <a:gd name="connsiteX94" fmla="*/ 68726 w 279350"/>
                <a:gd name="connsiteY94" fmla="*/ 165761 h 252526"/>
                <a:gd name="connsiteX95" fmla="*/ 56449 w 279350"/>
                <a:gd name="connsiteY95" fmla="*/ 165649 h 252526"/>
                <a:gd name="connsiteX96" fmla="*/ 49575 w 279350"/>
                <a:gd name="connsiteY96" fmla="*/ 118487 h 252526"/>
                <a:gd name="connsiteX97" fmla="*/ 49435 w 279350"/>
                <a:gd name="connsiteY97" fmla="*/ 130666 h 252526"/>
                <a:gd name="connsiteX98" fmla="*/ 36038 w 279350"/>
                <a:gd name="connsiteY98" fmla="*/ 143993 h 252526"/>
                <a:gd name="connsiteX99" fmla="*/ 23635 w 279350"/>
                <a:gd name="connsiteY99" fmla="*/ 143993 h 252526"/>
                <a:gd name="connsiteX100" fmla="*/ 23591 w 279350"/>
                <a:gd name="connsiteY100" fmla="*/ 131719 h 252526"/>
                <a:gd name="connsiteX101" fmla="*/ 23635 w 279350"/>
                <a:gd name="connsiteY101" fmla="*/ 131674 h 252526"/>
                <a:gd name="connsiteX102" fmla="*/ 37046 w 279350"/>
                <a:gd name="connsiteY102" fmla="*/ 118361 h 252526"/>
                <a:gd name="connsiteX103" fmla="*/ 49449 w 279350"/>
                <a:gd name="connsiteY103" fmla="*/ 118361 h 252526"/>
                <a:gd name="connsiteX104" fmla="*/ 49575 w 279350"/>
                <a:gd name="connsiteY104" fmla="*/ 118487 h 252526"/>
                <a:gd name="connsiteX105" fmla="*/ 124441 w 279350"/>
                <a:gd name="connsiteY105" fmla="*/ 220875 h 252526"/>
                <a:gd name="connsiteX106" fmla="*/ 112038 w 279350"/>
                <a:gd name="connsiteY106" fmla="*/ 220875 h 252526"/>
                <a:gd name="connsiteX107" fmla="*/ 111993 w 279350"/>
                <a:gd name="connsiteY107" fmla="*/ 208601 h 252526"/>
                <a:gd name="connsiteX108" fmla="*/ 112038 w 279350"/>
                <a:gd name="connsiteY108" fmla="*/ 208556 h 252526"/>
                <a:gd name="connsiteX109" fmla="*/ 125435 w 279350"/>
                <a:gd name="connsiteY109" fmla="*/ 195243 h 252526"/>
                <a:gd name="connsiteX110" fmla="*/ 137838 w 279350"/>
                <a:gd name="connsiteY110" fmla="*/ 195243 h 252526"/>
                <a:gd name="connsiteX111" fmla="*/ 137883 w 279350"/>
                <a:gd name="connsiteY111" fmla="*/ 207517 h 252526"/>
                <a:gd name="connsiteX112" fmla="*/ 137838 w 279350"/>
                <a:gd name="connsiteY112" fmla="*/ 207562 h 252526"/>
                <a:gd name="connsiteX113" fmla="*/ 124441 w 279350"/>
                <a:gd name="connsiteY113" fmla="*/ 220875 h 252526"/>
                <a:gd name="connsiteX114" fmla="*/ 96150 w 279350"/>
                <a:gd name="connsiteY114" fmla="*/ 192765 h 252526"/>
                <a:gd name="connsiteX115" fmla="*/ 83746 w 279350"/>
                <a:gd name="connsiteY115" fmla="*/ 192765 h 252526"/>
                <a:gd name="connsiteX116" fmla="*/ 83621 w 279350"/>
                <a:gd name="connsiteY116" fmla="*/ 180558 h 252526"/>
                <a:gd name="connsiteX117" fmla="*/ 83746 w 279350"/>
                <a:gd name="connsiteY117" fmla="*/ 180446 h 252526"/>
                <a:gd name="connsiteX118" fmla="*/ 97143 w 279350"/>
                <a:gd name="connsiteY118" fmla="*/ 167133 h 252526"/>
                <a:gd name="connsiteX119" fmla="*/ 97255 w 279350"/>
                <a:gd name="connsiteY119" fmla="*/ 167007 h 252526"/>
                <a:gd name="connsiteX120" fmla="*/ 109546 w 279350"/>
                <a:gd name="connsiteY120" fmla="*/ 167133 h 252526"/>
                <a:gd name="connsiteX121" fmla="*/ 109591 w 279350"/>
                <a:gd name="connsiteY121" fmla="*/ 179407 h 252526"/>
                <a:gd name="connsiteX122" fmla="*/ 109546 w 279350"/>
                <a:gd name="connsiteY122" fmla="*/ 179452 h 252526"/>
                <a:gd name="connsiteX123" fmla="*/ 96150 w 279350"/>
                <a:gd name="connsiteY123" fmla="*/ 192765 h 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79350" h="252526">
                  <a:moveTo>
                    <a:pt x="143312" y="1"/>
                  </a:moveTo>
                  <a:cubicBezTo>
                    <a:pt x="140162" y="2"/>
                    <a:pt x="137180" y="1421"/>
                    <a:pt x="135192" y="3864"/>
                  </a:cubicBezTo>
                  <a:lnTo>
                    <a:pt x="134380" y="4466"/>
                  </a:lnTo>
                  <a:cubicBezTo>
                    <a:pt x="103368" y="-4972"/>
                    <a:pt x="69678" y="3378"/>
                    <a:pt x="46663" y="26207"/>
                  </a:cubicBezTo>
                  <a:cubicBezTo>
                    <a:pt x="26337" y="46336"/>
                    <a:pt x="17244" y="75195"/>
                    <a:pt x="22361" y="103340"/>
                  </a:cubicBezTo>
                  <a:lnTo>
                    <a:pt x="22151" y="103550"/>
                  </a:lnTo>
                  <a:lnTo>
                    <a:pt x="8741" y="116863"/>
                  </a:lnTo>
                  <a:cubicBezTo>
                    <a:pt x="-2837" y="128334"/>
                    <a:pt x="-2924" y="147018"/>
                    <a:pt x="8546" y="158595"/>
                  </a:cubicBezTo>
                  <a:cubicBezTo>
                    <a:pt x="8611" y="158661"/>
                    <a:pt x="8676" y="158726"/>
                    <a:pt x="8741" y="158790"/>
                  </a:cubicBezTo>
                  <a:cubicBezTo>
                    <a:pt x="15342" y="165347"/>
                    <a:pt x="24621" y="168458"/>
                    <a:pt x="33841" y="167203"/>
                  </a:cubicBezTo>
                  <a:cubicBezTo>
                    <a:pt x="37164" y="179295"/>
                    <a:pt x="47700" y="188013"/>
                    <a:pt x="60200" y="189014"/>
                  </a:cubicBezTo>
                  <a:cubicBezTo>
                    <a:pt x="61498" y="203858"/>
                    <a:pt x="73554" y="215466"/>
                    <a:pt x="88436" y="216199"/>
                  </a:cubicBezTo>
                  <a:cubicBezTo>
                    <a:pt x="88800" y="223297"/>
                    <a:pt x="91698" y="230268"/>
                    <a:pt x="97143" y="235672"/>
                  </a:cubicBezTo>
                  <a:cubicBezTo>
                    <a:pt x="107783" y="246255"/>
                    <a:pt x="124469" y="247165"/>
                    <a:pt x="136158" y="238430"/>
                  </a:cubicBezTo>
                  <a:lnTo>
                    <a:pt x="141576" y="243805"/>
                  </a:lnTo>
                  <a:cubicBezTo>
                    <a:pt x="153313" y="255434"/>
                    <a:pt x="172228" y="255434"/>
                    <a:pt x="183964" y="243805"/>
                  </a:cubicBezTo>
                  <a:cubicBezTo>
                    <a:pt x="189144" y="238654"/>
                    <a:pt x="192042" y="232074"/>
                    <a:pt x="192644" y="225355"/>
                  </a:cubicBezTo>
                  <a:cubicBezTo>
                    <a:pt x="207064" y="224132"/>
                    <a:pt x="218521" y="212723"/>
                    <a:pt x="219802" y="198309"/>
                  </a:cubicBezTo>
                  <a:cubicBezTo>
                    <a:pt x="232413" y="197150"/>
                    <a:pt x="242914" y="188143"/>
                    <a:pt x="245979" y="175855"/>
                  </a:cubicBezTo>
                  <a:cubicBezTo>
                    <a:pt x="255058" y="176942"/>
                    <a:pt x="264133" y="173816"/>
                    <a:pt x="270617" y="167371"/>
                  </a:cubicBezTo>
                  <a:cubicBezTo>
                    <a:pt x="282192" y="155896"/>
                    <a:pt x="282272" y="137212"/>
                    <a:pt x="270798" y="125639"/>
                  </a:cubicBezTo>
                  <a:cubicBezTo>
                    <a:pt x="270738" y="125579"/>
                    <a:pt x="270678" y="125519"/>
                    <a:pt x="270617" y="125459"/>
                  </a:cubicBezTo>
                  <a:lnTo>
                    <a:pt x="258956" y="113854"/>
                  </a:lnTo>
                  <a:lnTo>
                    <a:pt x="261364" y="104530"/>
                  </a:lnTo>
                  <a:cubicBezTo>
                    <a:pt x="266573" y="84241"/>
                    <a:pt x="263950" y="62735"/>
                    <a:pt x="254015" y="44293"/>
                  </a:cubicBezTo>
                  <a:cubicBezTo>
                    <a:pt x="239288" y="17017"/>
                    <a:pt x="210776" y="27"/>
                    <a:pt x="179779" y="57"/>
                  </a:cubicBezTo>
                  <a:lnTo>
                    <a:pt x="157283" y="57"/>
                  </a:lnTo>
                  <a:cubicBezTo>
                    <a:pt x="156322" y="15"/>
                    <a:pt x="155361" y="-4"/>
                    <a:pt x="154399" y="1"/>
                  </a:cubicBezTo>
                  <a:lnTo>
                    <a:pt x="143326" y="1"/>
                  </a:lnTo>
                  <a:close/>
                  <a:moveTo>
                    <a:pt x="184258" y="69225"/>
                  </a:moveTo>
                  <a:lnTo>
                    <a:pt x="232751" y="117409"/>
                  </a:lnTo>
                  <a:lnTo>
                    <a:pt x="232793" y="117465"/>
                  </a:lnTo>
                  <a:lnTo>
                    <a:pt x="232989" y="117647"/>
                  </a:lnTo>
                  <a:lnTo>
                    <a:pt x="255737" y="140255"/>
                  </a:lnTo>
                  <a:cubicBezTo>
                    <a:pt x="259138" y="143632"/>
                    <a:pt x="259158" y="149128"/>
                    <a:pt x="255781" y="152530"/>
                  </a:cubicBezTo>
                  <a:cubicBezTo>
                    <a:pt x="255766" y="152545"/>
                    <a:pt x="255752" y="152559"/>
                    <a:pt x="255737" y="152574"/>
                  </a:cubicBezTo>
                  <a:cubicBezTo>
                    <a:pt x="252300" y="155972"/>
                    <a:pt x="246770" y="155972"/>
                    <a:pt x="243334" y="152574"/>
                  </a:cubicBezTo>
                  <a:lnTo>
                    <a:pt x="220586" y="129966"/>
                  </a:lnTo>
                  <a:cubicBezTo>
                    <a:pt x="216461" y="125881"/>
                    <a:pt x="209815" y="125881"/>
                    <a:pt x="205691" y="129966"/>
                  </a:cubicBezTo>
                  <a:lnTo>
                    <a:pt x="205467" y="130204"/>
                  </a:lnTo>
                  <a:cubicBezTo>
                    <a:pt x="201380" y="134253"/>
                    <a:pt x="201351" y="140848"/>
                    <a:pt x="205400" y="144934"/>
                  </a:cubicBezTo>
                  <a:cubicBezTo>
                    <a:pt x="205422" y="144956"/>
                    <a:pt x="205444" y="144979"/>
                    <a:pt x="205467" y="145001"/>
                  </a:cubicBezTo>
                  <a:lnTo>
                    <a:pt x="223189" y="162626"/>
                  </a:lnTo>
                  <a:cubicBezTo>
                    <a:pt x="226591" y="166002"/>
                    <a:pt x="226611" y="171498"/>
                    <a:pt x="223234" y="174900"/>
                  </a:cubicBezTo>
                  <a:cubicBezTo>
                    <a:pt x="223219" y="174915"/>
                    <a:pt x="223205" y="174929"/>
                    <a:pt x="223189" y="174945"/>
                  </a:cubicBezTo>
                  <a:cubicBezTo>
                    <a:pt x="220100" y="178019"/>
                    <a:pt x="215228" y="178376"/>
                    <a:pt x="211724" y="175785"/>
                  </a:cubicBezTo>
                  <a:cubicBezTo>
                    <a:pt x="207515" y="172633"/>
                    <a:pt x="201630" y="173051"/>
                    <a:pt x="197907" y="176764"/>
                  </a:cubicBezTo>
                  <a:cubicBezTo>
                    <a:pt x="194196" y="180474"/>
                    <a:pt x="193825" y="186365"/>
                    <a:pt x="197039" y="190511"/>
                  </a:cubicBezTo>
                  <a:cubicBezTo>
                    <a:pt x="199712" y="193980"/>
                    <a:pt x="199381" y="198897"/>
                    <a:pt x="196269" y="201976"/>
                  </a:cubicBezTo>
                  <a:cubicBezTo>
                    <a:pt x="193123" y="205095"/>
                    <a:pt x="188149" y="205395"/>
                    <a:pt x="184650" y="202676"/>
                  </a:cubicBezTo>
                  <a:cubicBezTo>
                    <a:pt x="180465" y="199410"/>
                    <a:pt x="174507" y="199752"/>
                    <a:pt x="170722" y="203474"/>
                  </a:cubicBezTo>
                  <a:cubicBezTo>
                    <a:pt x="166945" y="207190"/>
                    <a:pt x="166560" y="213148"/>
                    <a:pt x="169826" y="217319"/>
                  </a:cubicBezTo>
                  <a:cubicBezTo>
                    <a:pt x="172562" y="220841"/>
                    <a:pt x="172238" y="225854"/>
                    <a:pt x="169070" y="228994"/>
                  </a:cubicBezTo>
                  <a:cubicBezTo>
                    <a:pt x="165580" y="232446"/>
                    <a:pt x="159961" y="232446"/>
                    <a:pt x="156471" y="228994"/>
                  </a:cubicBezTo>
                  <a:lnTo>
                    <a:pt x="151263" y="223829"/>
                  </a:lnTo>
                  <a:lnTo>
                    <a:pt x="152733" y="222359"/>
                  </a:lnTo>
                  <a:cubicBezTo>
                    <a:pt x="164307" y="210884"/>
                    <a:pt x="164387" y="192200"/>
                    <a:pt x="152914" y="180627"/>
                  </a:cubicBezTo>
                  <a:cubicBezTo>
                    <a:pt x="152853" y="180567"/>
                    <a:pt x="152793" y="180506"/>
                    <a:pt x="152733" y="180446"/>
                  </a:cubicBezTo>
                  <a:cubicBezTo>
                    <a:pt x="147497" y="175234"/>
                    <a:pt x="140513" y="172152"/>
                    <a:pt x="133135" y="171795"/>
                  </a:cubicBezTo>
                  <a:cubicBezTo>
                    <a:pt x="132309" y="156922"/>
                    <a:pt x="120628" y="144942"/>
                    <a:pt x="105781" y="143741"/>
                  </a:cubicBezTo>
                  <a:cubicBezTo>
                    <a:pt x="105207" y="136729"/>
                    <a:pt x="102144" y="130155"/>
                    <a:pt x="97143" y="125207"/>
                  </a:cubicBezTo>
                  <a:cubicBezTo>
                    <a:pt x="90542" y="118650"/>
                    <a:pt x="81263" y="115539"/>
                    <a:pt x="72043" y="116793"/>
                  </a:cubicBezTo>
                  <a:cubicBezTo>
                    <a:pt x="68386" y="103534"/>
                    <a:pt x="56144" y="94487"/>
                    <a:pt x="42394" y="94885"/>
                  </a:cubicBezTo>
                  <a:cubicBezTo>
                    <a:pt x="40240" y="74939"/>
                    <a:pt x="47295" y="55098"/>
                    <a:pt x="61558" y="40989"/>
                  </a:cubicBezTo>
                  <a:cubicBezTo>
                    <a:pt x="74824" y="27811"/>
                    <a:pt x="93010" y="20803"/>
                    <a:pt x="111688" y="21671"/>
                  </a:cubicBezTo>
                  <a:lnTo>
                    <a:pt x="90732" y="37532"/>
                  </a:lnTo>
                  <a:cubicBezTo>
                    <a:pt x="76467" y="48328"/>
                    <a:pt x="73654" y="68645"/>
                    <a:pt x="84451" y="82910"/>
                  </a:cubicBezTo>
                  <a:cubicBezTo>
                    <a:pt x="84491" y="82964"/>
                    <a:pt x="84532" y="83017"/>
                    <a:pt x="84572" y="83070"/>
                  </a:cubicBezTo>
                  <a:cubicBezTo>
                    <a:pt x="95496" y="97310"/>
                    <a:pt x="115864" y="100067"/>
                    <a:pt x="130181" y="89244"/>
                  </a:cubicBezTo>
                  <a:lnTo>
                    <a:pt x="156625" y="69211"/>
                  </a:lnTo>
                  <a:lnTo>
                    <a:pt x="184258" y="69211"/>
                  </a:lnTo>
                  <a:close/>
                  <a:moveTo>
                    <a:pt x="103401" y="54288"/>
                  </a:moveTo>
                  <a:lnTo>
                    <a:pt x="147343" y="20999"/>
                  </a:lnTo>
                  <a:lnTo>
                    <a:pt x="154399" y="20999"/>
                  </a:lnTo>
                  <a:cubicBezTo>
                    <a:pt x="155272" y="20993"/>
                    <a:pt x="156144" y="21016"/>
                    <a:pt x="157017" y="21069"/>
                  </a:cubicBezTo>
                  <a:lnTo>
                    <a:pt x="179779" y="21069"/>
                  </a:lnTo>
                  <a:cubicBezTo>
                    <a:pt x="203046" y="21038"/>
                    <a:pt x="224455" y="33779"/>
                    <a:pt x="235522" y="54246"/>
                  </a:cubicBezTo>
                  <a:cubicBezTo>
                    <a:pt x="242452" y="67125"/>
                    <a:pt x="244622" y="81936"/>
                    <a:pt x="241738" y="96173"/>
                  </a:cubicBezTo>
                  <a:lnTo>
                    <a:pt x="196787" y="51433"/>
                  </a:lnTo>
                  <a:cubicBezTo>
                    <a:pt x="194811" y="49386"/>
                    <a:pt x="192088" y="48229"/>
                    <a:pt x="189242" y="48227"/>
                  </a:cubicBezTo>
                  <a:lnTo>
                    <a:pt x="153111" y="48227"/>
                  </a:lnTo>
                  <a:cubicBezTo>
                    <a:pt x="150822" y="48226"/>
                    <a:pt x="148595" y="48973"/>
                    <a:pt x="146769" y="50355"/>
                  </a:cubicBezTo>
                  <a:lnTo>
                    <a:pt x="117512" y="72515"/>
                  </a:lnTo>
                  <a:cubicBezTo>
                    <a:pt x="112405" y="76369"/>
                    <a:pt x="105146" y="75388"/>
                    <a:pt x="101245" y="70317"/>
                  </a:cubicBezTo>
                  <a:cubicBezTo>
                    <a:pt x="97414" y="65324"/>
                    <a:pt x="98355" y="58171"/>
                    <a:pt x="103347" y="54340"/>
                  </a:cubicBezTo>
                  <a:cubicBezTo>
                    <a:pt x="103370" y="54322"/>
                    <a:pt x="103392" y="54305"/>
                    <a:pt x="103415" y="54288"/>
                  </a:cubicBezTo>
                  <a:close/>
                  <a:moveTo>
                    <a:pt x="56449" y="165649"/>
                  </a:moveTo>
                  <a:cubicBezTo>
                    <a:pt x="53047" y="162273"/>
                    <a:pt x="53027" y="156777"/>
                    <a:pt x="56404" y="153375"/>
                  </a:cubicBezTo>
                  <a:cubicBezTo>
                    <a:pt x="56419" y="153360"/>
                    <a:pt x="56434" y="153346"/>
                    <a:pt x="56449" y="153330"/>
                  </a:cubicBezTo>
                  <a:lnTo>
                    <a:pt x="69846" y="140003"/>
                  </a:lnTo>
                  <a:cubicBezTo>
                    <a:pt x="73282" y="136606"/>
                    <a:pt x="78813" y="136606"/>
                    <a:pt x="82249" y="140003"/>
                  </a:cubicBezTo>
                  <a:cubicBezTo>
                    <a:pt x="85625" y="143355"/>
                    <a:pt x="85675" y="148798"/>
                    <a:pt x="82361" y="152210"/>
                  </a:cubicBezTo>
                  <a:lnTo>
                    <a:pt x="82249" y="152322"/>
                  </a:lnTo>
                  <a:lnTo>
                    <a:pt x="68852" y="165635"/>
                  </a:lnTo>
                  <a:lnTo>
                    <a:pt x="68726" y="165761"/>
                  </a:lnTo>
                  <a:cubicBezTo>
                    <a:pt x="65275" y="169047"/>
                    <a:pt x="59839" y="168997"/>
                    <a:pt x="56449" y="165649"/>
                  </a:cubicBezTo>
                  <a:close/>
                  <a:moveTo>
                    <a:pt x="49575" y="118487"/>
                  </a:moveTo>
                  <a:cubicBezTo>
                    <a:pt x="52878" y="121897"/>
                    <a:pt x="52816" y="127333"/>
                    <a:pt x="49435" y="130666"/>
                  </a:cubicBezTo>
                  <a:lnTo>
                    <a:pt x="36038" y="143993"/>
                  </a:lnTo>
                  <a:cubicBezTo>
                    <a:pt x="32602" y="147391"/>
                    <a:pt x="27071" y="147391"/>
                    <a:pt x="23635" y="143993"/>
                  </a:cubicBezTo>
                  <a:cubicBezTo>
                    <a:pt x="20233" y="140617"/>
                    <a:pt x="20214" y="135121"/>
                    <a:pt x="23591" y="131719"/>
                  </a:cubicBezTo>
                  <a:cubicBezTo>
                    <a:pt x="23606" y="131704"/>
                    <a:pt x="23620" y="131690"/>
                    <a:pt x="23635" y="131674"/>
                  </a:cubicBezTo>
                  <a:lnTo>
                    <a:pt x="37046" y="118361"/>
                  </a:lnTo>
                  <a:cubicBezTo>
                    <a:pt x="40482" y="114964"/>
                    <a:pt x="46013" y="114964"/>
                    <a:pt x="49449" y="118361"/>
                  </a:cubicBezTo>
                  <a:lnTo>
                    <a:pt x="49575" y="118487"/>
                  </a:lnTo>
                  <a:close/>
                  <a:moveTo>
                    <a:pt x="124441" y="220875"/>
                  </a:moveTo>
                  <a:cubicBezTo>
                    <a:pt x="121004" y="224272"/>
                    <a:pt x="115475" y="224272"/>
                    <a:pt x="112038" y="220875"/>
                  </a:cubicBezTo>
                  <a:cubicBezTo>
                    <a:pt x="108636" y="217498"/>
                    <a:pt x="108616" y="212002"/>
                    <a:pt x="111993" y="208601"/>
                  </a:cubicBezTo>
                  <a:cubicBezTo>
                    <a:pt x="112009" y="208585"/>
                    <a:pt x="112023" y="208571"/>
                    <a:pt x="112038" y="208556"/>
                  </a:cubicBezTo>
                  <a:lnTo>
                    <a:pt x="125435" y="195243"/>
                  </a:lnTo>
                  <a:cubicBezTo>
                    <a:pt x="128872" y="191845"/>
                    <a:pt x="134401" y="191845"/>
                    <a:pt x="137838" y="195243"/>
                  </a:cubicBezTo>
                  <a:cubicBezTo>
                    <a:pt x="141240" y="198620"/>
                    <a:pt x="141259" y="204115"/>
                    <a:pt x="137883" y="207517"/>
                  </a:cubicBezTo>
                  <a:cubicBezTo>
                    <a:pt x="137868" y="207533"/>
                    <a:pt x="137854" y="207547"/>
                    <a:pt x="137838" y="207562"/>
                  </a:cubicBezTo>
                  <a:lnTo>
                    <a:pt x="124441" y="220875"/>
                  </a:lnTo>
                  <a:close/>
                  <a:moveTo>
                    <a:pt x="96150" y="192765"/>
                  </a:moveTo>
                  <a:cubicBezTo>
                    <a:pt x="92717" y="196171"/>
                    <a:pt x="87179" y="196171"/>
                    <a:pt x="83746" y="192765"/>
                  </a:cubicBezTo>
                  <a:cubicBezTo>
                    <a:pt x="80366" y="189418"/>
                    <a:pt x="80310" y="183974"/>
                    <a:pt x="83621" y="180558"/>
                  </a:cubicBezTo>
                  <a:lnTo>
                    <a:pt x="83746" y="180446"/>
                  </a:lnTo>
                  <a:lnTo>
                    <a:pt x="97143" y="167133"/>
                  </a:lnTo>
                  <a:lnTo>
                    <a:pt x="97255" y="167007"/>
                  </a:lnTo>
                  <a:cubicBezTo>
                    <a:pt x="100712" y="163718"/>
                    <a:pt x="106158" y="163774"/>
                    <a:pt x="109546" y="167133"/>
                  </a:cubicBezTo>
                  <a:cubicBezTo>
                    <a:pt x="112948" y="170510"/>
                    <a:pt x="112968" y="176006"/>
                    <a:pt x="109591" y="179407"/>
                  </a:cubicBezTo>
                  <a:cubicBezTo>
                    <a:pt x="109576" y="179423"/>
                    <a:pt x="109561" y="179437"/>
                    <a:pt x="109546" y="179452"/>
                  </a:cubicBezTo>
                  <a:lnTo>
                    <a:pt x="96150" y="192765"/>
                  </a:lnTo>
                  <a:close/>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23" name="Group 22">
            <a:extLst>
              <a:ext uri="{FF2B5EF4-FFF2-40B4-BE49-F238E27FC236}">
                <a16:creationId xmlns:a16="http://schemas.microsoft.com/office/drawing/2014/main" id="{A4A49094-488E-92DC-12A6-02108349F2AA}"/>
              </a:ext>
            </a:extLst>
          </p:cNvPr>
          <p:cNvGrpSpPr/>
          <p:nvPr/>
        </p:nvGrpSpPr>
        <p:grpSpPr>
          <a:xfrm>
            <a:off x="59315" y="20009"/>
            <a:ext cx="12073370" cy="348643"/>
            <a:chOff x="59315" y="20009"/>
            <a:chExt cx="12073370" cy="348643"/>
          </a:xfrm>
        </p:grpSpPr>
        <p:sp>
          <p:nvSpPr>
            <p:cNvPr id="24" name="Table 2 Cell 1, 1 to Text">
              <a:extLst>
                <a:ext uri="{FF2B5EF4-FFF2-40B4-BE49-F238E27FC236}">
                  <a16:creationId xmlns:a16="http://schemas.microsoft.com/office/drawing/2014/main" id="{058F0EC3-3FAE-F62F-5934-32A52D70F241}"/>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25" name="Table 2 Cell 2, 1 to Text">
              <a:extLst>
                <a:ext uri="{FF2B5EF4-FFF2-40B4-BE49-F238E27FC236}">
                  <a16:creationId xmlns:a16="http://schemas.microsoft.com/office/drawing/2014/main" id="{F43EF847-4F98-53BA-C0F1-ED5946B7EA60}"/>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27" name="Table 2 Cell 3, 1 to Text">
              <a:extLst>
                <a:ext uri="{FF2B5EF4-FFF2-40B4-BE49-F238E27FC236}">
                  <a16:creationId xmlns:a16="http://schemas.microsoft.com/office/drawing/2014/main" id="{0D01B85D-CF71-421F-F184-2C151D41BC5D}"/>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28" name="Table 2 Cell 4, 1 to Text">
              <a:extLst>
                <a:ext uri="{FF2B5EF4-FFF2-40B4-BE49-F238E27FC236}">
                  <a16:creationId xmlns:a16="http://schemas.microsoft.com/office/drawing/2014/main" id="{10B8A0E6-A0BD-3FAD-5C0E-0EDAC357C0C1}"/>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29" name="Table 2 Cell 5, 1 to Text">
              <a:extLst>
                <a:ext uri="{FF2B5EF4-FFF2-40B4-BE49-F238E27FC236}">
                  <a16:creationId xmlns:a16="http://schemas.microsoft.com/office/drawing/2014/main" id="{48CBE9C1-1340-7467-441A-36C0ECBC60A1}"/>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30" name="Table 2 Cell 6, 1 to Text">
              <a:extLst>
                <a:ext uri="{FF2B5EF4-FFF2-40B4-BE49-F238E27FC236}">
                  <a16:creationId xmlns:a16="http://schemas.microsoft.com/office/drawing/2014/main" id="{FB4D14B5-1214-604F-2488-6018BB8603F0}"/>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32" name="Table 2 Cell 7, 1 to Text">
              <a:extLst>
                <a:ext uri="{FF2B5EF4-FFF2-40B4-BE49-F238E27FC236}">
                  <a16:creationId xmlns:a16="http://schemas.microsoft.com/office/drawing/2014/main" id="{540A9C93-E599-425E-2740-58BD9FB5C117}"/>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34" name="Table 2 Cell 1, 2 to Text">
              <a:extLst>
                <a:ext uri="{FF2B5EF4-FFF2-40B4-BE49-F238E27FC236}">
                  <a16:creationId xmlns:a16="http://schemas.microsoft.com/office/drawing/2014/main" id="{318A007B-D3E7-1EE5-4D51-7F68E449E580}"/>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37" name="Table 2 Cell 1, 3 to Text">
              <a:extLst>
                <a:ext uri="{FF2B5EF4-FFF2-40B4-BE49-F238E27FC236}">
                  <a16:creationId xmlns:a16="http://schemas.microsoft.com/office/drawing/2014/main" id="{58DCB076-EE5B-0F77-9016-02C913D6277D}"/>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38" name="Table 2 Cell 1, 4 to Text">
              <a:extLst>
                <a:ext uri="{FF2B5EF4-FFF2-40B4-BE49-F238E27FC236}">
                  <a16:creationId xmlns:a16="http://schemas.microsoft.com/office/drawing/2014/main" id="{318DA3B2-ABD6-B921-EAED-5CD570190AC1}"/>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42" name="Table 2 Cell 1, 5 to Text">
              <a:extLst>
                <a:ext uri="{FF2B5EF4-FFF2-40B4-BE49-F238E27FC236}">
                  <a16:creationId xmlns:a16="http://schemas.microsoft.com/office/drawing/2014/main" id="{0940AE4D-1AAD-BCF7-553C-25EA0C29D4C8}"/>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43" name="Table 2 Cell 1, 4 to Text">
              <a:extLst>
                <a:ext uri="{FF2B5EF4-FFF2-40B4-BE49-F238E27FC236}">
                  <a16:creationId xmlns:a16="http://schemas.microsoft.com/office/drawing/2014/main" id="{11DBDBBA-FA84-2374-808D-C3AF33CB3EA8}"/>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5 Community</a:t>
              </a:r>
            </a:p>
          </p:txBody>
        </p:sp>
        <p:sp>
          <p:nvSpPr>
            <p:cNvPr id="44" name="Table 2 Cell 1, 4 to Text">
              <a:extLst>
                <a:ext uri="{FF2B5EF4-FFF2-40B4-BE49-F238E27FC236}">
                  <a16:creationId xmlns:a16="http://schemas.microsoft.com/office/drawing/2014/main" id="{1BBA388A-1035-B010-FBB1-497B5B9D3B76}"/>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45" name="Table 2 Cell 1, 4 to Text">
              <a:extLst>
                <a:ext uri="{FF2B5EF4-FFF2-40B4-BE49-F238E27FC236}">
                  <a16:creationId xmlns:a16="http://schemas.microsoft.com/office/drawing/2014/main" id="{5F257852-205C-B2AF-4CC9-1639A56CDB4F}"/>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
        <p:nvSpPr>
          <p:cNvPr id="47" name="Rectangle: Rounded Corners 46">
            <a:extLst>
              <a:ext uri="{FF2B5EF4-FFF2-40B4-BE49-F238E27FC236}">
                <a16:creationId xmlns:a16="http://schemas.microsoft.com/office/drawing/2014/main" id="{B15157F9-70E4-29DB-AD22-CC0F810F9C14}"/>
              </a:ext>
            </a:extLst>
          </p:cNvPr>
          <p:cNvSpPr/>
          <p:nvPr/>
        </p:nvSpPr>
        <p:spPr bwMode="auto">
          <a:xfrm>
            <a:off x="3945161" y="6361117"/>
            <a:ext cx="4301679" cy="330677"/>
          </a:xfrm>
          <a:prstGeom prst="roundRect">
            <a:avLst>
              <a:gd name="adj" fmla="val 29602"/>
            </a:avLst>
          </a:prstGeom>
          <a:solidFill>
            <a:schemeClr val="tx2"/>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1200">
                <a:solidFill>
                  <a:schemeClr val="bg1"/>
                </a:solidFill>
                <a:latin typeface="Segoe Sans Display Semibold"/>
                <a:cs typeface="Segoe UI" pitchFamily="34" charset="0"/>
              </a:rPr>
              <a:t>See more details at </a:t>
            </a:r>
            <a:r>
              <a:rPr lang="en-US" sz="1200">
                <a:solidFill>
                  <a:schemeClr val="bg1"/>
                </a:solidFill>
                <a:hlinkClick r:id="rId3">
                  <a:extLst>
                    <a:ext uri="{A12FA001-AC4F-418D-AE19-62706E023703}">
                      <ahyp:hlinkClr xmlns:ahyp="http://schemas.microsoft.com/office/drawing/2018/hyperlinkcolor" val="tx"/>
                    </a:ext>
                  </a:extLst>
                </a:hlinkClick>
              </a:rPr>
              <a:t>aka.ms/cloudaicsu</a:t>
            </a:r>
            <a:endParaRPr lang="en-US" sz="1200">
              <a:solidFill>
                <a:schemeClr val="bg1"/>
              </a:solidFill>
              <a:latin typeface="Segoe Sans Display Semibold"/>
              <a:cs typeface="Segoe UI" pitchFamily="34" charset="0"/>
            </a:endParaRPr>
          </a:p>
        </p:txBody>
      </p:sp>
      <p:sp>
        <p:nvSpPr>
          <p:cNvPr id="6" name="Rectangle: Rounded Corners 5">
            <a:extLst>
              <a:ext uri="{FF2B5EF4-FFF2-40B4-BE49-F238E27FC236}">
                <a16:creationId xmlns:a16="http://schemas.microsoft.com/office/drawing/2014/main" id="{96271A7A-607F-9F7B-93D2-670D9DA05044}"/>
              </a:ext>
              <a:ext uri="{C183D7F6-B498-43B3-948B-1728B52AA6E4}">
                <adec:decorative xmlns:adec="http://schemas.microsoft.com/office/drawing/2017/decorative" val="1"/>
              </a:ext>
            </a:extLst>
          </p:cNvPr>
          <p:cNvSpPr>
            <a:spLocks/>
          </p:cNvSpPr>
          <p:nvPr/>
        </p:nvSpPr>
        <p:spPr>
          <a:xfrm>
            <a:off x="573878" y="3312161"/>
            <a:ext cx="8255779" cy="420823"/>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a:rPr>
              <a:t>Tech Intensity Community</a:t>
            </a:r>
          </a:p>
        </p:txBody>
      </p:sp>
      <p:sp>
        <p:nvSpPr>
          <p:cNvPr id="7" name="Rectangle: Rounded Corners 6">
            <a:extLst>
              <a:ext uri="{FF2B5EF4-FFF2-40B4-BE49-F238E27FC236}">
                <a16:creationId xmlns:a16="http://schemas.microsoft.com/office/drawing/2014/main" id="{D778064F-2404-E55E-A14D-4C74636BE609}"/>
              </a:ext>
              <a:ext uri="{C183D7F6-B498-43B3-948B-1728B52AA6E4}">
                <adec:decorative xmlns:adec="http://schemas.microsoft.com/office/drawing/2017/decorative" val="1"/>
              </a:ext>
            </a:extLst>
          </p:cNvPr>
          <p:cNvSpPr>
            <a:spLocks/>
          </p:cNvSpPr>
          <p:nvPr/>
        </p:nvSpPr>
        <p:spPr>
          <a:xfrm>
            <a:off x="8931766" y="3312161"/>
            <a:ext cx="2688733" cy="420823"/>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a:rPr>
              <a:t>Tech Insiders</a:t>
            </a:r>
          </a:p>
        </p:txBody>
      </p:sp>
    </p:spTree>
    <p:extLst>
      <p:ext uri="{BB962C8B-B14F-4D97-AF65-F5344CB8AC3E}">
        <p14:creationId xmlns:p14="http://schemas.microsoft.com/office/powerpoint/2010/main" val="3150160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100"/>
                                  </p:stCondLst>
                                  <p:childTnLst>
                                    <p:animMotion origin="layout" path="M -1.875E-6 -2.59259E-6 L -1.875E-6 0.03542 " pathEditMode="relative" rAng="0" ptsTypes="AA">
                                      <p:cBhvr>
                                        <p:cTn id="9" dur="700" spd="-100000" fill="hold"/>
                                        <p:tgtEl>
                                          <p:spTgt spid="20"/>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par>
                                <p:cTn id="13" presetID="42" presetClass="path" presetSubtype="0" decel="100000" fill="hold" grpId="1" nodeType="withEffect">
                                  <p:stCondLst>
                                    <p:cond delay="200"/>
                                  </p:stCondLst>
                                  <p:childTnLst>
                                    <p:animMotion origin="layout" path="M 4.16667E-7 -2.22222E-6 L 4.16667E-7 0.03542 " pathEditMode="relative" rAng="0" ptsTypes="AA">
                                      <p:cBhvr>
                                        <p:cTn id="14" dur="700" spd="-100000" fill="hold"/>
                                        <p:tgtEl>
                                          <p:spTgt spid="49"/>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42" presetClass="path" presetSubtype="0" decel="100000" fill="hold" grpId="1" nodeType="withEffect">
                                  <p:stCondLst>
                                    <p:cond delay="200"/>
                                  </p:stCondLst>
                                  <p:childTnLst>
                                    <p:animMotion origin="layout" path="M 3.75E-6 -2.59259E-6 L 3.75E-6 0.03542 " pathEditMode="relative" rAng="0" ptsTypes="AA">
                                      <p:cBhvr>
                                        <p:cTn id="19" dur="700" spd="-100000" fill="hold"/>
                                        <p:tgtEl>
                                          <p:spTgt spid="26"/>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par>
                                <p:cTn id="23" presetID="42" presetClass="path" presetSubtype="0" decel="100000" fill="hold" grpId="1" nodeType="withEffect">
                                  <p:stCondLst>
                                    <p:cond delay="200"/>
                                  </p:stCondLst>
                                  <p:childTnLst>
                                    <p:animMotion origin="layout" path="M 3.75E-6 -3.7037E-7 L 3.75E-6 0.03542 " pathEditMode="relative" rAng="0" ptsTypes="AA">
                                      <p:cBhvr>
                                        <p:cTn id="24" dur="700" spd="-100000" fill="hold"/>
                                        <p:tgtEl>
                                          <p:spTgt spid="48"/>
                                        </p:tgtEl>
                                        <p:attrNameLst>
                                          <p:attrName>ppt_x</p:attrName>
                                          <p:attrName>ppt_y</p:attrName>
                                        </p:attrNameLst>
                                      </p:cBhvr>
                                      <p:rCtr x="0" y="1759"/>
                                    </p:animMotion>
                                  </p:childTnLst>
                                </p:cTn>
                              </p:par>
                              <p:par>
                                <p:cTn id="25" presetID="10" presetClass="entr" presetSubtype="0" fill="hold" nodeType="withEffect">
                                  <p:stCondLst>
                                    <p:cond delay="2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200"/>
                                  </p:stCondLst>
                                  <p:childTnLst>
                                    <p:animMotion origin="layout" path="M -2.08333E-7 1.48148E-6 L -2.08333E-7 0.03542 " pathEditMode="relative" rAng="0" ptsTypes="AA">
                                      <p:cBhvr>
                                        <p:cTn id="29" dur="700" spd="-100000" fill="hold"/>
                                        <p:tgtEl>
                                          <p:spTgt spid="3"/>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500"/>
                                        <p:tgtEl>
                                          <p:spTgt spid="39"/>
                                        </p:tgtEl>
                                      </p:cBhvr>
                                    </p:animEffect>
                                  </p:childTnLst>
                                </p:cTn>
                              </p:par>
                              <p:par>
                                <p:cTn id="33" presetID="42" presetClass="path" presetSubtype="0" decel="100000" fill="hold" grpId="1" nodeType="withEffect">
                                  <p:stCondLst>
                                    <p:cond delay="100"/>
                                  </p:stCondLst>
                                  <p:childTnLst>
                                    <p:animMotion origin="layout" path="M -1.875E-6 2.96296E-6 L -1.875E-6 0.03541 " pathEditMode="relative" rAng="0" ptsTypes="AA">
                                      <p:cBhvr>
                                        <p:cTn id="34" dur="700" spd="-100000" fill="hold"/>
                                        <p:tgtEl>
                                          <p:spTgt spid="39"/>
                                        </p:tgtEl>
                                        <p:attrNameLst>
                                          <p:attrName>ppt_x</p:attrName>
                                          <p:attrName>ppt_y</p:attrName>
                                        </p:attrNameLst>
                                      </p:cBhvr>
                                      <p:rCtr x="0" y="1759"/>
                                    </p:animMotion>
                                  </p:childTnLst>
                                </p:cTn>
                              </p:par>
                              <p:par>
                                <p:cTn id="35" presetID="10" presetClass="entr" presetSubtype="0" fill="hold" nodeType="withEffect">
                                  <p:stCondLst>
                                    <p:cond delay="2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42" presetClass="path" presetSubtype="0" decel="100000" fill="hold" nodeType="withEffect">
                                  <p:stCondLst>
                                    <p:cond delay="200"/>
                                  </p:stCondLst>
                                  <p:childTnLst>
                                    <p:animMotion origin="layout" path="M -1.875E-6 2.96296E-6 L -1.875E-6 0.03541 " pathEditMode="relative" rAng="0" ptsTypes="AA">
                                      <p:cBhvr>
                                        <p:cTn id="39" dur="700" spd="-100000" fill="hold"/>
                                        <p:tgtEl>
                                          <p:spTgt spid="15"/>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42" presetClass="path" presetSubtype="0" decel="100000" fill="hold" grpId="1" nodeType="withEffect">
                                  <p:stCondLst>
                                    <p:cond delay="200"/>
                                  </p:stCondLst>
                                  <p:childTnLst>
                                    <p:animMotion origin="layout" path="M -1.875E-6 2.96296E-6 L -1.875E-6 0.03541 " pathEditMode="relative" rAng="0" ptsTypes="AA">
                                      <p:cBhvr>
                                        <p:cTn id="44" dur="700" spd="-100000" fill="hold"/>
                                        <p:tgtEl>
                                          <p:spTgt spid="41"/>
                                        </p:tgtEl>
                                        <p:attrNameLst>
                                          <p:attrName>ppt_x</p:attrName>
                                          <p:attrName>ppt_y</p:attrName>
                                        </p:attrNameLst>
                                      </p:cBhvr>
                                      <p:rCtr x="0" y="1759"/>
                                    </p:animMotion>
                                  </p:childTnLst>
                                </p:cTn>
                              </p:par>
                              <p:par>
                                <p:cTn id="45" presetID="10" presetClass="entr" presetSubtype="0" fill="hold" nodeType="withEffect">
                                  <p:stCondLst>
                                    <p:cond delay="20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42" presetClass="path" presetSubtype="0" decel="100000" fill="hold" nodeType="withEffect">
                                  <p:stCondLst>
                                    <p:cond delay="200"/>
                                  </p:stCondLst>
                                  <p:childTnLst>
                                    <p:animMotion origin="layout" path="M -1.875E-6 2.96296E-6 L -1.875E-6 0.03541 " pathEditMode="relative" rAng="0" ptsTypes="AA">
                                      <p:cBhvr>
                                        <p:cTn id="49" dur="700" spd="-100000" fill="hold"/>
                                        <p:tgtEl>
                                          <p:spTgt spid="1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42" presetClass="path" presetSubtype="0" decel="100000" fill="hold" grpId="1" nodeType="withEffect">
                                  <p:stCondLst>
                                    <p:cond delay="200"/>
                                  </p:stCondLst>
                                  <p:childTnLst>
                                    <p:animMotion origin="layout" path="M -1.875E-6 2.96296E-6 L -1.875E-6 0.03541 " pathEditMode="relative" rAng="0" ptsTypes="AA">
                                      <p:cBhvr>
                                        <p:cTn id="54" dur="700" spd="-100000" fill="hold"/>
                                        <p:tgtEl>
                                          <p:spTgt spid="40"/>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par>
                                <p:cTn id="58" presetID="42" presetClass="path" presetSubtype="0" decel="100000" fill="hold" nodeType="withEffect">
                                  <p:stCondLst>
                                    <p:cond delay="200"/>
                                  </p:stCondLst>
                                  <p:childTnLst>
                                    <p:animMotion origin="layout" path="M -1.875E-6 2.96296E-6 L -1.875E-6 0.03541 " pathEditMode="relative" rAng="0" ptsTypes="AA">
                                      <p:cBhvr>
                                        <p:cTn id="59" dur="700" spd="-100000" fill="hold"/>
                                        <p:tgtEl>
                                          <p:spTgt spid="22"/>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82"/>
                                        </p:tgtEl>
                                        <p:attrNameLst>
                                          <p:attrName>style.visibility</p:attrName>
                                        </p:attrNameLst>
                                      </p:cBhvr>
                                      <p:to>
                                        <p:strVal val="visible"/>
                                      </p:to>
                                    </p:set>
                                    <p:animEffect transition="in" filter="fade">
                                      <p:cBhvr>
                                        <p:cTn id="62" dur="500"/>
                                        <p:tgtEl>
                                          <p:spTgt spid="82"/>
                                        </p:tgtEl>
                                      </p:cBhvr>
                                    </p:animEffect>
                                  </p:childTnLst>
                                </p:cTn>
                              </p:par>
                              <p:par>
                                <p:cTn id="63" presetID="42" presetClass="path" presetSubtype="0" decel="100000" fill="hold" grpId="1" nodeType="withEffect">
                                  <p:stCondLst>
                                    <p:cond delay="200"/>
                                  </p:stCondLst>
                                  <p:childTnLst>
                                    <p:animMotion origin="layout" path="M -1.875E-6 2.96296E-6 L -1.875E-6 0.03541 " pathEditMode="relative" rAng="0" ptsTypes="AA">
                                      <p:cBhvr>
                                        <p:cTn id="64" dur="700" spd="-100000" fill="hold"/>
                                        <p:tgtEl>
                                          <p:spTgt spid="82"/>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500"/>
                                        <p:tgtEl>
                                          <p:spTgt spid="21"/>
                                        </p:tgtEl>
                                      </p:cBhvr>
                                    </p:animEffect>
                                  </p:childTnLst>
                                </p:cTn>
                              </p:par>
                              <p:par>
                                <p:cTn id="68" presetID="42" presetClass="path" presetSubtype="0" decel="100000" fill="hold" grpId="1" nodeType="withEffect">
                                  <p:stCondLst>
                                    <p:cond delay="200"/>
                                  </p:stCondLst>
                                  <p:childTnLst>
                                    <p:animMotion origin="layout" path="M -1.875E-6 2.96296E-6 L -1.875E-6 0.03541 " pathEditMode="relative" rAng="0" ptsTypes="AA">
                                      <p:cBhvr>
                                        <p:cTn id="69" dur="700" spd="-100000" fill="hold"/>
                                        <p:tgtEl>
                                          <p:spTgt spid="21"/>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500"/>
                                        <p:tgtEl>
                                          <p:spTgt spid="18"/>
                                        </p:tgtEl>
                                      </p:cBhvr>
                                    </p:animEffect>
                                  </p:childTnLst>
                                </p:cTn>
                              </p:par>
                              <p:par>
                                <p:cTn id="73" presetID="42" presetClass="path" presetSubtype="0" decel="100000" fill="hold" grpId="1" nodeType="withEffect">
                                  <p:stCondLst>
                                    <p:cond delay="100"/>
                                  </p:stCondLst>
                                  <p:childTnLst>
                                    <p:animMotion origin="layout" path="M -1.875E-6 -2.59259E-6 L -1.875E-6 0.03542 " pathEditMode="relative" rAng="0" ptsTypes="AA">
                                      <p:cBhvr>
                                        <p:cTn id="74" dur="700" spd="-100000" fill="hold"/>
                                        <p:tgtEl>
                                          <p:spTgt spid="18"/>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42" presetClass="path" presetSubtype="0" decel="100000" fill="hold" grpId="1" nodeType="withEffect">
                                  <p:stCondLst>
                                    <p:cond delay="200"/>
                                  </p:stCondLst>
                                  <p:childTnLst>
                                    <p:animMotion origin="layout" path="M -1.875E-6 2.96296E-6 L -1.875E-6 0.03541 " pathEditMode="relative" rAng="0" ptsTypes="AA">
                                      <p:cBhvr>
                                        <p:cTn id="79" dur="700" spd="-100000" fill="hold"/>
                                        <p:tgtEl>
                                          <p:spTgt spid="17"/>
                                        </p:tgtEl>
                                        <p:attrNameLst>
                                          <p:attrName>ppt_x</p:attrName>
                                          <p:attrName>ppt_y</p:attrName>
                                        </p:attrNameLst>
                                      </p:cBhvr>
                                      <p:rCtr x="0" y="1759"/>
                                    </p:animMotion>
                                  </p:childTnLst>
                                </p:cTn>
                              </p:par>
                              <p:par>
                                <p:cTn id="80" presetID="10" presetClass="entr" presetSubtype="0" fill="hold" grpId="0" nodeType="withEffect">
                                  <p:stCondLst>
                                    <p:cond delay="100"/>
                                  </p:stCondLst>
                                  <p:childTnLst>
                                    <p:set>
                                      <p:cBhvr>
                                        <p:cTn id="81" dur="1" fill="hold">
                                          <p:stCondLst>
                                            <p:cond delay="0"/>
                                          </p:stCondLst>
                                        </p:cTn>
                                        <p:tgtEl>
                                          <p:spTgt spid="83"/>
                                        </p:tgtEl>
                                        <p:attrNameLst>
                                          <p:attrName>style.visibility</p:attrName>
                                        </p:attrNameLst>
                                      </p:cBhvr>
                                      <p:to>
                                        <p:strVal val="visible"/>
                                      </p:to>
                                    </p:set>
                                    <p:animEffect transition="in" filter="fade">
                                      <p:cBhvr>
                                        <p:cTn id="82" dur="500"/>
                                        <p:tgtEl>
                                          <p:spTgt spid="83"/>
                                        </p:tgtEl>
                                      </p:cBhvr>
                                    </p:animEffect>
                                  </p:childTnLst>
                                </p:cTn>
                              </p:par>
                              <p:par>
                                <p:cTn id="83" presetID="42" presetClass="path" presetSubtype="0" decel="100000" fill="hold" grpId="1" nodeType="withEffect">
                                  <p:stCondLst>
                                    <p:cond delay="100"/>
                                  </p:stCondLst>
                                  <p:childTnLst>
                                    <p:animMotion origin="layout" path="M -1.875E-6 -2.59259E-6 L -1.875E-6 0.03542 " pathEditMode="relative" rAng="0" ptsTypes="AA">
                                      <p:cBhvr>
                                        <p:cTn id="84" dur="700" spd="-100000" fill="hold"/>
                                        <p:tgtEl>
                                          <p:spTgt spid="83"/>
                                        </p:tgtEl>
                                        <p:attrNameLst>
                                          <p:attrName>ppt_x</p:attrName>
                                          <p:attrName>ppt_y</p:attrName>
                                        </p:attrNameLst>
                                      </p:cBhvr>
                                      <p:rCtr x="0" y="1759"/>
                                    </p:animMotion>
                                  </p:childTnLst>
                                </p:cTn>
                              </p:par>
                              <p:par>
                                <p:cTn id="85" presetID="10" presetClass="entr" presetSubtype="0" fill="hold" grpId="0" nodeType="withEffect">
                                  <p:stCondLst>
                                    <p:cond delay="100"/>
                                  </p:stCondLst>
                                  <p:childTnLst>
                                    <p:set>
                                      <p:cBhvr>
                                        <p:cTn id="86" dur="1" fill="hold">
                                          <p:stCondLst>
                                            <p:cond delay="0"/>
                                          </p:stCondLst>
                                        </p:cTn>
                                        <p:tgtEl>
                                          <p:spTgt spid="86"/>
                                        </p:tgtEl>
                                        <p:attrNameLst>
                                          <p:attrName>style.visibility</p:attrName>
                                        </p:attrNameLst>
                                      </p:cBhvr>
                                      <p:to>
                                        <p:strVal val="visible"/>
                                      </p:to>
                                    </p:set>
                                    <p:animEffect transition="in" filter="fade">
                                      <p:cBhvr>
                                        <p:cTn id="87" dur="500"/>
                                        <p:tgtEl>
                                          <p:spTgt spid="86"/>
                                        </p:tgtEl>
                                      </p:cBhvr>
                                    </p:animEffect>
                                  </p:childTnLst>
                                </p:cTn>
                              </p:par>
                              <p:par>
                                <p:cTn id="88" presetID="42" presetClass="path" presetSubtype="0" decel="100000" fill="hold" grpId="1" nodeType="withEffect">
                                  <p:stCondLst>
                                    <p:cond delay="100"/>
                                  </p:stCondLst>
                                  <p:childTnLst>
                                    <p:animMotion origin="layout" path="M -1.875E-6 -2.59259E-6 L -1.875E-6 0.03542 " pathEditMode="relative" rAng="0" ptsTypes="AA">
                                      <p:cBhvr>
                                        <p:cTn id="89" dur="700" spd="-100000" fill="hold"/>
                                        <p:tgtEl>
                                          <p:spTgt spid="86"/>
                                        </p:tgtEl>
                                        <p:attrNameLst>
                                          <p:attrName>ppt_x</p:attrName>
                                          <p:attrName>ppt_y</p:attrName>
                                        </p:attrNameLst>
                                      </p:cBhvr>
                                      <p:rCtr x="0" y="1759"/>
                                    </p:animMotion>
                                  </p:childTnLst>
                                </p:cTn>
                              </p:par>
                              <p:par>
                                <p:cTn id="90" presetID="10" presetClass="entr" presetSubtype="0" fill="hold" grpId="0" nodeType="withEffect">
                                  <p:stCondLst>
                                    <p:cond delay="100"/>
                                  </p:stCondLst>
                                  <p:childTnLst>
                                    <p:set>
                                      <p:cBhvr>
                                        <p:cTn id="91" dur="1" fill="hold">
                                          <p:stCondLst>
                                            <p:cond delay="0"/>
                                          </p:stCondLst>
                                        </p:cTn>
                                        <p:tgtEl>
                                          <p:spTgt spid="88"/>
                                        </p:tgtEl>
                                        <p:attrNameLst>
                                          <p:attrName>style.visibility</p:attrName>
                                        </p:attrNameLst>
                                      </p:cBhvr>
                                      <p:to>
                                        <p:strVal val="visible"/>
                                      </p:to>
                                    </p:set>
                                    <p:animEffect transition="in" filter="fade">
                                      <p:cBhvr>
                                        <p:cTn id="92" dur="500"/>
                                        <p:tgtEl>
                                          <p:spTgt spid="88"/>
                                        </p:tgtEl>
                                      </p:cBhvr>
                                    </p:animEffect>
                                  </p:childTnLst>
                                </p:cTn>
                              </p:par>
                              <p:par>
                                <p:cTn id="93" presetID="42" presetClass="path" presetSubtype="0" decel="100000" fill="hold" grpId="1" nodeType="withEffect">
                                  <p:stCondLst>
                                    <p:cond delay="100"/>
                                  </p:stCondLst>
                                  <p:childTnLst>
                                    <p:animMotion origin="layout" path="M -1.875E-6 -2.59259E-6 L -1.875E-6 0.03542 " pathEditMode="relative" rAng="0" ptsTypes="AA">
                                      <p:cBhvr>
                                        <p:cTn id="94" dur="700" spd="-100000" fill="hold"/>
                                        <p:tgtEl>
                                          <p:spTgt spid="88"/>
                                        </p:tgtEl>
                                        <p:attrNameLst>
                                          <p:attrName>ppt_x</p:attrName>
                                          <p:attrName>ppt_y</p:attrName>
                                        </p:attrNameLst>
                                      </p:cBhvr>
                                      <p:rCtr x="0" y="1759"/>
                                    </p:animMotion>
                                  </p:childTnLst>
                                </p:cTn>
                              </p:par>
                              <p:par>
                                <p:cTn id="95" presetID="10" presetClass="entr" presetSubtype="0" fill="hold" grpId="0" nodeType="withEffect">
                                  <p:stCondLst>
                                    <p:cond delay="200"/>
                                  </p:stCondLst>
                                  <p:childTnLst>
                                    <p:set>
                                      <p:cBhvr>
                                        <p:cTn id="96" dur="1" fill="hold">
                                          <p:stCondLst>
                                            <p:cond delay="0"/>
                                          </p:stCondLst>
                                        </p:cTn>
                                        <p:tgtEl>
                                          <p:spTgt spid="60"/>
                                        </p:tgtEl>
                                        <p:attrNameLst>
                                          <p:attrName>style.visibility</p:attrName>
                                        </p:attrNameLst>
                                      </p:cBhvr>
                                      <p:to>
                                        <p:strVal val="visible"/>
                                      </p:to>
                                    </p:set>
                                    <p:animEffect transition="in" filter="fade">
                                      <p:cBhvr>
                                        <p:cTn id="97" dur="500"/>
                                        <p:tgtEl>
                                          <p:spTgt spid="60"/>
                                        </p:tgtEl>
                                      </p:cBhvr>
                                    </p:animEffect>
                                  </p:childTnLst>
                                </p:cTn>
                              </p:par>
                              <p:par>
                                <p:cTn id="98" presetID="42" presetClass="path" presetSubtype="0" decel="100000" fill="hold" grpId="1" nodeType="withEffect">
                                  <p:stCondLst>
                                    <p:cond delay="200"/>
                                  </p:stCondLst>
                                  <p:childTnLst>
                                    <p:animMotion origin="layout" path="M 3.75E-6 -2.59259E-6 L 3.75E-6 0.03542 " pathEditMode="relative" rAng="0" ptsTypes="AA">
                                      <p:cBhvr>
                                        <p:cTn id="99" dur="700" spd="-100000" fill="hold"/>
                                        <p:tgtEl>
                                          <p:spTgt spid="60"/>
                                        </p:tgtEl>
                                        <p:attrNameLst>
                                          <p:attrName>ppt_x</p:attrName>
                                          <p:attrName>ppt_y</p:attrName>
                                        </p:attrNameLst>
                                      </p:cBhvr>
                                      <p:rCtr x="0" y="1759"/>
                                    </p:animMotion>
                                  </p:childTnLst>
                                </p:cTn>
                              </p:par>
                              <p:par>
                                <p:cTn id="100" presetID="10" presetClass="entr" presetSubtype="0" fill="hold" grpId="0" nodeType="withEffect">
                                  <p:stCondLst>
                                    <p:cond delay="200"/>
                                  </p:stCondLst>
                                  <p:childTnLst>
                                    <p:set>
                                      <p:cBhvr>
                                        <p:cTn id="101" dur="1" fill="hold">
                                          <p:stCondLst>
                                            <p:cond delay="0"/>
                                          </p:stCondLst>
                                        </p:cTn>
                                        <p:tgtEl>
                                          <p:spTgt spid="89"/>
                                        </p:tgtEl>
                                        <p:attrNameLst>
                                          <p:attrName>style.visibility</p:attrName>
                                        </p:attrNameLst>
                                      </p:cBhvr>
                                      <p:to>
                                        <p:strVal val="visible"/>
                                      </p:to>
                                    </p:set>
                                    <p:animEffect transition="in" filter="fade">
                                      <p:cBhvr>
                                        <p:cTn id="102" dur="500"/>
                                        <p:tgtEl>
                                          <p:spTgt spid="89"/>
                                        </p:tgtEl>
                                      </p:cBhvr>
                                    </p:animEffect>
                                  </p:childTnLst>
                                </p:cTn>
                              </p:par>
                              <p:par>
                                <p:cTn id="103" presetID="42" presetClass="path" presetSubtype="0" decel="100000" fill="hold" grpId="1" nodeType="withEffect">
                                  <p:stCondLst>
                                    <p:cond delay="200"/>
                                  </p:stCondLst>
                                  <p:childTnLst>
                                    <p:animMotion origin="layout" path="M 3.75E-6 -2.59259E-6 L 3.75E-6 0.03542 " pathEditMode="relative" rAng="0" ptsTypes="AA">
                                      <p:cBhvr>
                                        <p:cTn id="104" dur="700" spd="-100000" fill="hold"/>
                                        <p:tgtEl>
                                          <p:spTgt spid="89"/>
                                        </p:tgtEl>
                                        <p:attrNameLst>
                                          <p:attrName>ppt_x</p:attrName>
                                          <p:attrName>ppt_y</p:attrName>
                                        </p:attrNameLst>
                                      </p:cBhvr>
                                      <p:rCtr x="0" y="1759"/>
                                    </p:animMotion>
                                  </p:childTnLst>
                                </p:cTn>
                              </p:par>
                              <p:par>
                                <p:cTn id="105" presetID="10" presetClass="entr" presetSubtype="0" fill="hold" grpId="0" nodeType="withEffect">
                                  <p:stCondLst>
                                    <p:cond delay="100"/>
                                  </p:stCondLst>
                                  <p:childTnLst>
                                    <p:set>
                                      <p:cBhvr>
                                        <p:cTn id="106" dur="1" fill="hold">
                                          <p:stCondLst>
                                            <p:cond delay="0"/>
                                          </p:stCondLst>
                                        </p:cTn>
                                        <p:tgtEl>
                                          <p:spTgt spid="35"/>
                                        </p:tgtEl>
                                        <p:attrNameLst>
                                          <p:attrName>style.visibility</p:attrName>
                                        </p:attrNameLst>
                                      </p:cBhvr>
                                      <p:to>
                                        <p:strVal val="visible"/>
                                      </p:to>
                                    </p:set>
                                    <p:animEffect transition="in" filter="fade">
                                      <p:cBhvr>
                                        <p:cTn id="107" dur="500"/>
                                        <p:tgtEl>
                                          <p:spTgt spid="35"/>
                                        </p:tgtEl>
                                      </p:cBhvr>
                                    </p:animEffect>
                                  </p:childTnLst>
                                </p:cTn>
                              </p:par>
                              <p:par>
                                <p:cTn id="108" presetID="42" presetClass="path" presetSubtype="0" decel="100000" fill="hold" grpId="1" nodeType="withEffect">
                                  <p:stCondLst>
                                    <p:cond delay="100"/>
                                  </p:stCondLst>
                                  <p:childTnLst>
                                    <p:animMotion origin="layout" path="M -1.875E-6 -2.59259E-6 L -1.875E-6 0.03542 " pathEditMode="relative" rAng="0" ptsTypes="AA">
                                      <p:cBhvr>
                                        <p:cTn id="109" dur="700" spd="-100000" fill="hold"/>
                                        <p:tgtEl>
                                          <p:spTgt spid="35"/>
                                        </p:tgtEl>
                                        <p:attrNameLst>
                                          <p:attrName>ppt_x</p:attrName>
                                          <p:attrName>ppt_y</p:attrName>
                                        </p:attrNameLst>
                                      </p:cBhvr>
                                      <p:rCtr x="0" y="1759"/>
                                    </p:animMotion>
                                  </p:childTnLst>
                                </p:cTn>
                              </p:par>
                              <p:par>
                                <p:cTn id="110" presetID="10" presetClass="entr" presetSubtype="0" fill="hold" grpId="0" nodeType="withEffect">
                                  <p:stCondLst>
                                    <p:cond delay="100"/>
                                  </p:stCondLst>
                                  <p:childTnLst>
                                    <p:set>
                                      <p:cBhvr>
                                        <p:cTn id="111" dur="1" fill="hold">
                                          <p:stCondLst>
                                            <p:cond delay="0"/>
                                          </p:stCondLst>
                                        </p:cTn>
                                        <p:tgtEl>
                                          <p:spTgt spid="52"/>
                                        </p:tgtEl>
                                        <p:attrNameLst>
                                          <p:attrName>style.visibility</p:attrName>
                                        </p:attrNameLst>
                                      </p:cBhvr>
                                      <p:to>
                                        <p:strVal val="visible"/>
                                      </p:to>
                                    </p:set>
                                    <p:animEffect transition="in" filter="fade">
                                      <p:cBhvr>
                                        <p:cTn id="112" dur="500"/>
                                        <p:tgtEl>
                                          <p:spTgt spid="52"/>
                                        </p:tgtEl>
                                      </p:cBhvr>
                                    </p:animEffect>
                                  </p:childTnLst>
                                </p:cTn>
                              </p:par>
                              <p:par>
                                <p:cTn id="113" presetID="42" presetClass="path" presetSubtype="0" decel="100000" fill="hold" grpId="1" nodeType="withEffect">
                                  <p:stCondLst>
                                    <p:cond delay="100"/>
                                  </p:stCondLst>
                                  <p:childTnLst>
                                    <p:animMotion origin="layout" path="M -1.875E-6 -2.59259E-6 L -1.875E-6 0.03542 " pathEditMode="relative" rAng="0" ptsTypes="AA">
                                      <p:cBhvr>
                                        <p:cTn id="114" dur="700" spd="-100000" fill="hold"/>
                                        <p:tgtEl>
                                          <p:spTgt spid="52"/>
                                        </p:tgtEl>
                                        <p:attrNameLst>
                                          <p:attrName>ppt_x</p:attrName>
                                          <p:attrName>ppt_y</p:attrName>
                                        </p:attrNameLst>
                                      </p:cBhvr>
                                      <p:rCtr x="0" y="1759"/>
                                    </p:animMotion>
                                  </p:childTnLst>
                                </p:cTn>
                              </p:par>
                              <p:par>
                                <p:cTn id="115" presetID="10" presetClass="entr" presetSubtype="0" fill="hold" grpId="0" nodeType="withEffect">
                                  <p:stCondLst>
                                    <p:cond delay="10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500"/>
                                        <p:tgtEl>
                                          <p:spTgt spid="55"/>
                                        </p:tgtEl>
                                      </p:cBhvr>
                                    </p:animEffect>
                                  </p:childTnLst>
                                </p:cTn>
                              </p:par>
                              <p:par>
                                <p:cTn id="118" presetID="42" presetClass="path" presetSubtype="0" decel="100000" fill="hold" grpId="1" nodeType="withEffect">
                                  <p:stCondLst>
                                    <p:cond delay="100"/>
                                  </p:stCondLst>
                                  <p:childTnLst>
                                    <p:animMotion origin="layout" path="M -1.875E-6 -2.59259E-6 L -1.875E-6 0.03542 " pathEditMode="relative" rAng="0" ptsTypes="AA">
                                      <p:cBhvr>
                                        <p:cTn id="119" dur="700" spd="-100000" fill="hold"/>
                                        <p:tgtEl>
                                          <p:spTgt spid="55"/>
                                        </p:tgtEl>
                                        <p:attrNameLst>
                                          <p:attrName>ppt_x</p:attrName>
                                          <p:attrName>ppt_y</p:attrName>
                                        </p:attrNameLst>
                                      </p:cBhvr>
                                      <p:rCtr x="0" y="1759"/>
                                    </p:animMotion>
                                  </p:childTnLst>
                                </p:cTn>
                              </p:par>
                              <p:par>
                                <p:cTn id="120" presetID="10" presetClass="entr" presetSubtype="0" fill="hold" grpId="0" nodeType="withEffect">
                                  <p:stCondLst>
                                    <p:cond delay="200"/>
                                  </p:stCondLst>
                                  <p:childTnLst>
                                    <p:set>
                                      <p:cBhvr>
                                        <p:cTn id="121" dur="1" fill="hold">
                                          <p:stCondLst>
                                            <p:cond delay="0"/>
                                          </p:stCondLst>
                                        </p:cTn>
                                        <p:tgtEl>
                                          <p:spTgt spid="6"/>
                                        </p:tgtEl>
                                        <p:attrNameLst>
                                          <p:attrName>style.visibility</p:attrName>
                                        </p:attrNameLst>
                                      </p:cBhvr>
                                      <p:to>
                                        <p:strVal val="visible"/>
                                      </p:to>
                                    </p:set>
                                    <p:animEffect transition="in" filter="fade">
                                      <p:cBhvr>
                                        <p:cTn id="122" dur="500"/>
                                        <p:tgtEl>
                                          <p:spTgt spid="6"/>
                                        </p:tgtEl>
                                      </p:cBhvr>
                                    </p:animEffect>
                                  </p:childTnLst>
                                </p:cTn>
                              </p:par>
                              <p:par>
                                <p:cTn id="123" presetID="42" presetClass="path" presetSubtype="0" decel="100000" fill="hold" grpId="1" nodeType="withEffect">
                                  <p:stCondLst>
                                    <p:cond delay="200"/>
                                  </p:stCondLst>
                                  <p:childTnLst>
                                    <p:animMotion origin="layout" path="M 3.75E-6 -2.59259E-6 L 3.75E-6 0.03542 " pathEditMode="relative" rAng="0" ptsTypes="AA">
                                      <p:cBhvr>
                                        <p:cTn id="124" dur="700" spd="-100000" fill="hold"/>
                                        <p:tgtEl>
                                          <p:spTgt spid="6"/>
                                        </p:tgtEl>
                                        <p:attrNameLst>
                                          <p:attrName>ppt_x</p:attrName>
                                          <p:attrName>ppt_y</p:attrName>
                                        </p:attrNameLst>
                                      </p:cBhvr>
                                      <p:rCtr x="0" y="1759"/>
                                    </p:animMotion>
                                  </p:childTnLst>
                                </p:cTn>
                              </p:par>
                              <p:par>
                                <p:cTn id="125" presetID="10" presetClass="entr" presetSubtype="0" fill="hold" grpId="0" nodeType="withEffect">
                                  <p:stCondLst>
                                    <p:cond delay="200"/>
                                  </p:stCondLst>
                                  <p:childTnLst>
                                    <p:set>
                                      <p:cBhvr>
                                        <p:cTn id="126" dur="1" fill="hold">
                                          <p:stCondLst>
                                            <p:cond delay="0"/>
                                          </p:stCondLst>
                                        </p:cTn>
                                        <p:tgtEl>
                                          <p:spTgt spid="7"/>
                                        </p:tgtEl>
                                        <p:attrNameLst>
                                          <p:attrName>style.visibility</p:attrName>
                                        </p:attrNameLst>
                                      </p:cBhvr>
                                      <p:to>
                                        <p:strVal val="visible"/>
                                      </p:to>
                                    </p:set>
                                    <p:animEffect transition="in" filter="fade">
                                      <p:cBhvr>
                                        <p:cTn id="127" dur="500"/>
                                        <p:tgtEl>
                                          <p:spTgt spid="7"/>
                                        </p:tgtEl>
                                      </p:cBhvr>
                                    </p:animEffect>
                                  </p:childTnLst>
                                </p:cTn>
                              </p:par>
                              <p:par>
                                <p:cTn id="128" presetID="42" presetClass="path" presetSubtype="0" decel="100000" fill="hold" grpId="1" nodeType="withEffect">
                                  <p:stCondLst>
                                    <p:cond delay="200"/>
                                  </p:stCondLst>
                                  <p:childTnLst>
                                    <p:animMotion origin="layout" path="M 3.75E-6 -2.59259E-6 L 3.75E-6 0.03542 " pathEditMode="relative" rAng="0" ptsTypes="AA">
                                      <p:cBhvr>
                                        <p:cTn id="12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3" grpId="1" animBg="1"/>
      <p:bldP spid="35" grpId="0" animBg="1"/>
      <p:bldP spid="35" grpId="1" animBg="1"/>
      <p:bldP spid="17" grpId="0" animBg="1"/>
      <p:bldP spid="17" grpId="1" animBg="1"/>
      <p:bldP spid="18" grpId="0" animBg="1"/>
      <p:bldP spid="18" grpId="1" animBg="1"/>
      <p:bldP spid="20" grpId="0" animBg="1"/>
      <p:bldP spid="20" grpId="1" animBg="1"/>
      <p:bldP spid="21" grpId="0" animBg="1"/>
      <p:bldP spid="21" grpId="1" animBg="1"/>
      <p:bldP spid="26" grpId="0" animBg="1"/>
      <p:bldP spid="26" grpId="1" animBg="1"/>
      <p:bldP spid="48" grpId="0"/>
      <p:bldP spid="48" grpId="1"/>
      <p:bldP spid="49" grpId="0"/>
      <p:bldP spid="49" grpId="1"/>
      <p:bldP spid="86" grpId="0" animBg="1"/>
      <p:bldP spid="86" grpId="1" animBg="1"/>
      <p:bldP spid="52" grpId="0" animBg="1"/>
      <p:bldP spid="52" grpId="1" animBg="1"/>
      <p:bldP spid="88" grpId="0" animBg="1"/>
      <p:bldP spid="88" grpId="1" animBg="1"/>
      <p:bldP spid="55" grpId="0" animBg="1"/>
      <p:bldP spid="55" grpId="1" animBg="1"/>
      <p:bldP spid="89" grpId="0" animBg="1"/>
      <p:bldP spid="89" grpId="1" animBg="1"/>
      <p:bldP spid="60" grpId="0" animBg="1"/>
      <p:bldP spid="60" grpId="1" animBg="1"/>
      <p:bldP spid="39" grpId="0"/>
      <p:bldP spid="39" grpId="1"/>
      <p:bldP spid="41" grpId="0"/>
      <p:bldP spid="41" grpId="1"/>
      <p:bldP spid="40" grpId="0"/>
      <p:bldP spid="40" grpId="1"/>
      <p:bldP spid="82" grpId="0"/>
      <p:bldP spid="82" grpId="1"/>
      <p:bldP spid="6" grpId="0" animBg="1"/>
      <p:bldP spid="6" grpId="1" animBg="1"/>
      <p:bldP spid="7" grpId="0" animBg="1"/>
      <p:bldP spid="7" grpId="1"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C4270-EEA9-2B5C-95D1-80653E927387}"/>
            </a:ext>
          </a:extLst>
        </p:cNvPr>
        <p:cNvGrpSpPr/>
        <p:nvPr/>
      </p:nvGrpSpPr>
      <p:grpSpPr>
        <a:xfrm>
          <a:off x="0" y="0"/>
          <a:ext cx="0" cy="0"/>
          <a:chOff x="0" y="0"/>
          <a:chExt cx="0" cy="0"/>
        </a:xfrm>
      </p:grpSpPr>
      <p:pic>
        <p:nvPicPr>
          <p:cNvPr id="9" name="Graphic 8">
            <a:extLst>
              <a:ext uri="{FF2B5EF4-FFF2-40B4-BE49-F238E27FC236}">
                <a16:creationId xmlns:a16="http://schemas.microsoft.com/office/drawing/2014/main" id="{AC117866-8DF3-DA7D-044E-BD9C5AB6C055}"/>
              </a:ext>
            </a:extLst>
          </p:cNvPr>
          <p:cNvPicPr>
            <a:picLocks noChangeAspect="1"/>
          </p:cNvPicPr>
          <p:nvPr/>
        </p:nvPicPr>
        <p:blipFill rotWithShape="1">
          <a:blip r:embed="rId3">
            <a:alphaModFix amt="40000"/>
            <a:extLst>
              <a:ext uri="{96DAC541-7B7A-43D3-8B79-37D633B846F1}">
                <asvg:svgBlip xmlns:asvg="http://schemas.microsoft.com/office/drawing/2016/SVG/main" r:embed="rId4"/>
              </a:ext>
            </a:extLst>
          </a:blip>
          <a:srcRect l="6728" t="15844" r="2559" b="24788"/>
          <a:stretch/>
        </p:blipFill>
        <p:spPr>
          <a:xfrm>
            <a:off x="0" y="2194560"/>
            <a:ext cx="12192000" cy="4663440"/>
          </a:xfrm>
          <a:prstGeom prst="rect">
            <a:avLst/>
          </a:prstGeom>
        </p:spPr>
      </p:pic>
      <p:sp>
        <p:nvSpPr>
          <p:cNvPr id="2" name="Title 1">
            <a:extLst>
              <a:ext uri="{FF2B5EF4-FFF2-40B4-BE49-F238E27FC236}">
                <a16:creationId xmlns:a16="http://schemas.microsoft.com/office/drawing/2014/main" id="{71A4392D-90CF-FB95-106C-7DD2F8F4B66A}"/>
              </a:ext>
            </a:extLst>
          </p:cNvPr>
          <p:cNvSpPr>
            <a:spLocks noGrp="1"/>
          </p:cNvSpPr>
          <p:nvPr>
            <p:ph type="title"/>
          </p:nvPr>
        </p:nvSpPr>
        <p:spPr>
          <a:xfrm>
            <a:off x="588263" y="457200"/>
            <a:ext cx="11018520" cy="553998"/>
          </a:xfrm>
        </p:spPr>
        <p:txBody>
          <a:bodyPr/>
          <a:lstStyle/>
          <a:p>
            <a:r>
              <a:rPr lang="en-US" sz="3600"/>
              <a:t>FY26 glossary</a:t>
            </a:r>
          </a:p>
        </p:txBody>
      </p:sp>
      <p:sp>
        <p:nvSpPr>
          <p:cNvPr id="26" name="Rectangle: Rounded Corners 25">
            <a:extLst>
              <a:ext uri="{FF2B5EF4-FFF2-40B4-BE49-F238E27FC236}">
                <a16:creationId xmlns:a16="http://schemas.microsoft.com/office/drawing/2014/main" id="{DE72E14B-09B4-805E-B661-6F8B04FE9421}"/>
              </a:ext>
            </a:extLst>
          </p:cNvPr>
          <p:cNvSpPr>
            <a:spLocks/>
          </p:cNvSpPr>
          <p:nvPr/>
        </p:nvSpPr>
        <p:spPr bwMode="auto">
          <a:xfrm>
            <a:off x="588963" y="1275052"/>
            <a:ext cx="3581167" cy="4998748"/>
          </a:xfrm>
          <a:prstGeom prst="roundRect">
            <a:avLst>
              <a:gd name="adj" fmla="val 4780"/>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Sans Text"/>
              <a:ea typeface="+mn-ea"/>
              <a:cs typeface="+mn-cs"/>
            </a:endParaRPr>
          </a:p>
        </p:txBody>
      </p:sp>
      <p:sp>
        <p:nvSpPr>
          <p:cNvPr id="27" name="Rectangle: Rounded Corners 26">
            <a:extLst>
              <a:ext uri="{FF2B5EF4-FFF2-40B4-BE49-F238E27FC236}">
                <a16:creationId xmlns:a16="http://schemas.microsoft.com/office/drawing/2014/main" id="{54B7B7A6-CDC2-6ECE-9FCF-02171D6198D9}"/>
              </a:ext>
            </a:extLst>
          </p:cNvPr>
          <p:cNvSpPr>
            <a:spLocks/>
          </p:cNvSpPr>
          <p:nvPr/>
        </p:nvSpPr>
        <p:spPr bwMode="auto">
          <a:xfrm>
            <a:off x="4307290" y="1275052"/>
            <a:ext cx="3581167" cy="4998748"/>
          </a:xfrm>
          <a:prstGeom prst="roundRect">
            <a:avLst>
              <a:gd name="adj" fmla="val 4780"/>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Sans Text"/>
              <a:ea typeface="+mn-ea"/>
              <a:cs typeface="+mn-cs"/>
            </a:endParaRPr>
          </a:p>
        </p:txBody>
      </p:sp>
      <p:sp>
        <p:nvSpPr>
          <p:cNvPr id="28" name="Rectangle: Rounded Corners 27">
            <a:extLst>
              <a:ext uri="{FF2B5EF4-FFF2-40B4-BE49-F238E27FC236}">
                <a16:creationId xmlns:a16="http://schemas.microsoft.com/office/drawing/2014/main" id="{1B00324C-1E7B-1E3B-3C06-DEA4F99C7636}"/>
              </a:ext>
            </a:extLst>
          </p:cNvPr>
          <p:cNvSpPr>
            <a:spLocks/>
          </p:cNvSpPr>
          <p:nvPr/>
        </p:nvSpPr>
        <p:spPr bwMode="auto">
          <a:xfrm>
            <a:off x="8025618" y="1275050"/>
            <a:ext cx="3581167" cy="4998748"/>
          </a:xfrm>
          <a:prstGeom prst="roundRect">
            <a:avLst>
              <a:gd name="adj" fmla="val 4780"/>
            </a:avLst>
          </a:prstGeom>
          <a:gradFill>
            <a:gsLst>
              <a:gs pos="36000">
                <a:schemeClr val="bg1"/>
              </a:gs>
              <a:gs pos="100000">
                <a:schemeClr val="bg1">
                  <a:alpha val="79000"/>
                </a:schemeClr>
              </a:gs>
            </a:gsLst>
            <a:lin ang="2700000" scaled="1"/>
          </a:gradFill>
          <a:ln w="3175" cap="flat">
            <a:solidFill>
              <a:srgbClr val="7600CE">
                <a:alpha val="10000"/>
              </a:srgbClr>
            </a:solidFill>
            <a:prstDash val="solid"/>
            <a:miter/>
          </a:ln>
          <a:effectLst>
            <a:outerShdw blurRad="368300" dist="25400" dir="2700000" algn="tl" rotWithShape="0">
              <a:schemeClr val="accent1">
                <a:alpha val="15000"/>
              </a:scheme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Sans Text"/>
              <a:ea typeface="+mn-ea"/>
              <a:cs typeface="+mn-cs"/>
            </a:endParaRPr>
          </a:p>
        </p:txBody>
      </p:sp>
      <p:sp>
        <p:nvSpPr>
          <p:cNvPr id="30" name="Rectangle: Top Corners Rounded 29">
            <a:extLst>
              <a:ext uri="{FF2B5EF4-FFF2-40B4-BE49-F238E27FC236}">
                <a16:creationId xmlns:a16="http://schemas.microsoft.com/office/drawing/2014/main" id="{E1C5EBC3-780A-E246-5A1E-4C42AB2FC617}"/>
              </a:ext>
            </a:extLst>
          </p:cNvPr>
          <p:cNvSpPr/>
          <p:nvPr/>
        </p:nvSpPr>
        <p:spPr>
          <a:xfrm rot="16200000">
            <a:off x="-1394408" y="3441303"/>
            <a:ext cx="4823463" cy="673837"/>
          </a:xfrm>
          <a:prstGeom prst="round2Same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Sans Text"/>
              <a:ea typeface="+mn-ea"/>
              <a:cs typeface="Segoe Sans Text Light" pitchFamily="2" charset="0"/>
            </a:endParaRPr>
          </a:p>
        </p:txBody>
      </p:sp>
      <p:graphicFrame>
        <p:nvGraphicFramePr>
          <p:cNvPr id="5" name="Table 4">
            <a:extLst>
              <a:ext uri="{FF2B5EF4-FFF2-40B4-BE49-F238E27FC236}">
                <a16:creationId xmlns:a16="http://schemas.microsoft.com/office/drawing/2014/main" id="{2DAD81A5-E988-75C7-437C-7A7465276B1C}"/>
              </a:ext>
            </a:extLst>
          </p:cNvPr>
          <p:cNvGraphicFramePr>
            <a:graphicFrameLocks noGrp="1"/>
          </p:cNvGraphicFramePr>
          <p:nvPr>
            <p:extLst>
              <p:ext uri="{D42A27DB-BD31-4B8C-83A1-F6EECF244321}">
                <p14:modId xmlns:p14="http://schemas.microsoft.com/office/powerpoint/2010/main" val="2739896840"/>
              </p:ext>
            </p:extLst>
          </p:nvPr>
        </p:nvGraphicFramePr>
        <p:xfrm>
          <a:off x="680403" y="1366492"/>
          <a:ext cx="3398287" cy="4752832"/>
        </p:xfrm>
        <a:graphic>
          <a:graphicData uri="http://schemas.openxmlformats.org/drawingml/2006/table">
            <a:tbl>
              <a:tblPr firstRow="1" bandRow="1"/>
              <a:tblGrid>
                <a:gridCol w="656695">
                  <a:extLst>
                    <a:ext uri="{9D8B030D-6E8A-4147-A177-3AD203B41FA5}">
                      <a16:colId xmlns:a16="http://schemas.microsoft.com/office/drawing/2014/main" val="3166979589"/>
                    </a:ext>
                  </a:extLst>
                </a:gridCol>
                <a:gridCol w="2741592">
                  <a:extLst>
                    <a:ext uri="{9D8B030D-6E8A-4147-A177-3AD203B41FA5}">
                      <a16:colId xmlns:a16="http://schemas.microsoft.com/office/drawing/2014/main" val="2282501875"/>
                    </a:ext>
                  </a:extLst>
                </a:gridCol>
              </a:tblGrid>
              <a:tr h="201886">
                <a:tc>
                  <a:txBody>
                    <a:bodyPr/>
                    <a:lstStyle/>
                    <a:p>
                      <a:pPr marL="0" marR="0">
                        <a:lnSpc>
                          <a:spcPct val="115000"/>
                        </a:lnSpc>
                        <a:spcAft>
                          <a:spcPts val="800"/>
                        </a:spcAft>
                        <a:buNone/>
                      </a:pPr>
                      <a:r>
                        <a:rPr lang="en-US" sz="1050" b="1" kern="1200">
                          <a:solidFill>
                            <a:schemeClr val="bg1"/>
                          </a:solidFill>
                          <a:latin typeface="+mj-lt"/>
                          <a:ea typeface="+mn-ea"/>
                          <a:cs typeface="+mn-cs"/>
                        </a:rPr>
                        <a:t>ABS</a:t>
                      </a:r>
                    </a:p>
                  </a:txBody>
                  <a:tcPr marL="68580" marR="68580" marT="0" marB="0">
                    <a:lnL w="12700" cmpd="sng">
                      <a:noFill/>
                      <a:prstDash val="solid"/>
                    </a:lnL>
                    <a:lnR w="6350" cap="flat" cmpd="sng" algn="ctr">
                      <a:noFill/>
                      <a:prstDash val="solid"/>
                      <a:round/>
                      <a:headEnd type="none" w="med" len="med"/>
                      <a:tailEnd type="none" w="med" len="med"/>
                    </a:lnR>
                    <a:lnT w="12700" cmpd="sng">
                      <a:noFill/>
                      <a:prstDash val="soli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AI Business Solutions – Solution Area</a:t>
                      </a:r>
                    </a:p>
                  </a:txBody>
                  <a:tcPr marL="68580" marR="68580" marT="0" marB="0">
                    <a:lnL w="6350" cap="flat" cmpd="sng" algn="ctr">
                      <a:noFill/>
                      <a:prstDash val="solid"/>
                      <a:round/>
                      <a:headEnd type="none" w="med" len="med"/>
                      <a:tailEnd type="none" w="med" len="med"/>
                    </a:lnL>
                    <a:lnR w="12700" cmpd="sng">
                      <a:noFill/>
                      <a:prstDash val="solid"/>
                    </a:lnR>
                    <a:lnT w="12700" cmpd="sng">
                      <a:noFill/>
                      <a:prstDash val="soli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1500659"/>
                  </a:ext>
                </a:extLst>
              </a:tr>
              <a:tr h="201886">
                <a:tc>
                  <a:txBody>
                    <a:bodyPr/>
                    <a:lstStyle/>
                    <a:p>
                      <a:pPr marL="0" marR="0">
                        <a:lnSpc>
                          <a:spcPct val="115000"/>
                        </a:lnSpc>
                        <a:spcAft>
                          <a:spcPts val="800"/>
                        </a:spcAft>
                        <a:buNone/>
                      </a:pPr>
                      <a:r>
                        <a:rPr lang="en-US" sz="1050" b="1" kern="1200">
                          <a:solidFill>
                            <a:schemeClr val="bg1"/>
                          </a:solidFill>
                          <a:latin typeface="+mj-lt"/>
                          <a:ea typeface="+mn-ea"/>
                          <a:cs typeface="+mn-cs"/>
                        </a:rPr>
                        <a:t>ACR</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Azure Consumed Revenue</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0398059"/>
                  </a:ext>
                </a:extLst>
              </a:tr>
              <a:tr h="201886">
                <a:tc>
                  <a:txBody>
                    <a:bodyPr/>
                    <a:lstStyle/>
                    <a:p>
                      <a:pPr marL="0" marR="0">
                        <a:lnSpc>
                          <a:spcPct val="115000"/>
                        </a:lnSpc>
                        <a:spcAft>
                          <a:spcPts val="800"/>
                        </a:spcAft>
                        <a:buNone/>
                      </a:pPr>
                      <a:r>
                        <a:rPr lang="en-US" sz="1050" b="1" kern="1200">
                          <a:solidFill>
                            <a:schemeClr val="bg1"/>
                          </a:solidFill>
                          <a:latin typeface="+mj-lt"/>
                          <a:ea typeface="+mn-ea"/>
                          <a:cs typeface="+mn-cs"/>
                        </a:rPr>
                        <a:t>ADO</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zure DevOp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2633154"/>
                  </a:ext>
                </a:extLst>
              </a:tr>
              <a:tr h="201886">
                <a:tc>
                  <a:txBody>
                    <a:bodyPr/>
                    <a:lstStyle/>
                    <a:p>
                      <a:pPr marL="0" marR="0">
                        <a:lnSpc>
                          <a:spcPct val="115000"/>
                        </a:lnSpc>
                        <a:spcAft>
                          <a:spcPts val="800"/>
                        </a:spcAft>
                        <a:buNone/>
                      </a:pPr>
                      <a:r>
                        <a:rPr lang="en-US" sz="1050" b="1" kern="1200">
                          <a:solidFill>
                            <a:schemeClr val="bg1"/>
                          </a:solidFill>
                          <a:latin typeface="+mj-lt"/>
                          <a:ea typeface="+mn-ea"/>
                          <a:cs typeface="+mn-cs"/>
                        </a:rPr>
                        <a:t>AE</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ccount Executive</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0769872"/>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AVD</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zure Virtual Desktop</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563011"/>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AV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rea Vice Presiden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755207"/>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AT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ccount Technology Strategis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3466696"/>
                  </a:ext>
                </a:extLst>
              </a:tr>
              <a:tr h="201886">
                <a:tc>
                  <a:txBody>
                    <a:bodyPr/>
                    <a:lstStyle/>
                    <a:p>
                      <a:pPr marL="0" marR="0">
                        <a:lnSpc>
                          <a:spcPct val="115000"/>
                        </a:lnSpc>
                        <a:spcAft>
                          <a:spcPts val="800"/>
                        </a:spcAft>
                        <a:buNone/>
                      </a:pPr>
                      <a:r>
                        <a:rPr lang="en-US" sz="1050" b="1" kern="1200">
                          <a:solidFill>
                            <a:schemeClr val="bg1"/>
                          </a:solidFill>
                          <a:latin typeface="+mj-lt"/>
                          <a:ea typeface="+mn-ea"/>
                          <a:cs typeface="+mn-cs"/>
                        </a:rPr>
                        <a:t>ATU</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Account Team Uni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5654301"/>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BD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Business Decision Mak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9473857"/>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BIF</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Business Investment Fund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9540539"/>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AF</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loud Adoption Framework</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0553194"/>
                  </a:ext>
                </a:extLst>
              </a:tr>
              <a:tr h="338433">
                <a:tc>
                  <a:txBody>
                    <a:bodyPr/>
                    <a:lstStyle/>
                    <a:p>
                      <a:pPr marL="0" marR="0">
                        <a:lnSpc>
                          <a:spcPct val="100000"/>
                        </a:lnSpc>
                        <a:spcAft>
                          <a:spcPts val="0"/>
                        </a:spcAft>
                        <a:buNone/>
                      </a:pPr>
                      <a:r>
                        <a:rPr lang="en-US" sz="1050" b="1" kern="1200">
                          <a:solidFill>
                            <a:schemeClr val="bg1"/>
                          </a:solidFill>
                          <a:latin typeface="+mj-lt"/>
                          <a:ea typeface="+mn-ea"/>
                          <a:cs typeface="+mn-cs"/>
                        </a:rPr>
                        <a:t>C&amp;AI</a:t>
                      </a:r>
                    </a:p>
                    <a:p>
                      <a:pPr marL="0" marR="0">
                        <a:lnSpc>
                          <a:spcPct val="100000"/>
                        </a:lnSpc>
                        <a:spcAft>
                          <a:spcPts val="0"/>
                        </a:spcAft>
                        <a:buNone/>
                      </a:pPr>
                      <a:r>
                        <a:rPr lang="en-US" sz="1050" b="1" kern="1200">
                          <a:solidFill>
                            <a:schemeClr val="bg1"/>
                          </a:solidFill>
                          <a:latin typeface="+mj-lt"/>
                          <a:ea typeface="+mn-ea"/>
                          <a:cs typeface="+mn-cs"/>
                        </a:rPr>
                        <a:t>CAI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loud and AI Platforms – Solution Area</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9408670"/>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E </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ommercial Executive</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2320985"/>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E&amp;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ustomer Experience &amp; Success </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6333017"/>
                  </a:ext>
                </a:extLst>
              </a:tr>
              <a:tr h="216838">
                <a:tc>
                  <a:txBody>
                    <a:bodyPr/>
                    <a:lstStyle/>
                    <a:p>
                      <a:pPr marL="0" marR="0">
                        <a:lnSpc>
                          <a:spcPct val="115000"/>
                        </a:lnSpc>
                        <a:spcAft>
                          <a:spcPts val="800"/>
                        </a:spcAft>
                        <a:buNone/>
                      </a:pPr>
                      <a:r>
                        <a:rPr lang="en-US" sz="1050" b="1" kern="1200">
                          <a:solidFill>
                            <a:schemeClr val="bg1"/>
                          </a:solidFill>
                          <a:latin typeface="+mj-lt"/>
                          <a:ea typeface="+mn-ea"/>
                          <a:cs typeface="+mn-cs"/>
                        </a:rPr>
                        <a:t>C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ommercial Segment </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3111689"/>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ELA</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orporate, External, and Legal Affair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0882743"/>
                  </a:ext>
                </a:extLst>
              </a:tr>
              <a:tr h="198553">
                <a:tc>
                  <a:txBody>
                    <a:bodyPr/>
                    <a:lstStyle/>
                    <a:p>
                      <a:pPr marL="0" marR="0">
                        <a:lnSpc>
                          <a:spcPct val="115000"/>
                        </a:lnSpc>
                        <a:spcAft>
                          <a:spcPts val="800"/>
                        </a:spcAft>
                        <a:buNone/>
                      </a:pPr>
                      <a:r>
                        <a:rPr lang="en-US" sz="1050" b="1" kern="1200">
                          <a:solidFill>
                            <a:schemeClr val="bg1"/>
                          </a:solidFill>
                          <a:latin typeface="+mj-lt"/>
                          <a:ea typeface="+mn-ea"/>
                          <a:cs typeface="+mn-cs"/>
                        </a:rPr>
                        <a:t>CSA</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effectLst/>
                          <a:latin typeface="+mn-lt"/>
                          <a:ea typeface="Aptos" panose="020B0004020202020204" pitchFamily="34" charset="0"/>
                          <a:cs typeface="Times New Roman" panose="02020603050405020304" pitchFamily="18" charset="0"/>
                        </a:rPr>
                        <a:t>Cloud Solution Architect or</a:t>
                      </a:r>
                      <a:br>
                        <a:rPr lang="en-US" sz="1200" kern="100">
                          <a:effectLst/>
                          <a:latin typeface="+mn-lt"/>
                          <a:ea typeface="Aptos" panose="020B0004020202020204" pitchFamily="34" charset="0"/>
                          <a:cs typeface="Times New Roman" panose="02020603050405020304" pitchFamily="18" charset="0"/>
                        </a:rPr>
                      </a:br>
                      <a:r>
                        <a:rPr lang="en-US" sz="1200" kern="100">
                          <a:solidFill>
                            <a:schemeClr val="tx1"/>
                          </a:solidFill>
                          <a:effectLst/>
                          <a:latin typeface="+mn-lt"/>
                          <a:ea typeface="Aptos" panose="020B0004020202020204" pitchFamily="34" charset="0"/>
                          <a:cs typeface="Times New Roman" panose="02020603050405020304" pitchFamily="18" charset="0"/>
                        </a:rPr>
                        <a:t>Cross</a:t>
                      </a:r>
                      <a:r>
                        <a:rPr lang="en-US" sz="1200" kern="100">
                          <a:effectLst/>
                          <a:latin typeface="+mn-lt"/>
                          <a:ea typeface="Aptos" panose="020B0004020202020204" pitchFamily="34" charset="0"/>
                          <a:cs typeface="Times New Roman" panose="02020603050405020304" pitchFamily="18" charset="0"/>
                        </a:rPr>
                        <a:t> Solution Area</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58375789"/>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SA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Customer Success Account Manag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1265904"/>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S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Customer Success Manag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4845246"/>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S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Cloud Solution Provid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1464515"/>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S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Customer Service &amp; Suppor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9190776"/>
                  </a:ext>
                </a:extLst>
              </a:tr>
              <a:tr h="194693">
                <a:tc>
                  <a:txBody>
                    <a:bodyPr/>
                    <a:lstStyle/>
                    <a:p>
                      <a:pPr marL="0" marR="0">
                        <a:lnSpc>
                          <a:spcPct val="115000"/>
                        </a:lnSpc>
                        <a:spcAft>
                          <a:spcPts val="800"/>
                        </a:spcAft>
                        <a:buNone/>
                      </a:pPr>
                      <a:r>
                        <a:rPr lang="en-US" sz="1050" b="1" kern="1200">
                          <a:solidFill>
                            <a:schemeClr val="bg1"/>
                          </a:solidFill>
                          <a:latin typeface="+mj-lt"/>
                          <a:ea typeface="+mn-ea"/>
                          <a:cs typeface="+mn-cs"/>
                        </a:rPr>
                        <a:t>CSU</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b="0" kern="100">
                          <a:effectLst/>
                          <a:latin typeface="+mn-lt"/>
                          <a:ea typeface="Aptos" panose="020B0004020202020204" pitchFamily="34" charset="0"/>
                          <a:cs typeface="Times New Roman" panose="02020603050405020304" pitchFamily="18" charset="0"/>
                        </a:rPr>
                        <a:t>Customer Success Uni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9161082"/>
                  </a:ext>
                </a:extLst>
              </a:tr>
            </a:tbl>
          </a:graphicData>
        </a:graphic>
      </p:graphicFrame>
      <p:sp>
        <p:nvSpPr>
          <p:cNvPr id="31" name="Rectangle: Top Corners Rounded 30">
            <a:extLst>
              <a:ext uri="{FF2B5EF4-FFF2-40B4-BE49-F238E27FC236}">
                <a16:creationId xmlns:a16="http://schemas.microsoft.com/office/drawing/2014/main" id="{ACDB5B0E-77AE-0795-C5A6-3FCD08BFB4C8}"/>
              </a:ext>
            </a:extLst>
          </p:cNvPr>
          <p:cNvSpPr/>
          <p:nvPr/>
        </p:nvSpPr>
        <p:spPr>
          <a:xfrm rot="16200000">
            <a:off x="2295884" y="3469338"/>
            <a:ext cx="4823463" cy="617770"/>
          </a:xfrm>
          <a:prstGeom prst="round2Same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Sans Text"/>
              <a:ea typeface="+mn-ea"/>
              <a:cs typeface="Segoe Sans Text Light" pitchFamily="2" charset="0"/>
            </a:endParaRPr>
          </a:p>
        </p:txBody>
      </p:sp>
      <p:graphicFrame>
        <p:nvGraphicFramePr>
          <p:cNvPr id="4" name="Table 3">
            <a:extLst>
              <a:ext uri="{FF2B5EF4-FFF2-40B4-BE49-F238E27FC236}">
                <a16:creationId xmlns:a16="http://schemas.microsoft.com/office/drawing/2014/main" id="{F59FC3E2-3E80-A7D6-24E9-C0FECD8EC6C3}"/>
              </a:ext>
            </a:extLst>
          </p:cNvPr>
          <p:cNvGraphicFramePr>
            <a:graphicFrameLocks noGrp="1"/>
          </p:cNvGraphicFramePr>
          <p:nvPr/>
        </p:nvGraphicFramePr>
        <p:xfrm>
          <a:off x="4398730" y="1366492"/>
          <a:ext cx="3359447" cy="4833747"/>
        </p:xfrm>
        <a:graphic>
          <a:graphicData uri="http://schemas.openxmlformats.org/drawingml/2006/table">
            <a:tbl>
              <a:tblPr firstRow="1" bandRow="1"/>
              <a:tblGrid>
                <a:gridCol w="617855">
                  <a:extLst>
                    <a:ext uri="{9D8B030D-6E8A-4147-A177-3AD203B41FA5}">
                      <a16:colId xmlns:a16="http://schemas.microsoft.com/office/drawing/2014/main" val="3674501367"/>
                    </a:ext>
                  </a:extLst>
                </a:gridCol>
                <a:gridCol w="2741592">
                  <a:extLst>
                    <a:ext uri="{9D8B030D-6E8A-4147-A177-3AD203B41FA5}">
                      <a16:colId xmlns:a16="http://schemas.microsoft.com/office/drawing/2014/main" val="30226274"/>
                    </a:ext>
                  </a:extLst>
                </a:gridCol>
              </a:tblGrid>
              <a:tr h="0">
                <a:tc>
                  <a:txBody>
                    <a:bodyPr/>
                    <a:lstStyle/>
                    <a:p>
                      <a:pPr marL="0" marR="0">
                        <a:lnSpc>
                          <a:spcPct val="115000"/>
                        </a:lnSpc>
                        <a:spcAft>
                          <a:spcPts val="800"/>
                        </a:spcAft>
                        <a:buNone/>
                      </a:pPr>
                      <a:r>
                        <a:rPr lang="en-US" sz="1050" b="1" kern="1200">
                          <a:solidFill>
                            <a:schemeClr val="bg1"/>
                          </a:solidFill>
                          <a:latin typeface="+mj-lt"/>
                          <a:ea typeface="+mn-ea"/>
                          <a:cs typeface="+mn-cs"/>
                        </a:rPr>
                        <a:t>DA</a:t>
                      </a:r>
                    </a:p>
                  </a:txBody>
                  <a:tcPr marL="68580" marR="68580" marT="0" marB="0">
                    <a:lnL w="12700" cmpd="sng">
                      <a:noFill/>
                      <a:prstDash val="solid"/>
                    </a:lnL>
                    <a:lnR w="6350" cap="flat" cmpd="sng" algn="ctr">
                      <a:noFill/>
                      <a:prstDash val="solid"/>
                      <a:round/>
                      <a:headEnd type="none" w="med" len="med"/>
                      <a:tailEnd type="none" w="med" len="med"/>
                    </a:lnR>
                    <a:lnT w="12700" cmpd="sng">
                      <a:noFill/>
                      <a:prstDash val="soli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Digital Advisor</a:t>
                      </a:r>
                    </a:p>
                  </a:txBody>
                  <a:tcPr marL="68580" marR="68580" marT="0" marB="0">
                    <a:lnL w="6350" cap="flat" cmpd="sng" algn="ctr">
                      <a:noFill/>
                      <a:prstDash val="solid"/>
                      <a:round/>
                      <a:headEnd type="none" w="med" len="med"/>
                      <a:tailEnd type="none" w="med" len="med"/>
                    </a:lnL>
                    <a:lnR w="12700" cmpd="sng">
                      <a:noFill/>
                      <a:prstDash val="solid"/>
                    </a:lnR>
                    <a:lnT w="12700" cmpd="sng">
                      <a:noFill/>
                      <a:prstDash val="soli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7254103"/>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EA</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Enterprise Agreemen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7150251"/>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EBC</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Executive Briefing Cent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4991157"/>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E&amp;O</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Enterprise Operation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5057219"/>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EOU</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Enterprise Operating Unit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8508816"/>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FinOp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Finance and Operation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202267"/>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GBB</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Global Black Bel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252275"/>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GTM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Go-To-Market Manag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561369"/>
                  </a:ext>
                </a:extLst>
              </a:tr>
              <a:tr h="144102">
                <a:tc>
                  <a:txBody>
                    <a:bodyPr/>
                    <a:lstStyle/>
                    <a:p>
                      <a:pPr marL="0" marR="0">
                        <a:lnSpc>
                          <a:spcPct val="115000"/>
                        </a:lnSpc>
                        <a:spcAft>
                          <a:spcPts val="800"/>
                        </a:spcAft>
                        <a:buNone/>
                      </a:pPr>
                      <a:r>
                        <a:rPr lang="en-US" sz="1050" b="1" kern="1200">
                          <a:solidFill>
                            <a:schemeClr val="bg1"/>
                          </a:solidFill>
                          <a:latin typeface="+mj-lt"/>
                          <a:ea typeface="+mn-ea"/>
                          <a:cs typeface="+mn-cs"/>
                        </a:rPr>
                        <a:t>HC</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Headcoun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6919805"/>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HR</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Human Resource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3529201"/>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ISD</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Industry Solutions Delivery</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53082257"/>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LX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Land and Expand</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5297792"/>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ACC</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Azure Customer Commitmen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4299721"/>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AP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AI-Powered Selling</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2776531"/>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AU</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onthly Active User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6094409"/>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CA</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ustomer Agreemen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564131"/>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CAP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 marR="0" indent="-889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ustomer and Partner Solution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363106"/>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CAPS </a:t>
                      </a:r>
                      <a:r>
                        <a:rPr lang="en-US" sz="800" b="1" kern="1200">
                          <a:solidFill>
                            <a:schemeClr val="bg1"/>
                          </a:solidFill>
                          <a:latin typeface="+mj-lt"/>
                          <a:ea typeface="+mn-ea"/>
                          <a:cs typeface="+mn-cs"/>
                        </a:rPr>
                        <a:t>Academy</a:t>
                      </a:r>
                      <a:endParaRPr lang="en-US" sz="1050" b="1" kern="1200">
                        <a:solidFill>
                          <a:schemeClr val="bg1"/>
                        </a:solidFill>
                        <a:latin typeface="+mj-lt"/>
                        <a:ea typeface="+mn-ea"/>
                        <a:cs typeface="+mn-cs"/>
                      </a:endParaRP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ustomer and Partner Solutions Academy</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8354222"/>
                  </a:ext>
                </a:extLst>
              </a:tr>
              <a:tr h="38539">
                <a:tc>
                  <a:txBody>
                    <a:bodyPr/>
                    <a:lstStyle/>
                    <a:p>
                      <a:pPr marL="0" marR="0">
                        <a:lnSpc>
                          <a:spcPct val="115000"/>
                        </a:lnSpc>
                        <a:spcAft>
                          <a:spcPts val="800"/>
                        </a:spcAft>
                        <a:buNone/>
                      </a:pPr>
                      <a:r>
                        <a:rPr lang="en-US" sz="1050" b="1" kern="1200">
                          <a:solidFill>
                            <a:schemeClr val="bg1"/>
                          </a:solidFill>
                          <a:latin typeface="+mj-lt"/>
                          <a:ea typeface="+mn-ea"/>
                          <a:cs typeface="+mn-cs"/>
                        </a:rPr>
                        <a:t>MCE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ustomer Engagement Methodology</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1356069"/>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CI</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ommerce Initiative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54382097"/>
                  </a:ext>
                </a:extLst>
              </a:tr>
              <a:tr h="0">
                <a:tc>
                  <a:txBody>
                    <a:bodyPr/>
                    <a:lstStyle/>
                    <a:p>
                      <a:pPr marL="0" marR="0">
                        <a:lnSpc>
                          <a:spcPct val="115000"/>
                        </a:lnSpc>
                        <a:spcAft>
                          <a:spcPts val="800"/>
                        </a:spcAft>
                        <a:buNone/>
                      </a:pPr>
                      <a:r>
                        <a:rPr lang="en-US" sz="1050" b="1" kern="1200">
                          <a:solidFill>
                            <a:schemeClr val="bg1"/>
                          </a:solidFill>
                          <a:latin typeface="+mj-lt"/>
                          <a:ea typeface="+mn-ea"/>
                          <a:cs typeface="+mn-cs"/>
                        </a:rPr>
                        <a:t>MCP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Cloud Partner Program</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8754757"/>
                  </a:ext>
                </a:extLst>
              </a:tr>
            </a:tbl>
          </a:graphicData>
        </a:graphic>
      </p:graphicFrame>
      <p:sp>
        <p:nvSpPr>
          <p:cNvPr id="32" name="Rectangle: Top Corners Rounded 31">
            <a:extLst>
              <a:ext uri="{FF2B5EF4-FFF2-40B4-BE49-F238E27FC236}">
                <a16:creationId xmlns:a16="http://schemas.microsoft.com/office/drawing/2014/main" id="{727393C9-80F5-31B4-51CB-38EA6A3BC3EC}"/>
              </a:ext>
            </a:extLst>
          </p:cNvPr>
          <p:cNvSpPr/>
          <p:nvPr/>
        </p:nvSpPr>
        <p:spPr>
          <a:xfrm rot="16200000">
            <a:off x="6042247" y="3441303"/>
            <a:ext cx="4823460" cy="673837"/>
          </a:xfrm>
          <a:prstGeom prst="round2Same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Sans Text"/>
              <a:ea typeface="+mn-ea"/>
              <a:cs typeface="Segoe Sans Text Light" pitchFamily="2" charset="0"/>
            </a:endParaRPr>
          </a:p>
        </p:txBody>
      </p:sp>
      <p:graphicFrame>
        <p:nvGraphicFramePr>
          <p:cNvPr id="12" name="Table 11">
            <a:extLst>
              <a:ext uri="{FF2B5EF4-FFF2-40B4-BE49-F238E27FC236}">
                <a16:creationId xmlns:a16="http://schemas.microsoft.com/office/drawing/2014/main" id="{EBBA7AE1-4E12-1EBB-A284-8B2A11D8C17F}"/>
              </a:ext>
            </a:extLst>
          </p:cNvPr>
          <p:cNvGraphicFramePr>
            <a:graphicFrameLocks noGrp="1"/>
          </p:cNvGraphicFramePr>
          <p:nvPr>
            <p:extLst>
              <p:ext uri="{D42A27DB-BD31-4B8C-83A1-F6EECF244321}">
                <p14:modId xmlns:p14="http://schemas.microsoft.com/office/powerpoint/2010/main" val="2023735562"/>
              </p:ext>
            </p:extLst>
          </p:nvPr>
        </p:nvGraphicFramePr>
        <p:xfrm>
          <a:off x="8117058" y="1366490"/>
          <a:ext cx="3289237" cy="2708967"/>
        </p:xfrm>
        <a:graphic>
          <a:graphicData uri="http://schemas.openxmlformats.org/drawingml/2006/table">
            <a:tbl>
              <a:tblPr firstRow="1" bandRow="1"/>
              <a:tblGrid>
                <a:gridCol w="707965">
                  <a:extLst>
                    <a:ext uri="{9D8B030D-6E8A-4147-A177-3AD203B41FA5}">
                      <a16:colId xmlns:a16="http://schemas.microsoft.com/office/drawing/2014/main" val="3674501367"/>
                    </a:ext>
                  </a:extLst>
                </a:gridCol>
                <a:gridCol w="2581272">
                  <a:extLst>
                    <a:ext uri="{9D8B030D-6E8A-4147-A177-3AD203B41FA5}">
                      <a16:colId xmlns:a16="http://schemas.microsoft.com/office/drawing/2014/main" val="30226274"/>
                    </a:ext>
                  </a:extLst>
                </a:gridCol>
              </a:tblGrid>
              <a:tr h="192453">
                <a:tc>
                  <a:txBody>
                    <a:bodyPr/>
                    <a:lstStyle/>
                    <a:p>
                      <a:pPr marL="0" marR="0">
                        <a:lnSpc>
                          <a:spcPct val="115000"/>
                        </a:lnSpc>
                        <a:spcAft>
                          <a:spcPts val="800"/>
                        </a:spcAft>
                        <a:buNone/>
                      </a:pPr>
                      <a:r>
                        <a:rPr lang="en-US" sz="1050" b="1" kern="1200">
                          <a:solidFill>
                            <a:schemeClr val="bg1"/>
                          </a:solidFill>
                          <a:latin typeface="+mj-lt"/>
                          <a:ea typeface="+mn-ea"/>
                          <a:cs typeface="+mn-cs"/>
                        </a:rPr>
                        <a:t>MTC</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Microsoft Technology Cent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569729"/>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PTS</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Partner Technology Strategis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424071"/>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ROTH</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Rooms of the House</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6103854"/>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A</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olution Area or Solution Architec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2146024"/>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E </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olution Engine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3993593"/>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AE</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ervices Account Executive</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2986427"/>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ecurity</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ecurity Solution Area</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91020"/>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MB</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mall, Midsized Business</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5428766"/>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ME&amp;C</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mall, Medium Enterprises &amp; Channel</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2866348"/>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SP</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olution Sales Specialis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1995473"/>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STU</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Specialist Team Unit</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9612866"/>
                  </a:ext>
                </a:extLst>
              </a:tr>
              <a:tr h="192453">
                <a:tc>
                  <a:txBody>
                    <a:bodyPr/>
                    <a:lstStyle/>
                    <a:p>
                      <a:pPr marL="0" marR="0">
                        <a:lnSpc>
                          <a:spcPct val="115000"/>
                        </a:lnSpc>
                        <a:spcAft>
                          <a:spcPts val="800"/>
                        </a:spcAft>
                        <a:buNone/>
                      </a:pPr>
                      <a:r>
                        <a:rPr lang="en-US" sz="1050" b="1" kern="1200">
                          <a:solidFill>
                            <a:schemeClr val="bg1"/>
                          </a:solidFill>
                          <a:latin typeface="+mj-lt"/>
                          <a:ea typeface="+mn-ea"/>
                          <a:cs typeface="+mn-cs"/>
                        </a:rPr>
                        <a:t>TDM</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Aptos" panose="020B0004020202020204" pitchFamily="34" charset="0"/>
                          <a:cs typeface="Times New Roman" panose="02020603050405020304" pitchFamily="18" charset="0"/>
                        </a:rPr>
                        <a:t>Technical Decision Maker</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2451118"/>
                  </a:ext>
                </a:extLst>
              </a:tr>
              <a:tr h="191553">
                <a:tc>
                  <a:txBody>
                    <a:bodyPr/>
                    <a:lstStyle/>
                    <a:p>
                      <a:pPr marL="0" marR="0">
                        <a:lnSpc>
                          <a:spcPct val="115000"/>
                        </a:lnSpc>
                        <a:spcAft>
                          <a:spcPts val="800"/>
                        </a:spcAft>
                        <a:buNone/>
                      </a:pPr>
                      <a:r>
                        <a:rPr lang="en-US" sz="1050" b="1" kern="1200">
                          <a:solidFill>
                            <a:schemeClr val="bg1"/>
                          </a:solidFill>
                          <a:latin typeface="+mj-lt"/>
                          <a:ea typeface="+mn-ea"/>
                          <a:cs typeface="+mn-cs"/>
                        </a:rPr>
                        <a:t>VBD </a:t>
                      </a:r>
                    </a:p>
                  </a:txBody>
                  <a:tcPr marL="68580" marR="68580" marT="0" marB="0">
                    <a:lnL w="12700" cmpd="sng">
                      <a:noFill/>
                      <a:prstDash val="soli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algn="l" defTabSz="932742" rtl="0" eaLnBrk="1" latinLnBrk="0" hangingPunct="1">
                        <a:lnSpc>
                          <a:spcPct val="115000"/>
                        </a:lnSpc>
                        <a:spcAft>
                          <a:spcPts val="800"/>
                        </a:spcAft>
                        <a:buNone/>
                      </a:pPr>
                      <a:r>
                        <a:rPr lang="en-US" sz="1200" kern="100">
                          <a:solidFill>
                            <a:schemeClr val="tx1"/>
                          </a:solidFill>
                          <a:effectLst/>
                          <a:latin typeface="+mn-lt"/>
                          <a:ea typeface="+mn-ea"/>
                          <a:cs typeface="Times New Roman" panose="02020603050405020304" pitchFamily="18" charset="0"/>
                        </a:rPr>
                        <a:t>Value-Based Delivery</a:t>
                      </a:r>
                    </a:p>
                  </a:txBody>
                  <a:tcPr marL="68580" marR="68580" marT="0" marB="0">
                    <a:lnL w="6350" cap="flat" cmpd="sng" algn="ctr">
                      <a:no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728022325"/>
                  </a:ext>
                </a:extLst>
              </a:tr>
            </a:tbl>
          </a:graphicData>
        </a:graphic>
      </p:graphicFrame>
      <p:grpSp>
        <p:nvGrpSpPr>
          <p:cNvPr id="3" name="Group 2">
            <a:extLst>
              <a:ext uri="{FF2B5EF4-FFF2-40B4-BE49-F238E27FC236}">
                <a16:creationId xmlns:a16="http://schemas.microsoft.com/office/drawing/2014/main" id="{F1215FF9-A004-3346-E415-A72A384234B9}"/>
              </a:ext>
            </a:extLst>
          </p:cNvPr>
          <p:cNvGrpSpPr/>
          <p:nvPr/>
        </p:nvGrpSpPr>
        <p:grpSpPr>
          <a:xfrm>
            <a:off x="59315" y="20009"/>
            <a:ext cx="12073370" cy="348643"/>
            <a:chOff x="59315" y="20009"/>
            <a:chExt cx="12073370" cy="348643"/>
          </a:xfrm>
        </p:grpSpPr>
        <p:sp>
          <p:nvSpPr>
            <p:cNvPr id="6" name="Table 2 Cell 1, 1 to Text">
              <a:extLst>
                <a:ext uri="{FF2B5EF4-FFF2-40B4-BE49-F238E27FC236}">
                  <a16:creationId xmlns:a16="http://schemas.microsoft.com/office/drawing/2014/main" id="{C187091D-A3DB-F3F4-E1B1-89EC12B98297}"/>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7" name="Table 2 Cell 2, 1 to Text">
              <a:extLst>
                <a:ext uri="{FF2B5EF4-FFF2-40B4-BE49-F238E27FC236}">
                  <a16:creationId xmlns:a16="http://schemas.microsoft.com/office/drawing/2014/main" id="{C717D11E-C7FC-ACAB-1655-17B1D2A7C00B}"/>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8" name="Table 2 Cell 3, 1 to Text">
              <a:extLst>
                <a:ext uri="{FF2B5EF4-FFF2-40B4-BE49-F238E27FC236}">
                  <a16:creationId xmlns:a16="http://schemas.microsoft.com/office/drawing/2014/main" id="{454B648A-080F-73A7-AF6A-F53E351F8E21}"/>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0" name="Table 2 Cell 4, 1 to Text">
              <a:extLst>
                <a:ext uri="{FF2B5EF4-FFF2-40B4-BE49-F238E27FC236}">
                  <a16:creationId xmlns:a16="http://schemas.microsoft.com/office/drawing/2014/main" id="{EC76F74A-F164-B897-324C-D01489BDC846}"/>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1" name="Table 2 Cell 5, 1 to Text">
              <a:extLst>
                <a:ext uri="{FF2B5EF4-FFF2-40B4-BE49-F238E27FC236}">
                  <a16:creationId xmlns:a16="http://schemas.microsoft.com/office/drawing/2014/main" id="{1BA1CB96-78F8-DBED-741C-1969908BA98B}"/>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3" name="Table 2 Cell 6, 1 to Text">
              <a:extLst>
                <a:ext uri="{FF2B5EF4-FFF2-40B4-BE49-F238E27FC236}">
                  <a16:creationId xmlns:a16="http://schemas.microsoft.com/office/drawing/2014/main" id="{FD49F9A2-0639-B881-4849-53B712A7FF7E}"/>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14" name="Table 2 Cell 7, 1 to Text">
              <a:extLst>
                <a:ext uri="{FF2B5EF4-FFF2-40B4-BE49-F238E27FC236}">
                  <a16:creationId xmlns:a16="http://schemas.microsoft.com/office/drawing/2014/main" id="{03E83964-8AE5-8443-59CC-B000253FEB4C}"/>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15" name="Table 2 Cell 1, 2 to Text">
              <a:extLst>
                <a:ext uri="{FF2B5EF4-FFF2-40B4-BE49-F238E27FC236}">
                  <a16:creationId xmlns:a16="http://schemas.microsoft.com/office/drawing/2014/main" id="{F3CAE659-E5FB-601B-CF66-62F021D0A0F5}"/>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16" name="Table 2 Cell 1, 3 to Text">
              <a:extLst>
                <a:ext uri="{FF2B5EF4-FFF2-40B4-BE49-F238E27FC236}">
                  <a16:creationId xmlns:a16="http://schemas.microsoft.com/office/drawing/2014/main" id="{E4055D8A-EF31-B638-2294-54C5B03DEC14}"/>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17" name="Table 2 Cell 1, 4 to Text">
              <a:extLst>
                <a:ext uri="{FF2B5EF4-FFF2-40B4-BE49-F238E27FC236}">
                  <a16:creationId xmlns:a16="http://schemas.microsoft.com/office/drawing/2014/main" id="{92FEDF2F-BFB5-6985-D366-69CA8729DB5E}"/>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18" name="Table 2 Cell 1, 5 to Text">
              <a:extLst>
                <a:ext uri="{FF2B5EF4-FFF2-40B4-BE49-F238E27FC236}">
                  <a16:creationId xmlns:a16="http://schemas.microsoft.com/office/drawing/2014/main" id="{0611DDF7-06B7-4ADC-26A8-0EA47DDDD774}"/>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19" name="Table 2 Cell 1, 4 to Text">
              <a:extLst>
                <a:ext uri="{FF2B5EF4-FFF2-40B4-BE49-F238E27FC236}">
                  <a16:creationId xmlns:a16="http://schemas.microsoft.com/office/drawing/2014/main" id="{53FDCE84-5BC7-9762-82E9-9D0C2ED51271}"/>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20" name="Table 2 Cell 1, 4 to Text">
              <a:extLst>
                <a:ext uri="{FF2B5EF4-FFF2-40B4-BE49-F238E27FC236}">
                  <a16:creationId xmlns:a16="http://schemas.microsoft.com/office/drawing/2014/main" id="{EEB8C122-9560-C1C1-0B1D-299EE8C78C02}"/>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6 Glossary</a:t>
              </a:r>
            </a:p>
          </p:txBody>
        </p:sp>
        <p:sp>
          <p:nvSpPr>
            <p:cNvPr id="21" name="Table 2 Cell 1, 4 to Text">
              <a:extLst>
                <a:ext uri="{FF2B5EF4-FFF2-40B4-BE49-F238E27FC236}">
                  <a16:creationId xmlns:a16="http://schemas.microsoft.com/office/drawing/2014/main" id="{C6605B2B-4FA8-7754-8AE4-26F98F56CE66}"/>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7 Resources</a:t>
              </a:r>
            </a:p>
          </p:txBody>
        </p:sp>
      </p:grpSp>
    </p:spTree>
    <p:extLst>
      <p:ext uri="{BB962C8B-B14F-4D97-AF65-F5344CB8AC3E}">
        <p14:creationId xmlns:p14="http://schemas.microsoft.com/office/powerpoint/2010/main" val="231285184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5" name="Object 4" hidden="1"/>
                      <p:cNvPicPr/>
                      <p:nvPr/>
                    </p:nvPicPr>
                    <p:blipFill>
                      <a:blip r:embed="rId5"/>
                      <a:stretch>
                        <a:fillRect/>
                      </a:stretch>
                    </p:blipFill>
                    <p:spPr>
                      <a:xfrm>
                        <a:off x="3177" y="1589"/>
                        <a:ext cx="1587" cy="1587"/>
                      </a:xfrm>
                      <a:prstGeom prst="rect">
                        <a:avLst/>
                      </a:prstGeom>
                    </p:spPr>
                  </p:pic>
                </p:oleObj>
              </mc:Fallback>
            </mc:AlternateContent>
          </a:graphicData>
        </a:graphic>
      </p:graphicFrame>
      <p:graphicFrame>
        <p:nvGraphicFramePr>
          <p:cNvPr id="16" name="Table 15">
            <a:extLst>
              <a:ext uri="{FF2B5EF4-FFF2-40B4-BE49-F238E27FC236}">
                <a16:creationId xmlns:a16="http://schemas.microsoft.com/office/drawing/2014/main" id="{B307D778-65DD-41BE-8E26-9031804FA039}"/>
              </a:ext>
            </a:extLst>
          </p:cNvPr>
          <p:cNvGraphicFramePr>
            <a:graphicFrameLocks noGrp="1"/>
          </p:cNvGraphicFramePr>
          <p:nvPr>
            <p:extLst>
              <p:ext uri="{D42A27DB-BD31-4B8C-83A1-F6EECF244321}">
                <p14:modId xmlns:p14="http://schemas.microsoft.com/office/powerpoint/2010/main" val="275546939"/>
              </p:ext>
            </p:extLst>
          </p:nvPr>
        </p:nvGraphicFramePr>
        <p:xfrm>
          <a:off x="257685" y="968923"/>
          <a:ext cx="5721360" cy="5189220"/>
        </p:xfrm>
        <a:graphic>
          <a:graphicData uri="http://schemas.openxmlformats.org/drawingml/2006/table">
            <a:tbl>
              <a:tblPr firstRow="1" bandRow="1">
                <a:tableStyleId>{72833802-FEF1-4C79-8D5D-14CF1EAF98D9}</a:tableStyleId>
              </a:tblPr>
              <a:tblGrid>
                <a:gridCol w="1934672">
                  <a:extLst>
                    <a:ext uri="{9D8B030D-6E8A-4147-A177-3AD203B41FA5}">
                      <a16:colId xmlns:a16="http://schemas.microsoft.com/office/drawing/2014/main" val="812596178"/>
                    </a:ext>
                  </a:extLst>
                </a:gridCol>
                <a:gridCol w="3786688">
                  <a:extLst>
                    <a:ext uri="{9D8B030D-6E8A-4147-A177-3AD203B41FA5}">
                      <a16:colId xmlns:a16="http://schemas.microsoft.com/office/drawing/2014/main" val="2117418118"/>
                    </a:ext>
                  </a:extLst>
                </a:gridCol>
              </a:tblGrid>
              <a:tr h="0">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050" b="1" u="none">
                          <a:solidFill>
                            <a:schemeClr val="bg1"/>
                          </a:solidFill>
                        </a:rPr>
                        <a:t>Category</a:t>
                      </a:r>
                      <a:endParaRPr lang="en-US" sz="1050" b="1" u="none">
                        <a:solidFill>
                          <a:schemeClr val="bg1"/>
                        </a:solidFill>
                        <a:latin typeface="+mn-lt"/>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050" b="1" u="none" kern="1200">
                          <a:solidFill>
                            <a:schemeClr val="bg1"/>
                          </a:solidFill>
                        </a:rPr>
                        <a:t>Link</a:t>
                      </a:r>
                      <a:endParaRPr lang="en-US" sz="1050" b="1" u="none" kern="1200">
                        <a:solidFill>
                          <a:schemeClr val="bg1"/>
                        </a:solidFill>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24114495"/>
                  </a:ext>
                </a:extLst>
              </a:tr>
              <a:tr h="0">
                <a:tc>
                  <a:txBody>
                    <a:bodyPr/>
                    <a:lstStyle/>
                    <a:p>
                      <a:r>
                        <a:rPr lang="en-US" sz="1200" b="1">
                          <a:solidFill>
                            <a:schemeClr val="tx1"/>
                          </a:solidFill>
                        </a:rPr>
                        <a:t>CE&amp;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b="1">
                          <a:hlinkClick r:id="rId6" tooltip="https://microsoft.sharepoint.com/teams/CustomerExperienceSuccess"/>
                        </a:rPr>
                        <a:t>CE&amp;S Hub</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29929590"/>
                  </a:ext>
                </a:extLst>
              </a:tr>
              <a:tr h="0">
                <a:tc>
                  <a:txBody>
                    <a:bodyPr/>
                    <a:lstStyle/>
                    <a:p>
                      <a:r>
                        <a:rPr lang="en-US" sz="1200" b="1">
                          <a:solidFill>
                            <a:schemeClr val="tx1"/>
                          </a:solidFill>
                        </a:rPr>
                        <a:t>Cloud &amp; AI CSU</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b="1">
                          <a:hlinkClick r:id="rId7" tooltip="https://aka.ms/cloudaicsu"/>
                        </a:rPr>
                        <a:t>Cloud &amp; AI CSU Sit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0905272"/>
                  </a:ext>
                </a:extLst>
              </a:tr>
              <a:tr h="0">
                <a:tc>
                  <a:txBody>
                    <a:bodyPr/>
                    <a:lstStyle/>
                    <a:p>
                      <a:r>
                        <a:rPr lang="en-US" sz="1200" b="1">
                          <a:solidFill>
                            <a:schemeClr val="tx1"/>
                          </a:solidFill>
                        </a:rPr>
                        <a:t>Cloud &amp; AI Skilling</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b="1">
                          <a:hlinkClick r:id="rId8" tooltip="https://aka.ms/caipcsuskills"/>
                        </a:rPr>
                        <a:t>Cloud &amp; AI Skilling Sit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30089005"/>
                  </a:ext>
                </a:extLst>
              </a:tr>
              <a:tr h="0">
                <a:tc>
                  <a:txBody>
                    <a:bodyPr/>
                    <a:lstStyle/>
                    <a:p>
                      <a:r>
                        <a:rPr lang="en-US" sz="1200">
                          <a:solidFill>
                            <a:schemeClr val="tx1"/>
                          </a:solidFill>
                        </a:rPr>
                        <a:t>Additional Resourc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9" tooltip="https://aka.ms/customersuccess"/>
                        </a:rPr>
                        <a:t>Customer Success Hub</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71656471"/>
                  </a:ext>
                </a:extLst>
              </a:tr>
              <a:tr h="148816">
                <a:tc>
                  <a:txBody>
                    <a:bodyPr/>
                    <a:lstStyle/>
                    <a:p>
                      <a:r>
                        <a:rPr lang="en-US" sz="1200">
                          <a:solidFill>
                            <a:schemeClr val="tx1"/>
                          </a:solidFill>
                        </a:rPr>
                        <a:t>Additional Resourc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0" tooltip="https://eng.ms/docs/microsoft-customer-partner-solutions-mcaps-core/customer-experience-and-support/customer-success/azure-core/resource-center"/>
                        </a:rPr>
                        <a:t>Engineering Hub: Azure Resource Center</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172632"/>
                  </a:ext>
                </a:extLst>
              </a:tr>
              <a:tr h="148816">
                <a:tc>
                  <a:txBody>
                    <a:bodyPr/>
                    <a:lstStyle/>
                    <a:p>
                      <a:r>
                        <a:rPr lang="en-US" sz="1200">
                          <a:solidFill>
                            <a:schemeClr val="tx1"/>
                          </a:solidFill>
                        </a:rPr>
                        <a:t>Additional Resourc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1" tooltip="https://aka.ms/hrweb"/>
                        </a:rPr>
                        <a:t>HRWeb</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53988073"/>
                  </a:ext>
                </a:extLst>
              </a:tr>
              <a:tr h="148816">
                <a:tc>
                  <a:txBody>
                    <a:bodyPr/>
                    <a:lstStyle/>
                    <a:p>
                      <a:r>
                        <a:rPr lang="en-US" sz="1200">
                          <a:solidFill>
                            <a:schemeClr val="tx1"/>
                          </a:solidFill>
                        </a:rPr>
                        <a:t>Additional Resourc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2" tooltip="https://microsoft.sharepoint.com/teams/IncentiveCompensationGuide"/>
                        </a:rPr>
                        <a:t>Incentive Compensation Guid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46849613"/>
                  </a:ext>
                </a:extLst>
              </a:tr>
              <a:tr h="148816">
                <a:tc>
                  <a:txBody>
                    <a:bodyPr/>
                    <a:lstStyle/>
                    <a:p>
                      <a:r>
                        <a:rPr lang="en-US" sz="1200">
                          <a:solidFill>
                            <a:schemeClr val="tx1"/>
                          </a:solidFill>
                        </a:rPr>
                        <a:t>Planning and Execution</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3" tooltip="https://aka.ms/CSUCCE"/>
                        </a:rPr>
                        <a:t>Customer Experience &amp; Success Strategy</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08190922"/>
                  </a:ext>
                </a:extLst>
              </a:tr>
              <a:tr h="148816">
                <a:tc>
                  <a:txBody>
                    <a:bodyPr/>
                    <a:lstStyle/>
                    <a:p>
                      <a:r>
                        <a:rPr lang="en-US" sz="1200">
                          <a:solidFill>
                            <a:schemeClr val="tx1"/>
                          </a:solidFill>
                        </a:rPr>
                        <a:t>Planning and Execution</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4" tooltip="https://cxp.azure.com/cxobserve/home"/>
                        </a:rPr>
                        <a:t>CXP Observ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68209679"/>
                  </a:ext>
                </a:extLst>
              </a:tr>
              <a:tr h="148816">
                <a:tc>
                  <a:txBody>
                    <a:bodyPr/>
                    <a:lstStyle/>
                    <a:p>
                      <a:r>
                        <a:rPr lang="en-US" sz="1200">
                          <a:solidFill>
                            <a:schemeClr val="tx1"/>
                          </a:solidFill>
                        </a:rPr>
                        <a:t>Planning and Execution</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5" tooltip="https://aka.ms/msxi"/>
                        </a:rPr>
                        <a:t>MSX Inisights (MSXI)</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95678864"/>
                  </a:ext>
                </a:extLst>
              </a:tr>
              <a:tr h="148816">
                <a:tc>
                  <a:txBody>
                    <a:bodyPr/>
                    <a:lstStyle/>
                    <a:p>
                      <a:r>
                        <a:rPr lang="en-US" sz="1200">
                          <a:solidFill>
                            <a:schemeClr val="tx1"/>
                          </a:solidFill>
                        </a:rPr>
                        <a:t>Planning and Execution</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6" tooltip="http://aka.ms/acrengagements"/>
                        </a:rPr>
                        <a:t>MSXI Customer Success Dashboard</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82514721"/>
                  </a:ext>
                </a:extLst>
              </a:tr>
              <a:tr h="148816">
                <a:tc>
                  <a:txBody>
                    <a:bodyPr/>
                    <a:lstStyle/>
                    <a:p>
                      <a:r>
                        <a:rPr lang="en-US" sz="1200">
                          <a:solidFill>
                            <a:schemeClr val="tx1"/>
                          </a:solidFill>
                        </a:rPr>
                        <a:t>Planning and Execution</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7" tooltip="https://aka.ms/Seismic"/>
                        </a:rPr>
                        <a:t>Seismic and Checklist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40066390"/>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8" tooltip="https://www.linkedin.com/learning/"/>
                        </a:rPr>
                        <a:t>LinkedIn Learning</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37226923"/>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19" tooltip="https://docs.microsoft.com/learn/"/>
                        </a:rPr>
                        <a:t>Microsoft Learning</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9781610"/>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0" tooltip="https://microsoft.sharepoint.com/teams/SPandP/SitePages/MSX%20D365.aspx"/>
                        </a:rPr>
                        <a:t>MSX D365 Readiness Portal</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87705851"/>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1" tooltip="http://aka.ms/rain"/>
                        </a:rPr>
                        <a:t>Role Excellence</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70473687"/>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2" tooltip="http://aka.ms/learning"/>
                        </a:rPr>
                        <a:t>Role Readines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25593495"/>
                  </a:ext>
                </a:extLst>
              </a:tr>
              <a:tr h="148816">
                <a:tc>
                  <a:txBody>
                    <a:bodyPr/>
                    <a:lstStyle/>
                    <a:p>
                      <a:r>
                        <a:rPr lang="en-US" sz="1200">
                          <a:solidFill>
                            <a:schemeClr val="tx1"/>
                          </a:solidFill>
                        </a:rPr>
                        <a:t>Role Developme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3" tooltip="aka.ms/myvivalearning"/>
                        </a:rPr>
                        <a:t>Viva learning</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56619078"/>
                  </a:ext>
                </a:extLst>
              </a:tr>
            </a:tbl>
          </a:graphicData>
        </a:graphic>
      </p:graphicFrame>
      <p:graphicFrame>
        <p:nvGraphicFramePr>
          <p:cNvPr id="4" name="Table 3">
            <a:extLst>
              <a:ext uri="{FF2B5EF4-FFF2-40B4-BE49-F238E27FC236}">
                <a16:creationId xmlns:a16="http://schemas.microsoft.com/office/drawing/2014/main" id="{91B28240-FD41-41AD-8083-BEBFA789535A}"/>
              </a:ext>
            </a:extLst>
          </p:cNvPr>
          <p:cNvGraphicFramePr>
            <a:graphicFrameLocks noGrp="1"/>
          </p:cNvGraphicFramePr>
          <p:nvPr>
            <p:extLst>
              <p:ext uri="{D42A27DB-BD31-4B8C-83A1-F6EECF244321}">
                <p14:modId xmlns:p14="http://schemas.microsoft.com/office/powerpoint/2010/main" val="461873287"/>
              </p:ext>
            </p:extLst>
          </p:nvPr>
        </p:nvGraphicFramePr>
        <p:xfrm>
          <a:off x="6188008" y="976741"/>
          <a:ext cx="5721360" cy="5178678"/>
        </p:xfrm>
        <a:graphic>
          <a:graphicData uri="http://schemas.openxmlformats.org/drawingml/2006/table">
            <a:tbl>
              <a:tblPr firstRow="1" bandRow="1">
                <a:tableStyleId>{72833802-FEF1-4C79-8D5D-14CF1EAF98D9}</a:tableStyleId>
              </a:tblPr>
              <a:tblGrid>
                <a:gridCol w="1534134">
                  <a:extLst>
                    <a:ext uri="{9D8B030D-6E8A-4147-A177-3AD203B41FA5}">
                      <a16:colId xmlns:a16="http://schemas.microsoft.com/office/drawing/2014/main" val="812596178"/>
                    </a:ext>
                  </a:extLst>
                </a:gridCol>
                <a:gridCol w="4187226">
                  <a:extLst>
                    <a:ext uri="{9D8B030D-6E8A-4147-A177-3AD203B41FA5}">
                      <a16:colId xmlns:a16="http://schemas.microsoft.com/office/drawing/2014/main" val="2117418118"/>
                    </a:ext>
                  </a:extLst>
                </a:gridCol>
              </a:tblGrid>
              <a:tr h="231325">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050" b="1" u="none">
                          <a:solidFill>
                            <a:schemeClr val="bg1"/>
                          </a:solidFill>
                          <a:latin typeface="+mn-lt"/>
                        </a:rPr>
                        <a:t>Category</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tx2"/>
                    </a:solidFill>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050" b="1" u="none" kern="1200">
                          <a:solidFill>
                            <a:schemeClr val="bg1"/>
                          </a:solidFill>
                          <a:latin typeface="+mn-lt"/>
                          <a:ea typeface="+mn-ea"/>
                          <a:cs typeface="+mn-cs"/>
                        </a:rPr>
                        <a:t>Link</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724114495"/>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4" tooltip="aka.ms/TrackMyTime"/>
                        </a:rPr>
                        <a:t>Time Tracking </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30089005"/>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5" tooltip="https://aka.ms/VBDinsights"/>
                        </a:rPr>
                        <a:t>VBD Insight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71656471"/>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6" tooltip="https://csahub.microsoft.com/"/>
                        </a:rPr>
                        <a:t>CSA Hub</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172632"/>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7" tooltip="https://esxp.microsoft.com/#/opdashboard/"/>
                        </a:rPr>
                        <a:t>CSU Activity Tracking - ESXP</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53988073"/>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8" tooltip="https://microsoft.sharepoint.com/teams/Customer-Success/SitePages/Scrum.aspx"/>
                        </a:rPr>
                        <a:t>Customer Success Scrum Resourc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46849613"/>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29" tooltip="https://aka.ms/msxd365"/>
                        </a:rPr>
                        <a:t>MSX</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08190922"/>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30" tooltip="https://mint.microsoft.com/"/>
                        </a:rPr>
                        <a:t>My Incentive Compensation (Mint)</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68209679"/>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31" tooltip="https://oneask.microsoft.com/"/>
                        </a:rPr>
                        <a:t>OneAsk</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95678864"/>
                  </a:ext>
                </a:extLst>
              </a:tr>
              <a:tr h="277590">
                <a:tc>
                  <a:txBody>
                    <a:bodyPr/>
                    <a:lstStyle/>
                    <a:p>
                      <a:r>
                        <a:rPr lang="en-US" sz="1200">
                          <a:solidFill>
                            <a:schemeClr val="tx1"/>
                          </a:solidFill>
                        </a:rPr>
                        <a:t>Tools and Processe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US" sz="1200">
                          <a:hlinkClick r:id="rId32" tooltip="https://onelistfeedback.microsoft.com/"/>
                        </a:rPr>
                        <a:t>OneList Feedback Portal</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82514721"/>
                  </a:ext>
                </a:extLst>
              </a:tr>
              <a:tr h="254457">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0" cap="none" spc="0" normalizeH="0" baseline="0" noProof="0">
                        <a:ln>
                          <a:noFill/>
                        </a:ln>
                        <a:solidFill>
                          <a:sysClr val="windowText" lastClr="000000"/>
                        </a:solidFill>
                        <a:effectLst/>
                        <a:uLnTx/>
                        <a:uFillTx/>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40066390"/>
                  </a:ext>
                </a:extLst>
              </a:tr>
              <a:tr h="740239">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u="none" kern="1200">
                          <a:solidFill>
                            <a:schemeClr val="tx2"/>
                          </a:solidFill>
                          <a:latin typeface="+mn-lt"/>
                          <a:ea typeface="+mn-ea"/>
                          <a:cs typeface="+mn-cs"/>
                        </a:rPr>
                        <a:t>Help Needed? Please contact the following:</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0" cap="none" spc="0" normalizeH="0" baseline="0" noProof="0">
                        <a:ln>
                          <a:noFill/>
                        </a:ln>
                        <a:solidFill>
                          <a:sysClr val="windowText" lastClr="000000"/>
                        </a:solidFill>
                        <a:effectLst/>
                        <a:uLnTx/>
                        <a:uFillTx/>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37226923"/>
                  </a:ext>
                </a:extLst>
              </a:tr>
              <a:tr h="254457">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a:ln>
                            <a:noFill/>
                          </a:ln>
                          <a:solidFill>
                            <a:srgbClr val="000000"/>
                          </a:solidFill>
                          <a:effectLst/>
                          <a:uLnTx/>
                          <a:uFillTx/>
                          <a:latin typeface="Segoe UI"/>
                          <a:ea typeface="ＭＳ Ｐゴシック"/>
                          <a:cs typeface="+mn-cs"/>
                        </a:rPr>
                        <a:t>General question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baseline="0" err="1">
                          <a:solidFill>
                            <a:srgbClr val="FF0000"/>
                          </a:solidFill>
                          <a:latin typeface="+mn-lt"/>
                          <a:ea typeface="+mn-ea"/>
                          <a:cs typeface="+mn-cs"/>
                          <a:hlinkClick r:id="rId33"/>
                        </a:rPr>
                        <a:t>AskRolEx</a:t>
                      </a:r>
                      <a:r>
                        <a:rPr lang="en-US" sz="1050" b="0" kern="1200" baseline="0">
                          <a:solidFill>
                            <a:srgbClr val="FF0000"/>
                          </a:solidFill>
                          <a:latin typeface="+mn-lt"/>
                          <a:ea typeface="+mn-ea"/>
                          <a:cs typeface="+mn-cs"/>
                        </a:rPr>
                        <a:t> </a:t>
                      </a:r>
                      <a:r>
                        <a:rPr lang="en-US" sz="1050" b="0" kern="1200" baseline="0">
                          <a:solidFill>
                            <a:srgbClr val="0070C0"/>
                          </a:solidFill>
                          <a:latin typeface="+mn-lt"/>
                          <a:ea typeface="+mn-ea"/>
                          <a:cs typeface="+mn-cs"/>
                        </a:rPr>
                        <a:t>or</a:t>
                      </a:r>
                      <a:r>
                        <a:rPr lang="en-US" sz="1050" b="0" kern="1200" baseline="0">
                          <a:solidFill>
                            <a:srgbClr val="FF0000"/>
                          </a:solidFill>
                          <a:latin typeface="+mn-lt"/>
                          <a:ea typeface="+mn-ea"/>
                          <a:cs typeface="+mn-cs"/>
                        </a:rPr>
                        <a:t> </a:t>
                      </a:r>
                      <a:r>
                        <a:rPr lang="en-US" sz="1050" b="0" kern="1200" baseline="0" err="1">
                          <a:solidFill>
                            <a:schemeClr val="tx1"/>
                          </a:solidFill>
                          <a:latin typeface="Segoe UI"/>
                          <a:ea typeface="ＭＳ Ｐゴシック"/>
                          <a:cs typeface="+mn-cs"/>
                          <a:hlinkClick r:id="rId34"/>
                        </a:rPr>
                        <a:t>AskLearning</a:t>
                      </a:r>
                      <a:endParaRPr lang="en-US" sz="1050" b="0" kern="1200" baseline="0">
                        <a:solidFill>
                          <a:schemeClr val="tx1"/>
                        </a:solidFill>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9781610"/>
                  </a:ext>
                </a:extLst>
              </a:tr>
              <a:tr h="416384">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a:ln>
                            <a:noFill/>
                          </a:ln>
                          <a:solidFill>
                            <a:srgbClr val="000000"/>
                          </a:solidFill>
                          <a:effectLst/>
                          <a:uLnTx/>
                          <a:uFillTx/>
                          <a:latin typeface="Segoe UI"/>
                          <a:ea typeface="ＭＳ Ｐゴシック"/>
                          <a:cs typeface="+mn-cs"/>
                        </a:rPr>
                        <a:t>Role Specific Questions</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a:solidFill>
                            <a:schemeClr val="tx1"/>
                          </a:solidFill>
                        </a:rPr>
                        <a:t>Samantha Wilder </a:t>
                      </a: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87705851"/>
                  </a:ext>
                </a:extLst>
              </a:tr>
              <a:tr h="254457">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0" cap="none" spc="0" normalizeH="0" baseline="0" noProof="0">
                        <a:ln>
                          <a:noFill/>
                        </a:ln>
                        <a:solidFill>
                          <a:sysClr val="windowText" lastClr="000000"/>
                        </a:solidFill>
                        <a:effectLst/>
                        <a:uLnTx/>
                        <a:uFillTx/>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70473687"/>
                  </a:ext>
                </a:extLst>
              </a:tr>
              <a:tr h="254457">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0" cap="none" spc="0" normalizeH="0" baseline="0" noProof="0">
                        <a:ln>
                          <a:noFill/>
                        </a:ln>
                        <a:solidFill>
                          <a:sysClr val="windowText" lastClr="000000"/>
                        </a:solidFill>
                        <a:effectLst/>
                        <a:uLnTx/>
                        <a:uFillTx/>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25593495"/>
                  </a:ext>
                </a:extLst>
              </a:tr>
              <a:tr h="254457">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a:ea typeface="ＭＳ Ｐゴシック"/>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0" i="0" u="none" strike="noStrike" kern="0" cap="none" spc="0" normalizeH="0" baseline="0" noProof="0">
                        <a:ln>
                          <a:noFill/>
                        </a:ln>
                        <a:solidFill>
                          <a:sysClr val="windowText" lastClr="000000"/>
                        </a:solidFill>
                        <a:effectLst/>
                        <a:uLnTx/>
                        <a:uFillTx/>
                        <a:latin typeface="+mn-lt"/>
                        <a:ea typeface="+mn-ea"/>
                        <a:cs typeface="+mn-cs"/>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56619078"/>
                  </a:ext>
                </a:extLst>
              </a:tr>
            </a:tbl>
          </a:graphicData>
        </a:graphic>
      </p:graphicFrame>
      <p:sp>
        <p:nvSpPr>
          <p:cNvPr id="8" name="Title 1">
            <a:extLst>
              <a:ext uri="{FF2B5EF4-FFF2-40B4-BE49-F238E27FC236}">
                <a16:creationId xmlns:a16="http://schemas.microsoft.com/office/drawing/2014/main" id="{27FD0C14-938D-4CDB-B8BE-C8D61C5F609B}"/>
              </a:ext>
            </a:extLst>
          </p:cNvPr>
          <p:cNvSpPr txBox="1">
            <a:spLocks/>
          </p:cNvSpPr>
          <p:nvPr/>
        </p:nvSpPr>
        <p:spPr bwMode="auto">
          <a:xfrm>
            <a:off x="257685" y="398039"/>
            <a:ext cx="2825761"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a:tabLst/>
            </a:pPr>
            <a:r>
              <a:rPr lang="en-CA" sz="3200" kern="0">
                <a:solidFill>
                  <a:schemeClr val="accent1">
                    <a:lumMod val="50000"/>
                  </a:schemeClr>
                </a:solidFill>
              </a:rPr>
              <a:t>Key Resources </a:t>
            </a:r>
            <a:endParaRPr lang="en-CA" sz="3200" kern="0">
              <a:solidFill>
                <a:schemeClr val="accent3">
                  <a:lumMod val="75000"/>
                </a:schemeClr>
              </a:solidFill>
            </a:endParaRPr>
          </a:p>
        </p:txBody>
      </p:sp>
      <p:grpSp>
        <p:nvGrpSpPr>
          <p:cNvPr id="2" name="Group 1">
            <a:extLst>
              <a:ext uri="{FF2B5EF4-FFF2-40B4-BE49-F238E27FC236}">
                <a16:creationId xmlns:a16="http://schemas.microsoft.com/office/drawing/2014/main" id="{35FD9262-269D-EEC3-DD84-51595BA2415D}"/>
              </a:ext>
            </a:extLst>
          </p:cNvPr>
          <p:cNvGrpSpPr/>
          <p:nvPr/>
        </p:nvGrpSpPr>
        <p:grpSpPr>
          <a:xfrm>
            <a:off x="59315" y="20009"/>
            <a:ext cx="12073370" cy="348643"/>
            <a:chOff x="59315" y="20009"/>
            <a:chExt cx="12073370" cy="348643"/>
          </a:xfrm>
        </p:grpSpPr>
        <p:sp>
          <p:nvSpPr>
            <p:cNvPr id="6" name="Table 2 Cell 1, 1 to Text">
              <a:extLst>
                <a:ext uri="{FF2B5EF4-FFF2-40B4-BE49-F238E27FC236}">
                  <a16:creationId xmlns:a16="http://schemas.microsoft.com/office/drawing/2014/main" id="{1367A813-8859-52B5-94AE-689D2FB14C77}"/>
                </a:ext>
              </a:extLst>
            </p:cNvPr>
            <p:cNvSpPr txBox="1"/>
            <p:nvPr/>
          </p:nvSpPr>
          <p:spPr>
            <a:xfrm>
              <a:off x="59315"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9" name="Table 2 Cell 2, 1 to Text">
              <a:extLst>
                <a:ext uri="{FF2B5EF4-FFF2-40B4-BE49-F238E27FC236}">
                  <a16:creationId xmlns:a16="http://schemas.microsoft.com/office/drawing/2014/main" id="{B92A67DA-C51C-B13F-F6CA-DE01B7C43203}"/>
                </a:ext>
                <a:ext uri="{C183D7F6-B498-43B3-948B-1728B52AA6E4}">
                  <adec:decorative xmlns:adec="http://schemas.microsoft.com/office/drawing/2017/decorative" val="1"/>
                </a:ext>
              </a:extLst>
            </p:cNvPr>
            <p:cNvSpPr txBox="1"/>
            <p:nvPr/>
          </p:nvSpPr>
          <p:spPr>
            <a:xfrm>
              <a:off x="1786669"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2. What’s New</a:t>
              </a:r>
            </a:p>
          </p:txBody>
        </p:sp>
        <p:sp>
          <p:nvSpPr>
            <p:cNvPr id="10" name="Table 2 Cell 3, 1 to Text">
              <a:extLst>
                <a:ext uri="{FF2B5EF4-FFF2-40B4-BE49-F238E27FC236}">
                  <a16:creationId xmlns:a16="http://schemas.microsoft.com/office/drawing/2014/main" id="{A0EC111A-37E5-4520-D19B-9EC25638B8D7}"/>
                </a:ext>
                <a:ext uri="{C183D7F6-B498-43B3-948B-1728B52AA6E4}">
                  <adec:decorative xmlns:adec="http://schemas.microsoft.com/office/drawing/2017/decorative" val="1"/>
                </a:ext>
              </a:extLst>
            </p:cNvPr>
            <p:cNvSpPr txBox="1"/>
            <p:nvPr/>
          </p:nvSpPr>
          <p:spPr>
            <a:xfrm>
              <a:off x="3514024"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7F7F7F"/>
                  </a:solidFill>
                  <a:latin typeface="Segoe Sans Text"/>
                </a:rPr>
                <a:t>3. Cloud &amp; AI Infra CSA</a:t>
              </a:r>
            </a:p>
          </p:txBody>
        </p:sp>
        <p:sp>
          <p:nvSpPr>
            <p:cNvPr id="11" name="Table 2 Cell 4, 1 to Text">
              <a:extLst>
                <a:ext uri="{FF2B5EF4-FFF2-40B4-BE49-F238E27FC236}">
                  <a16:creationId xmlns:a16="http://schemas.microsoft.com/office/drawing/2014/main" id="{DCDD5897-A446-BCB9-4A17-6836F8C3EB8E}"/>
                </a:ext>
                <a:ext uri="{C183D7F6-B498-43B3-948B-1728B52AA6E4}">
                  <adec:decorative xmlns:adec="http://schemas.microsoft.com/office/drawing/2017/decorative" val="1"/>
                </a:ext>
              </a:extLst>
            </p:cNvPr>
            <p:cNvSpPr txBox="1"/>
            <p:nvPr/>
          </p:nvSpPr>
          <p:spPr>
            <a:xfrm>
              <a:off x="5241378"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7F7F7F"/>
                  </a:solidFill>
                  <a:latin typeface="Segoe Sans Text"/>
                </a:rPr>
                <a:t>4. Cloud &amp; AI Apps CSA</a:t>
              </a:r>
            </a:p>
          </p:txBody>
        </p:sp>
        <p:sp>
          <p:nvSpPr>
            <p:cNvPr id="12" name="Table 2 Cell 5, 1 to Text">
              <a:extLst>
                <a:ext uri="{FF2B5EF4-FFF2-40B4-BE49-F238E27FC236}">
                  <a16:creationId xmlns:a16="http://schemas.microsoft.com/office/drawing/2014/main" id="{16549210-EC3D-EB60-4AA9-76195B03F82D}"/>
                </a:ext>
                <a:ext uri="{C183D7F6-B498-43B3-948B-1728B52AA6E4}">
                  <adec:decorative xmlns:adec="http://schemas.microsoft.com/office/drawing/2017/decorative" val="1"/>
                </a:ext>
              </a:extLst>
            </p:cNvPr>
            <p:cNvSpPr txBox="1"/>
            <p:nvPr/>
          </p:nvSpPr>
          <p:spPr>
            <a:xfrm>
              <a:off x="6968733" y="20009"/>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13" name="Table 2 Cell 6, 1 to Text">
              <a:extLst>
                <a:ext uri="{FF2B5EF4-FFF2-40B4-BE49-F238E27FC236}">
                  <a16:creationId xmlns:a16="http://schemas.microsoft.com/office/drawing/2014/main" id="{116899E3-4D58-2544-4DFD-8439449B347A}"/>
                </a:ext>
                <a:ext uri="{C183D7F6-B498-43B3-948B-1728B52AA6E4}">
                  <adec:decorative xmlns:adec="http://schemas.microsoft.com/office/drawing/2017/decorative" val="1"/>
                </a:ext>
              </a:extLst>
            </p:cNvPr>
            <p:cNvSpPr txBox="1"/>
            <p:nvPr/>
          </p:nvSpPr>
          <p:spPr>
            <a:xfrm>
              <a:off x="8696087" y="20009"/>
              <a:ext cx="1709244" cy="167926"/>
            </a:xfrm>
            <a:prstGeom prst="round2SameRect">
              <a:avLst>
                <a:gd name="adj1" fmla="val 0"/>
                <a:gd name="adj2" fmla="val 1559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a:solidFill>
                    <a:srgbClr val="7F7F7F"/>
                  </a:solidFill>
                  <a:latin typeface="Segoe Sans Text"/>
                </a:rPr>
                <a:t>6. Cloud &amp; AI CSA &amp; GSA</a:t>
              </a:r>
              <a:endParaRPr lang="en-US">
                <a:solidFill>
                  <a:srgbClr val="7F7F7F"/>
                </a:solidFill>
                <a:latin typeface="Segoe Sans Text"/>
              </a:endParaRPr>
            </a:p>
          </p:txBody>
        </p:sp>
        <p:sp>
          <p:nvSpPr>
            <p:cNvPr id="14" name="Table 2 Cell 7, 1 to Text">
              <a:extLst>
                <a:ext uri="{FF2B5EF4-FFF2-40B4-BE49-F238E27FC236}">
                  <a16:creationId xmlns:a16="http://schemas.microsoft.com/office/drawing/2014/main" id="{E6ABA62C-48CE-3474-C6F4-34180F34F22B}"/>
                </a:ext>
                <a:ext uri="{C183D7F6-B498-43B3-948B-1728B52AA6E4}">
                  <adec:decorative xmlns:adec="http://schemas.microsoft.com/office/drawing/2017/decorative" val="1"/>
                </a:ext>
              </a:extLst>
            </p:cNvPr>
            <p:cNvSpPr txBox="1"/>
            <p:nvPr/>
          </p:nvSpPr>
          <p:spPr>
            <a:xfrm>
              <a:off x="10423441" y="20009"/>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a:solidFill>
                    <a:schemeClr val="bg1"/>
                  </a:solidFill>
                </a:rPr>
                <a:t>7. 30/60/90 Day Actions</a:t>
              </a:r>
            </a:p>
          </p:txBody>
        </p:sp>
        <p:sp>
          <p:nvSpPr>
            <p:cNvPr id="15" name="Table 2 Cell 1, 2 to Text">
              <a:extLst>
                <a:ext uri="{FF2B5EF4-FFF2-40B4-BE49-F238E27FC236}">
                  <a16:creationId xmlns:a16="http://schemas.microsoft.com/office/drawing/2014/main" id="{7BD9219A-70D8-2493-8297-4A2AE9508CD4}"/>
                </a:ext>
              </a:extLst>
            </p:cNvPr>
            <p:cNvSpPr txBox="1"/>
            <p:nvPr/>
          </p:nvSpPr>
          <p:spPr>
            <a:xfrm>
              <a:off x="59315"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7.1 30 Days In Role</a:t>
              </a:r>
            </a:p>
          </p:txBody>
        </p:sp>
        <p:sp>
          <p:nvSpPr>
            <p:cNvPr id="17" name="Table 2 Cell 1, 3 to Text">
              <a:extLst>
                <a:ext uri="{FF2B5EF4-FFF2-40B4-BE49-F238E27FC236}">
                  <a16:creationId xmlns:a16="http://schemas.microsoft.com/office/drawing/2014/main" id="{1F461EE3-0618-CD5B-2437-3DFA428BA972}"/>
                </a:ext>
                <a:ext uri="{C183D7F6-B498-43B3-948B-1728B52AA6E4}">
                  <adec:decorative xmlns:adec="http://schemas.microsoft.com/office/drawing/2017/decorative" val="1"/>
                </a:ext>
              </a:extLst>
            </p:cNvPr>
            <p:cNvSpPr txBox="1"/>
            <p:nvPr/>
          </p:nvSpPr>
          <p:spPr>
            <a:xfrm>
              <a:off x="1786669"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2 60 Days In Role</a:t>
              </a:r>
            </a:p>
          </p:txBody>
        </p:sp>
        <p:sp>
          <p:nvSpPr>
            <p:cNvPr id="18" name="Table 2 Cell 1, 4 to Text">
              <a:extLst>
                <a:ext uri="{FF2B5EF4-FFF2-40B4-BE49-F238E27FC236}">
                  <a16:creationId xmlns:a16="http://schemas.microsoft.com/office/drawing/2014/main" id="{8929D51B-D2DB-417F-9C02-DDAE3616DA81}"/>
                </a:ext>
                <a:ext uri="{C183D7F6-B498-43B3-948B-1728B52AA6E4}">
                  <adec:decorative xmlns:adec="http://schemas.microsoft.com/office/drawing/2017/decorative" val="1"/>
                </a:ext>
              </a:extLst>
            </p:cNvPr>
            <p:cNvSpPr txBox="1"/>
            <p:nvPr/>
          </p:nvSpPr>
          <p:spPr>
            <a:xfrm>
              <a:off x="3514024"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3 90 Days In Role</a:t>
              </a:r>
            </a:p>
          </p:txBody>
        </p:sp>
        <p:sp>
          <p:nvSpPr>
            <p:cNvPr id="19" name="Table 2 Cell 1, 5 to Text">
              <a:extLst>
                <a:ext uri="{FF2B5EF4-FFF2-40B4-BE49-F238E27FC236}">
                  <a16:creationId xmlns:a16="http://schemas.microsoft.com/office/drawing/2014/main" id="{A2F4B453-DF9D-9CC8-B5A7-F37D31517F9E}"/>
                </a:ext>
                <a:ext uri="{C183D7F6-B498-43B3-948B-1728B52AA6E4}">
                  <adec:decorative xmlns:adec="http://schemas.microsoft.com/office/drawing/2017/decorative" val="1"/>
                </a:ext>
              </a:extLst>
            </p:cNvPr>
            <p:cNvSpPr txBox="1"/>
            <p:nvPr/>
          </p:nvSpPr>
          <p:spPr>
            <a:xfrm>
              <a:off x="5241378"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rgbClr val="FFFFFF">
                      <a:lumMod val="65000"/>
                    </a:srgbClr>
                  </a:solidFill>
                  <a:latin typeface="Segoe Sans Text"/>
                </a:rPr>
                <a:t>7.4 Skilling Strategy</a:t>
              </a:r>
            </a:p>
          </p:txBody>
        </p:sp>
        <p:sp>
          <p:nvSpPr>
            <p:cNvPr id="20" name="Table 2 Cell 1, 4 to Text">
              <a:extLst>
                <a:ext uri="{FF2B5EF4-FFF2-40B4-BE49-F238E27FC236}">
                  <a16:creationId xmlns:a16="http://schemas.microsoft.com/office/drawing/2014/main" id="{26AE97FE-4A79-B1C0-052A-357A7A8874BE}"/>
                </a:ext>
                <a:ext uri="{C183D7F6-B498-43B3-948B-1728B52AA6E4}">
                  <adec:decorative xmlns:adec="http://schemas.microsoft.com/office/drawing/2017/decorative" val="1"/>
                </a:ext>
              </a:extLst>
            </p:cNvPr>
            <p:cNvSpPr txBox="1"/>
            <p:nvPr/>
          </p:nvSpPr>
          <p:spPr>
            <a:xfrm>
              <a:off x="6968733"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5 Community</a:t>
              </a:r>
            </a:p>
          </p:txBody>
        </p:sp>
        <p:sp>
          <p:nvSpPr>
            <p:cNvPr id="21" name="Table 2 Cell 1, 4 to Text">
              <a:extLst>
                <a:ext uri="{FF2B5EF4-FFF2-40B4-BE49-F238E27FC236}">
                  <a16:creationId xmlns:a16="http://schemas.microsoft.com/office/drawing/2014/main" id="{EBE4EB16-C4CF-4430-8144-F0CCE602D2EF}"/>
                </a:ext>
                <a:ext uri="{C183D7F6-B498-43B3-948B-1728B52AA6E4}">
                  <adec:decorative xmlns:adec="http://schemas.microsoft.com/office/drawing/2017/decorative" val="1"/>
                </a:ext>
              </a:extLst>
            </p:cNvPr>
            <p:cNvSpPr txBox="1"/>
            <p:nvPr/>
          </p:nvSpPr>
          <p:spPr>
            <a:xfrm>
              <a:off x="8696087" y="200726"/>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a:solidFill>
                    <a:srgbClr val="FFFFFF">
                      <a:lumMod val="65000"/>
                    </a:srgbClr>
                  </a:solidFill>
                  <a:latin typeface="Segoe Sans Text"/>
                </a:rPr>
                <a:t>7.6 Glossary</a:t>
              </a:r>
            </a:p>
          </p:txBody>
        </p:sp>
        <p:sp>
          <p:nvSpPr>
            <p:cNvPr id="22" name="Table 2 Cell 1, 4 to Text">
              <a:extLst>
                <a:ext uri="{FF2B5EF4-FFF2-40B4-BE49-F238E27FC236}">
                  <a16:creationId xmlns:a16="http://schemas.microsoft.com/office/drawing/2014/main" id="{0680F5E4-3936-8E34-63C2-E32239C42C47}"/>
                </a:ext>
                <a:ext uri="{C183D7F6-B498-43B3-948B-1728B52AA6E4}">
                  <adec:decorative xmlns:adec="http://schemas.microsoft.com/office/drawing/2017/decorative" val="1"/>
                </a:ext>
              </a:extLst>
            </p:cNvPr>
            <p:cNvSpPr txBox="1"/>
            <p:nvPr/>
          </p:nvSpPr>
          <p:spPr>
            <a:xfrm>
              <a:off x="10423441" y="200726"/>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800">
                  <a:solidFill>
                    <a:schemeClr val="bg1"/>
                  </a:solidFill>
                </a:rPr>
                <a:t>7.7 Resources</a:t>
              </a:r>
            </a:p>
          </p:txBody>
        </p:sp>
      </p:grpSp>
    </p:spTree>
    <p:extLst>
      <p:ext uri="{BB962C8B-B14F-4D97-AF65-F5344CB8AC3E}">
        <p14:creationId xmlns:p14="http://schemas.microsoft.com/office/powerpoint/2010/main" val="1938383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B3F87-6C13-D4DC-E7BD-8014D481AB51}"/>
            </a:ext>
          </a:extLst>
        </p:cNvPr>
        <p:cNvGrpSpPr/>
        <p:nvPr/>
      </p:nvGrpSpPr>
      <p:grpSpPr>
        <a:xfrm>
          <a:off x="0" y="0"/>
          <a:ext cx="0" cy="0"/>
          <a:chOff x="0" y="0"/>
          <a:chExt cx="0" cy="0"/>
        </a:xfrm>
      </p:grpSpPr>
      <p:sp>
        <p:nvSpPr>
          <p:cNvPr id="71" name="Title 1">
            <a:extLst>
              <a:ext uri="{FF2B5EF4-FFF2-40B4-BE49-F238E27FC236}">
                <a16:creationId xmlns:a16="http://schemas.microsoft.com/office/drawing/2014/main" id="{46958115-5A41-A5AA-4D97-1AF8F8DEC418}"/>
              </a:ext>
            </a:extLst>
          </p:cNvPr>
          <p:cNvSpPr txBox="1">
            <a:spLocks noGrp="1"/>
          </p:cNvSpPr>
          <p:nvPr>
            <p:ph type="title"/>
          </p:nvPr>
        </p:nvSpPr>
        <p:spPr>
          <a:xfrm>
            <a:off x="304800" y="457200"/>
            <a:ext cx="11582400" cy="615553"/>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noProof="0">
                <a:cs typeface="Segoe Sans Text" pitchFamily="2" charset="0"/>
              </a:rPr>
              <a:t>FY26 CSA Delivery Model | Focus on Driving Growth and Efficiency</a:t>
            </a:r>
            <a:br>
              <a:rPr lang="en-US" sz="2400" noProof="0">
                <a:cs typeface="Segoe Sans Text" pitchFamily="2" charset="0"/>
              </a:rPr>
            </a:br>
            <a:r>
              <a:rPr lang="en-US" sz="1600" i="1">
                <a:ln>
                  <a:noFill/>
                </a:ln>
                <a:solidFill>
                  <a:schemeClr val="tx2"/>
                </a:solidFill>
                <a:cs typeface="Segoe Sans Text" pitchFamily="2" charset="0"/>
              </a:rPr>
              <a:t>CSA Delivery strategy grounded in Segment alignment and Technical Maturity Model </a:t>
            </a:r>
            <a:endParaRPr lang="en-US" sz="2400" noProof="0">
              <a:cs typeface="Segoe Sans Text" pitchFamily="2" charset="0"/>
            </a:endParaRPr>
          </a:p>
        </p:txBody>
      </p:sp>
      <p:sp>
        <p:nvSpPr>
          <p:cNvPr id="50" name="Title 16">
            <a:extLst>
              <a:ext uri="{FF2B5EF4-FFF2-40B4-BE49-F238E27FC236}">
                <a16:creationId xmlns:a16="http://schemas.microsoft.com/office/drawing/2014/main" id="{C22D9E79-AFAA-56B3-E37F-CF41C8F63430}"/>
              </a:ext>
            </a:extLst>
          </p:cNvPr>
          <p:cNvSpPr txBox="1">
            <a:spLocks/>
          </p:cNvSpPr>
          <p:nvPr/>
        </p:nvSpPr>
        <p:spPr>
          <a:xfrm>
            <a:off x="304800" y="6194804"/>
            <a:ext cx="11582400" cy="290992"/>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solidFill>
                  <a:schemeClr val="bg1"/>
                </a:solidFill>
                <a:latin typeface="+mj-lt"/>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Text Semibold"/>
                <a:ea typeface="+mn-ea"/>
                <a:cs typeface="+mn-cs"/>
              </a:rPr>
              <a:t>Total capacity = CSA (Field + Core Teams) + CSAM + Delivery Partner capacity</a:t>
            </a:r>
          </a:p>
        </p:txBody>
      </p:sp>
      <p:sp>
        <p:nvSpPr>
          <p:cNvPr id="73" name="Rectangle: Rounded Corners 72">
            <a:extLst>
              <a:ext uri="{FF2B5EF4-FFF2-40B4-BE49-F238E27FC236}">
                <a16:creationId xmlns:a16="http://schemas.microsoft.com/office/drawing/2014/main" id="{CE79DF34-FD1A-544C-EA26-D61729D2B659}"/>
              </a:ext>
              <a:ext uri="{C183D7F6-B498-43B3-948B-1728B52AA6E4}">
                <adec:decorative xmlns:adec="http://schemas.microsoft.com/office/drawing/2017/decorative" val="1"/>
              </a:ext>
            </a:extLst>
          </p:cNvPr>
          <p:cNvSpPr>
            <a:spLocks/>
          </p:cNvSpPr>
          <p:nvPr/>
        </p:nvSpPr>
        <p:spPr bwMode="auto">
          <a:xfrm>
            <a:off x="6164580" y="1292980"/>
            <a:ext cx="5722620" cy="4807890"/>
          </a:xfrm>
          <a:prstGeom prst="roundRect">
            <a:avLst>
              <a:gd name="adj" fmla="val 1896"/>
            </a:avLst>
          </a:prstGeom>
          <a:solidFill>
            <a:schemeClr val="bg1"/>
          </a:solidFill>
          <a:ln w="6350">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marR="0" lvl="0" indent="0" algn="l" defTabSz="914400" rtl="0" eaLnBrk="1" fontAlgn="auto" latinLnBrk="0" hangingPunct="1">
              <a:lnSpc>
                <a:spcPct val="100000"/>
              </a:lnSpc>
              <a:spcBef>
                <a:spcPts val="0"/>
              </a:spcBef>
              <a:spcAft>
                <a:spcPts val="600"/>
              </a:spcAft>
              <a:buClr>
                <a:srgbClr val="CC0000"/>
              </a:buClr>
              <a:buSzPct val="110000"/>
              <a:buFontTx/>
              <a:buNone/>
              <a:tabLst/>
              <a:defRPr/>
            </a:pPr>
            <a:endParaRPr kumimoji="0" lang="en-US" sz="1600" b="1" i="0" u="none" strike="noStrike" kern="1200" cap="none" spc="0" normalizeH="0" baseline="0" noProof="0">
              <a:ln>
                <a:noFill/>
              </a:ln>
              <a:solidFill>
                <a:srgbClr val="001965"/>
              </a:solidFill>
              <a:effectLst/>
              <a:uLnTx/>
              <a:uFillTx/>
              <a:latin typeface="Segoe Sans Text Semibold"/>
              <a:ea typeface="+mn-ea"/>
              <a:cs typeface="Arial" panose="020B0604020202020204" pitchFamily="34" charset="0"/>
            </a:endParaRPr>
          </a:p>
        </p:txBody>
      </p:sp>
      <p:sp>
        <p:nvSpPr>
          <p:cNvPr id="438" name="Freeform: Shape 437">
            <a:extLst>
              <a:ext uri="{FF2B5EF4-FFF2-40B4-BE49-F238E27FC236}">
                <a16:creationId xmlns:a16="http://schemas.microsoft.com/office/drawing/2014/main" id="{A935616C-1BA7-EC66-C51A-D5521E131574}"/>
              </a:ext>
            </a:extLst>
          </p:cNvPr>
          <p:cNvSpPr>
            <a:spLocks/>
          </p:cNvSpPr>
          <p:nvPr/>
        </p:nvSpPr>
        <p:spPr bwMode="auto">
          <a:xfrm>
            <a:off x="6301740" y="1430139"/>
            <a:ext cx="1021079" cy="1192985"/>
          </a:xfrm>
          <a:custGeom>
            <a:avLst/>
            <a:gdLst>
              <a:gd name="connsiteX0" fmla="*/ 78746 w 1021079"/>
              <a:gd name="connsiteY0" fmla="*/ 0 h 1192985"/>
              <a:gd name="connsiteX1" fmla="*/ 473235 w 1021079"/>
              <a:gd name="connsiteY1" fmla="*/ 0 h 1192985"/>
              <a:gd name="connsiteX2" fmla="*/ 942333 w 1021079"/>
              <a:gd name="connsiteY2" fmla="*/ 0 h 1192985"/>
              <a:gd name="connsiteX3" fmla="*/ 1021079 w 1021079"/>
              <a:gd name="connsiteY3" fmla="*/ 0 h 1192985"/>
              <a:gd name="connsiteX4" fmla="*/ 1021079 w 1021079"/>
              <a:gd name="connsiteY4" fmla="*/ 78746 h 1192985"/>
              <a:gd name="connsiteX5" fmla="*/ 1021079 w 1021079"/>
              <a:gd name="connsiteY5" fmla="*/ 1114239 h 1192985"/>
              <a:gd name="connsiteX6" fmla="*/ 1021079 w 1021079"/>
              <a:gd name="connsiteY6" fmla="*/ 1192985 h 1192985"/>
              <a:gd name="connsiteX7" fmla="*/ 942333 w 1021079"/>
              <a:gd name="connsiteY7" fmla="*/ 1192985 h 1192985"/>
              <a:gd name="connsiteX8" fmla="*/ 473235 w 1021079"/>
              <a:gd name="connsiteY8" fmla="*/ 1192985 h 1192985"/>
              <a:gd name="connsiteX9" fmla="*/ 78746 w 1021079"/>
              <a:gd name="connsiteY9" fmla="*/ 1192985 h 1192985"/>
              <a:gd name="connsiteX10" fmla="*/ 0 w 1021079"/>
              <a:gd name="connsiteY10" fmla="*/ 1114239 h 1192985"/>
              <a:gd name="connsiteX11" fmla="*/ 0 w 1021079"/>
              <a:gd name="connsiteY11" fmla="*/ 78746 h 1192985"/>
              <a:gd name="connsiteX12" fmla="*/ 78746 w 1021079"/>
              <a:gd name="connsiteY12" fmla="*/ 0 h 119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079" h="1192985">
                <a:moveTo>
                  <a:pt x="78746" y="0"/>
                </a:moveTo>
                <a:lnTo>
                  <a:pt x="473235" y="0"/>
                </a:lnTo>
                <a:lnTo>
                  <a:pt x="942333" y="0"/>
                </a:lnTo>
                <a:lnTo>
                  <a:pt x="1021079" y="0"/>
                </a:lnTo>
                <a:lnTo>
                  <a:pt x="1021079" y="78746"/>
                </a:lnTo>
                <a:lnTo>
                  <a:pt x="1021079" y="1114239"/>
                </a:lnTo>
                <a:lnTo>
                  <a:pt x="1021079" y="1192985"/>
                </a:lnTo>
                <a:lnTo>
                  <a:pt x="942333" y="1192985"/>
                </a:lnTo>
                <a:lnTo>
                  <a:pt x="473235" y="1192985"/>
                </a:lnTo>
                <a:lnTo>
                  <a:pt x="78746" y="1192985"/>
                </a:lnTo>
                <a:cubicBezTo>
                  <a:pt x="35256" y="1192985"/>
                  <a:pt x="0" y="1157729"/>
                  <a:pt x="0" y="1114239"/>
                </a:cubicBezTo>
                <a:lnTo>
                  <a:pt x="0" y="78746"/>
                </a:lnTo>
                <a:cubicBezTo>
                  <a:pt x="0" y="35256"/>
                  <a:pt x="35256" y="0"/>
                  <a:pt x="7874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Specialized Skills and Offers</a:t>
            </a:r>
          </a:p>
        </p:txBody>
      </p:sp>
      <p:sp>
        <p:nvSpPr>
          <p:cNvPr id="33" name="TextBox 32">
            <a:extLst>
              <a:ext uri="{FF2B5EF4-FFF2-40B4-BE49-F238E27FC236}">
                <a16:creationId xmlns:a16="http://schemas.microsoft.com/office/drawing/2014/main" id="{C7170EDD-482C-1812-C2BD-32238398DAF2}"/>
              </a:ext>
            </a:extLst>
          </p:cNvPr>
          <p:cNvSpPr txBox="1"/>
          <p:nvPr/>
        </p:nvSpPr>
        <p:spPr>
          <a:xfrm>
            <a:off x="7459981" y="1564966"/>
            <a:ext cx="4306684" cy="923330"/>
          </a:xfrm>
          <a:prstGeom prst="rect">
            <a:avLst/>
          </a:prstGeom>
          <a:noFill/>
          <a:ln>
            <a:noFill/>
          </a:ln>
        </p:spPr>
        <p:txBody>
          <a:bodyPr wrap="square" lIns="0" tIns="0" rIns="0" bIns="0" rtlCol="0" anchor="ctr">
            <a:spAutoFit/>
          </a:bodyPr>
          <a:lstStyle>
            <a:defPPr>
              <a:defRPr lang="en-US"/>
            </a:defPPr>
            <a:lvl1pPr marL="171450" indent="-171450" defTabSz="932742">
              <a:spcBef>
                <a:spcPct val="20000"/>
              </a:spcBef>
              <a:buSzPct val="90000"/>
              <a:buFont typeface="Arial" panose="020B0604020202020204" pitchFamily="34" charset="0"/>
              <a:buChar char="•"/>
              <a:defRPr sz="1200">
                <a:solidFill>
                  <a:srgbClr val="000000"/>
                </a:solidFill>
                <a:latin typeface="Segoe UI"/>
                <a:cs typeface="Segoe UI" panose="020B0502040204020203" pitchFamily="34" charset="0"/>
              </a:defRPr>
            </a:lvl1pPr>
          </a:lstStyle>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Global Solution Area delivery of Factory engagements and Innovative skills to transition from product release to scale field capabilities</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pecialized delivery engines to support customers across critical specialized offers</a:t>
            </a:r>
          </a:p>
        </p:txBody>
      </p:sp>
      <p:sp>
        <p:nvSpPr>
          <p:cNvPr id="440" name="Freeform: Shape 439">
            <a:extLst>
              <a:ext uri="{FF2B5EF4-FFF2-40B4-BE49-F238E27FC236}">
                <a16:creationId xmlns:a16="http://schemas.microsoft.com/office/drawing/2014/main" id="{280686E0-F09F-E555-AEF0-7D8156FEAF17}"/>
              </a:ext>
            </a:extLst>
          </p:cNvPr>
          <p:cNvSpPr>
            <a:spLocks/>
          </p:cNvSpPr>
          <p:nvPr/>
        </p:nvSpPr>
        <p:spPr bwMode="auto">
          <a:xfrm>
            <a:off x="6301741" y="2761855"/>
            <a:ext cx="1021078" cy="1627400"/>
          </a:xfrm>
          <a:custGeom>
            <a:avLst/>
            <a:gdLst>
              <a:gd name="connsiteX0" fmla="*/ 78746 w 1021078"/>
              <a:gd name="connsiteY0" fmla="*/ 0 h 1627400"/>
              <a:gd name="connsiteX1" fmla="*/ 473234 w 1021078"/>
              <a:gd name="connsiteY1" fmla="*/ 0 h 1627400"/>
              <a:gd name="connsiteX2" fmla="*/ 942332 w 1021078"/>
              <a:gd name="connsiteY2" fmla="*/ 0 h 1627400"/>
              <a:gd name="connsiteX3" fmla="*/ 1021078 w 1021078"/>
              <a:gd name="connsiteY3" fmla="*/ 0 h 1627400"/>
              <a:gd name="connsiteX4" fmla="*/ 1021078 w 1021078"/>
              <a:gd name="connsiteY4" fmla="*/ 78746 h 1627400"/>
              <a:gd name="connsiteX5" fmla="*/ 1021078 w 1021078"/>
              <a:gd name="connsiteY5" fmla="*/ 1548654 h 1627400"/>
              <a:gd name="connsiteX6" fmla="*/ 1021078 w 1021078"/>
              <a:gd name="connsiteY6" fmla="*/ 1627400 h 1627400"/>
              <a:gd name="connsiteX7" fmla="*/ 942332 w 1021078"/>
              <a:gd name="connsiteY7" fmla="*/ 1627400 h 1627400"/>
              <a:gd name="connsiteX8" fmla="*/ 473234 w 1021078"/>
              <a:gd name="connsiteY8" fmla="*/ 1627400 h 1627400"/>
              <a:gd name="connsiteX9" fmla="*/ 78746 w 1021078"/>
              <a:gd name="connsiteY9" fmla="*/ 1627400 h 1627400"/>
              <a:gd name="connsiteX10" fmla="*/ 0 w 1021078"/>
              <a:gd name="connsiteY10" fmla="*/ 1548654 h 1627400"/>
              <a:gd name="connsiteX11" fmla="*/ 0 w 1021078"/>
              <a:gd name="connsiteY11" fmla="*/ 78746 h 1627400"/>
              <a:gd name="connsiteX12" fmla="*/ 78746 w 1021078"/>
              <a:gd name="connsiteY12" fmla="*/ 0 h 162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078" h="1627400">
                <a:moveTo>
                  <a:pt x="78746" y="0"/>
                </a:moveTo>
                <a:lnTo>
                  <a:pt x="473234" y="0"/>
                </a:lnTo>
                <a:lnTo>
                  <a:pt x="942332" y="0"/>
                </a:lnTo>
                <a:lnTo>
                  <a:pt x="1021078" y="0"/>
                </a:lnTo>
                <a:lnTo>
                  <a:pt x="1021078" y="78746"/>
                </a:lnTo>
                <a:lnTo>
                  <a:pt x="1021078" y="1548654"/>
                </a:lnTo>
                <a:lnTo>
                  <a:pt x="1021078" y="1627400"/>
                </a:lnTo>
                <a:lnTo>
                  <a:pt x="942332" y="1627400"/>
                </a:lnTo>
                <a:lnTo>
                  <a:pt x="473234" y="1627400"/>
                </a:lnTo>
                <a:lnTo>
                  <a:pt x="78746" y="1627400"/>
                </a:lnTo>
                <a:cubicBezTo>
                  <a:pt x="35256" y="1627400"/>
                  <a:pt x="0" y="1592144"/>
                  <a:pt x="0" y="1548654"/>
                </a:cubicBezTo>
                <a:lnTo>
                  <a:pt x="0" y="78746"/>
                </a:lnTo>
                <a:cubicBezTo>
                  <a:pt x="0" y="35256"/>
                  <a:pt x="35256" y="0"/>
                  <a:pt x="7874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Enterprise Focus</a:t>
            </a:r>
          </a:p>
        </p:txBody>
      </p:sp>
      <p:sp>
        <p:nvSpPr>
          <p:cNvPr id="6" name="TextBox 5">
            <a:extLst>
              <a:ext uri="{FF2B5EF4-FFF2-40B4-BE49-F238E27FC236}">
                <a16:creationId xmlns:a16="http://schemas.microsoft.com/office/drawing/2014/main" id="{B723485D-4D1B-B892-50D3-1F92769F5800}"/>
              </a:ext>
            </a:extLst>
          </p:cNvPr>
          <p:cNvSpPr txBox="1"/>
          <p:nvPr/>
        </p:nvSpPr>
        <p:spPr>
          <a:xfrm>
            <a:off x="7459981" y="2952308"/>
            <a:ext cx="4306684" cy="1246495"/>
          </a:xfrm>
          <a:prstGeom prst="rect">
            <a:avLst/>
          </a:prstGeom>
          <a:noFill/>
          <a:ln>
            <a:noFill/>
          </a:ln>
        </p:spPr>
        <p:txBody>
          <a:bodyPr wrap="square" lIns="0" tIns="0" rIns="0" bIns="0" rtlCol="0" anchor="ctr">
            <a:spAutoFit/>
          </a:bodyPr>
          <a:lstStyle>
            <a:defPPr>
              <a:defRPr lang="en-US"/>
            </a:defPPr>
            <a:lvl1pPr marL="171450" indent="-171450" defTabSz="932742">
              <a:spcBef>
                <a:spcPct val="20000"/>
              </a:spcBef>
              <a:buSzPct val="90000"/>
              <a:buFont typeface="Arial" panose="020B0604020202020204" pitchFamily="34" charset="0"/>
              <a:buChar char="•"/>
              <a:defRPr sz="1200">
                <a:solidFill>
                  <a:srgbClr val="000000"/>
                </a:solidFill>
                <a:latin typeface="Segoe UI"/>
                <a:cs typeface="Segoe UI" panose="020B0502040204020203" pitchFamily="34" charset="0"/>
              </a:defRPr>
            </a:lvl1pPr>
          </a:lstStyle>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Enterprise focused resources, aligned with ATU/STU Territories</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Focus on cloud growth driving commit to complete</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High cloud propensity, capture the momentum on strategic growth workloads</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Prioritizing Unified enabled delivery and balancing CSU Invested/Factory to drive growth</a:t>
            </a:r>
          </a:p>
        </p:txBody>
      </p:sp>
      <p:sp>
        <p:nvSpPr>
          <p:cNvPr id="442" name="Freeform: Shape 441">
            <a:extLst>
              <a:ext uri="{FF2B5EF4-FFF2-40B4-BE49-F238E27FC236}">
                <a16:creationId xmlns:a16="http://schemas.microsoft.com/office/drawing/2014/main" id="{62BBB370-6227-7C33-9934-7D3BB90C4B6E}"/>
              </a:ext>
            </a:extLst>
          </p:cNvPr>
          <p:cNvSpPr>
            <a:spLocks/>
          </p:cNvSpPr>
          <p:nvPr/>
        </p:nvSpPr>
        <p:spPr bwMode="auto">
          <a:xfrm>
            <a:off x="6301741" y="4523942"/>
            <a:ext cx="1021078" cy="1438197"/>
          </a:xfrm>
          <a:custGeom>
            <a:avLst/>
            <a:gdLst>
              <a:gd name="connsiteX0" fmla="*/ 78746 w 1021078"/>
              <a:gd name="connsiteY0" fmla="*/ 0 h 1438197"/>
              <a:gd name="connsiteX1" fmla="*/ 510538 w 1021078"/>
              <a:gd name="connsiteY1" fmla="*/ 0 h 1438197"/>
              <a:gd name="connsiteX2" fmla="*/ 942332 w 1021078"/>
              <a:gd name="connsiteY2" fmla="*/ 0 h 1438197"/>
              <a:gd name="connsiteX3" fmla="*/ 1021078 w 1021078"/>
              <a:gd name="connsiteY3" fmla="*/ 0 h 1438197"/>
              <a:gd name="connsiteX4" fmla="*/ 1021078 w 1021078"/>
              <a:gd name="connsiteY4" fmla="*/ 78746 h 1438197"/>
              <a:gd name="connsiteX5" fmla="*/ 1021078 w 1021078"/>
              <a:gd name="connsiteY5" fmla="*/ 1359451 h 1438197"/>
              <a:gd name="connsiteX6" fmla="*/ 1021078 w 1021078"/>
              <a:gd name="connsiteY6" fmla="*/ 1438197 h 1438197"/>
              <a:gd name="connsiteX7" fmla="*/ 942332 w 1021078"/>
              <a:gd name="connsiteY7" fmla="*/ 1438197 h 1438197"/>
              <a:gd name="connsiteX8" fmla="*/ 510538 w 1021078"/>
              <a:gd name="connsiteY8" fmla="*/ 1438197 h 1438197"/>
              <a:gd name="connsiteX9" fmla="*/ 78746 w 1021078"/>
              <a:gd name="connsiteY9" fmla="*/ 1438197 h 1438197"/>
              <a:gd name="connsiteX10" fmla="*/ 0 w 1021078"/>
              <a:gd name="connsiteY10" fmla="*/ 1359451 h 1438197"/>
              <a:gd name="connsiteX11" fmla="*/ 0 w 1021078"/>
              <a:gd name="connsiteY11" fmla="*/ 78746 h 1438197"/>
              <a:gd name="connsiteX12" fmla="*/ 78746 w 1021078"/>
              <a:gd name="connsiteY12" fmla="*/ 0 h 143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078" h="1438197">
                <a:moveTo>
                  <a:pt x="78746" y="0"/>
                </a:moveTo>
                <a:lnTo>
                  <a:pt x="510538" y="0"/>
                </a:lnTo>
                <a:lnTo>
                  <a:pt x="942332" y="0"/>
                </a:lnTo>
                <a:lnTo>
                  <a:pt x="1021078" y="0"/>
                </a:lnTo>
                <a:lnTo>
                  <a:pt x="1021078" y="78746"/>
                </a:lnTo>
                <a:lnTo>
                  <a:pt x="1021078" y="1359451"/>
                </a:lnTo>
                <a:lnTo>
                  <a:pt x="1021078" y="1438197"/>
                </a:lnTo>
                <a:lnTo>
                  <a:pt x="942332" y="1438197"/>
                </a:lnTo>
                <a:lnTo>
                  <a:pt x="510538" y="1438197"/>
                </a:lnTo>
                <a:lnTo>
                  <a:pt x="78746" y="1438197"/>
                </a:lnTo>
                <a:cubicBezTo>
                  <a:pt x="35256" y="1438197"/>
                  <a:pt x="0" y="1402941"/>
                  <a:pt x="0" y="1359451"/>
                </a:cubicBezTo>
                <a:lnTo>
                  <a:pt x="0" y="78746"/>
                </a:lnTo>
                <a:cubicBezTo>
                  <a:pt x="0" y="35256"/>
                  <a:pt x="35256" y="0"/>
                  <a:pt x="78746" y="0"/>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Semibold"/>
                <a:ea typeface="Segoe UI" pitchFamily="34" charset="0"/>
                <a:cs typeface="Segoe Sans Text" pitchFamily="2" charset="0"/>
              </a:rPr>
              <a:t>Efficient Delivery</a:t>
            </a:r>
          </a:p>
        </p:txBody>
      </p:sp>
      <p:sp>
        <p:nvSpPr>
          <p:cNvPr id="12" name="TextBox 11">
            <a:extLst>
              <a:ext uri="{FF2B5EF4-FFF2-40B4-BE49-F238E27FC236}">
                <a16:creationId xmlns:a16="http://schemas.microsoft.com/office/drawing/2014/main" id="{C05FF075-BD38-EE94-02A6-252E569AA231}"/>
              </a:ext>
            </a:extLst>
          </p:cNvPr>
          <p:cNvSpPr txBox="1"/>
          <p:nvPr/>
        </p:nvSpPr>
        <p:spPr>
          <a:xfrm>
            <a:off x="7459981" y="4658265"/>
            <a:ext cx="4306684" cy="1169551"/>
          </a:xfrm>
          <a:prstGeom prst="rect">
            <a:avLst/>
          </a:prstGeom>
          <a:noFill/>
          <a:ln>
            <a:noFill/>
          </a:ln>
        </p:spPr>
        <p:txBody>
          <a:bodyPr wrap="square" lIns="0" tIns="0" rIns="0" bIns="0" rtlCol="0" anchor="ctr">
            <a:spAutoFit/>
          </a:bodyPr>
          <a:lstStyle>
            <a:defPPr>
              <a:defRPr lang="en-US"/>
            </a:defPPr>
            <a:lvl1pPr marL="171450" indent="-171450" defTabSz="932742">
              <a:spcBef>
                <a:spcPct val="20000"/>
              </a:spcBef>
              <a:buSzPct val="90000"/>
              <a:buFont typeface="Arial" panose="020B0604020202020204" pitchFamily="34" charset="0"/>
              <a:buChar char="•"/>
              <a:defRPr sz="1200">
                <a:solidFill>
                  <a:srgbClr val="000000"/>
                </a:solidFill>
                <a:latin typeface="Segoe UI"/>
                <a:cs typeface="Segoe UI" panose="020B0502040204020203" pitchFamily="34" charset="0"/>
              </a:defRPr>
            </a:lvl1pPr>
          </a:lstStyle>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Continuity in the Delivery strategy and Tech Maturity model for On-Prem, Aging and select Mature Workloads</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Efficiencies in driving cloud growth across Tech Maturity Model for Major Growth Customers</a:t>
            </a:r>
          </a:p>
          <a:p>
            <a:pPr marL="171450" marR="0" lvl="0" indent="-17145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Accelerate ACR with efficiency by implementing the Delivery order of operations consistently</a:t>
            </a:r>
          </a:p>
        </p:txBody>
      </p:sp>
      <p:grpSp>
        <p:nvGrpSpPr>
          <p:cNvPr id="435" name="Group 434">
            <a:extLst>
              <a:ext uri="{FF2B5EF4-FFF2-40B4-BE49-F238E27FC236}">
                <a16:creationId xmlns:a16="http://schemas.microsoft.com/office/drawing/2014/main" id="{E3261EF8-D5E2-A416-5798-20F1738991BC}"/>
              </a:ext>
              <a:ext uri="{C183D7F6-B498-43B3-948B-1728B52AA6E4}">
                <adec:decorative xmlns:adec="http://schemas.microsoft.com/office/drawing/2017/decorative" val="1"/>
              </a:ext>
            </a:extLst>
          </p:cNvPr>
          <p:cNvGrpSpPr/>
          <p:nvPr/>
        </p:nvGrpSpPr>
        <p:grpSpPr>
          <a:xfrm>
            <a:off x="7456191" y="2705814"/>
            <a:ext cx="4310473" cy="1735999"/>
            <a:chOff x="6301741" y="2705814"/>
            <a:chExt cx="5464924" cy="1735999"/>
          </a:xfrm>
        </p:grpSpPr>
        <p:cxnSp>
          <p:nvCxnSpPr>
            <p:cNvPr id="93" name="Straight Arrow Connector 92">
              <a:extLst>
                <a:ext uri="{FF2B5EF4-FFF2-40B4-BE49-F238E27FC236}">
                  <a16:creationId xmlns:a16="http://schemas.microsoft.com/office/drawing/2014/main" id="{2400FE0D-F353-404E-3B61-F1A4359C49FF}"/>
                </a:ext>
              </a:extLst>
            </p:cNvPr>
            <p:cNvCxnSpPr/>
            <p:nvPr/>
          </p:nvCxnSpPr>
          <p:spPr>
            <a:xfrm>
              <a:off x="6301741" y="2705814"/>
              <a:ext cx="5464924" cy="0"/>
            </a:xfrm>
            <a:prstGeom prst="straightConnector1">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A5DF79B3-6F08-4196-463B-D734889F2676}"/>
                </a:ext>
              </a:extLst>
            </p:cNvPr>
            <p:cNvCxnSpPr/>
            <p:nvPr/>
          </p:nvCxnSpPr>
          <p:spPr>
            <a:xfrm>
              <a:off x="6301741" y="4441813"/>
              <a:ext cx="5464924" cy="0"/>
            </a:xfrm>
            <a:prstGeom prst="straightConnector1">
              <a:avLst/>
            </a:prstGeom>
            <a:ln w="6350">
              <a:solidFill>
                <a:schemeClr val="bg1">
                  <a:lumMod val="8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Rectangle: Rounded Corners 4">
            <a:extLst>
              <a:ext uri="{FF2B5EF4-FFF2-40B4-BE49-F238E27FC236}">
                <a16:creationId xmlns:a16="http://schemas.microsoft.com/office/drawing/2014/main" id="{F56FD9DB-9F11-832C-3E98-19087E80A3B9}"/>
              </a:ext>
              <a:ext uri="{C183D7F6-B498-43B3-948B-1728B52AA6E4}">
                <adec:decorative xmlns:adec="http://schemas.microsoft.com/office/drawing/2017/decorative" val="1"/>
              </a:ext>
            </a:extLst>
          </p:cNvPr>
          <p:cNvSpPr>
            <a:spLocks/>
          </p:cNvSpPr>
          <p:nvPr/>
        </p:nvSpPr>
        <p:spPr bwMode="auto">
          <a:xfrm>
            <a:off x="922018" y="2593168"/>
            <a:ext cx="947447" cy="1019290"/>
          </a:xfrm>
          <a:prstGeom prst="roundRect">
            <a:avLst>
              <a:gd name="adj" fmla="val 1401"/>
            </a:avLst>
          </a:prstGeom>
          <a:solidFill>
            <a:schemeClr val="bg1">
              <a:lumMod val="95000"/>
            </a:schemeClr>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7" name="Rectangle: Rounded Corners 6">
            <a:extLst>
              <a:ext uri="{FF2B5EF4-FFF2-40B4-BE49-F238E27FC236}">
                <a16:creationId xmlns:a16="http://schemas.microsoft.com/office/drawing/2014/main" id="{EB9A84FA-D126-1F5A-1079-EF6D8A98A95C}"/>
              </a:ext>
              <a:ext uri="{C183D7F6-B498-43B3-948B-1728B52AA6E4}">
                <adec:decorative xmlns:adec="http://schemas.microsoft.com/office/drawing/2017/decorative" val="1"/>
              </a:ext>
            </a:extLst>
          </p:cNvPr>
          <p:cNvSpPr>
            <a:spLocks/>
          </p:cNvSpPr>
          <p:nvPr/>
        </p:nvSpPr>
        <p:spPr bwMode="auto">
          <a:xfrm>
            <a:off x="922018" y="3703898"/>
            <a:ext cx="947447" cy="1019290"/>
          </a:xfrm>
          <a:prstGeom prst="roundRect">
            <a:avLst>
              <a:gd name="adj" fmla="val 1401"/>
            </a:avLst>
          </a:prstGeom>
          <a:solidFill>
            <a:schemeClr val="bg1">
              <a:lumMod val="95000"/>
            </a:schemeClr>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8" name="Rectangle: Rounded Corners 7">
            <a:extLst>
              <a:ext uri="{FF2B5EF4-FFF2-40B4-BE49-F238E27FC236}">
                <a16:creationId xmlns:a16="http://schemas.microsoft.com/office/drawing/2014/main" id="{2E842F96-48B6-CD2F-F810-FCBF4865545D}"/>
              </a:ext>
              <a:ext uri="{C183D7F6-B498-43B3-948B-1728B52AA6E4}">
                <adec:decorative xmlns:adec="http://schemas.microsoft.com/office/drawing/2017/decorative" val="1"/>
              </a:ext>
            </a:extLst>
          </p:cNvPr>
          <p:cNvSpPr>
            <a:spLocks/>
          </p:cNvSpPr>
          <p:nvPr/>
        </p:nvSpPr>
        <p:spPr bwMode="auto">
          <a:xfrm>
            <a:off x="922018" y="4814628"/>
            <a:ext cx="947447" cy="1019290"/>
          </a:xfrm>
          <a:prstGeom prst="roundRect">
            <a:avLst>
              <a:gd name="adj" fmla="val 1401"/>
            </a:avLst>
          </a:prstGeom>
          <a:solidFill>
            <a:schemeClr val="bg1">
              <a:lumMod val="95000"/>
            </a:schemeClr>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cxnSp>
        <p:nvCxnSpPr>
          <p:cNvPr id="9" name="Straight Arrow Connector 8">
            <a:extLst>
              <a:ext uri="{FF2B5EF4-FFF2-40B4-BE49-F238E27FC236}">
                <a16:creationId xmlns:a16="http://schemas.microsoft.com/office/drawing/2014/main" id="{20621DCA-C670-C9D3-6AFC-AD39EA877DD4}"/>
              </a:ext>
              <a:ext uri="{C183D7F6-B498-43B3-948B-1728B52AA6E4}">
                <adec:decorative xmlns:adec="http://schemas.microsoft.com/office/drawing/2017/decorative" val="1"/>
              </a:ext>
            </a:extLst>
          </p:cNvPr>
          <p:cNvCxnSpPr>
            <a:cxnSpLocks/>
          </p:cNvCxnSpPr>
          <p:nvPr/>
        </p:nvCxnSpPr>
        <p:spPr>
          <a:xfrm flipV="1">
            <a:off x="922018" y="1430139"/>
            <a:ext cx="4065552" cy="21378"/>
          </a:xfrm>
          <a:prstGeom prst="straightConnector1">
            <a:avLst/>
          </a:prstGeom>
          <a:ln w="12700">
            <a:solidFill>
              <a:schemeClr val="bg1">
                <a:lumMod val="75000"/>
              </a:schemeClr>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FE22908-F05A-D8AD-DF59-F2227FBBF0CF}"/>
              </a:ext>
            </a:extLst>
          </p:cNvPr>
          <p:cNvSpPr/>
          <p:nvPr/>
        </p:nvSpPr>
        <p:spPr>
          <a:xfrm>
            <a:off x="2624936" y="1374573"/>
            <a:ext cx="1422413" cy="153888"/>
          </a:xfrm>
          <a:prstGeom prst="rect">
            <a:avLst/>
          </a:prstGeom>
          <a:solidFill>
            <a:sysClr val="window" lastClr="FFFFFF"/>
          </a:solidFill>
          <a:ln w="12700" cap="flat" cmpd="sng" algn="ctr">
            <a:noFill/>
            <a:prstDash val="solid"/>
            <a:miter lim="800000"/>
          </a:ln>
          <a:effectLst/>
        </p:spPr>
        <p:txBody>
          <a:bodyPr lIns="0" tIns="0" rIns="0" bIns="0" rtlCol="0" anchor="ctr">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000" b="0" i="0" u="none" strike="noStrike" kern="0" cap="none" normalizeH="0" baseline="0" noProof="0">
                <a:ln>
                  <a:noFill/>
                </a:ln>
                <a:solidFill>
                  <a:prstClr val="black"/>
                </a:solidFill>
                <a:effectLst/>
                <a:uLnTx/>
                <a:uFillTx/>
                <a:latin typeface="+mj-lt"/>
              </a:rPr>
              <a:t>Customer Segment</a:t>
            </a:r>
          </a:p>
        </p:txBody>
      </p:sp>
      <p:sp>
        <p:nvSpPr>
          <p:cNvPr id="11" name="TextBox 10">
            <a:extLst>
              <a:ext uri="{FF2B5EF4-FFF2-40B4-BE49-F238E27FC236}">
                <a16:creationId xmlns:a16="http://schemas.microsoft.com/office/drawing/2014/main" id="{F6626325-F644-91D9-AC9B-F74A385C56BB}"/>
              </a:ext>
            </a:extLst>
          </p:cNvPr>
          <p:cNvSpPr txBox="1"/>
          <p:nvPr/>
        </p:nvSpPr>
        <p:spPr>
          <a:xfrm>
            <a:off x="896089" y="1680061"/>
            <a:ext cx="999305" cy="115608"/>
          </a:xfrm>
          <a:prstGeom prst="rect">
            <a:avLst/>
          </a:prstGeom>
          <a:noFill/>
          <a:ln>
            <a:noFill/>
          </a:ln>
        </p:spPr>
        <p:txBody>
          <a:bodyPr wrap="square" lIns="0" tIns="0" rIns="0" bIns="0" rtlCol="0">
            <a:spAutoFit/>
          </a:bodyPr>
          <a:lstStyle/>
          <a:p>
            <a:pPr marL="0" marR="0" lvl="0" indent="0" algn="ctr" defTabSz="914225" rtl="0" eaLnBrk="1" fontAlgn="auto" latinLnBrk="0" hangingPunct="1">
              <a:lnSpc>
                <a:spcPts val="9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mj-lt"/>
                <a:ea typeface="+mn-ea"/>
                <a:cs typeface="Segoe UI Semibold" panose="020B0702040204020203" pitchFamily="34" charset="0"/>
              </a:rPr>
              <a:t>SMC/B</a:t>
            </a:r>
          </a:p>
        </p:txBody>
      </p:sp>
      <p:sp>
        <p:nvSpPr>
          <p:cNvPr id="13" name="TextBox 12">
            <a:extLst>
              <a:ext uri="{FF2B5EF4-FFF2-40B4-BE49-F238E27FC236}">
                <a16:creationId xmlns:a16="http://schemas.microsoft.com/office/drawing/2014/main" id="{916A1164-AB8B-761D-096B-0BBE149C5A1E}"/>
              </a:ext>
            </a:extLst>
          </p:cNvPr>
          <p:cNvSpPr txBox="1"/>
          <p:nvPr/>
        </p:nvSpPr>
        <p:spPr>
          <a:xfrm>
            <a:off x="2486968" y="1653812"/>
            <a:ext cx="2342207" cy="169277"/>
          </a:xfrm>
          <a:prstGeom prst="rect">
            <a:avLst/>
          </a:prstGeom>
          <a:noFill/>
          <a:ln>
            <a:noFill/>
          </a:ln>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mj-lt"/>
                <a:ea typeface="+mn-ea"/>
                <a:cs typeface="Segoe UI Semibold" panose="020B0702040204020203" pitchFamily="34" charset="0"/>
              </a:rPr>
              <a:t>Enterprise &amp; Downstream</a:t>
            </a:r>
          </a:p>
        </p:txBody>
      </p:sp>
      <p:sp>
        <p:nvSpPr>
          <p:cNvPr id="14" name="Arrow: Pentagon 13">
            <a:extLst>
              <a:ext uri="{FF2B5EF4-FFF2-40B4-BE49-F238E27FC236}">
                <a16:creationId xmlns:a16="http://schemas.microsoft.com/office/drawing/2014/main" id="{DC9C5060-15F6-9DFE-EAC5-28FF57EBCD45}"/>
              </a:ext>
            </a:extLst>
          </p:cNvPr>
          <p:cNvSpPr/>
          <p:nvPr/>
        </p:nvSpPr>
        <p:spPr bwMode="auto">
          <a:xfrm rot="16200000">
            <a:off x="-1516133" y="3750793"/>
            <a:ext cx="3914919" cy="273052"/>
          </a:xfrm>
          <a:prstGeom prst="homePlate">
            <a:avLst/>
          </a:prstGeom>
          <a:gradFill>
            <a:gsLst>
              <a:gs pos="0">
                <a:schemeClr val="bg1">
                  <a:lumMod val="85000"/>
                </a:schemeClr>
              </a:gs>
              <a:gs pos="73377">
                <a:srgbClr val="E7E6E6">
                  <a:alpha val="20000"/>
                </a:srgbClr>
              </a:gs>
              <a:gs pos="100000">
                <a:sysClr val="window" lastClr="FFFFFF"/>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a:solidFill>
                  <a:schemeClr val="tx1"/>
                </a:solidFill>
                <a:latin typeface="+mj-lt"/>
                <a:ea typeface="Segoe UI" pitchFamily="34" charset="0"/>
                <a:cs typeface="Segoe Sans Text" pitchFamily="2" charset="0"/>
              </a:rPr>
              <a:t>Tech Maturity Model</a:t>
            </a:r>
          </a:p>
        </p:txBody>
      </p:sp>
      <p:sp>
        <p:nvSpPr>
          <p:cNvPr id="15" name="TextBox 14">
            <a:extLst>
              <a:ext uri="{FF2B5EF4-FFF2-40B4-BE49-F238E27FC236}">
                <a16:creationId xmlns:a16="http://schemas.microsoft.com/office/drawing/2014/main" id="{4AADE2EE-63C2-FCE2-193A-AB3A1BC815A4}"/>
              </a:ext>
            </a:extLst>
          </p:cNvPr>
          <p:cNvSpPr txBox="1"/>
          <p:nvPr/>
        </p:nvSpPr>
        <p:spPr>
          <a:xfrm rot="16200000">
            <a:off x="316519" y="5247330"/>
            <a:ext cx="933493" cy="153888"/>
          </a:xfrm>
          <a:prstGeom prst="rect">
            <a:avLst/>
          </a:prstGeom>
          <a:noFill/>
          <a:ln>
            <a:noFill/>
          </a:ln>
        </p:spPr>
        <p:txBody>
          <a:bodyPr wrap="square" lIns="0" tIns="0" rIns="0" bIns="0" rtlCol="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000" b="0" i="0" u="none" strike="noStrike" kern="0" cap="none" normalizeH="0" baseline="0" noProof="0">
                <a:ln>
                  <a:noFill/>
                </a:ln>
                <a:effectLst/>
                <a:uLnTx/>
                <a:uFillTx/>
              </a:rPr>
              <a:t>On-Prem</a:t>
            </a:r>
          </a:p>
        </p:txBody>
      </p:sp>
      <p:sp>
        <p:nvSpPr>
          <p:cNvPr id="16" name="TextBox 15">
            <a:extLst>
              <a:ext uri="{FF2B5EF4-FFF2-40B4-BE49-F238E27FC236}">
                <a16:creationId xmlns:a16="http://schemas.microsoft.com/office/drawing/2014/main" id="{84C0597C-9109-C5AF-185F-EFC76B725D00}"/>
              </a:ext>
            </a:extLst>
          </p:cNvPr>
          <p:cNvSpPr txBox="1"/>
          <p:nvPr/>
        </p:nvSpPr>
        <p:spPr>
          <a:xfrm rot="16200000">
            <a:off x="291393" y="4188865"/>
            <a:ext cx="983745" cy="153888"/>
          </a:xfrm>
          <a:prstGeom prst="rect">
            <a:avLst/>
          </a:prstGeom>
          <a:noFill/>
          <a:ln>
            <a:noFill/>
          </a:ln>
        </p:spPr>
        <p:txBody>
          <a:bodyPr wrap="square" lIns="0" tIns="0" rIns="0" bIns="0" rtlCol="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000" b="0" i="0" u="none" strike="noStrike" kern="0" cap="none" normalizeH="0" baseline="0" noProof="0">
                <a:ln>
                  <a:noFill/>
                </a:ln>
                <a:effectLst/>
                <a:uLnTx/>
                <a:uFillTx/>
              </a:rPr>
              <a:t>Mature</a:t>
            </a:r>
          </a:p>
        </p:txBody>
      </p:sp>
      <p:sp>
        <p:nvSpPr>
          <p:cNvPr id="17" name="TextBox 16">
            <a:extLst>
              <a:ext uri="{FF2B5EF4-FFF2-40B4-BE49-F238E27FC236}">
                <a16:creationId xmlns:a16="http://schemas.microsoft.com/office/drawing/2014/main" id="{7464C4D2-70AF-91FB-C82C-63EF19E930C7}"/>
              </a:ext>
            </a:extLst>
          </p:cNvPr>
          <p:cNvSpPr txBox="1"/>
          <p:nvPr/>
        </p:nvSpPr>
        <p:spPr>
          <a:xfrm rot="16200000">
            <a:off x="364901" y="3025869"/>
            <a:ext cx="836728" cy="153888"/>
          </a:xfrm>
          <a:prstGeom prst="rect">
            <a:avLst/>
          </a:prstGeom>
          <a:noFill/>
          <a:ln>
            <a:noFill/>
          </a:ln>
        </p:spPr>
        <p:txBody>
          <a:bodyPr wrap="square" lIns="0" tIns="0" rIns="0" bIns="0" rtlCol="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000" b="0" i="0" u="none" strike="noStrike" kern="0" cap="none" normalizeH="0" baseline="0" noProof="0">
                <a:ln>
                  <a:noFill/>
                </a:ln>
                <a:effectLst/>
                <a:uLnTx/>
                <a:uFillTx/>
              </a:rPr>
              <a:t>Growth</a:t>
            </a:r>
          </a:p>
        </p:txBody>
      </p:sp>
      <p:sp>
        <p:nvSpPr>
          <p:cNvPr id="18" name="TextBox 17">
            <a:extLst>
              <a:ext uri="{FF2B5EF4-FFF2-40B4-BE49-F238E27FC236}">
                <a16:creationId xmlns:a16="http://schemas.microsoft.com/office/drawing/2014/main" id="{A390D015-C308-DA62-93ED-E2E7F00E4B4F}"/>
              </a:ext>
            </a:extLst>
          </p:cNvPr>
          <p:cNvSpPr txBox="1"/>
          <p:nvPr/>
        </p:nvSpPr>
        <p:spPr>
          <a:xfrm rot="16200000">
            <a:off x="457902" y="2137285"/>
            <a:ext cx="650726" cy="153888"/>
          </a:xfrm>
          <a:prstGeom prst="rect">
            <a:avLst/>
          </a:prstGeom>
          <a:noFill/>
          <a:ln>
            <a:noFill/>
          </a:ln>
        </p:spPr>
        <p:txBody>
          <a:bodyPr wrap="square" lIns="0" tIns="0" rIns="0" bIns="0" rtlCol="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000" b="0" i="0" u="none" strike="noStrike" kern="0" cap="none" normalizeH="0" baseline="0" noProof="0">
                <a:ln>
                  <a:noFill/>
                </a:ln>
                <a:effectLst/>
                <a:uLnTx/>
                <a:uFillTx/>
              </a:rPr>
              <a:t>Innovate</a:t>
            </a:r>
          </a:p>
        </p:txBody>
      </p:sp>
      <p:sp>
        <p:nvSpPr>
          <p:cNvPr id="19" name="Rectangle: Rounded Corners 18">
            <a:extLst>
              <a:ext uri="{FF2B5EF4-FFF2-40B4-BE49-F238E27FC236}">
                <a16:creationId xmlns:a16="http://schemas.microsoft.com/office/drawing/2014/main" id="{B61CEFF4-660C-AEFD-1BD7-FD8E4C232CE5}"/>
              </a:ext>
              <a:ext uri="{C183D7F6-B498-43B3-948B-1728B52AA6E4}">
                <adec:decorative xmlns:adec="http://schemas.microsoft.com/office/drawing/2017/decorative" val="1"/>
              </a:ext>
            </a:extLst>
          </p:cNvPr>
          <p:cNvSpPr>
            <a:spLocks/>
          </p:cNvSpPr>
          <p:nvPr/>
        </p:nvSpPr>
        <p:spPr bwMode="auto">
          <a:xfrm>
            <a:off x="922019" y="1926730"/>
            <a:ext cx="4065551" cy="574998"/>
          </a:xfrm>
          <a:prstGeom prst="roundRect">
            <a:avLst>
              <a:gd name="adj" fmla="val 1401"/>
            </a:avLst>
          </a:prstGeom>
          <a:solidFill>
            <a:schemeClr val="bg1">
              <a:lumMod val="95000"/>
            </a:schemeClr>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21" name="Rectangle: Rounded Corners 20">
            <a:extLst>
              <a:ext uri="{FF2B5EF4-FFF2-40B4-BE49-F238E27FC236}">
                <a16:creationId xmlns:a16="http://schemas.microsoft.com/office/drawing/2014/main" id="{04E52F02-04BF-3FF8-ECD0-5D62BA4B7E3F}"/>
              </a:ext>
              <a:ext uri="{C183D7F6-B498-43B3-948B-1728B52AA6E4}">
                <adec:decorative xmlns:adec="http://schemas.microsoft.com/office/drawing/2017/decorative" val="1"/>
              </a:ext>
            </a:extLst>
          </p:cNvPr>
          <p:cNvSpPr>
            <a:spLocks/>
          </p:cNvSpPr>
          <p:nvPr/>
        </p:nvSpPr>
        <p:spPr bwMode="auto">
          <a:xfrm>
            <a:off x="1961386" y="2593168"/>
            <a:ext cx="4066032" cy="1019290"/>
          </a:xfrm>
          <a:prstGeom prst="roundRect">
            <a:avLst>
              <a:gd name="adj" fmla="val 1401"/>
            </a:avLst>
          </a:prstGeom>
          <a:solidFill>
            <a:srgbClr val="E8E8E8"/>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22" name="Rectangle: Rounded Corners 21">
            <a:extLst>
              <a:ext uri="{FF2B5EF4-FFF2-40B4-BE49-F238E27FC236}">
                <a16:creationId xmlns:a16="http://schemas.microsoft.com/office/drawing/2014/main" id="{DD8C71E5-B8B7-014A-0BA5-39CB50690305}"/>
              </a:ext>
              <a:ext uri="{C183D7F6-B498-43B3-948B-1728B52AA6E4}">
                <adec:decorative xmlns:adec="http://schemas.microsoft.com/office/drawing/2017/decorative" val="1"/>
              </a:ext>
            </a:extLst>
          </p:cNvPr>
          <p:cNvSpPr>
            <a:spLocks/>
          </p:cNvSpPr>
          <p:nvPr/>
        </p:nvSpPr>
        <p:spPr bwMode="auto">
          <a:xfrm>
            <a:off x="1961386" y="3703898"/>
            <a:ext cx="4066032" cy="1019290"/>
          </a:xfrm>
          <a:prstGeom prst="roundRect">
            <a:avLst>
              <a:gd name="adj" fmla="val 1401"/>
            </a:avLst>
          </a:prstGeom>
          <a:solidFill>
            <a:srgbClr val="E8E8E8"/>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23" name="Rectangle: Rounded Corners 22">
            <a:extLst>
              <a:ext uri="{FF2B5EF4-FFF2-40B4-BE49-F238E27FC236}">
                <a16:creationId xmlns:a16="http://schemas.microsoft.com/office/drawing/2014/main" id="{F105638B-8FC5-8E14-6D8B-4E54CC73142F}"/>
              </a:ext>
              <a:ext uri="{C183D7F6-B498-43B3-948B-1728B52AA6E4}">
                <adec:decorative xmlns:adec="http://schemas.microsoft.com/office/drawing/2017/decorative" val="1"/>
              </a:ext>
            </a:extLst>
          </p:cNvPr>
          <p:cNvSpPr>
            <a:spLocks/>
          </p:cNvSpPr>
          <p:nvPr/>
        </p:nvSpPr>
        <p:spPr bwMode="auto">
          <a:xfrm>
            <a:off x="1961386" y="4814628"/>
            <a:ext cx="4066032" cy="1019290"/>
          </a:xfrm>
          <a:prstGeom prst="roundRect">
            <a:avLst>
              <a:gd name="adj" fmla="val 1401"/>
            </a:avLst>
          </a:prstGeom>
          <a:solidFill>
            <a:srgbClr val="E8E8E8"/>
          </a:solidFill>
          <a:ln w="6350">
            <a:noFill/>
          </a:ln>
        </p:spPr>
        <p:style>
          <a:lnRef idx="2">
            <a:schemeClr val="accent2"/>
          </a:lnRef>
          <a:fillRef idx="1">
            <a:schemeClr val="lt1"/>
          </a:fillRef>
          <a:effectRef idx="0">
            <a:schemeClr val="accent2"/>
          </a:effectRef>
          <a:fontRef idx="minor">
            <a:schemeClr val="dk1"/>
          </a:fontRef>
        </p:style>
        <p:txBody>
          <a:bodyPr lIns="91440" tIns="91440" rIns="91440" bIns="274320" rtlCol="0" anchor="t" anchorCtr="0"/>
          <a:lstStyle/>
          <a:p>
            <a:pPr marL="231775">
              <a:spcAft>
                <a:spcPts val="600"/>
              </a:spcAft>
              <a:buClr>
                <a:srgbClr val="CC0000"/>
              </a:buClr>
              <a:buSzPct val="110000"/>
            </a:pPr>
            <a:endParaRPr lang="en-US" sz="1600" b="1">
              <a:solidFill>
                <a:srgbClr val="001965"/>
              </a:solidFill>
              <a:latin typeface="Segoe Sans Text Semibold"/>
              <a:cs typeface="Arial" panose="020B0604020202020204" pitchFamily="34" charset="0"/>
            </a:endParaRPr>
          </a:p>
        </p:txBody>
      </p:sp>
      <p:sp>
        <p:nvSpPr>
          <p:cNvPr id="24" name="Rectangle: Rounded Corners 23">
            <a:extLst>
              <a:ext uri="{FF2B5EF4-FFF2-40B4-BE49-F238E27FC236}">
                <a16:creationId xmlns:a16="http://schemas.microsoft.com/office/drawing/2014/main" id="{F5CCD750-E6B9-FA2B-DB4D-AAAAEB5D5F2D}"/>
              </a:ext>
              <a:ext uri="{C183D7F6-B498-43B3-948B-1728B52AA6E4}">
                <adec:decorative xmlns:adec="http://schemas.microsoft.com/office/drawing/2017/decorative" val="1"/>
              </a:ext>
            </a:extLst>
          </p:cNvPr>
          <p:cNvSpPr/>
          <p:nvPr/>
        </p:nvSpPr>
        <p:spPr>
          <a:xfrm>
            <a:off x="922021" y="1926730"/>
            <a:ext cx="4066032" cy="572504"/>
          </a:xfrm>
          <a:prstGeom prst="roundRect">
            <a:avLst>
              <a:gd name="adj" fmla="val 0"/>
            </a:avLst>
          </a:prstGeom>
          <a:noFill/>
          <a:ln w="19050" cap="flat" cmpd="sng" algn="ctr">
            <a:solidFill>
              <a:schemeClr val="tx2"/>
            </a:solidFill>
            <a:prstDash val="dash"/>
            <a:miter lim="800000"/>
          </a:ln>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4F410D90-C812-3E27-21FA-61948858235E}"/>
              </a:ext>
            </a:extLst>
          </p:cNvPr>
          <p:cNvSpPr/>
          <p:nvPr/>
        </p:nvSpPr>
        <p:spPr>
          <a:xfrm>
            <a:off x="1080899" y="2051051"/>
            <a:ext cx="3748276" cy="323864"/>
          </a:xfrm>
          <a:prstGeom prst="roundRect">
            <a:avLst>
              <a:gd name="adj" fmla="val 10761"/>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tx2"/>
                </a:solidFill>
                <a:effectLst/>
                <a:uLnTx/>
                <a:uFillTx/>
                <a:latin typeface="+mj-lt"/>
              </a:rPr>
              <a:t>Global Solution Areas*</a:t>
            </a:r>
          </a:p>
        </p:txBody>
      </p:sp>
      <p:sp>
        <p:nvSpPr>
          <p:cNvPr id="26" name="TextBox 25">
            <a:extLst>
              <a:ext uri="{FF2B5EF4-FFF2-40B4-BE49-F238E27FC236}">
                <a16:creationId xmlns:a16="http://schemas.microsoft.com/office/drawing/2014/main" id="{F93BE17C-192F-708B-6400-E603CD06271C}"/>
              </a:ext>
            </a:extLst>
          </p:cNvPr>
          <p:cNvSpPr txBox="1"/>
          <p:nvPr/>
        </p:nvSpPr>
        <p:spPr>
          <a:xfrm>
            <a:off x="304800" y="5946982"/>
            <a:ext cx="47477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a:ln>
                  <a:noFill/>
                </a:ln>
                <a:effectLst/>
                <a:uLnTx/>
                <a:uFillTx/>
                <a:ea typeface="+mn-ea"/>
                <a:cs typeface="+mn-cs"/>
              </a:rPr>
              <a:t>* Global Solution Areas (GSA) = Technical teams in the Core Solution Areas (GCS)</a:t>
            </a:r>
          </a:p>
        </p:txBody>
      </p:sp>
      <p:sp>
        <p:nvSpPr>
          <p:cNvPr id="27" name="Rectangle 26">
            <a:extLst>
              <a:ext uri="{FF2B5EF4-FFF2-40B4-BE49-F238E27FC236}">
                <a16:creationId xmlns:a16="http://schemas.microsoft.com/office/drawing/2014/main" id="{B1254A10-7D4D-B6AB-CA85-03D4FD5F5515}"/>
              </a:ext>
              <a:ext uri="{C183D7F6-B498-43B3-948B-1728B52AA6E4}">
                <adec:decorative xmlns:adec="http://schemas.microsoft.com/office/drawing/2017/decorative" val="1"/>
              </a:ext>
            </a:extLst>
          </p:cNvPr>
          <p:cNvSpPr/>
          <p:nvPr/>
        </p:nvSpPr>
        <p:spPr>
          <a:xfrm>
            <a:off x="5079491" y="1926729"/>
            <a:ext cx="947927" cy="2345057"/>
          </a:xfrm>
          <a:prstGeom prst="rect">
            <a:avLst/>
          </a:prstGeom>
          <a:solidFill>
            <a:srgbClr val="E8E8E8"/>
          </a:solidFill>
          <a:ln w="19050" cap="flat" cmpd="sng" algn="ctr">
            <a:solidFill>
              <a:schemeClr val="bg1">
                <a:lumMod val="50000"/>
              </a:schemeClr>
            </a:solidFill>
            <a:prstDash val="dash"/>
            <a:miter lim="800000"/>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200" b="1" i="0" u="none" strike="noStrike" kern="0" cap="none" normalizeH="0" baseline="0" noProof="0">
              <a:ln>
                <a:noFill/>
              </a:ln>
              <a:solidFill>
                <a:srgbClr val="0E2841">
                  <a:lumMod val="90000"/>
                  <a:lumOff val="10000"/>
                </a:srgbClr>
              </a:solidFill>
              <a:effectLst/>
              <a:uLnTx/>
              <a:uFillTx/>
              <a:latin typeface="Aptos" panose="02110004020202020204"/>
              <a:ea typeface="+mn-ea"/>
              <a:cs typeface="+mn-cs"/>
            </a:endParaRPr>
          </a:p>
        </p:txBody>
      </p:sp>
      <p:sp>
        <p:nvSpPr>
          <p:cNvPr id="29" name="Rectangle: Rounded Corners 28">
            <a:extLst>
              <a:ext uri="{FF2B5EF4-FFF2-40B4-BE49-F238E27FC236}">
                <a16:creationId xmlns:a16="http://schemas.microsoft.com/office/drawing/2014/main" id="{14AE1FE6-5BF5-4E45-B02A-6FD21FF3A921}"/>
              </a:ext>
            </a:extLst>
          </p:cNvPr>
          <p:cNvSpPr/>
          <p:nvPr/>
        </p:nvSpPr>
        <p:spPr>
          <a:xfrm>
            <a:off x="2207750" y="3040830"/>
            <a:ext cx="1547630" cy="786099"/>
          </a:xfrm>
          <a:prstGeom prst="roundRect">
            <a:avLst>
              <a:gd name="adj" fmla="val 6520"/>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accent1"/>
                </a:solidFill>
                <a:effectLst/>
                <a:uLnTx/>
                <a:uFillTx/>
                <a:latin typeface="+mj-lt"/>
              </a:rPr>
              <a:t>Enterprise-Focused, Area Talent to drive cloud growth</a:t>
            </a:r>
          </a:p>
        </p:txBody>
      </p:sp>
      <p:sp>
        <p:nvSpPr>
          <p:cNvPr id="30" name="Rectangle: Rounded Corners 29">
            <a:extLst>
              <a:ext uri="{FF2B5EF4-FFF2-40B4-BE49-F238E27FC236}">
                <a16:creationId xmlns:a16="http://schemas.microsoft.com/office/drawing/2014/main" id="{2A05C5A4-8702-0CA7-AA4A-4D4FEF92C488}"/>
              </a:ext>
              <a:ext uri="{C183D7F6-B498-43B3-948B-1728B52AA6E4}">
                <adec:decorative xmlns:adec="http://schemas.microsoft.com/office/drawing/2017/decorative" val="1"/>
              </a:ext>
            </a:extLst>
          </p:cNvPr>
          <p:cNvSpPr/>
          <p:nvPr/>
        </p:nvSpPr>
        <p:spPr>
          <a:xfrm>
            <a:off x="1961388" y="2593167"/>
            <a:ext cx="3026182" cy="1678619"/>
          </a:xfrm>
          <a:prstGeom prst="roundRect">
            <a:avLst>
              <a:gd name="adj" fmla="val 0"/>
            </a:avLst>
          </a:prstGeom>
          <a:noFill/>
          <a:ln w="19050" cap="flat" cmpd="sng" algn="ctr">
            <a:solidFill>
              <a:schemeClr val="accent1"/>
            </a:solidFill>
            <a:prstDash val="dash"/>
            <a:miter lim="800000"/>
          </a:ln>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prstClr val="white"/>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77F51596-D136-13A4-CFB9-569B67CF8831}"/>
              </a:ext>
            </a:extLst>
          </p:cNvPr>
          <p:cNvSpPr/>
          <p:nvPr/>
        </p:nvSpPr>
        <p:spPr>
          <a:xfrm>
            <a:off x="5176838" y="2309658"/>
            <a:ext cx="758660" cy="1579199"/>
          </a:xfrm>
          <a:prstGeom prst="roundRect">
            <a:avLst>
              <a:gd name="adj" fmla="val 5425"/>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rgbClr val="73262F"/>
                </a:solidFill>
                <a:effectLst/>
                <a:uLnTx/>
                <a:uFillTx/>
                <a:latin typeface="+mj-lt"/>
              </a:rPr>
              <a:t>Mission Critical (</a:t>
            </a:r>
            <a:r>
              <a:rPr kumimoji="0" lang="en-US" sz="1100" b="0" i="0" u="none" strike="noStrike" kern="0" cap="none" normalizeH="0" baseline="0" noProof="0" err="1">
                <a:ln>
                  <a:noFill/>
                </a:ln>
                <a:solidFill>
                  <a:srgbClr val="73262F"/>
                </a:solidFill>
                <a:effectLst/>
                <a:uLnTx/>
                <a:uFillTx/>
                <a:latin typeface="+mj-lt"/>
              </a:rPr>
              <a:t>SfMC</a:t>
            </a:r>
            <a:r>
              <a:rPr kumimoji="0" lang="en-US" sz="1100" b="0" i="0" u="none" strike="noStrike" kern="0" cap="none" normalizeH="0" baseline="0" noProof="0">
                <a:ln>
                  <a:noFill/>
                </a:ln>
                <a:solidFill>
                  <a:srgbClr val="73262F"/>
                </a:solidFill>
                <a:effectLst/>
                <a:uLnTx/>
                <a:uFillTx/>
                <a:latin typeface="+mj-lt"/>
              </a:rPr>
              <a:t>)</a:t>
            </a:r>
          </a:p>
        </p:txBody>
      </p:sp>
      <p:sp>
        <p:nvSpPr>
          <p:cNvPr id="32" name="Rectangle: Rounded Corners 31">
            <a:extLst>
              <a:ext uri="{FF2B5EF4-FFF2-40B4-BE49-F238E27FC236}">
                <a16:creationId xmlns:a16="http://schemas.microsoft.com/office/drawing/2014/main" id="{25BD445F-BB94-EB23-6D26-7A12B1F997EA}"/>
              </a:ext>
              <a:ext uri="{C183D7F6-B498-43B3-948B-1728B52AA6E4}">
                <adec:decorative xmlns:adec="http://schemas.microsoft.com/office/drawing/2017/decorative" val="1"/>
              </a:ext>
            </a:extLst>
          </p:cNvPr>
          <p:cNvSpPr/>
          <p:nvPr/>
        </p:nvSpPr>
        <p:spPr>
          <a:xfrm>
            <a:off x="922019" y="2593166"/>
            <a:ext cx="947927" cy="3240751"/>
          </a:xfrm>
          <a:prstGeom prst="roundRect">
            <a:avLst>
              <a:gd name="adj" fmla="val 0"/>
            </a:avLst>
          </a:prstGeom>
          <a:noFill/>
          <a:ln w="19050" cap="flat" cmpd="sng" algn="ctr">
            <a:solidFill>
              <a:schemeClr val="accent5"/>
            </a:solidFill>
            <a:prstDash val="dash"/>
            <a:miter lim="800000"/>
          </a:ln>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479BE260-015E-02C3-4D8F-CCA40DEB775D}"/>
              </a:ext>
            </a:extLst>
          </p:cNvPr>
          <p:cNvSpPr/>
          <p:nvPr/>
        </p:nvSpPr>
        <p:spPr>
          <a:xfrm>
            <a:off x="2329109" y="4564211"/>
            <a:ext cx="3330587" cy="971265"/>
          </a:xfrm>
          <a:prstGeom prst="roundRect">
            <a:avLst>
              <a:gd name="adj" fmla="val 5611"/>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accent5"/>
                </a:solidFill>
                <a:effectLst/>
                <a:uLnTx/>
                <a:uFillTx/>
                <a:latin typeface="+mj-lt"/>
              </a:rPr>
              <a:t>CSA Global Delivery &amp; Digital</a:t>
            </a:r>
          </a:p>
        </p:txBody>
      </p:sp>
      <p:sp>
        <p:nvSpPr>
          <p:cNvPr id="35" name="Rectangle: Rounded Corners 34">
            <a:extLst>
              <a:ext uri="{FF2B5EF4-FFF2-40B4-BE49-F238E27FC236}">
                <a16:creationId xmlns:a16="http://schemas.microsoft.com/office/drawing/2014/main" id="{8E09966A-C511-6D36-3246-0336A4E7C9B7}"/>
              </a:ext>
              <a:ext uri="{C183D7F6-B498-43B3-948B-1728B52AA6E4}">
                <adec:decorative xmlns:adec="http://schemas.microsoft.com/office/drawing/2017/decorative" val="1"/>
              </a:ext>
            </a:extLst>
          </p:cNvPr>
          <p:cNvSpPr/>
          <p:nvPr/>
        </p:nvSpPr>
        <p:spPr>
          <a:xfrm>
            <a:off x="1960905" y="4362563"/>
            <a:ext cx="4066514" cy="1471355"/>
          </a:xfrm>
          <a:prstGeom prst="roundRect">
            <a:avLst>
              <a:gd name="adj" fmla="val 0"/>
            </a:avLst>
          </a:prstGeom>
          <a:noFill/>
          <a:ln w="19050" cap="flat" cmpd="sng" algn="ctr">
            <a:solidFill>
              <a:schemeClr val="accent4">
                <a:lumMod val="75000"/>
              </a:schemeClr>
            </a:solidFill>
            <a:prstDash val="dash"/>
            <a:miter lim="800000"/>
          </a:ln>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2B8E359B-19EA-488B-086B-E86DBE98D4B9}"/>
              </a:ext>
            </a:extLst>
          </p:cNvPr>
          <p:cNvSpPr/>
          <p:nvPr/>
        </p:nvSpPr>
        <p:spPr>
          <a:xfrm>
            <a:off x="1016652" y="3054986"/>
            <a:ext cx="758660" cy="1579199"/>
          </a:xfrm>
          <a:prstGeom prst="roundRect">
            <a:avLst>
              <a:gd name="adj" fmla="val 7308"/>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accent5"/>
                </a:solidFill>
                <a:effectLst/>
                <a:uLnTx/>
                <a:uFillTx/>
                <a:latin typeface="+mj-lt"/>
              </a:rPr>
              <a:t>SME&amp;C Team</a:t>
            </a:r>
          </a:p>
        </p:txBody>
      </p:sp>
      <p:sp>
        <p:nvSpPr>
          <p:cNvPr id="38" name="TextBox 37">
            <a:extLst>
              <a:ext uri="{FF2B5EF4-FFF2-40B4-BE49-F238E27FC236}">
                <a16:creationId xmlns:a16="http://schemas.microsoft.com/office/drawing/2014/main" id="{C73D4E8F-FC34-C0C8-4B09-235DB577AAB1}"/>
              </a:ext>
            </a:extLst>
          </p:cNvPr>
          <p:cNvSpPr txBox="1"/>
          <p:nvPr/>
        </p:nvSpPr>
        <p:spPr>
          <a:xfrm>
            <a:off x="5052501" y="1564966"/>
            <a:ext cx="999305" cy="230832"/>
          </a:xfrm>
          <a:prstGeom prst="rect">
            <a:avLst/>
          </a:prstGeom>
          <a:noFill/>
          <a:ln>
            <a:noFill/>
          </a:ln>
        </p:spPr>
        <p:txBody>
          <a:bodyPr wrap="square" lIns="0" tIns="0" rIns="0" bIns="0" rtlCol="0">
            <a:spAutoFit/>
          </a:bodyPr>
          <a:lstStyle/>
          <a:p>
            <a:pPr marL="0" marR="0" lvl="0" indent="0" algn="ctr" defTabSz="914225" rtl="0" eaLnBrk="1" fontAlgn="auto" latinLnBrk="0" hangingPunct="1">
              <a:lnSpc>
                <a:spcPts val="9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mj-lt"/>
                <a:ea typeface="+mn-ea"/>
                <a:cs typeface="Segoe UI Semibold" panose="020B0702040204020203" pitchFamily="34" charset="0"/>
              </a:rPr>
              <a:t>Segment Agnostic</a:t>
            </a:r>
          </a:p>
        </p:txBody>
      </p:sp>
      <p:sp>
        <p:nvSpPr>
          <p:cNvPr id="39" name="Rectangle: Rounded Corners 38">
            <a:extLst>
              <a:ext uri="{FF2B5EF4-FFF2-40B4-BE49-F238E27FC236}">
                <a16:creationId xmlns:a16="http://schemas.microsoft.com/office/drawing/2014/main" id="{6DEFDB59-12BF-B63A-6217-EC76646CD33D}"/>
              </a:ext>
            </a:extLst>
          </p:cNvPr>
          <p:cNvSpPr/>
          <p:nvPr/>
        </p:nvSpPr>
        <p:spPr>
          <a:xfrm>
            <a:off x="3892542" y="3040830"/>
            <a:ext cx="872981" cy="786099"/>
          </a:xfrm>
          <a:prstGeom prst="roundRect">
            <a:avLst>
              <a:gd name="adj" fmla="val 6520"/>
            </a:avLst>
          </a:prstGeom>
          <a:solidFill>
            <a:sysClr val="window" lastClr="FFFFFF"/>
          </a:solidFill>
          <a:ln w="3175" cap="flat" cmpd="sng" algn="ctr">
            <a:noFill/>
            <a:prstDash val="solid"/>
            <a:miter lim="800000"/>
          </a:ln>
          <a:effectLst>
            <a:outerShdw blurRad="63500" algn="ctr" rotWithShape="0">
              <a:prstClr val="black">
                <a:alpha val="5000"/>
              </a:prstClr>
            </a:outerShdw>
          </a:effectLst>
        </p:spPr>
        <p:txBody>
          <a:bodyPr rtlCol="0" anchor="ctr"/>
          <a:lstStyle/>
          <a:p>
            <a:pPr marL="0" marR="0" lvl="0" indent="0" algn="ctr" defTabSz="914225" rtl="0" eaLnBrk="1" fontAlgn="auto" latinLnBrk="0" hangingPunct="1">
              <a:spcBef>
                <a:spcPts val="0"/>
              </a:spcBef>
              <a:spcAft>
                <a:spcPts val="0"/>
              </a:spcAft>
              <a:buClrTx/>
              <a:buSzTx/>
              <a:buFontTx/>
              <a:buNone/>
              <a:tabLst/>
              <a:defRPr/>
            </a:pPr>
            <a:r>
              <a:rPr kumimoji="0" lang="en-US" sz="1100" b="0" i="0" u="none" strike="noStrike" kern="0" cap="none" normalizeH="0" baseline="0" noProof="0" err="1">
                <a:ln>
                  <a:noFill/>
                </a:ln>
                <a:solidFill>
                  <a:schemeClr val="accent1"/>
                </a:solidFill>
                <a:effectLst/>
                <a:uLnTx/>
                <a:uFillTx/>
                <a:latin typeface="+mj-lt"/>
              </a:rPr>
              <a:t>iCSU</a:t>
            </a:r>
            <a:endParaRPr kumimoji="0" lang="en-US" sz="1100" b="0" i="0" u="none" strike="noStrike" kern="0" cap="none" normalizeH="0" baseline="0" noProof="0">
              <a:ln>
                <a:noFill/>
              </a:ln>
              <a:solidFill>
                <a:schemeClr val="accent1"/>
              </a:solidFill>
              <a:effectLst/>
              <a:uLnTx/>
              <a:uFillTx/>
              <a:latin typeface="+mj-lt"/>
            </a:endParaRPr>
          </a:p>
        </p:txBody>
      </p:sp>
      <p:grpSp>
        <p:nvGrpSpPr>
          <p:cNvPr id="42" name="Group 41">
            <a:extLst>
              <a:ext uri="{FF2B5EF4-FFF2-40B4-BE49-F238E27FC236}">
                <a16:creationId xmlns:a16="http://schemas.microsoft.com/office/drawing/2014/main" id="{3ACB534B-7375-BACC-8ACF-93CE7F5C2BE0}"/>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43" name="Table 2 Cell 1, 1 to Text">
              <a:extLst>
                <a:ext uri="{FF2B5EF4-FFF2-40B4-BE49-F238E27FC236}">
                  <a16:creationId xmlns:a16="http://schemas.microsoft.com/office/drawing/2014/main" id="{C28F4401-CC4D-492A-3970-A1266FBB8B58}"/>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44" name="Table 2 Cell 2, 1 to Text">
              <a:extLst>
                <a:ext uri="{FF2B5EF4-FFF2-40B4-BE49-F238E27FC236}">
                  <a16:creationId xmlns:a16="http://schemas.microsoft.com/office/drawing/2014/main" id="{3B5B2B0D-480C-3AF8-825F-969F091F3E17}"/>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45" name="Table 2 Cell 3, 1 to Text">
              <a:extLst>
                <a:ext uri="{FF2B5EF4-FFF2-40B4-BE49-F238E27FC236}">
                  <a16:creationId xmlns:a16="http://schemas.microsoft.com/office/drawing/2014/main" id="{19899BBB-4D5A-9730-873F-78E00C2080AE}"/>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46" name="Table 2 Cell 4, 1 to Text">
              <a:extLst>
                <a:ext uri="{FF2B5EF4-FFF2-40B4-BE49-F238E27FC236}">
                  <a16:creationId xmlns:a16="http://schemas.microsoft.com/office/drawing/2014/main" id="{AD89D858-9CA3-8B12-FCC8-121F87A8F166}"/>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7" name="Table 2 Cell 5, 1 to Text">
              <a:extLst>
                <a:ext uri="{FF2B5EF4-FFF2-40B4-BE49-F238E27FC236}">
                  <a16:creationId xmlns:a16="http://schemas.microsoft.com/office/drawing/2014/main" id="{CA0B38E8-42E0-8F1E-DCA4-2AEA0FAA5DE2}"/>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9" name="Table 2 Cell 6, 1 to Text">
              <a:extLst>
                <a:ext uri="{FF2B5EF4-FFF2-40B4-BE49-F238E27FC236}">
                  <a16:creationId xmlns:a16="http://schemas.microsoft.com/office/drawing/2014/main" id="{0BCE3F8F-A11F-C91B-F288-494995ADDFF7}"/>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61" name="Table 2 Cell 7, 1 to Text">
              <a:extLst>
                <a:ext uri="{FF2B5EF4-FFF2-40B4-BE49-F238E27FC236}">
                  <a16:creationId xmlns:a16="http://schemas.microsoft.com/office/drawing/2014/main" id="{5945C8CC-244D-F098-3331-1D02647B99B0}"/>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62" name="Table 2 Cell 1, 2 to Text">
              <a:extLst>
                <a:ext uri="{FF2B5EF4-FFF2-40B4-BE49-F238E27FC236}">
                  <a16:creationId xmlns:a16="http://schemas.microsoft.com/office/drawing/2014/main" id="{E3D3B6EC-A70F-EC7E-2934-86693CC64750}"/>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63" name="Table 2 Cell 1, 3 to Text">
              <a:extLst>
                <a:ext uri="{FF2B5EF4-FFF2-40B4-BE49-F238E27FC236}">
                  <a16:creationId xmlns:a16="http://schemas.microsoft.com/office/drawing/2014/main" id="{D8EDCE17-4848-2886-E7CD-5E784E450B52}"/>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64" name="Table 2 Cell 1, 4 to Text">
              <a:extLst>
                <a:ext uri="{FF2B5EF4-FFF2-40B4-BE49-F238E27FC236}">
                  <a16:creationId xmlns:a16="http://schemas.microsoft.com/office/drawing/2014/main" id="{1D8D5D29-FF6D-B51F-4843-A27A8F01E76B}"/>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3 CSU Delivery Strategy</a:t>
              </a:r>
            </a:p>
          </p:txBody>
        </p:sp>
        <p:sp>
          <p:nvSpPr>
            <p:cNvPr id="65" name="Table 2 Cell 1, 5 to Text">
              <a:extLst>
                <a:ext uri="{FF2B5EF4-FFF2-40B4-BE49-F238E27FC236}">
                  <a16:creationId xmlns:a16="http://schemas.microsoft.com/office/drawing/2014/main" id="{1EEC1E8A-C7B7-87B1-DFED-683F8B95DF0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4 Sales Model &amp; Role Changes</a:t>
              </a:r>
            </a:p>
          </p:txBody>
        </p:sp>
        <p:sp>
          <p:nvSpPr>
            <p:cNvPr id="66" name="Table 2 Cell 1, 6 to Text">
              <a:extLst>
                <a:ext uri="{FF2B5EF4-FFF2-40B4-BE49-F238E27FC236}">
                  <a16:creationId xmlns:a16="http://schemas.microsoft.com/office/drawing/2014/main" id="{0031F620-3846-E7BB-40E1-E9D5B21998BA}"/>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67" name="Table 2 Cell 1, 7 to Text">
              <a:extLst>
                <a:ext uri="{FF2B5EF4-FFF2-40B4-BE49-F238E27FC236}">
                  <a16:creationId xmlns:a16="http://schemas.microsoft.com/office/drawing/2014/main" id="{B3515AB3-A9D8-4F3D-78AB-115FBC2020B2}"/>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68" name="Table 2 Cell 1, 8 to Text">
              <a:extLst>
                <a:ext uri="{FF2B5EF4-FFF2-40B4-BE49-F238E27FC236}">
                  <a16:creationId xmlns:a16="http://schemas.microsoft.com/office/drawing/2014/main" id="{EEF1DFB3-AC02-1CAE-6EFC-7C11DCBCD033}"/>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10434237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07AC8-6967-079D-8308-9DE063454C17}"/>
            </a:ext>
          </a:extLst>
        </p:cNvPr>
        <p:cNvGrpSpPr/>
        <p:nvPr/>
      </p:nvGrpSpPr>
      <p:grpSpPr>
        <a:xfrm>
          <a:off x="0" y="0"/>
          <a:ext cx="0" cy="0"/>
          <a:chOff x="0" y="0"/>
          <a:chExt cx="0" cy="0"/>
        </a:xfrm>
      </p:grpSpPr>
      <p:sp>
        <p:nvSpPr>
          <p:cNvPr id="62" name="Rectangle: Top Corners Rounded 61">
            <a:extLst>
              <a:ext uri="{FF2B5EF4-FFF2-40B4-BE49-F238E27FC236}">
                <a16:creationId xmlns:a16="http://schemas.microsoft.com/office/drawing/2014/main" id="{30A5D315-EA86-F06C-12AB-C0010667BDCB}"/>
              </a:ext>
            </a:extLst>
          </p:cNvPr>
          <p:cNvSpPr/>
          <p:nvPr/>
        </p:nvSpPr>
        <p:spPr bwMode="auto">
          <a:xfrm>
            <a:off x="1051660" y="1821031"/>
            <a:ext cx="4549383" cy="497607"/>
          </a:xfrm>
          <a:prstGeom prst="round2SameRect">
            <a:avLst/>
          </a:prstGeom>
          <a:gradFill flip="none" rotWithShape="1">
            <a:gsLst>
              <a:gs pos="67000">
                <a:srgbClr val="0078D4">
                  <a:lumMod val="30000"/>
                  <a:lumOff val="70000"/>
                </a:srgbClr>
              </a:gs>
              <a:gs pos="0">
                <a:srgbClr val="49C5B1">
                  <a:lumMod val="30000"/>
                  <a:lumOff val="70000"/>
                </a:srgbClr>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horz" wrap="square" lIns="182880" tIns="4572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54142"/>
                </a:solidFill>
                <a:effectLst/>
                <a:uLnTx/>
                <a:uFillTx/>
                <a:latin typeface="Segoe UI Semibold"/>
              </a:rPr>
              <a:t>FY25</a:t>
            </a:r>
          </a:p>
        </p:txBody>
      </p:sp>
      <p:sp>
        <p:nvSpPr>
          <p:cNvPr id="63" name="Rectangle: Top Corners Rounded 62">
            <a:extLst>
              <a:ext uri="{FF2B5EF4-FFF2-40B4-BE49-F238E27FC236}">
                <a16:creationId xmlns:a16="http://schemas.microsoft.com/office/drawing/2014/main" id="{30EE6D9B-61F1-99FC-68A5-3C3C80B4C34B}"/>
              </a:ext>
            </a:extLst>
          </p:cNvPr>
          <p:cNvSpPr/>
          <p:nvPr/>
        </p:nvSpPr>
        <p:spPr bwMode="auto">
          <a:xfrm>
            <a:off x="7065276" y="1822990"/>
            <a:ext cx="4515025" cy="351289"/>
          </a:xfrm>
          <a:prstGeom prst="round2SameRect">
            <a:avLst/>
          </a:prstGeom>
          <a:gradFill flip="none" rotWithShape="1">
            <a:gsLst>
              <a:gs pos="67000">
                <a:srgbClr val="0078D4"/>
              </a:gs>
              <a:gs pos="0">
                <a:srgbClr val="49C5B1"/>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horz" wrap="square" lIns="182880" tIns="4572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rPr>
              <a:t>FY2</a:t>
            </a:r>
            <a:r>
              <a:rPr kumimoji="0" lang="uk-UA" sz="1200" b="0" i="0" u="none" strike="noStrike" kern="0" cap="none" spc="0" normalizeH="0" baseline="0" noProof="0">
                <a:ln>
                  <a:noFill/>
                </a:ln>
                <a:solidFill>
                  <a:srgbClr val="FFFFFF"/>
                </a:solidFill>
                <a:effectLst/>
                <a:uLnTx/>
                <a:uFillTx/>
                <a:latin typeface="Segoe UI Semibold"/>
              </a:rPr>
              <a:t>6</a:t>
            </a: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4" name="Rectangle: Rounded Corners 63">
            <a:extLst>
              <a:ext uri="{FF2B5EF4-FFF2-40B4-BE49-F238E27FC236}">
                <a16:creationId xmlns:a16="http://schemas.microsoft.com/office/drawing/2014/main" id="{C3DB8450-A726-1D6A-02B7-EADBB544E619}"/>
              </a:ext>
            </a:extLst>
          </p:cNvPr>
          <p:cNvSpPr/>
          <p:nvPr/>
        </p:nvSpPr>
        <p:spPr bwMode="auto">
          <a:xfrm>
            <a:off x="1047799" y="2104905"/>
            <a:ext cx="10572573" cy="4417292"/>
          </a:xfrm>
          <a:prstGeom prst="roundRect">
            <a:avLst>
              <a:gd name="adj" fmla="val 2453"/>
            </a:avLst>
          </a:prstGeom>
          <a:solidFill>
            <a:srgbClr val="FFFFFF"/>
          </a:solidFill>
          <a:ln w="19050" cap="flat" cmpd="sng" algn="ctr">
            <a:solidFill>
              <a:srgbClr val="FFFFFF">
                <a:lumMod val="75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Rounded Corners 64">
            <a:extLst>
              <a:ext uri="{FF2B5EF4-FFF2-40B4-BE49-F238E27FC236}">
                <a16:creationId xmlns:a16="http://schemas.microsoft.com/office/drawing/2014/main" id="{1BA03FDD-2DC0-0DB7-7476-8732E2BB3030}"/>
              </a:ext>
            </a:extLst>
          </p:cNvPr>
          <p:cNvSpPr/>
          <p:nvPr/>
        </p:nvSpPr>
        <p:spPr>
          <a:xfrm>
            <a:off x="1185023" y="2565279"/>
            <a:ext cx="1295199" cy="313396"/>
          </a:xfrm>
          <a:prstGeom prst="roundRect">
            <a:avLst/>
          </a:prstGeom>
          <a:noFill/>
          <a:ln w="12700" cap="flat" cmpd="sng" algn="ctr">
            <a:solidFill>
              <a:srgbClr val="0078D4">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igrate &amp; Secure</a:t>
            </a:r>
          </a:p>
        </p:txBody>
      </p:sp>
      <p:sp>
        <p:nvSpPr>
          <p:cNvPr id="66" name="Rectangle: Rounded Corners 65">
            <a:extLst>
              <a:ext uri="{FF2B5EF4-FFF2-40B4-BE49-F238E27FC236}">
                <a16:creationId xmlns:a16="http://schemas.microsoft.com/office/drawing/2014/main" id="{4B2E5643-790D-B7FE-040F-B4B031C3BE81}"/>
              </a:ext>
            </a:extLst>
          </p:cNvPr>
          <p:cNvSpPr/>
          <p:nvPr/>
        </p:nvSpPr>
        <p:spPr>
          <a:xfrm>
            <a:off x="2617445" y="2566407"/>
            <a:ext cx="1369733" cy="316008"/>
          </a:xfrm>
          <a:prstGeom prst="roundRect">
            <a:avLst>
              <a:gd name="adj" fmla="val 11012"/>
            </a:avLst>
          </a:prstGeom>
          <a:noFill/>
          <a:ln w="12700" cap="flat" cmpd="sng" algn="ctr">
            <a:solidFill>
              <a:srgbClr val="8DC8E8">
                <a:lumMod val="75000"/>
              </a:srgbClr>
            </a:solidFill>
            <a:prstDash val="solid"/>
          </a:ln>
          <a:effectLst/>
        </p:spPr>
        <p:txBody>
          <a:bodyPr lIns="0" rIns="0"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Unify Intelligent Data &amp; Analytics Platform            </a:t>
            </a:r>
          </a:p>
        </p:txBody>
      </p:sp>
      <p:sp>
        <p:nvSpPr>
          <p:cNvPr id="68" name="Rectangle: Rounded Corners 67">
            <a:extLst>
              <a:ext uri="{FF2B5EF4-FFF2-40B4-BE49-F238E27FC236}">
                <a16:creationId xmlns:a16="http://schemas.microsoft.com/office/drawing/2014/main" id="{CBD6F34C-BD2D-1507-A214-8825CC576051}"/>
              </a:ext>
            </a:extLst>
          </p:cNvPr>
          <p:cNvSpPr/>
          <p:nvPr/>
        </p:nvSpPr>
        <p:spPr>
          <a:xfrm>
            <a:off x="4124717" y="2935522"/>
            <a:ext cx="1399592" cy="317133"/>
          </a:xfrm>
          <a:prstGeom prst="roundRect">
            <a:avLst/>
          </a:prstGeom>
          <a:noFill/>
          <a:ln w="12700" cap="flat" cmpd="sng" algn="ctr">
            <a:solidFill>
              <a:srgbClr val="49C5B1">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600"/>
              </a:spcAft>
              <a:buClrTx/>
              <a:buSzTx/>
              <a:buFont typeface="+mj-lt"/>
              <a:buNone/>
              <a:tabLst/>
              <a:defRPr/>
            </a:pPr>
            <a:r>
              <a:rPr kumimoji="0" lang="en-US" sz="1000" b="0" i="0" u="none" strike="noStrike" kern="0" cap="none" spc="-3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Innovate with Azure AI Platform </a:t>
            </a:r>
            <a:endParaRPr kumimoji="0" lang="en-US" sz="1000" b="0" i="1" u="none" strike="noStrike" kern="0" cap="none" spc="-3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endParaRPr>
          </a:p>
        </p:txBody>
      </p:sp>
      <p:sp>
        <p:nvSpPr>
          <p:cNvPr id="69" name="Rectangle: Rounded Corners 68">
            <a:extLst>
              <a:ext uri="{FF2B5EF4-FFF2-40B4-BE49-F238E27FC236}">
                <a16:creationId xmlns:a16="http://schemas.microsoft.com/office/drawing/2014/main" id="{E0381224-8654-F232-0A68-1F2B1A6CA33C}"/>
              </a:ext>
            </a:extLst>
          </p:cNvPr>
          <p:cNvSpPr/>
          <p:nvPr/>
        </p:nvSpPr>
        <p:spPr>
          <a:xfrm>
            <a:off x="4130561" y="2565281"/>
            <a:ext cx="1401313" cy="317133"/>
          </a:xfrm>
          <a:prstGeom prst="roundRect">
            <a:avLst/>
          </a:prstGeom>
          <a:noFill/>
          <a:ln w="12700" cap="flat" cmpd="sng" algn="ctr">
            <a:solidFill>
              <a:srgbClr val="49C5B1">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60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Build &amp; Modernize AI Apps</a:t>
            </a:r>
            <a:endParaRPr kumimoji="0" lang="en-US" sz="1000" b="0" i="1"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endParaRPr>
          </a:p>
        </p:txBody>
      </p:sp>
      <p:sp>
        <p:nvSpPr>
          <p:cNvPr id="70" name="Rectangle: Rounded Corners 69">
            <a:extLst>
              <a:ext uri="{FF2B5EF4-FFF2-40B4-BE49-F238E27FC236}">
                <a16:creationId xmlns:a16="http://schemas.microsoft.com/office/drawing/2014/main" id="{DE1D2710-FAF4-7C1D-EA24-AA42289F7E29}"/>
              </a:ext>
            </a:extLst>
          </p:cNvPr>
          <p:cNvSpPr/>
          <p:nvPr/>
        </p:nvSpPr>
        <p:spPr>
          <a:xfrm>
            <a:off x="1185022" y="2939258"/>
            <a:ext cx="1295200" cy="313397"/>
          </a:xfrm>
          <a:prstGeom prst="roundRect">
            <a:avLst/>
          </a:prstGeom>
          <a:noFill/>
          <a:ln w="12700" cap="flat" cmpd="sng" algn="ctr">
            <a:solidFill>
              <a:srgbClr val="0078D4">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igrate SAP</a:t>
            </a:r>
          </a:p>
        </p:txBody>
      </p:sp>
      <p:sp>
        <p:nvSpPr>
          <p:cNvPr id="71" name="Rectangle: Rounded Corners 70">
            <a:extLst>
              <a:ext uri="{FF2B5EF4-FFF2-40B4-BE49-F238E27FC236}">
                <a16:creationId xmlns:a16="http://schemas.microsoft.com/office/drawing/2014/main" id="{A669C5B5-4759-AF11-8C9C-AE95236E1359}"/>
              </a:ext>
            </a:extLst>
          </p:cNvPr>
          <p:cNvSpPr/>
          <p:nvPr/>
        </p:nvSpPr>
        <p:spPr>
          <a:xfrm>
            <a:off x="7207305" y="2572307"/>
            <a:ext cx="1369733" cy="692822"/>
          </a:xfrm>
          <a:prstGeom prst="roundRect">
            <a:avLst>
              <a:gd name="adj" fmla="val 10634"/>
            </a:avLst>
          </a:prstGeom>
          <a:solidFill>
            <a:srgbClr val="2A446F">
              <a:lumMod val="20000"/>
              <a:lumOff val="80000"/>
              <a:alpha val="40000"/>
            </a:srgbClr>
          </a:solidFill>
          <a:ln w="12700" cap="flat" cmpd="sng" algn="ctr">
            <a:solidFill>
              <a:srgbClr val="0078D4">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igrate &amp; Modernize Your Estate</a:t>
            </a:r>
          </a:p>
        </p:txBody>
      </p:sp>
      <p:sp>
        <p:nvSpPr>
          <p:cNvPr id="72" name="Rectangle: Rounded Corners 71">
            <a:extLst>
              <a:ext uri="{FF2B5EF4-FFF2-40B4-BE49-F238E27FC236}">
                <a16:creationId xmlns:a16="http://schemas.microsoft.com/office/drawing/2014/main" id="{DA6D37E9-FF0E-E9F8-DC4D-BBBC834CD763}"/>
              </a:ext>
            </a:extLst>
          </p:cNvPr>
          <p:cNvSpPr/>
          <p:nvPr/>
        </p:nvSpPr>
        <p:spPr>
          <a:xfrm>
            <a:off x="10117877" y="2572307"/>
            <a:ext cx="1369733" cy="692822"/>
          </a:xfrm>
          <a:prstGeom prst="roundRect">
            <a:avLst>
              <a:gd name="adj" fmla="val 11388"/>
            </a:avLst>
          </a:prstGeom>
          <a:solidFill>
            <a:srgbClr val="49C5B1">
              <a:lumMod val="20000"/>
              <a:lumOff val="80000"/>
            </a:srgbClr>
          </a:solidFill>
          <a:ln w="12700" cap="flat" cmpd="sng" algn="ctr">
            <a:solidFill>
              <a:srgbClr val="49C5B1">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ts val="600"/>
              </a:spcAft>
              <a:buClrTx/>
              <a:buSzTx/>
              <a:buFontTx/>
              <a:buNone/>
              <a:tabLst/>
              <a:defRPr/>
            </a:pPr>
            <a:r>
              <a:rPr kumimoji="0" lang="en-US" sz="1000" b="0" i="0" u="none" strike="noStrike" kern="0" cap="none" spc="-3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Innovate with Azure AI Apps and Agents</a:t>
            </a:r>
          </a:p>
        </p:txBody>
      </p:sp>
      <p:sp>
        <p:nvSpPr>
          <p:cNvPr id="73" name="Rectangle: Rounded Corners 72">
            <a:extLst>
              <a:ext uri="{FF2B5EF4-FFF2-40B4-BE49-F238E27FC236}">
                <a16:creationId xmlns:a16="http://schemas.microsoft.com/office/drawing/2014/main" id="{3069DFD6-F0FC-18D6-E06E-07E501B35F8C}"/>
              </a:ext>
            </a:extLst>
          </p:cNvPr>
          <p:cNvSpPr/>
          <p:nvPr/>
        </p:nvSpPr>
        <p:spPr>
          <a:xfrm>
            <a:off x="8671029" y="2572307"/>
            <a:ext cx="1358862" cy="692822"/>
          </a:xfrm>
          <a:prstGeom prst="roundRect">
            <a:avLst>
              <a:gd name="adj" fmla="val 10634"/>
            </a:avLst>
          </a:prstGeom>
          <a:solidFill>
            <a:srgbClr val="8DC8E8">
              <a:lumMod val="20000"/>
              <a:lumOff val="80000"/>
            </a:srgbClr>
          </a:solidFill>
          <a:ln w="12700" cap="flat" cmpd="sng" algn="ctr">
            <a:solidFill>
              <a:srgbClr val="8DC8E8">
                <a:lumMod val="75000"/>
              </a:srgbClr>
            </a:solidFill>
            <a:prstDash val="soli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Unify Your Data Platform</a:t>
            </a:r>
          </a:p>
        </p:txBody>
      </p:sp>
      <p:sp>
        <p:nvSpPr>
          <p:cNvPr id="74" name="TextBox 548">
            <a:extLst>
              <a:ext uri="{FF2B5EF4-FFF2-40B4-BE49-F238E27FC236}">
                <a16:creationId xmlns:a16="http://schemas.microsoft.com/office/drawing/2014/main" id="{BF497B9F-85CD-342F-B451-099A5256FF97}"/>
              </a:ext>
            </a:extLst>
          </p:cNvPr>
          <p:cNvSpPr txBox="1"/>
          <p:nvPr/>
        </p:nvSpPr>
        <p:spPr>
          <a:xfrm>
            <a:off x="1174453" y="3562609"/>
            <a:ext cx="1490151" cy="248338"/>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1000">
                <a:solidFill>
                  <a:srgbClr val="000000"/>
                </a:solidFill>
                <a:latin typeface="Segoe UI"/>
                <a:cs typeface="Segoe UI Semibold" panose="020B0702040204020203" pitchFamily="34" charset="0"/>
              </a:rPr>
              <a:t>CIO, CISO, CTO</a:t>
            </a:r>
          </a:p>
        </p:txBody>
      </p:sp>
      <p:sp>
        <p:nvSpPr>
          <p:cNvPr id="75" name="TextBox 549">
            <a:extLst>
              <a:ext uri="{FF2B5EF4-FFF2-40B4-BE49-F238E27FC236}">
                <a16:creationId xmlns:a16="http://schemas.microsoft.com/office/drawing/2014/main" id="{6004F023-FE22-5553-D0AA-7DBCBD4A55BB}"/>
              </a:ext>
            </a:extLst>
          </p:cNvPr>
          <p:cNvSpPr txBox="1"/>
          <p:nvPr/>
        </p:nvSpPr>
        <p:spPr>
          <a:xfrm>
            <a:off x="2669612" y="3549597"/>
            <a:ext cx="1369732" cy="248338"/>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1000">
                <a:solidFill>
                  <a:srgbClr val="000000"/>
                </a:solidFill>
                <a:latin typeface="Segoe UI"/>
                <a:cs typeface="Segoe UI Semibold" panose="020B0702040204020203" pitchFamily="34" charset="0"/>
              </a:rPr>
              <a:t>CDO   CIO, CFO</a:t>
            </a:r>
          </a:p>
        </p:txBody>
      </p:sp>
      <p:sp>
        <p:nvSpPr>
          <p:cNvPr id="76" name="TextBox 550">
            <a:extLst>
              <a:ext uri="{FF2B5EF4-FFF2-40B4-BE49-F238E27FC236}">
                <a16:creationId xmlns:a16="http://schemas.microsoft.com/office/drawing/2014/main" id="{EAE11323-4703-6F23-5BFF-89D8D30A3709}"/>
              </a:ext>
            </a:extLst>
          </p:cNvPr>
          <p:cNvSpPr txBox="1"/>
          <p:nvPr/>
        </p:nvSpPr>
        <p:spPr>
          <a:xfrm>
            <a:off x="3782477" y="3561468"/>
            <a:ext cx="2001477" cy="248338"/>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1000">
                <a:solidFill>
                  <a:srgbClr val="000000"/>
                </a:solidFill>
                <a:latin typeface="Segoe UI"/>
                <a:cs typeface="Segoe UI Semibold" panose="020B0702040204020203" pitchFamily="34" charset="0"/>
              </a:rPr>
              <a:t>CAIO   CxO, Dev, BDM</a:t>
            </a:r>
          </a:p>
        </p:txBody>
      </p:sp>
      <p:sp>
        <p:nvSpPr>
          <p:cNvPr id="77" name="TextBox 551">
            <a:extLst>
              <a:ext uri="{FF2B5EF4-FFF2-40B4-BE49-F238E27FC236}">
                <a16:creationId xmlns:a16="http://schemas.microsoft.com/office/drawing/2014/main" id="{E799D486-2320-B133-320B-8B2F086277E2}"/>
              </a:ext>
            </a:extLst>
          </p:cNvPr>
          <p:cNvSpPr txBox="1"/>
          <p:nvPr/>
        </p:nvSpPr>
        <p:spPr>
          <a:xfrm>
            <a:off x="7079620" y="3554504"/>
            <a:ext cx="1597689" cy="232756"/>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900">
                <a:solidFill>
                  <a:srgbClr val="000000"/>
                </a:solidFill>
                <a:latin typeface="Segoe UI"/>
                <a:cs typeface="Segoe UI Semibold" panose="020B0702040204020203" pitchFamily="34" charset="0"/>
              </a:rPr>
              <a:t>CIO, CISO, CTO</a:t>
            </a:r>
          </a:p>
        </p:txBody>
      </p:sp>
      <p:sp>
        <p:nvSpPr>
          <p:cNvPr id="78" name="TextBox 552">
            <a:extLst>
              <a:ext uri="{FF2B5EF4-FFF2-40B4-BE49-F238E27FC236}">
                <a16:creationId xmlns:a16="http://schemas.microsoft.com/office/drawing/2014/main" id="{21F486F4-3538-1738-80C7-A00563C7A86E}"/>
              </a:ext>
            </a:extLst>
          </p:cNvPr>
          <p:cNvSpPr txBox="1"/>
          <p:nvPr/>
        </p:nvSpPr>
        <p:spPr>
          <a:xfrm>
            <a:off x="8553043" y="3571515"/>
            <a:ext cx="1647070" cy="232756"/>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900">
                <a:solidFill>
                  <a:srgbClr val="000000"/>
                </a:solidFill>
                <a:latin typeface="Segoe UI"/>
                <a:cs typeface="Segoe UI Semibold" panose="020B0702040204020203" pitchFamily="34" charset="0"/>
              </a:rPr>
              <a:t>CDO   CIO, CFO</a:t>
            </a:r>
          </a:p>
        </p:txBody>
      </p:sp>
      <p:sp>
        <p:nvSpPr>
          <p:cNvPr id="79" name="TextBox 553">
            <a:extLst>
              <a:ext uri="{FF2B5EF4-FFF2-40B4-BE49-F238E27FC236}">
                <a16:creationId xmlns:a16="http://schemas.microsoft.com/office/drawing/2014/main" id="{FB1A626E-63BF-5604-3DE1-41B0FB2C18CD}"/>
              </a:ext>
            </a:extLst>
          </p:cNvPr>
          <p:cNvSpPr txBox="1"/>
          <p:nvPr/>
        </p:nvSpPr>
        <p:spPr>
          <a:xfrm>
            <a:off x="10017225" y="3571116"/>
            <a:ext cx="1571036" cy="232756"/>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lnSpc>
                <a:spcPct val="110000"/>
              </a:lnSpc>
              <a:spcAft>
                <a:spcPts val="200"/>
              </a:spcAft>
              <a:defRPr/>
            </a:pPr>
            <a:r>
              <a:rPr lang="en-US" sz="900">
                <a:solidFill>
                  <a:srgbClr val="000000"/>
                </a:solidFill>
                <a:latin typeface="Segoe UI"/>
                <a:cs typeface="Segoe UI Semibold" panose="020B0702040204020203" pitchFamily="34" charset="0"/>
              </a:rPr>
              <a:t>CAIO   </a:t>
            </a:r>
            <a:r>
              <a:rPr lang="en-US" sz="900" err="1">
                <a:solidFill>
                  <a:srgbClr val="000000"/>
                </a:solidFill>
                <a:latin typeface="Segoe UI"/>
                <a:cs typeface="Segoe UI Semibold" panose="020B0702040204020203" pitchFamily="34" charset="0"/>
              </a:rPr>
              <a:t>CxO</a:t>
            </a:r>
            <a:r>
              <a:rPr lang="en-US" sz="900">
                <a:solidFill>
                  <a:srgbClr val="000000"/>
                </a:solidFill>
                <a:latin typeface="Segoe UI"/>
                <a:cs typeface="Segoe UI Semibold" panose="020B0702040204020203" pitchFamily="34" charset="0"/>
              </a:rPr>
              <a:t>, Dev, BDM</a:t>
            </a:r>
          </a:p>
        </p:txBody>
      </p:sp>
      <p:sp>
        <p:nvSpPr>
          <p:cNvPr id="80" name="Rectangle: Rounded Corners 79">
            <a:extLst>
              <a:ext uri="{FF2B5EF4-FFF2-40B4-BE49-F238E27FC236}">
                <a16:creationId xmlns:a16="http://schemas.microsoft.com/office/drawing/2014/main" id="{3AC91915-7350-9CA1-A6D8-CE0AD1F63ED4}"/>
              </a:ext>
            </a:extLst>
          </p:cNvPr>
          <p:cNvSpPr/>
          <p:nvPr/>
        </p:nvSpPr>
        <p:spPr bwMode="auto">
          <a:xfrm>
            <a:off x="7130789" y="5011254"/>
            <a:ext cx="4345949" cy="342328"/>
          </a:xfrm>
          <a:prstGeom prst="roundRect">
            <a:avLst>
              <a:gd name="adj" fmla="val 9007"/>
            </a:avLst>
          </a:prstGeom>
          <a:solidFill>
            <a:srgbClr val="FFFFFF"/>
          </a:solidFill>
          <a:ln w="9525" cap="rnd" cmpd="sng" algn="ctr">
            <a:solidFill>
              <a:srgbClr val="D9D9D6"/>
            </a:solidFill>
            <a:prstDash val="solid"/>
            <a:headEnd type="none" w="lg" len="med"/>
            <a:tailEnd type="none" w="lg" len="sm"/>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TextBox 555">
            <a:extLst>
              <a:ext uri="{FF2B5EF4-FFF2-40B4-BE49-F238E27FC236}">
                <a16:creationId xmlns:a16="http://schemas.microsoft.com/office/drawing/2014/main" id="{3F4C7D4B-2D9F-3E67-EC77-F2B0EC5DF16E}"/>
              </a:ext>
            </a:extLst>
          </p:cNvPr>
          <p:cNvSpPr txBox="1"/>
          <p:nvPr/>
        </p:nvSpPr>
        <p:spPr>
          <a:xfrm>
            <a:off x="8127289" y="4887772"/>
            <a:ext cx="1708229" cy="232756"/>
          </a:xfrm>
          <a:prstGeom prst="rect">
            <a:avLst/>
          </a:prstGeom>
          <a:solidFill>
            <a:srgbClr val="FFFFFF"/>
          </a:solid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10000"/>
              </a:lnSpc>
              <a:spcBef>
                <a:spcPts val="0"/>
              </a:spcBef>
              <a:spcAft>
                <a:spcPts val="200"/>
              </a:spcAft>
              <a:buClrTx/>
              <a:buSzTx/>
              <a:buFontTx/>
              <a:buNone/>
              <a:tabLst/>
              <a:defRPr/>
            </a:pPr>
            <a:r>
              <a:rPr kumimoji="0" lang="en-US" sz="900" b="0" i="0" u="none" strike="noStrike" kern="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Solution Engineer Pod Model</a:t>
            </a:r>
          </a:p>
        </p:txBody>
      </p:sp>
      <p:sp>
        <p:nvSpPr>
          <p:cNvPr id="82" name="TextBox 556">
            <a:extLst>
              <a:ext uri="{FF2B5EF4-FFF2-40B4-BE49-F238E27FC236}">
                <a16:creationId xmlns:a16="http://schemas.microsoft.com/office/drawing/2014/main" id="{E68F7E35-CC99-4F1B-8628-E2BEFB77C810}"/>
              </a:ext>
            </a:extLst>
          </p:cNvPr>
          <p:cNvSpPr txBox="1"/>
          <p:nvPr/>
        </p:nvSpPr>
        <p:spPr>
          <a:xfrm>
            <a:off x="838835" y="996742"/>
            <a:ext cx="10561847" cy="807465"/>
          </a:xfrm>
          <a:prstGeom prst="rect">
            <a:avLst/>
          </a:prstGeom>
          <a:noFill/>
        </p:spPr>
        <p:txBody>
          <a:bodyPr wrap="square" lIns="0" tIns="45720" rIns="91440" bIns="45720" rtlCol="0" anchor="t">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115888" indent="-115888" defTabSz="847210">
              <a:lnSpc>
                <a:spcPct val="110000"/>
              </a:lnSpc>
              <a:spcAft>
                <a:spcPts val="200"/>
              </a:spcAft>
              <a:buFont typeface="Arial" panose="020B0604020202020204" pitchFamily="34" charset="0"/>
              <a:buChar char="•"/>
              <a:defRPr/>
            </a:pPr>
            <a:r>
              <a:rPr lang="en-US" sz="1000">
                <a:ln w="3175">
                  <a:noFill/>
                </a:ln>
                <a:solidFill>
                  <a:srgbClr val="49C5B1">
                    <a:lumMod val="75000"/>
                  </a:srgbClr>
                </a:solidFill>
                <a:latin typeface="Segoe UI Semibold"/>
                <a:cs typeface="Segoe UI Semibold" panose="020B0702040204020203" pitchFamily="34" charset="0"/>
              </a:rPr>
              <a:t>Specialist</a:t>
            </a:r>
            <a:r>
              <a:rPr lang="en-US" sz="1000">
                <a:ln w="3175">
                  <a:noFill/>
                </a:ln>
                <a:solidFill>
                  <a:srgbClr val="49C5B1">
                    <a:lumMod val="75000"/>
                  </a:srgbClr>
                </a:solidFill>
                <a:latin typeface="Segoe UI Semibold"/>
                <a:cs typeface="Segoe UI Semilight" panose="020B0402040204020203" pitchFamily="34" charset="0"/>
              </a:rPr>
              <a:t>: </a:t>
            </a:r>
            <a:r>
              <a:rPr lang="en-US" sz="1000">
                <a:ln w="3175">
                  <a:noFill/>
                </a:ln>
                <a:solidFill>
                  <a:prstClr val="black"/>
                </a:solidFill>
                <a:latin typeface="Segoe UI"/>
                <a:cs typeface="Segoe UI Semilight" panose="020B0402040204020203" pitchFamily="34" charset="0"/>
              </a:rPr>
              <a:t>Single Azure seller aligned to AEs, 1:1 Specialist-Territory in Enterprise</a:t>
            </a:r>
          </a:p>
          <a:p>
            <a:pPr marL="115888" indent="-115888" defTabSz="847210">
              <a:lnSpc>
                <a:spcPct val="110000"/>
              </a:lnSpc>
              <a:spcAft>
                <a:spcPts val="200"/>
              </a:spcAft>
              <a:buFont typeface="Arial" panose="020B0604020202020204" pitchFamily="34" charset="0"/>
              <a:buChar char="•"/>
              <a:defRPr/>
            </a:pPr>
            <a:r>
              <a:rPr lang="en-US" sz="1000">
                <a:ln w="3175">
                  <a:noFill/>
                </a:ln>
                <a:solidFill>
                  <a:srgbClr val="0078D4"/>
                </a:solidFill>
                <a:latin typeface="Segoe UI Semibold"/>
                <a:cs typeface="Segoe UI Semibold" panose="020B0702040204020203" pitchFamily="34" charset="0"/>
              </a:rPr>
              <a:t>Solution Engineer (SE): </a:t>
            </a:r>
            <a:r>
              <a:rPr lang="en-US" sz="1000">
                <a:ln w="3175">
                  <a:noFill/>
                </a:ln>
                <a:solidFill>
                  <a:prstClr val="black"/>
                </a:solidFill>
                <a:latin typeface="Segoe UI"/>
                <a:cs typeface="Segoe UI Semilight" panose="020B0402040204020203" pitchFamily="34" charset="0"/>
              </a:rPr>
              <a:t>SE roles designated by Infra, Data, AI Apps, Software (territory level); with increased density of coverage on Accelerate accounts </a:t>
            </a:r>
          </a:p>
          <a:p>
            <a:pPr marL="115888" indent="-115888" defTabSz="847210">
              <a:lnSpc>
                <a:spcPct val="110000"/>
              </a:lnSpc>
              <a:spcAft>
                <a:spcPts val="200"/>
              </a:spcAft>
              <a:buFont typeface="Arial" panose="020B0604020202020204" pitchFamily="34" charset="0"/>
              <a:buChar char="•"/>
              <a:defRPr/>
            </a:pPr>
            <a:r>
              <a:rPr lang="en-US" sz="1000" spc="-30">
                <a:ln w="3175">
                  <a:noFill/>
                </a:ln>
                <a:solidFill>
                  <a:srgbClr val="FFFFFF">
                    <a:lumMod val="50000"/>
                  </a:srgbClr>
                </a:solidFill>
                <a:latin typeface="Segoe UI Semibold"/>
                <a:cs typeface="Segoe UI Semibold" panose="020B0702040204020203" pitchFamily="34" charset="0"/>
              </a:rPr>
              <a:t>Cloud Solutions Architect (CSA): </a:t>
            </a:r>
            <a:r>
              <a:rPr lang="en-US" sz="1000" spc="-30">
                <a:ln w="3175">
                  <a:noFill/>
                </a:ln>
                <a:solidFill>
                  <a:prstClr val="black"/>
                </a:solidFill>
                <a:latin typeface="Segoe UI"/>
                <a:cs typeface="Segoe UI Semilight" panose="020B0402040204020203" pitchFamily="34" charset="0"/>
              </a:rPr>
              <a:t>CSA role alignment to SE, designated by Infra, Data and AI Apps. Increased CSU coverage on Non-Accelerate accounts – aligned to Unified and MACC </a:t>
            </a:r>
            <a:r>
              <a:rPr lang="en-US" sz="1000">
                <a:ln w="3175">
                  <a:noFill/>
                </a:ln>
                <a:solidFill>
                  <a:prstClr val="black"/>
                </a:solidFill>
                <a:latin typeface="Segoe UI"/>
                <a:cs typeface="Segoe UI Semilight" panose="020B0402040204020203" pitchFamily="34" charset="0"/>
              </a:rPr>
              <a:t>penetration. *Cloud &amp; AI CSA pinned to prioritized Classic accounts for MACC and Unified health.</a:t>
            </a:r>
            <a:endParaRPr lang="en-GB" sz="1000">
              <a:solidFill>
                <a:prstClr val="black"/>
              </a:solidFill>
              <a:latin typeface="Segoe UI"/>
              <a:cs typeface="Segoe UI Semilight" panose="020B0402040204020203" pitchFamily="34" charset="0"/>
            </a:endParaRPr>
          </a:p>
        </p:txBody>
      </p:sp>
      <p:cxnSp>
        <p:nvCxnSpPr>
          <p:cNvPr id="83" name="Straight Connector 82">
            <a:extLst>
              <a:ext uri="{FF2B5EF4-FFF2-40B4-BE49-F238E27FC236}">
                <a16:creationId xmlns:a16="http://schemas.microsoft.com/office/drawing/2014/main" id="{4DF5736F-EE60-EF4D-6186-539E47EF9C17}"/>
              </a:ext>
            </a:extLst>
          </p:cNvPr>
          <p:cNvCxnSpPr>
            <a:cxnSpLocks/>
          </p:cNvCxnSpPr>
          <p:nvPr/>
        </p:nvCxnSpPr>
        <p:spPr>
          <a:xfrm flipV="1">
            <a:off x="1051660" y="2441038"/>
            <a:ext cx="4542930" cy="6697"/>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84" name="TextBox 558">
            <a:extLst>
              <a:ext uri="{FF2B5EF4-FFF2-40B4-BE49-F238E27FC236}">
                <a16:creationId xmlns:a16="http://schemas.microsoft.com/office/drawing/2014/main" id="{8676FBC8-E39C-6EF1-B717-8520220F219D}"/>
              </a:ext>
            </a:extLst>
          </p:cNvPr>
          <p:cNvSpPr txBox="1"/>
          <p:nvPr/>
        </p:nvSpPr>
        <p:spPr>
          <a:xfrm>
            <a:off x="942472" y="2168244"/>
            <a:ext cx="4794642" cy="254374"/>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r>
              <a:rPr lang="en-GB" sz="1000">
                <a:solidFill>
                  <a:srgbClr val="FFFFFF">
                    <a:lumMod val="50000"/>
                  </a:srgbClr>
                </a:solidFill>
                <a:latin typeface="Segoe UI Semibold" panose="020B0702040204020203" pitchFamily="34" charset="0"/>
                <a:cs typeface="Segoe UI Semibold" panose="020B0702040204020203" pitchFamily="34" charset="0"/>
              </a:rPr>
              <a:t>4 Specialists</a:t>
            </a:r>
            <a:r>
              <a:rPr lang="en-GB" sz="1000">
                <a:solidFill>
                  <a:srgbClr val="FFFFFF">
                    <a:lumMod val="50000"/>
                  </a:srgbClr>
                </a:solidFill>
                <a:latin typeface="Segoe UI"/>
                <a:cs typeface="Segoe UI Semibold" panose="020B0702040204020203" pitchFamily="34" charset="0"/>
              </a:rPr>
              <a:t>  •  </a:t>
            </a:r>
            <a:r>
              <a:rPr lang="en-GB" sz="1000">
                <a:solidFill>
                  <a:srgbClr val="FFFFFF">
                    <a:lumMod val="50000"/>
                  </a:srgbClr>
                </a:solidFill>
                <a:latin typeface="Segoe UI Semibold" panose="020B0702040204020203" pitchFamily="34" charset="0"/>
                <a:cs typeface="Segoe UI Semibold" panose="020B0702040204020203" pitchFamily="34" charset="0"/>
              </a:rPr>
              <a:t>4 Tech. Specialists (TS)</a:t>
            </a:r>
            <a:r>
              <a:rPr lang="en-GB" sz="1000">
                <a:solidFill>
                  <a:srgbClr val="FFFFFF">
                    <a:lumMod val="50000"/>
                  </a:srgbClr>
                </a:solidFill>
                <a:latin typeface="Segoe UI"/>
                <a:cs typeface="Segoe UI Semibold" panose="020B0702040204020203" pitchFamily="34" charset="0"/>
              </a:rPr>
              <a:t>  •  </a:t>
            </a:r>
            <a:r>
              <a:rPr lang="en-GB" sz="1000">
                <a:solidFill>
                  <a:srgbClr val="FFFFFF">
                    <a:lumMod val="50000"/>
                  </a:srgbClr>
                </a:solidFill>
                <a:latin typeface="Segoe UI Semibold" panose="020B0702040204020203" pitchFamily="34" charset="0"/>
                <a:cs typeface="Segoe UI Semibold" panose="020B0702040204020203" pitchFamily="34" charset="0"/>
              </a:rPr>
              <a:t>6 Cloud Solution Architects (CSAs) </a:t>
            </a:r>
            <a:endParaRPr lang="en-US" sz="1000">
              <a:solidFill>
                <a:srgbClr val="FFFFFF">
                  <a:lumMod val="50000"/>
                </a:srgbClr>
              </a:solidFill>
              <a:latin typeface="Segoe UI"/>
            </a:endParaRPr>
          </a:p>
        </p:txBody>
      </p:sp>
      <p:sp>
        <p:nvSpPr>
          <p:cNvPr id="85" name="TextBox 559">
            <a:extLst>
              <a:ext uri="{FF2B5EF4-FFF2-40B4-BE49-F238E27FC236}">
                <a16:creationId xmlns:a16="http://schemas.microsoft.com/office/drawing/2014/main" id="{F2BA2DAF-9B40-6BD1-7C3C-E914E31EB617}"/>
              </a:ext>
            </a:extLst>
          </p:cNvPr>
          <p:cNvSpPr txBox="1"/>
          <p:nvPr/>
        </p:nvSpPr>
        <p:spPr>
          <a:xfrm>
            <a:off x="6905396" y="2165629"/>
            <a:ext cx="4810783" cy="246221"/>
          </a:xfrm>
          <a:prstGeom prst="rect">
            <a:avLst/>
          </a:prstGeom>
          <a:noFill/>
        </p:spPr>
        <p:txBody>
          <a:bodyPr wrap="square">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algn="ctr"/>
            <a:r>
              <a:rPr lang="en-GB" sz="1000">
                <a:solidFill>
                  <a:srgbClr val="0070C0"/>
                </a:solidFill>
                <a:latin typeface="Segoe UI Semibold" panose="020B0702040204020203" pitchFamily="34" charset="0"/>
                <a:cs typeface="Segoe UI Semibold" panose="020B0702040204020203" pitchFamily="34" charset="0"/>
              </a:rPr>
              <a:t>1 Specialist </a:t>
            </a:r>
            <a:r>
              <a:rPr lang="en-GB" sz="1000">
                <a:solidFill>
                  <a:srgbClr val="0070C0"/>
                </a:solidFill>
                <a:latin typeface="Segoe UI"/>
                <a:cs typeface="Segoe UI Semibold" panose="020B0702040204020203" pitchFamily="34" charset="0"/>
              </a:rPr>
              <a:t> •  </a:t>
            </a:r>
            <a:r>
              <a:rPr lang="en-GB" sz="1000">
                <a:solidFill>
                  <a:srgbClr val="0070C0"/>
                </a:solidFill>
                <a:latin typeface="Segoe UI Semibold" panose="020B0702040204020203" pitchFamily="34" charset="0"/>
                <a:cs typeface="Segoe UI Semibold" panose="020B0702040204020203" pitchFamily="34" charset="0"/>
              </a:rPr>
              <a:t>4 Solution Engineers </a:t>
            </a:r>
            <a:r>
              <a:rPr lang="en-GB" sz="1000">
                <a:solidFill>
                  <a:srgbClr val="0070C0"/>
                </a:solidFill>
                <a:latin typeface="Segoe UI"/>
                <a:cs typeface="Segoe UI Semibold" panose="020B0702040204020203" pitchFamily="34" charset="0"/>
              </a:rPr>
              <a:t> •  </a:t>
            </a:r>
            <a:r>
              <a:rPr lang="en-GB" sz="1000">
                <a:solidFill>
                  <a:srgbClr val="0070C0"/>
                </a:solidFill>
                <a:latin typeface="Segoe UI Semibold" panose="020B0702040204020203" pitchFamily="34" charset="0"/>
                <a:cs typeface="Segoe UI Semibold" panose="020B0702040204020203" pitchFamily="34" charset="0"/>
              </a:rPr>
              <a:t>3 Cloud Solution Architects (CSAs)</a:t>
            </a:r>
            <a:endParaRPr lang="en-US" sz="1000">
              <a:solidFill>
                <a:srgbClr val="0070C0"/>
              </a:solidFill>
              <a:latin typeface="Segoe UI"/>
            </a:endParaRPr>
          </a:p>
        </p:txBody>
      </p:sp>
      <p:sp>
        <p:nvSpPr>
          <p:cNvPr id="86" name="Rectangle: Rounded Corners 85">
            <a:extLst>
              <a:ext uri="{FF2B5EF4-FFF2-40B4-BE49-F238E27FC236}">
                <a16:creationId xmlns:a16="http://schemas.microsoft.com/office/drawing/2014/main" id="{7C3C6218-BDF4-EBBF-879E-BD37A534CAC7}"/>
              </a:ext>
            </a:extLst>
          </p:cNvPr>
          <p:cNvSpPr/>
          <p:nvPr/>
        </p:nvSpPr>
        <p:spPr bwMode="auto">
          <a:xfrm>
            <a:off x="512591" y="927177"/>
            <a:ext cx="11120482" cy="841970"/>
          </a:xfrm>
          <a:prstGeom prst="roundRect">
            <a:avLst>
              <a:gd name="adj" fmla="val 9730"/>
            </a:avLst>
          </a:prstGeom>
          <a:noFill/>
          <a:ln w="12700" cap="flat" cmpd="sng" algn="ctr">
            <a:solidFill>
              <a:srgbClr val="FFFFFF">
                <a:lumMod val="85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TextBox 561">
            <a:extLst>
              <a:ext uri="{FF2B5EF4-FFF2-40B4-BE49-F238E27FC236}">
                <a16:creationId xmlns:a16="http://schemas.microsoft.com/office/drawing/2014/main" id="{B135BA98-5C9F-F1AB-71FA-6AFD2AA9762E}"/>
              </a:ext>
            </a:extLst>
          </p:cNvPr>
          <p:cNvSpPr txBox="1"/>
          <p:nvPr/>
        </p:nvSpPr>
        <p:spPr>
          <a:xfrm>
            <a:off x="770688" y="823689"/>
            <a:ext cx="824523" cy="184666"/>
          </a:xfrm>
          <a:prstGeom prst="rect">
            <a:avLst/>
          </a:prstGeom>
          <a:solidFill>
            <a:srgbClr val="FFFFFF"/>
          </a:solidFill>
        </p:spPr>
        <p:txBody>
          <a:bodyPr wrap="square" lIns="0" tIns="0" rIns="0" bIns="0" anchor="ctr">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78D4"/>
                </a:solidFill>
                <a:effectLst/>
                <a:uLnTx/>
                <a:uFillTx/>
                <a:latin typeface="Segoe UI Semibold"/>
                <a:cs typeface="Segoe UI" panose="020B0502040204020203" pitchFamily="34" charset="0"/>
              </a:rPr>
              <a:t>Summary</a:t>
            </a:r>
          </a:p>
        </p:txBody>
      </p:sp>
      <p:sp>
        <p:nvSpPr>
          <p:cNvPr id="88" name="Freeform 16">
            <a:extLst>
              <a:ext uri="{FF2B5EF4-FFF2-40B4-BE49-F238E27FC236}">
                <a16:creationId xmlns:a16="http://schemas.microsoft.com/office/drawing/2014/main" id="{DBFFF463-AF75-4933-059D-27198848F113}"/>
              </a:ext>
            </a:extLst>
          </p:cNvPr>
          <p:cNvSpPr/>
          <p:nvPr/>
        </p:nvSpPr>
        <p:spPr bwMode="auto">
          <a:xfrm rot="16200000">
            <a:off x="341146" y="2815802"/>
            <a:ext cx="689301"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9" name="Rectangle: Rounded Corners 88">
            <a:extLst>
              <a:ext uri="{FF2B5EF4-FFF2-40B4-BE49-F238E27FC236}">
                <a16:creationId xmlns:a16="http://schemas.microsoft.com/office/drawing/2014/main" id="{6AC3EC54-3692-681D-A7F3-A25F80F889E0}"/>
              </a:ext>
              <a:ext uri="{C183D7F6-B498-43B3-948B-1728B52AA6E4}">
                <adec:decorative xmlns:adec="http://schemas.microsoft.com/office/drawing/2017/decorative" val="1"/>
              </a:ext>
            </a:extLst>
          </p:cNvPr>
          <p:cNvSpPr/>
          <p:nvPr/>
        </p:nvSpPr>
        <p:spPr>
          <a:xfrm rot="16200000">
            <a:off x="382662" y="2746515"/>
            <a:ext cx="586103" cy="326244"/>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horz" wrap="square" lIns="0" tIns="0" rIns="0" bIns="18288"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564085"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0078D4"/>
                </a:solidFill>
                <a:effectLst/>
                <a:uLnTx/>
                <a:uFillTx/>
                <a:latin typeface="Segoe UI Semibold"/>
                <a:cs typeface="Segoe UI" pitchFamily="34" charset="0"/>
              </a:rPr>
              <a:t>Solution</a:t>
            </a:r>
          </a:p>
          <a:p>
            <a:pPr marL="0" marR="0" lvl="0" indent="0" algn="ctr" defTabSz="564085" eaLnBrk="1" fontAlgn="base" latinLnBrk="0" hangingPunct="1">
              <a:lnSpc>
                <a:spcPct val="100000"/>
              </a:lnSpc>
              <a:spcBef>
                <a:spcPct val="0"/>
              </a:spcBef>
              <a:spcAft>
                <a:spcPct val="0"/>
              </a:spcAft>
              <a:buClrTx/>
              <a:buSzTx/>
              <a:buFontTx/>
              <a:buNone/>
              <a:tabLst>
                <a:tab pos="173038" algn="l"/>
              </a:tabLst>
              <a:defRPr/>
            </a:pPr>
            <a:r>
              <a:rPr kumimoji="0" lang="en-GB" sz="1000" b="0" i="0" u="none" strike="noStrike" kern="0" cap="none" spc="0" normalizeH="0" baseline="0" noProof="0">
                <a:ln>
                  <a:noFill/>
                </a:ln>
                <a:solidFill>
                  <a:srgbClr val="0078D4"/>
                </a:solidFill>
                <a:effectLst/>
                <a:uLnTx/>
                <a:uFillTx/>
                <a:latin typeface="Segoe UI Semibold"/>
                <a:cs typeface="Segoe UI" pitchFamily="34" charset="0"/>
              </a:rPr>
              <a:t>Plays</a:t>
            </a:r>
          </a:p>
        </p:txBody>
      </p:sp>
      <p:cxnSp>
        <p:nvCxnSpPr>
          <p:cNvPr id="90" name="Straight Connector 89">
            <a:extLst>
              <a:ext uri="{FF2B5EF4-FFF2-40B4-BE49-F238E27FC236}">
                <a16:creationId xmlns:a16="http://schemas.microsoft.com/office/drawing/2014/main" id="{61B9629F-7162-F591-34E3-20D3EAC112A6}"/>
              </a:ext>
            </a:extLst>
          </p:cNvPr>
          <p:cNvCxnSpPr>
            <a:cxnSpLocks/>
          </p:cNvCxnSpPr>
          <p:nvPr/>
        </p:nvCxnSpPr>
        <p:spPr>
          <a:xfrm>
            <a:off x="7119041" y="2467616"/>
            <a:ext cx="4510499" cy="0"/>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91" name="Freeform 16">
            <a:extLst>
              <a:ext uri="{FF2B5EF4-FFF2-40B4-BE49-F238E27FC236}">
                <a16:creationId xmlns:a16="http://schemas.microsoft.com/office/drawing/2014/main" id="{082C9332-EFE8-C0B8-6784-3AB979ABC4BF}"/>
              </a:ext>
            </a:extLst>
          </p:cNvPr>
          <p:cNvSpPr/>
          <p:nvPr/>
        </p:nvSpPr>
        <p:spPr bwMode="auto">
          <a:xfrm rot="16200000">
            <a:off x="368799" y="3591833"/>
            <a:ext cx="633994"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Rectangle: Rounded Corners 91">
            <a:extLst>
              <a:ext uri="{FF2B5EF4-FFF2-40B4-BE49-F238E27FC236}">
                <a16:creationId xmlns:a16="http://schemas.microsoft.com/office/drawing/2014/main" id="{8C5BBA21-AA9B-BAF5-7D8E-A5ECA79B38B4}"/>
              </a:ext>
              <a:ext uri="{C183D7F6-B498-43B3-948B-1728B52AA6E4}">
                <adec:decorative xmlns:adec="http://schemas.microsoft.com/office/drawing/2017/decorative" val="1"/>
              </a:ext>
            </a:extLst>
          </p:cNvPr>
          <p:cNvSpPr/>
          <p:nvPr/>
        </p:nvSpPr>
        <p:spPr>
          <a:xfrm rot="16200000">
            <a:off x="322382" y="3599774"/>
            <a:ext cx="556106" cy="172355"/>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horz" wrap="square" lIns="0" tIns="0" rIns="0" bIns="18288"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564085"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cs typeface="Segoe UI" pitchFamily="34" charset="0"/>
              </a:rPr>
              <a:t>Audience</a:t>
            </a:r>
          </a:p>
        </p:txBody>
      </p:sp>
      <p:cxnSp>
        <p:nvCxnSpPr>
          <p:cNvPr id="93" name="Straight Connector 92">
            <a:extLst>
              <a:ext uri="{FF2B5EF4-FFF2-40B4-BE49-F238E27FC236}">
                <a16:creationId xmlns:a16="http://schemas.microsoft.com/office/drawing/2014/main" id="{E97DA0A2-0215-DDA0-F303-96E0CBD99A69}"/>
              </a:ext>
            </a:extLst>
          </p:cNvPr>
          <p:cNvCxnSpPr>
            <a:cxnSpLocks/>
          </p:cNvCxnSpPr>
          <p:nvPr/>
        </p:nvCxnSpPr>
        <p:spPr>
          <a:xfrm>
            <a:off x="1051660" y="3371955"/>
            <a:ext cx="4549383" cy="11566"/>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94" name="Straight Connector 93">
            <a:extLst>
              <a:ext uri="{FF2B5EF4-FFF2-40B4-BE49-F238E27FC236}">
                <a16:creationId xmlns:a16="http://schemas.microsoft.com/office/drawing/2014/main" id="{1900E072-9C59-5CEE-7AB9-96CB9E9EB171}"/>
              </a:ext>
            </a:extLst>
          </p:cNvPr>
          <p:cNvCxnSpPr>
            <a:cxnSpLocks/>
          </p:cNvCxnSpPr>
          <p:nvPr/>
        </p:nvCxnSpPr>
        <p:spPr>
          <a:xfrm>
            <a:off x="7180829" y="3352380"/>
            <a:ext cx="4446675" cy="32191"/>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95" name="Straight Connector 94">
            <a:extLst>
              <a:ext uri="{FF2B5EF4-FFF2-40B4-BE49-F238E27FC236}">
                <a16:creationId xmlns:a16="http://schemas.microsoft.com/office/drawing/2014/main" id="{03423F7A-9EFB-57F2-8B68-81D090FACA85}"/>
              </a:ext>
            </a:extLst>
          </p:cNvPr>
          <p:cNvCxnSpPr>
            <a:cxnSpLocks/>
          </p:cNvCxnSpPr>
          <p:nvPr/>
        </p:nvCxnSpPr>
        <p:spPr>
          <a:xfrm flipV="1">
            <a:off x="1051660" y="3982335"/>
            <a:ext cx="4549383" cy="16548"/>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96" name="Straight Connector 95">
            <a:extLst>
              <a:ext uri="{FF2B5EF4-FFF2-40B4-BE49-F238E27FC236}">
                <a16:creationId xmlns:a16="http://schemas.microsoft.com/office/drawing/2014/main" id="{F57BB05F-50ED-89D5-4768-457DD7FC307B}"/>
              </a:ext>
            </a:extLst>
          </p:cNvPr>
          <p:cNvCxnSpPr>
            <a:cxnSpLocks/>
          </p:cNvCxnSpPr>
          <p:nvPr/>
        </p:nvCxnSpPr>
        <p:spPr>
          <a:xfrm>
            <a:off x="7187415" y="4021957"/>
            <a:ext cx="4446675" cy="8612"/>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97" name="Freeform 16">
            <a:extLst>
              <a:ext uri="{FF2B5EF4-FFF2-40B4-BE49-F238E27FC236}">
                <a16:creationId xmlns:a16="http://schemas.microsoft.com/office/drawing/2014/main" id="{2DAC4310-1815-5408-D750-4ECF22C04FFF}"/>
              </a:ext>
            </a:extLst>
          </p:cNvPr>
          <p:cNvSpPr/>
          <p:nvPr/>
        </p:nvSpPr>
        <p:spPr bwMode="auto">
          <a:xfrm rot="16200000">
            <a:off x="265482" y="4388653"/>
            <a:ext cx="840630"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8" name="Rectangle: Rounded Corners 97">
            <a:extLst>
              <a:ext uri="{FF2B5EF4-FFF2-40B4-BE49-F238E27FC236}">
                <a16:creationId xmlns:a16="http://schemas.microsoft.com/office/drawing/2014/main" id="{D1DBBE5B-7209-1AFA-F40E-2483A20C68D6}"/>
              </a:ext>
              <a:ext uri="{C183D7F6-B498-43B3-948B-1728B52AA6E4}">
                <adec:decorative xmlns:adec="http://schemas.microsoft.com/office/drawing/2017/decorative" val="1"/>
              </a:ext>
            </a:extLst>
          </p:cNvPr>
          <p:cNvSpPr/>
          <p:nvPr/>
        </p:nvSpPr>
        <p:spPr>
          <a:xfrm rot="16200000">
            <a:off x="380258" y="4396595"/>
            <a:ext cx="440359" cy="172355"/>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horz" wrap="square" lIns="72000" tIns="0" rIns="72000" bIns="18288"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564085" eaLnBrk="1" fontAlgn="base" latinLnBrk="0" hangingPunct="1">
              <a:lnSpc>
                <a:spcPct val="100000"/>
              </a:lnSpc>
              <a:spcBef>
                <a:spcPct val="0"/>
              </a:spcBef>
              <a:spcAft>
                <a:spcPct val="0"/>
              </a:spcAft>
              <a:buClrTx/>
              <a:buSzTx/>
              <a:buFontTx/>
              <a:buNone/>
              <a:tabLst/>
              <a:defRPr/>
            </a:pPr>
            <a:r>
              <a:rPr kumimoji="0" lang="en-CA" sz="1000" b="0" i="0" u="none" strike="noStrike" kern="0" cap="none" spc="0" normalizeH="0" baseline="0" noProof="0">
                <a:ln>
                  <a:noFill/>
                </a:ln>
                <a:solidFill>
                  <a:srgbClr val="0078D4"/>
                </a:solidFill>
                <a:effectLst/>
                <a:uLnTx/>
                <a:uFillTx/>
                <a:latin typeface="Segoe UI Semibold"/>
                <a:cs typeface="Segoe UI" pitchFamily="34" charset="0"/>
              </a:rPr>
              <a:t>Sales</a:t>
            </a:r>
            <a:endParaRPr kumimoji="0" lang="en-GB" sz="1000" b="0" i="0" u="none" strike="noStrike" kern="0" cap="none" spc="0" normalizeH="0" baseline="0" noProof="0">
              <a:ln>
                <a:noFill/>
              </a:ln>
              <a:solidFill>
                <a:srgbClr val="0078D4"/>
              </a:solidFill>
              <a:effectLst/>
              <a:uLnTx/>
              <a:uFillTx/>
              <a:latin typeface="Segoe UI Semibold"/>
              <a:cs typeface="Segoe UI" pitchFamily="34" charset="0"/>
            </a:endParaRPr>
          </a:p>
        </p:txBody>
      </p:sp>
      <p:sp>
        <p:nvSpPr>
          <p:cNvPr id="99" name="TextBox 573">
            <a:extLst>
              <a:ext uri="{FF2B5EF4-FFF2-40B4-BE49-F238E27FC236}">
                <a16:creationId xmlns:a16="http://schemas.microsoft.com/office/drawing/2014/main" id="{F07DF6AA-3B92-1AF6-2984-E9C83F4FD181}"/>
              </a:ext>
            </a:extLst>
          </p:cNvPr>
          <p:cNvSpPr txBox="1">
            <a:spLocks/>
          </p:cNvSpPr>
          <p:nvPr/>
        </p:nvSpPr>
        <p:spPr>
          <a:xfrm rot="10800000" flipV="1">
            <a:off x="1185011" y="4094619"/>
            <a:ext cx="1295211" cy="165720"/>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Infra Specialist </a:t>
            </a:r>
          </a:p>
        </p:txBody>
      </p:sp>
      <p:sp>
        <p:nvSpPr>
          <p:cNvPr id="100" name="TextBox 574">
            <a:extLst>
              <a:ext uri="{FF2B5EF4-FFF2-40B4-BE49-F238E27FC236}">
                <a16:creationId xmlns:a16="http://schemas.microsoft.com/office/drawing/2014/main" id="{61CEA1E4-A4CB-5119-B539-97CE58C3BABF}"/>
              </a:ext>
            </a:extLst>
          </p:cNvPr>
          <p:cNvSpPr txBox="1">
            <a:spLocks/>
          </p:cNvSpPr>
          <p:nvPr/>
        </p:nvSpPr>
        <p:spPr>
          <a:xfrm rot="10800000" flipV="1">
            <a:off x="1185811" y="5160360"/>
            <a:ext cx="719585" cy="18271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Infra TS</a:t>
            </a:r>
          </a:p>
        </p:txBody>
      </p:sp>
      <p:sp>
        <p:nvSpPr>
          <p:cNvPr id="101" name="TextBox 575">
            <a:extLst>
              <a:ext uri="{FF2B5EF4-FFF2-40B4-BE49-F238E27FC236}">
                <a16:creationId xmlns:a16="http://schemas.microsoft.com/office/drawing/2014/main" id="{09D93768-6899-5978-15F9-BADBB85CE922}"/>
              </a:ext>
            </a:extLst>
          </p:cNvPr>
          <p:cNvSpPr txBox="1">
            <a:spLocks/>
          </p:cNvSpPr>
          <p:nvPr/>
        </p:nvSpPr>
        <p:spPr>
          <a:xfrm rot="10800000" flipV="1">
            <a:off x="2617433" y="4094618"/>
            <a:ext cx="1369743" cy="185953"/>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Data &amp; AI Specialist</a:t>
            </a:r>
          </a:p>
        </p:txBody>
      </p:sp>
      <p:sp>
        <p:nvSpPr>
          <p:cNvPr id="102" name="TextBox 576">
            <a:extLst>
              <a:ext uri="{FF2B5EF4-FFF2-40B4-BE49-F238E27FC236}">
                <a16:creationId xmlns:a16="http://schemas.microsoft.com/office/drawing/2014/main" id="{6AA76FD1-5001-C0C8-126B-AC3C0A16B41D}"/>
              </a:ext>
            </a:extLst>
          </p:cNvPr>
          <p:cNvSpPr txBox="1">
            <a:spLocks/>
          </p:cNvSpPr>
          <p:nvPr/>
        </p:nvSpPr>
        <p:spPr>
          <a:xfrm rot="10800000" flipV="1">
            <a:off x="4135254" y="4094619"/>
            <a:ext cx="1407546" cy="177279"/>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Data &amp; AI Specialist</a:t>
            </a:r>
          </a:p>
        </p:txBody>
      </p:sp>
      <p:sp>
        <p:nvSpPr>
          <p:cNvPr id="103" name="TextBox 577">
            <a:extLst>
              <a:ext uri="{FF2B5EF4-FFF2-40B4-BE49-F238E27FC236}">
                <a16:creationId xmlns:a16="http://schemas.microsoft.com/office/drawing/2014/main" id="{153C54A9-F675-73B9-65DC-54B4C9E5ED9A}"/>
              </a:ext>
            </a:extLst>
          </p:cNvPr>
          <p:cNvSpPr txBox="1">
            <a:spLocks/>
          </p:cNvSpPr>
          <p:nvPr/>
        </p:nvSpPr>
        <p:spPr>
          <a:xfrm rot="10800000" flipV="1">
            <a:off x="1185008" y="4303202"/>
            <a:ext cx="1291879" cy="175930"/>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Data &amp; AI Specialist</a:t>
            </a:r>
          </a:p>
        </p:txBody>
      </p:sp>
      <p:sp>
        <p:nvSpPr>
          <p:cNvPr id="104" name="TextBox 578">
            <a:extLst>
              <a:ext uri="{FF2B5EF4-FFF2-40B4-BE49-F238E27FC236}">
                <a16:creationId xmlns:a16="http://schemas.microsoft.com/office/drawing/2014/main" id="{DA08E420-B45C-571B-942D-0D061A631966}"/>
              </a:ext>
            </a:extLst>
          </p:cNvPr>
          <p:cNvSpPr txBox="1">
            <a:spLocks/>
          </p:cNvSpPr>
          <p:nvPr/>
        </p:nvSpPr>
        <p:spPr>
          <a:xfrm rot="10800000" flipV="1">
            <a:off x="1185009" y="4526728"/>
            <a:ext cx="1291878" cy="165720"/>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SAP Specialist</a:t>
            </a:r>
          </a:p>
        </p:txBody>
      </p:sp>
      <p:sp>
        <p:nvSpPr>
          <p:cNvPr id="105" name="TextBox 579">
            <a:extLst>
              <a:ext uri="{FF2B5EF4-FFF2-40B4-BE49-F238E27FC236}">
                <a16:creationId xmlns:a16="http://schemas.microsoft.com/office/drawing/2014/main" id="{508654B4-933F-A388-2A6B-FD614819174A}"/>
              </a:ext>
            </a:extLst>
          </p:cNvPr>
          <p:cNvSpPr txBox="1">
            <a:spLocks/>
          </p:cNvSpPr>
          <p:nvPr/>
        </p:nvSpPr>
        <p:spPr>
          <a:xfrm rot="10800000" flipV="1">
            <a:off x="1185009" y="4735601"/>
            <a:ext cx="1291878" cy="165720"/>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App Inno. Specialist</a:t>
            </a:r>
          </a:p>
        </p:txBody>
      </p:sp>
      <p:sp>
        <p:nvSpPr>
          <p:cNvPr id="106" name="TextBox 580">
            <a:extLst>
              <a:ext uri="{FF2B5EF4-FFF2-40B4-BE49-F238E27FC236}">
                <a16:creationId xmlns:a16="http://schemas.microsoft.com/office/drawing/2014/main" id="{BCE2D794-D118-1D9D-810A-A2B95C98369E}"/>
              </a:ext>
            </a:extLst>
          </p:cNvPr>
          <p:cNvSpPr txBox="1">
            <a:spLocks/>
          </p:cNvSpPr>
          <p:nvPr/>
        </p:nvSpPr>
        <p:spPr>
          <a:xfrm rot="10800000" flipV="1">
            <a:off x="4135247" y="4511787"/>
            <a:ext cx="1407536" cy="177279"/>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Infra Specialist </a:t>
            </a:r>
          </a:p>
        </p:txBody>
      </p:sp>
      <p:sp>
        <p:nvSpPr>
          <p:cNvPr id="111" name="TextBox 581">
            <a:extLst>
              <a:ext uri="{FF2B5EF4-FFF2-40B4-BE49-F238E27FC236}">
                <a16:creationId xmlns:a16="http://schemas.microsoft.com/office/drawing/2014/main" id="{0555F4CD-0115-6C49-71A6-7E8156482A58}"/>
              </a:ext>
            </a:extLst>
          </p:cNvPr>
          <p:cNvSpPr txBox="1">
            <a:spLocks/>
          </p:cNvSpPr>
          <p:nvPr/>
        </p:nvSpPr>
        <p:spPr>
          <a:xfrm rot="10800000" flipV="1">
            <a:off x="4135252" y="4303203"/>
            <a:ext cx="1407542" cy="177279"/>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App Inno. Specialist</a:t>
            </a:r>
          </a:p>
        </p:txBody>
      </p:sp>
      <p:sp>
        <p:nvSpPr>
          <p:cNvPr id="112" name="TextBox 582">
            <a:extLst>
              <a:ext uri="{FF2B5EF4-FFF2-40B4-BE49-F238E27FC236}">
                <a16:creationId xmlns:a16="http://schemas.microsoft.com/office/drawing/2014/main" id="{8B183CC7-0FAA-99E5-CFBF-B4A3B2512655}"/>
              </a:ext>
            </a:extLst>
          </p:cNvPr>
          <p:cNvSpPr txBox="1">
            <a:spLocks/>
          </p:cNvSpPr>
          <p:nvPr/>
        </p:nvSpPr>
        <p:spPr>
          <a:xfrm rot="10800000" flipV="1">
            <a:off x="1950026" y="5158971"/>
            <a:ext cx="719586" cy="18271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App Inno. TS </a:t>
            </a:r>
          </a:p>
        </p:txBody>
      </p:sp>
      <p:sp>
        <p:nvSpPr>
          <p:cNvPr id="113" name="TextBox 583">
            <a:extLst>
              <a:ext uri="{FF2B5EF4-FFF2-40B4-BE49-F238E27FC236}">
                <a16:creationId xmlns:a16="http://schemas.microsoft.com/office/drawing/2014/main" id="{C891D672-DBB4-1EFC-6C30-1F787F8A907E}"/>
              </a:ext>
            </a:extLst>
          </p:cNvPr>
          <p:cNvSpPr txBox="1">
            <a:spLocks/>
          </p:cNvSpPr>
          <p:nvPr/>
        </p:nvSpPr>
        <p:spPr>
          <a:xfrm rot="10800000" flipV="1">
            <a:off x="2740956" y="5160360"/>
            <a:ext cx="1374571" cy="18271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Data &amp; AI TS</a:t>
            </a:r>
          </a:p>
        </p:txBody>
      </p:sp>
      <p:sp>
        <p:nvSpPr>
          <p:cNvPr id="114" name="TextBox 584">
            <a:extLst>
              <a:ext uri="{FF2B5EF4-FFF2-40B4-BE49-F238E27FC236}">
                <a16:creationId xmlns:a16="http://schemas.microsoft.com/office/drawing/2014/main" id="{CFAA0E7F-34C7-48E5-5970-2B108C953764}"/>
              </a:ext>
            </a:extLst>
          </p:cNvPr>
          <p:cNvSpPr txBox="1">
            <a:spLocks/>
          </p:cNvSpPr>
          <p:nvPr/>
        </p:nvSpPr>
        <p:spPr>
          <a:xfrm rot="10800000" flipV="1">
            <a:off x="4199359" y="5153322"/>
            <a:ext cx="1407536" cy="17727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Data &amp; AI TS</a:t>
            </a:r>
          </a:p>
        </p:txBody>
      </p:sp>
      <p:sp>
        <p:nvSpPr>
          <p:cNvPr id="115" name="TextBox 585">
            <a:extLst>
              <a:ext uri="{FF2B5EF4-FFF2-40B4-BE49-F238E27FC236}">
                <a16:creationId xmlns:a16="http://schemas.microsoft.com/office/drawing/2014/main" id="{D68FCA02-3DFD-2E94-C789-93A06CB060EB}"/>
              </a:ext>
            </a:extLst>
          </p:cNvPr>
          <p:cNvSpPr txBox="1">
            <a:spLocks/>
          </p:cNvSpPr>
          <p:nvPr/>
        </p:nvSpPr>
        <p:spPr>
          <a:xfrm rot="10800000" flipV="1">
            <a:off x="1182701" y="5375809"/>
            <a:ext cx="1490277" cy="18271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Data &amp; AI TS</a:t>
            </a:r>
          </a:p>
        </p:txBody>
      </p:sp>
      <p:sp>
        <p:nvSpPr>
          <p:cNvPr id="117" name="TextBox 586">
            <a:extLst>
              <a:ext uri="{FF2B5EF4-FFF2-40B4-BE49-F238E27FC236}">
                <a16:creationId xmlns:a16="http://schemas.microsoft.com/office/drawing/2014/main" id="{145FBB46-140B-BA49-2EB9-EEF4D6EF6BC1}"/>
              </a:ext>
            </a:extLst>
          </p:cNvPr>
          <p:cNvSpPr txBox="1">
            <a:spLocks/>
          </p:cNvSpPr>
          <p:nvPr/>
        </p:nvSpPr>
        <p:spPr>
          <a:xfrm rot="10800000" flipV="1">
            <a:off x="4199359" y="5375644"/>
            <a:ext cx="1407536" cy="177279"/>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App Inno. TS </a:t>
            </a:r>
          </a:p>
        </p:txBody>
      </p:sp>
      <p:sp>
        <p:nvSpPr>
          <p:cNvPr id="119" name="TextBox 587">
            <a:extLst>
              <a:ext uri="{FF2B5EF4-FFF2-40B4-BE49-F238E27FC236}">
                <a16:creationId xmlns:a16="http://schemas.microsoft.com/office/drawing/2014/main" id="{9FCE11ED-4FEC-9CA0-F8C1-CB3F73AA2269}"/>
              </a:ext>
            </a:extLst>
          </p:cNvPr>
          <p:cNvSpPr txBox="1">
            <a:spLocks/>
          </p:cNvSpPr>
          <p:nvPr/>
        </p:nvSpPr>
        <p:spPr>
          <a:xfrm rot="10800000" flipV="1">
            <a:off x="1180906" y="5813480"/>
            <a:ext cx="1490276" cy="18271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Infra CSA</a:t>
            </a:r>
          </a:p>
        </p:txBody>
      </p:sp>
      <p:sp>
        <p:nvSpPr>
          <p:cNvPr id="121" name="TextBox 588">
            <a:extLst>
              <a:ext uri="{FF2B5EF4-FFF2-40B4-BE49-F238E27FC236}">
                <a16:creationId xmlns:a16="http://schemas.microsoft.com/office/drawing/2014/main" id="{524AAEC3-7789-889A-B546-F88AB0A06689}"/>
              </a:ext>
            </a:extLst>
          </p:cNvPr>
          <p:cNvSpPr txBox="1">
            <a:spLocks/>
          </p:cNvSpPr>
          <p:nvPr/>
        </p:nvSpPr>
        <p:spPr>
          <a:xfrm rot="10800000" flipV="1">
            <a:off x="2744772" y="5813480"/>
            <a:ext cx="1368159" cy="18271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Data &amp; AI – AI CSA</a:t>
            </a:r>
          </a:p>
        </p:txBody>
      </p:sp>
      <p:sp>
        <p:nvSpPr>
          <p:cNvPr id="122" name="TextBox 589">
            <a:extLst>
              <a:ext uri="{FF2B5EF4-FFF2-40B4-BE49-F238E27FC236}">
                <a16:creationId xmlns:a16="http://schemas.microsoft.com/office/drawing/2014/main" id="{E3D527B0-0778-912B-A375-AC35C65B2ABB}"/>
              </a:ext>
            </a:extLst>
          </p:cNvPr>
          <p:cNvSpPr txBox="1">
            <a:spLocks/>
          </p:cNvSpPr>
          <p:nvPr/>
        </p:nvSpPr>
        <p:spPr>
          <a:xfrm rot="10800000" flipV="1">
            <a:off x="4193497" y="6042080"/>
            <a:ext cx="1407546" cy="17727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Apps CSA</a:t>
            </a:r>
          </a:p>
        </p:txBody>
      </p:sp>
      <p:sp>
        <p:nvSpPr>
          <p:cNvPr id="123" name="TextBox 590">
            <a:extLst>
              <a:ext uri="{FF2B5EF4-FFF2-40B4-BE49-F238E27FC236}">
                <a16:creationId xmlns:a16="http://schemas.microsoft.com/office/drawing/2014/main" id="{B6A81941-0152-D933-763A-C4FECF56518D}"/>
              </a:ext>
            </a:extLst>
          </p:cNvPr>
          <p:cNvSpPr txBox="1">
            <a:spLocks/>
          </p:cNvSpPr>
          <p:nvPr/>
        </p:nvSpPr>
        <p:spPr>
          <a:xfrm rot="10800000" flipV="1">
            <a:off x="1174453" y="6050633"/>
            <a:ext cx="1490276" cy="18271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SAP CSA</a:t>
            </a:r>
          </a:p>
        </p:txBody>
      </p:sp>
      <p:sp>
        <p:nvSpPr>
          <p:cNvPr id="125" name="TextBox 591">
            <a:extLst>
              <a:ext uri="{FF2B5EF4-FFF2-40B4-BE49-F238E27FC236}">
                <a16:creationId xmlns:a16="http://schemas.microsoft.com/office/drawing/2014/main" id="{4507257E-BC69-24A4-D0D8-9B2D20287F1C}"/>
              </a:ext>
            </a:extLst>
          </p:cNvPr>
          <p:cNvSpPr txBox="1">
            <a:spLocks/>
          </p:cNvSpPr>
          <p:nvPr/>
        </p:nvSpPr>
        <p:spPr>
          <a:xfrm rot="10800000" flipV="1">
            <a:off x="2738319" y="6050633"/>
            <a:ext cx="1368159" cy="18271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Data &amp; AI – Analytics CSA</a:t>
            </a:r>
          </a:p>
        </p:txBody>
      </p:sp>
      <p:sp>
        <p:nvSpPr>
          <p:cNvPr id="126" name="TextBox 592">
            <a:extLst>
              <a:ext uri="{FF2B5EF4-FFF2-40B4-BE49-F238E27FC236}">
                <a16:creationId xmlns:a16="http://schemas.microsoft.com/office/drawing/2014/main" id="{7D6AEA52-A13B-BE4C-A0B8-909AC0462FDB}"/>
              </a:ext>
            </a:extLst>
          </p:cNvPr>
          <p:cNvSpPr txBox="1">
            <a:spLocks/>
          </p:cNvSpPr>
          <p:nvPr/>
        </p:nvSpPr>
        <p:spPr>
          <a:xfrm rot="10800000" flipV="1">
            <a:off x="4187044" y="6279233"/>
            <a:ext cx="1407546" cy="177279"/>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Developer CSA</a:t>
            </a:r>
          </a:p>
        </p:txBody>
      </p:sp>
      <p:cxnSp>
        <p:nvCxnSpPr>
          <p:cNvPr id="192" name="Straight Connector 191">
            <a:extLst>
              <a:ext uri="{FF2B5EF4-FFF2-40B4-BE49-F238E27FC236}">
                <a16:creationId xmlns:a16="http://schemas.microsoft.com/office/drawing/2014/main" id="{BA6B3845-A061-FB7A-5E08-EFA8865A500F}"/>
              </a:ext>
            </a:extLst>
          </p:cNvPr>
          <p:cNvCxnSpPr>
            <a:cxnSpLocks/>
          </p:cNvCxnSpPr>
          <p:nvPr/>
        </p:nvCxnSpPr>
        <p:spPr>
          <a:xfrm>
            <a:off x="1051660" y="5041940"/>
            <a:ext cx="4636964" cy="0"/>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193" name="Straight Connector 192">
            <a:extLst>
              <a:ext uri="{FF2B5EF4-FFF2-40B4-BE49-F238E27FC236}">
                <a16:creationId xmlns:a16="http://schemas.microsoft.com/office/drawing/2014/main" id="{6DC3941B-1555-186F-7784-D06BE62485D9}"/>
              </a:ext>
            </a:extLst>
          </p:cNvPr>
          <p:cNvCxnSpPr>
            <a:cxnSpLocks/>
          </p:cNvCxnSpPr>
          <p:nvPr/>
        </p:nvCxnSpPr>
        <p:spPr>
          <a:xfrm>
            <a:off x="1051660" y="5751823"/>
            <a:ext cx="4549383" cy="0"/>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194" name="Freeform 16">
            <a:extLst>
              <a:ext uri="{FF2B5EF4-FFF2-40B4-BE49-F238E27FC236}">
                <a16:creationId xmlns:a16="http://schemas.microsoft.com/office/drawing/2014/main" id="{781C50BC-B5F0-7BFB-5AF0-D1ED27E67713}"/>
              </a:ext>
            </a:extLst>
          </p:cNvPr>
          <p:cNvSpPr/>
          <p:nvPr/>
        </p:nvSpPr>
        <p:spPr bwMode="auto">
          <a:xfrm rot="16200000">
            <a:off x="375641" y="5307072"/>
            <a:ext cx="620311"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5" name="Rectangle: Rounded Corners 194">
            <a:extLst>
              <a:ext uri="{FF2B5EF4-FFF2-40B4-BE49-F238E27FC236}">
                <a16:creationId xmlns:a16="http://schemas.microsoft.com/office/drawing/2014/main" id="{241222EB-03CF-C0F1-D5AC-63DF247CBDC4}"/>
              </a:ext>
              <a:ext uri="{C183D7F6-B498-43B3-948B-1728B52AA6E4}">
                <adec:decorative xmlns:adec="http://schemas.microsoft.com/office/drawing/2017/decorative" val="1"/>
              </a:ext>
            </a:extLst>
          </p:cNvPr>
          <p:cNvSpPr/>
          <p:nvPr/>
        </p:nvSpPr>
        <p:spPr>
          <a:xfrm rot="16200000">
            <a:off x="399795" y="5238070"/>
            <a:ext cx="551836" cy="326244"/>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horz" wrap="square" lIns="0" tIns="0" rIns="0" bIns="18288"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564085"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cs typeface="Segoe UI" pitchFamily="34" charset="0"/>
              </a:rPr>
              <a:t>Technical sales</a:t>
            </a:r>
          </a:p>
        </p:txBody>
      </p:sp>
      <p:sp>
        <p:nvSpPr>
          <p:cNvPr id="196" name="Freeform 16">
            <a:extLst>
              <a:ext uri="{FF2B5EF4-FFF2-40B4-BE49-F238E27FC236}">
                <a16:creationId xmlns:a16="http://schemas.microsoft.com/office/drawing/2014/main" id="{806130A6-F34E-C09C-7CD7-7B76BF33B9FB}"/>
              </a:ext>
            </a:extLst>
          </p:cNvPr>
          <p:cNvSpPr/>
          <p:nvPr/>
        </p:nvSpPr>
        <p:spPr bwMode="auto">
          <a:xfrm rot="16200000">
            <a:off x="363145" y="6041314"/>
            <a:ext cx="637583"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7" name="Rectangle: Rounded Corners 196">
            <a:extLst>
              <a:ext uri="{FF2B5EF4-FFF2-40B4-BE49-F238E27FC236}">
                <a16:creationId xmlns:a16="http://schemas.microsoft.com/office/drawing/2014/main" id="{6C43120E-F941-A455-FEA0-3BF42BEC303A}"/>
              </a:ext>
              <a:ext uri="{C183D7F6-B498-43B3-948B-1728B52AA6E4}">
                <adec:decorative xmlns:adec="http://schemas.microsoft.com/office/drawing/2017/decorative" val="1"/>
              </a:ext>
            </a:extLst>
          </p:cNvPr>
          <p:cNvSpPr/>
          <p:nvPr/>
        </p:nvSpPr>
        <p:spPr>
          <a:xfrm rot="16200000">
            <a:off x="372204" y="5972312"/>
            <a:ext cx="607020" cy="326243"/>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horz" wrap="square" lIns="0" tIns="0" rIns="0" bIns="18288"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564085"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cs typeface="Segoe UI" pitchFamily="34" charset="0"/>
              </a:rPr>
              <a:t>Customer success</a:t>
            </a:r>
          </a:p>
        </p:txBody>
      </p:sp>
      <p:sp>
        <p:nvSpPr>
          <p:cNvPr id="198" name="TextBox 599">
            <a:extLst>
              <a:ext uri="{FF2B5EF4-FFF2-40B4-BE49-F238E27FC236}">
                <a16:creationId xmlns:a16="http://schemas.microsoft.com/office/drawing/2014/main" id="{F6381714-EC22-8A98-A5C6-DC0B567F4D2A}"/>
              </a:ext>
            </a:extLst>
          </p:cNvPr>
          <p:cNvSpPr txBox="1">
            <a:spLocks/>
          </p:cNvSpPr>
          <p:nvPr/>
        </p:nvSpPr>
        <p:spPr>
          <a:xfrm rot="10800000" flipV="1">
            <a:off x="7207304" y="4094616"/>
            <a:ext cx="4280301" cy="596140"/>
          </a:xfrm>
          <a:prstGeom prst="roundRect">
            <a:avLst>
              <a:gd name="adj" fmla="val 8868"/>
            </a:avLst>
          </a:prstGeom>
          <a:solidFill>
            <a:srgbClr val="38B29E"/>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 Cloud &amp; AI Specialist </a:t>
            </a:r>
          </a:p>
        </p:txBody>
      </p:sp>
      <p:sp>
        <p:nvSpPr>
          <p:cNvPr id="199" name="TextBox 600">
            <a:extLst>
              <a:ext uri="{FF2B5EF4-FFF2-40B4-BE49-F238E27FC236}">
                <a16:creationId xmlns:a16="http://schemas.microsoft.com/office/drawing/2014/main" id="{B5F9FBF8-6DE3-05C7-CFB9-248EC7E7C777}"/>
              </a:ext>
            </a:extLst>
          </p:cNvPr>
          <p:cNvSpPr txBox="1">
            <a:spLocks/>
          </p:cNvSpPr>
          <p:nvPr/>
        </p:nvSpPr>
        <p:spPr>
          <a:xfrm rot="10800000" flipV="1">
            <a:off x="7207302" y="5110993"/>
            <a:ext cx="1369735" cy="169930"/>
          </a:xfrm>
          <a:prstGeom prst="roundRect">
            <a:avLst/>
          </a:prstGeom>
          <a:solidFill>
            <a:srgbClr val="0078D4"/>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Infra SE </a:t>
            </a:r>
          </a:p>
        </p:txBody>
      </p:sp>
      <p:sp>
        <p:nvSpPr>
          <p:cNvPr id="200" name="TextBox 601">
            <a:extLst>
              <a:ext uri="{FF2B5EF4-FFF2-40B4-BE49-F238E27FC236}">
                <a16:creationId xmlns:a16="http://schemas.microsoft.com/office/drawing/2014/main" id="{CC85BEE1-6EF6-DAA2-7758-2E4591A55ABA}"/>
              </a:ext>
            </a:extLst>
          </p:cNvPr>
          <p:cNvSpPr txBox="1">
            <a:spLocks/>
          </p:cNvSpPr>
          <p:nvPr/>
        </p:nvSpPr>
        <p:spPr>
          <a:xfrm rot="10800000" flipV="1">
            <a:off x="8635001" y="5110993"/>
            <a:ext cx="1409480" cy="169929"/>
          </a:xfrm>
          <a:prstGeom prst="roundRect">
            <a:avLst/>
          </a:prstGeom>
          <a:solidFill>
            <a:srgbClr val="0078D4"/>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Data SE </a:t>
            </a:r>
          </a:p>
        </p:txBody>
      </p:sp>
      <p:sp>
        <p:nvSpPr>
          <p:cNvPr id="201" name="TextBox 602">
            <a:extLst>
              <a:ext uri="{FF2B5EF4-FFF2-40B4-BE49-F238E27FC236}">
                <a16:creationId xmlns:a16="http://schemas.microsoft.com/office/drawing/2014/main" id="{7863CB54-9BF7-61B0-1885-05C8ECC50094}"/>
              </a:ext>
            </a:extLst>
          </p:cNvPr>
          <p:cNvSpPr txBox="1">
            <a:spLocks/>
          </p:cNvSpPr>
          <p:nvPr/>
        </p:nvSpPr>
        <p:spPr>
          <a:xfrm rot="10800000" flipV="1">
            <a:off x="10122261" y="5110993"/>
            <a:ext cx="1279140" cy="169929"/>
          </a:xfrm>
          <a:prstGeom prst="roundRect">
            <a:avLst/>
          </a:prstGeom>
          <a:solidFill>
            <a:srgbClr val="0078D4"/>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Apps SE </a:t>
            </a:r>
          </a:p>
        </p:txBody>
      </p:sp>
      <p:sp>
        <p:nvSpPr>
          <p:cNvPr id="202" name="TextBox 603">
            <a:extLst>
              <a:ext uri="{FF2B5EF4-FFF2-40B4-BE49-F238E27FC236}">
                <a16:creationId xmlns:a16="http://schemas.microsoft.com/office/drawing/2014/main" id="{6572D1DE-C950-2D44-6500-C047785BBC28}"/>
              </a:ext>
            </a:extLst>
          </p:cNvPr>
          <p:cNvSpPr txBox="1">
            <a:spLocks/>
          </p:cNvSpPr>
          <p:nvPr/>
        </p:nvSpPr>
        <p:spPr>
          <a:xfrm rot="10800000" flipV="1">
            <a:off x="10120430" y="5389880"/>
            <a:ext cx="1282802" cy="307637"/>
          </a:xfrm>
          <a:prstGeom prst="roundRect">
            <a:avLst>
              <a:gd name="adj" fmla="val 12197"/>
            </a:avLst>
          </a:prstGeom>
          <a:solidFill>
            <a:srgbClr val="0078D4"/>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Software SE </a:t>
            </a:r>
            <a:br>
              <a:rPr kumimoji="0" lang="en-US" sz="700" b="0" i="0" u="none" strike="noStrike" kern="0" cap="none" spc="0" normalizeH="0" baseline="0" noProof="0">
                <a:ln>
                  <a:noFill/>
                </a:ln>
                <a:solidFill>
                  <a:srgbClr val="FFFFFF"/>
                </a:solidFill>
                <a:effectLst/>
                <a:uLnTx/>
                <a:uFillTx/>
                <a:latin typeface="Segoe UI Semibold"/>
                <a:cs typeface="Segoe UI" panose="020B0502040204020203" pitchFamily="34" charset="0"/>
              </a:rPr>
            </a:br>
            <a:r>
              <a:rPr kumimoji="0" lang="en-US" sz="700" b="0" i="0" u="none" strike="noStrike" kern="0" cap="none" spc="0" normalizeH="0" baseline="0" noProof="0">
                <a:ln>
                  <a:noFill/>
                </a:ln>
                <a:solidFill>
                  <a:srgbClr val="FFFFFF"/>
                </a:solidFill>
                <a:effectLst/>
                <a:uLnTx/>
                <a:uFillTx/>
                <a:latin typeface="Segoe UI Semibold"/>
                <a:cs typeface="Segoe UI" panose="020B0502040204020203" pitchFamily="34" charset="0"/>
              </a:rPr>
              <a:t>(OU / Area aligned) </a:t>
            </a:r>
          </a:p>
        </p:txBody>
      </p:sp>
      <p:sp>
        <p:nvSpPr>
          <p:cNvPr id="203" name="TextBox 604">
            <a:extLst>
              <a:ext uri="{FF2B5EF4-FFF2-40B4-BE49-F238E27FC236}">
                <a16:creationId xmlns:a16="http://schemas.microsoft.com/office/drawing/2014/main" id="{BE9768B5-94A9-AF5E-73FA-7194659BAE97}"/>
              </a:ext>
            </a:extLst>
          </p:cNvPr>
          <p:cNvSpPr txBox="1">
            <a:spLocks/>
          </p:cNvSpPr>
          <p:nvPr/>
        </p:nvSpPr>
        <p:spPr>
          <a:xfrm rot="10800000" flipV="1">
            <a:off x="7207304" y="6046140"/>
            <a:ext cx="1349916" cy="182719"/>
          </a:xfrm>
          <a:prstGeom prst="roundRect">
            <a:avLst/>
          </a:prstGeom>
          <a:solidFill>
            <a:srgbClr val="9C9E9E"/>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Infra CSA </a:t>
            </a:r>
          </a:p>
        </p:txBody>
      </p:sp>
      <p:sp>
        <p:nvSpPr>
          <p:cNvPr id="204" name="TextBox 605">
            <a:extLst>
              <a:ext uri="{FF2B5EF4-FFF2-40B4-BE49-F238E27FC236}">
                <a16:creationId xmlns:a16="http://schemas.microsoft.com/office/drawing/2014/main" id="{9DA87DD5-C9AE-6CAB-E2FE-46406171BE3A}"/>
              </a:ext>
            </a:extLst>
          </p:cNvPr>
          <p:cNvSpPr txBox="1">
            <a:spLocks/>
          </p:cNvSpPr>
          <p:nvPr/>
        </p:nvSpPr>
        <p:spPr>
          <a:xfrm rot="10800000" flipV="1">
            <a:off x="8635001" y="6039657"/>
            <a:ext cx="1409480" cy="172389"/>
          </a:xfrm>
          <a:prstGeom prst="roundRect">
            <a:avLst/>
          </a:prstGeom>
          <a:solidFill>
            <a:srgbClr val="9C9E9E"/>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Data CSA </a:t>
            </a:r>
          </a:p>
        </p:txBody>
      </p:sp>
      <p:sp>
        <p:nvSpPr>
          <p:cNvPr id="205" name="TextBox 606">
            <a:extLst>
              <a:ext uri="{FF2B5EF4-FFF2-40B4-BE49-F238E27FC236}">
                <a16:creationId xmlns:a16="http://schemas.microsoft.com/office/drawing/2014/main" id="{45D1898B-5BF1-D121-8F6B-EE04CDD76AD2}"/>
              </a:ext>
            </a:extLst>
          </p:cNvPr>
          <p:cNvSpPr txBox="1">
            <a:spLocks/>
          </p:cNvSpPr>
          <p:nvPr/>
        </p:nvSpPr>
        <p:spPr>
          <a:xfrm rot="10800000" flipV="1">
            <a:off x="10117876" y="6039657"/>
            <a:ext cx="1266566" cy="182720"/>
          </a:xfrm>
          <a:prstGeom prst="roundRect">
            <a:avLst/>
          </a:prstGeom>
          <a:solidFill>
            <a:srgbClr val="9C9E9E"/>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Segoe UI" panose="020B0502040204020203" pitchFamily="34" charset="0"/>
              </a:rPr>
              <a:t>Cloud &amp; AI Apps CSA </a:t>
            </a:r>
          </a:p>
        </p:txBody>
      </p:sp>
      <p:cxnSp>
        <p:nvCxnSpPr>
          <p:cNvPr id="206" name="Straight Connector 205">
            <a:extLst>
              <a:ext uri="{FF2B5EF4-FFF2-40B4-BE49-F238E27FC236}">
                <a16:creationId xmlns:a16="http://schemas.microsoft.com/office/drawing/2014/main" id="{6C47B762-08D3-D7D0-A946-6E9E94B49E8A}"/>
              </a:ext>
            </a:extLst>
          </p:cNvPr>
          <p:cNvCxnSpPr>
            <a:cxnSpLocks/>
          </p:cNvCxnSpPr>
          <p:nvPr/>
        </p:nvCxnSpPr>
        <p:spPr>
          <a:xfrm>
            <a:off x="7180829" y="5813480"/>
            <a:ext cx="4301783" cy="17508"/>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207" name="Straight Connector 206">
            <a:extLst>
              <a:ext uri="{FF2B5EF4-FFF2-40B4-BE49-F238E27FC236}">
                <a16:creationId xmlns:a16="http://schemas.microsoft.com/office/drawing/2014/main" id="{6EF1C59B-836A-6CF3-565D-A43E54BBE075}"/>
              </a:ext>
              <a:ext uri="{C183D7F6-B498-43B3-948B-1728B52AA6E4}">
                <adec:decorative xmlns:adec="http://schemas.microsoft.com/office/drawing/2017/decorative" val="1"/>
              </a:ext>
            </a:extLst>
          </p:cNvPr>
          <p:cNvCxnSpPr>
            <a:cxnSpLocks/>
          </p:cNvCxnSpPr>
          <p:nvPr/>
        </p:nvCxnSpPr>
        <p:spPr>
          <a:xfrm flipV="1">
            <a:off x="6334085" y="2299958"/>
            <a:ext cx="0" cy="4222239"/>
          </a:xfrm>
          <a:prstGeom prst="line">
            <a:avLst/>
          </a:prstGeom>
          <a:solidFill>
            <a:srgbClr val="FFFFFF"/>
          </a:solidFill>
          <a:ln w="19050" cap="flat" cmpd="sng" algn="ctr">
            <a:solidFill>
              <a:srgbClr val="FFFFFF">
                <a:lumMod val="75000"/>
              </a:srgbClr>
            </a:solidFill>
            <a:prstDash val="solid"/>
            <a:headEnd type="none" w="med" len="med"/>
            <a:tailEnd type="none" w="med" len="med"/>
          </a:ln>
          <a:effectLst/>
        </p:spPr>
      </p:cxnSp>
      <p:cxnSp>
        <p:nvCxnSpPr>
          <p:cNvPr id="208" name="Straight Arrow Connector 207">
            <a:extLst>
              <a:ext uri="{FF2B5EF4-FFF2-40B4-BE49-F238E27FC236}">
                <a16:creationId xmlns:a16="http://schemas.microsoft.com/office/drawing/2014/main" id="{2E18F908-AB74-F0D7-4365-DA1243CFE797}"/>
              </a:ext>
            </a:extLst>
          </p:cNvPr>
          <p:cNvCxnSpPr>
            <a:cxnSpLocks/>
          </p:cNvCxnSpPr>
          <p:nvPr/>
        </p:nvCxnSpPr>
        <p:spPr>
          <a:xfrm>
            <a:off x="5733642" y="2918718"/>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209" name="TextBox 1055">
            <a:extLst>
              <a:ext uri="{FF2B5EF4-FFF2-40B4-BE49-F238E27FC236}">
                <a16:creationId xmlns:a16="http://schemas.microsoft.com/office/drawing/2014/main" id="{161E98AB-BF68-42FD-05A2-22501D16B39E}"/>
              </a:ext>
            </a:extLst>
          </p:cNvPr>
          <p:cNvSpPr txBox="1"/>
          <p:nvPr/>
        </p:nvSpPr>
        <p:spPr>
          <a:xfrm>
            <a:off x="5884086" y="2792718"/>
            <a:ext cx="900000" cy="252000"/>
          </a:xfrm>
          <a:prstGeom prst="roundRect">
            <a:avLst/>
          </a:prstGeom>
          <a:gradFill flip="none" rotWithShape="1">
            <a:gsLst>
              <a:gs pos="0">
                <a:srgbClr val="49C5B1"/>
              </a:gs>
              <a:gs pos="51000">
                <a:srgbClr val="0078D4"/>
              </a:gs>
            </a:gsLst>
            <a:path path="circle">
              <a:fillToRect l="100000" t="100000"/>
            </a:path>
            <a:tileRect r="-100000" b="-100000"/>
          </a:gradFill>
        </p:spPr>
        <p:txBody>
          <a:bodyPr wrap="square" lIns="0" tIns="0" rIns="0" bIns="0" rtlCol="0" anchor="ctr" anchorCtr="0">
            <a:noAutofit/>
          </a:bodyPr>
          <a:lstStyle>
            <a:defPPr>
              <a:defRPr lang="en-US"/>
            </a:defPPr>
            <a:lvl1pPr marL="0" algn="ctr" defTabSz="914400" rtl="0" eaLnBrk="1" latinLnBrk="0" hangingPunct="1">
              <a:defRPr sz="1100" b="1" kern="1200">
                <a:solidFill>
                  <a:srgbClr val="FFFFFF"/>
                </a:solidFill>
                <a:latin typeface="Segoe Sans Text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r>
              <a:rPr lang="en-US">
                <a:solidFill>
                  <a:srgbClr val="FFFFFF"/>
                </a:solidFill>
                <a:latin typeface="Segoe UI Semibold"/>
              </a:rPr>
              <a:t>From 6 to 3</a:t>
            </a:r>
          </a:p>
        </p:txBody>
      </p:sp>
      <p:cxnSp>
        <p:nvCxnSpPr>
          <p:cNvPr id="210" name="Straight Arrow Connector 209">
            <a:extLst>
              <a:ext uri="{FF2B5EF4-FFF2-40B4-BE49-F238E27FC236}">
                <a16:creationId xmlns:a16="http://schemas.microsoft.com/office/drawing/2014/main" id="{8FB0B4F7-41AC-6678-1822-B1C4DDEEB6ED}"/>
              </a:ext>
            </a:extLst>
          </p:cNvPr>
          <p:cNvCxnSpPr>
            <a:cxnSpLocks/>
          </p:cNvCxnSpPr>
          <p:nvPr/>
        </p:nvCxnSpPr>
        <p:spPr>
          <a:xfrm>
            <a:off x="5733642" y="4392686"/>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211" name="TextBox 1055">
            <a:extLst>
              <a:ext uri="{FF2B5EF4-FFF2-40B4-BE49-F238E27FC236}">
                <a16:creationId xmlns:a16="http://schemas.microsoft.com/office/drawing/2014/main" id="{6D071D8B-6657-A676-CCB4-7992A88E857E}"/>
              </a:ext>
            </a:extLst>
          </p:cNvPr>
          <p:cNvSpPr txBox="1"/>
          <p:nvPr/>
        </p:nvSpPr>
        <p:spPr>
          <a:xfrm>
            <a:off x="5884086" y="4266686"/>
            <a:ext cx="900000" cy="252000"/>
          </a:xfrm>
          <a:prstGeom prst="roundRect">
            <a:avLst/>
          </a:prstGeom>
          <a:solidFill>
            <a:srgbClr val="49C5B1">
              <a:lumMod val="60000"/>
              <a:lumOff val="4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rgbClr val="FFFFFF"/>
                </a:solidFill>
                <a:latin typeface="Segoe Sans Text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rPr>
              <a:t>From 4 to 1</a:t>
            </a:r>
          </a:p>
        </p:txBody>
      </p:sp>
      <p:cxnSp>
        <p:nvCxnSpPr>
          <p:cNvPr id="212" name="Straight Arrow Connector 211">
            <a:extLst>
              <a:ext uri="{FF2B5EF4-FFF2-40B4-BE49-F238E27FC236}">
                <a16:creationId xmlns:a16="http://schemas.microsoft.com/office/drawing/2014/main" id="{9EB50E75-7ABE-F5DB-73D0-142401D25DF6}"/>
              </a:ext>
            </a:extLst>
          </p:cNvPr>
          <p:cNvCxnSpPr>
            <a:cxnSpLocks/>
          </p:cNvCxnSpPr>
          <p:nvPr/>
        </p:nvCxnSpPr>
        <p:spPr>
          <a:xfrm>
            <a:off x="5733642" y="5302971"/>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213" name="TextBox 1055">
            <a:extLst>
              <a:ext uri="{FF2B5EF4-FFF2-40B4-BE49-F238E27FC236}">
                <a16:creationId xmlns:a16="http://schemas.microsoft.com/office/drawing/2014/main" id="{8172963D-504E-8C27-07E7-BAB5BFC84669}"/>
              </a:ext>
            </a:extLst>
          </p:cNvPr>
          <p:cNvSpPr txBox="1"/>
          <p:nvPr/>
        </p:nvSpPr>
        <p:spPr>
          <a:xfrm>
            <a:off x="5884086" y="5086686"/>
            <a:ext cx="900000" cy="432570"/>
          </a:xfrm>
          <a:prstGeom prst="roundRect">
            <a:avLst/>
          </a:prstGeom>
          <a:solidFill>
            <a:srgbClr val="0078D4">
              <a:lumMod val="60000"/>
              <a:lumOff val="4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rgbClr val="FFFFFF"/>
                </a:solidFill>
                <a:latin typeface="Segoe Sans Text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rPr>
              <a:t>From 3 to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rPr>
              <a:t>(Investment)</a:t>
            </a:r>
          </a:p>
        </p:txBody>
      </p:sp>
      <p:cxnSp>
        <p:nvCxnSpPr>
          <p:cNvPr id="214" name="Straight Arrow Connector 213">
            <a:extLst>
              <a:ext uri="{FF2B5EF4-FFF2-40B4-BE49-F238E27FC236}">
                <a16:creationId xmlns:a16="http://schemas.microsoft.com/office/drawing/2014/main" id="{FEB5E12E-D3BD-6EE0-C5F6-F00782659E77}"/>
              </a:ext>
            </a:extLst>
          </p:cNvPr>
          <p:cNvCxnSpPr>
            <a:cxnSpLocks/>
          </p:cNvCxnSpPr>
          <p:nvPr/>
        </p:nvCxnSpPr>
        <p:spPr>
          <a:xfrm>
            <a:off x="5733642" y="6137499"/>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215" name="TextBox 1055">
            <a:extLst>
              <a:ext uri="{FF2B5EF4-FFF2-40B4-BE49-F238E27FC236}">
                <a16:creationId xmlns:a16="http://schemas.microsoft.com/office/drawing/2014/main" id="{688960A1-CA24-C4D2-B49C-085A2A49CFCB}"/>
              </a:ext>
            </a:extLst>
          </p:cNvPr>
          <p:cNvSpPr txBox="1"/>
          <p:nvPr/>
        </p:nvSpPr>
        <p:spPr>
          <a:xfrm>
            <a:off x="5884086" y="6011499"/>
            <a:ext cx="900000" cy="252000"/>
          </a:xfrm>
          <a:prstGeom prst="roundRect">
            <a:avLst/>
          </a:prstGeom>
          <a:solidFill>
            <a:srgbClr val="D9D9D6">
              <a:lumMod val="9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rgbClr val="FFFFFF"/>
                </a:solidFill>
                <a:latin typeface="Segoe Sans Text Semibold"/>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Segoe UI Semibold"/>
              </a:rPr>
              <a:t>From 6 to 3</a:t>
            </a:r>
          </a:p>
        </p:txBody>
      </p:sp>
      <p:sp>
        <p:nvSpPr>
          <p:cNvPr id="216" name="TextBox 617">
            <a:extLst>
              <a:ext uri="{FF2B5EF4-FFF2-40B4-BE49-F238E27FC236}">
                <a16:creationId xmlns:a16="http://schemas.microsoft.com/office/drawing/2014/main" id="{E79FBD99-1DE9-57F4-6909-4C02EB16F81A}"/>
              </a:ext>
            </a:extLst>
          </p:cNvPr>
          <p:cNvSpPr txBox="1">
            <a:spLocks/>
          </p:cNvSpPr>
          <p:nvPr/>
        </p:nvSpPr>
        <p:spPr>
          <a:xfrm rot="10800000" flipV="1">
            <a:off x="4187042" y="5805512"/>
            <a:ext cx="1414000" cy="176696"/>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Data &amp; AI – AI CSA</a:t>
            </a:r>
          </a:p>
        </p:txBody>
      </p:sp>
      <p:sp>
        <p:nvSpPr>
          <p:cNvPr id="217" name="Rectangle: Rounded Corners 216">
            <a:extLst>
              <a:ext uri="{FF2B5EF4-FFF2-40B4-BE49-F238E27FC236}">
                <a16:creationId xmlns:a16="http://schemas.microsoft.com/office/drawing/2014/main" id="{2305EBBD-5EE3-C32C-8F67-952C28C113E6}"/>
              </a:ext>
            </a:extLst>
          </p:cNvPr>
          <p:cNvSpPr/>
          <p:nvPr/>
        </p:nvSpPr>
        <p:spPr>
          <a:xfrm>
            <a:off x="2617443" y="2933648"/>
            <a:ext cx="1369733" cy="316008"/>
          </a:xfrm>
          <a:prstGeom prst="roundRect">
            <a:avLst>
              <a:gd name="adj" fmla="val 11012"/>
            </a:avLst>
          </a:prstGeom>
          <a:noFill/>
          <a:ln w="12700" cap="flat" cmpd="sng" algn="ctr">
            <a:solidFill>
              <a:srgbClr val="8DC8E8">
                <a:lumMod val="75000"/>
              </a:srgbClr>
            </a:solidFill>
            <a:prstDash val="solid"/>
          </a:ln>
          <a:effectLst/>
        </p:spPr>
        <p:txBody>
          <a:bodyPr lIns="0" rIns="0" rtlCol="0" anchor="ct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14400" eaLnBrk="1" fontAlgn="ctr" latinLnBrk="0" hangingPunct="1">
              <a:lnSpc>
                <a:spcPct val="100000"/>
              </a:lnSpc>
              <a:spcBef>
                <a:spcPts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Accelerate Developer Productivity</a:t>
            </a:r>
          </a:p>
        </p:txBody>
      </p:sp>
      <p:sp>
        <p:nvSpPr>
          <p:cNvPr id="218" name="TextBox 619">
            <a:extLst>
              <a:ext uri="{FF2B5EF4-FFF2-40B4-BE49-F238E27FC236}">
                <a16:creationId xmlns:a16="http://schemas.microsoft.com/office/drawing/2014/main" id="{A142DC09-F582-7C5D-0E42-636FBF2CE372}"/>
              </a:ext>
            </a:extLst>
          </p:cNvPr>
          <p:cNvSpPr txBox="1">
            <a:spLocks/>
          </p:cNvSpPr>
          <p:nvPr/>
        </p:nvSpPr>
        <p:spPr>
          <a:xfrm rot="10800000" flipV="1">
            <a:off x="2619354" y="4315721"/>
            <a:ext cx="1367822" cy="163411"/>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App Inno. Specialist</a:t>
            </a:r>
          </a:p>
        </p:txBody>
      </p:sp>
      <p:sp>
        <p:nvSpPr>
          <p:cNvPr id="219" name="TextBox 620">
            <a:extLst>
              <a:ext uri="{FF2B5EF4-FFF2-40B4-BE49-F238E27FC236}">
                <a16:creationId xmlns:a16="http://schemas.microsoft.com/office/drawing/2014/main" id="{C10558CB-2CFA-32DE-0A9E-DB4737BED9B1}"/>
              </a:ext>
            </a:extLst>
          </p:cNvPr>
          <p:cNvSpPr txBox="1">
            <a:spLocks/>
          </p:cNvSpPr>
          <p:nvPr/>
        </p:nvSpPr>
        <p:spPr>
          <a:xfrm rot="10800000" flipV="1">
            <a:off x="2745552" y="5372604"/>
            <a:ext cx="1353691" cy="174286"/>
          </a:xfrm>
          <a:prstGeom prst="roundRect">
            <a:avLst/>
          </a:prstGeom>
          <a:solidFill>
            <a:srgbClr val="8DC8E8">
              <a:lumMod val="20000"/>
              <a:lumOff val="80000"/>
            </a:srgbClr>
          </a:solidFill>
          <a:ln w="10795" cap="flat" cmpd="sng" algn="ctr">
            <a:noFill/>
            <a:prstDash val="solid"/>
          </a:ln>
          <a:effectLst/>
        </p:spPr>
        <p:txBody>
          <a:bodyPr vert="horz" lIns="0" tIns="0" rIns="0" bIns="0" rtlCol="0" anchor="ctr"/>
          <a:lstStyle>
            <a:defPPr>
              <a:defRPr lang="en-US"/>
            </a:defPPr>
            <a:lvl1pPr marL="0" marR="0" lvl="0" indent="0" algn="ctr" defTabSz="914400" rtl="0" eaLnBrk="1" fontAlgn="auto" latinLnBrk="0" hangingPunct="1">
              <a:lnSpc>
                <a:spcPct val="11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marL="457200" algn="l" defTabSz="914400" rtl="0" eaLnBrk="1" latinLnBrk="0" hangingPunct="1">
              <a:defRPr sz="1800" kern="1200">
                <a:solidFill>
                  <a:srgbClr val="FFFFFF"/>
                </a:solidFill>
                <a:latin typeface="Segoe Sans Text"/>
              </a:defRPr>
            </a:lvl2pPr>
            <a:lvl3pPr marL="914400" algn="l" defTabSz="914400" rtl="0" eaLnBrk="1" latinLnBrk="0" hangingPunct="1">
              <a:defRPr sz="1800" kern="1200">
                <a:solidFill>
                  <a:srgbClr val="FFFFFF"/>
                </a:solidFill>
                <a:latin typeface="Segoe Sans Text"/>
              </a:defRPr>
            </a:lvl3pPr>
            <a:lvl4pPr marL="1371600" algn="l" defTabSz="914400" rtl="0" eaLnBrk="1" latinLnBrk="0" hangingPunct="1">
              <a:defRPr sz="1800" kern="1200">
                <a:solidFill>
                  <a:srgbClr val="FFFFFF"/>
                </a:solidFill>
                <a:latin typeface="Segoe Sans Text"/>
              </a:defRPr>
            </a:lvl4pPr>
            <a:lvl5pPr marL="1828800" algn="l" defTabSz="914400" rtl="0" eaLnBrk="1" latinLnBrk="0" hangingPunct="1">
              <a:defRPr sz="1800" kern="1200">
                <a:solidFill>
                  <a:srgbClr val="FFFFFF"/>
                </a:solidFill>
                <a:latin typeface="Segoe Sans Text"/>
              </a:defRPr>
            </a:lvl5pPr>
            <a:lvl6pPr marL="2286000" algn="l" defTabSz="914400" rtl="0" eaLnBrk="1" latinLnBrk="0" hangingPunct="1">
              <a:defRPr sz="1800" kern="1200">
                <a:solidFill>
                  <a:srgbClr val="FFFFFF"/>
                </a:solidFill>
                <a:latin typeface="Segoe Sans Text"/>
              </a:defRPr>
            </a:lvl6pPr>
            <a:lvl7pPr marL="2743200" algn="l" defTabSz="914400" rtl="0" eaLnBrk="1" latinLnBrk="0" hangingPunct="1">
              <a:defRPr sz="1800" kern="1200">
                <a:solidFill>
                  <a:srgbClr val="FFFFFF"/>
                </a:solidFill>
                <a:latin typeface="Segoe Sans Text"/>
              </a:defRPr>
            </a:lvl7pPr>
            <a:lvl8pPr marL="3200400" algn="l" defTabSz="914400" rtl="0" eaLnBrk="1" latinLnBrk="0" hangingPunct="1">
              <a:defRPr sz="1800" kern="1200">
                <a:solidFill>
                  <a:srgbClr val="FFFFFF"/>
                </a:solidFill>
                <a:latin typeface="Segoe Sans Text"/>
              </a:defRPr>
            </a:lvl8pPr>
            <a:lvl9pPr marL="3657600" algn="l" defTabSz="914400" rtl="0" eaLnBrk="1" latinLnBrk="0" hangingPunct="1">
              <a:defRPr sz="1800" kern="1200">
                <a:solidFill>
                  <a:srgbClr val="FFFFFF"/>
                </a:solidFill>
                <a:latin typeface="Segoe Sans Text"/>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cs typeface="Segoe UI" panose="020B0502040204020203" pitchFamily="34" charset="0"/>
              </a:rPr>
              <a:t> App Inno. TS </a:t>
            </a:r>
          </a:p>
        </p:txBody>
      </p:sp>
      <p:grpSp>
        <p:nvGrpSpPr>
          <p:cNvPr id="220" name="Group 219">
            <a:extLst>
              <a:ext uri="{FF2B5EF4-FFF2-40B4-BE49-F238E27FC236}">
                <a16:creationId xmlns:a16="http://schemas.microsoft.com/office/drawing/2014/main" id="{0A4F52C5-3ECA-4976-17FA-F9F47F9FA619}"/>
              </a:ext>
            </a:extLst>
          </p:cNvPr>
          <p:cNvGrpSpPr/>
          <p:nvPr/>
        </p:nvGrpSpPr>
        <p:grpSpPr>
          <a:xfrm>
            <a:off x="6145085" y="1922562"/>
            <a:ext cx="378000" cy="377396"/>
            <a:chOff x="6148714" y="1744576"/>
            <a:chExt cx="378000" cy="377396"/>
          </a:xfrm>
        </p:grpSpPr>
        <p:sp>
          <p:nvSpPr>
            <p:cNvPr id="221" name="Oval 220">
              <a:extLst>
                <a:ext uri="{FF2B5EF4-FFF2-40B4-BE49-F238E27FC236}">
                  <a16:creationId xmlns:a16="http://schemas.microsoft.com/office/drawing/2014/main" id="{15974A80-450D-B1F7-3496-D60FAC450158}"/>
                </a:ext>
              </a:extLst>
            </p:cNvPr>
            <p:cNvSpPr/>
            <p:nvPr/>
          </p:nvSpPr>
          <p:spPr bwMode="auto">
            <a:xfrm>
              <a:off x="6148714" y="1744576"/>
              <a:ext cx="378000" cy="377396"/>
            </a:xfrm>
            <a:prstGeom prst="ellipse">
              <a:avLst/>
            </a:prstGeom>
            <a:solidFill>
              <a:srgbClr val="FFFFFF"/>
            </a:solidFill>
            <a:ln w="19050" cap="flat" cmpd="sng" algn="ctr">
              <a:solidFill>
                <a:srgbClr val="2A446F"/>
              </a:solid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00000"/>
                  </a:solidFill>
                  <a:latin typeface="Segoe Sans Text"/>
                </a:defRPr>
              </a:lvl1pPr>
              <a:lvl2pPr marL="457200" algn="l" defTabSz="914400" rtl="0" eaLnBrk="1" latinLnBrk="0" hangingPunct="1">
                <a:defRPr sz="1800" kern="1200">
                  <a:solidFill>
                    <a:srgbClr val="000000"/>
                  </a:solidFill>
                  <a:latin typeface="Segoe Sans Text"/>
                </a:defRPr>
              </a:lvl2pPr>
              <a:lvl3pPr marL="914400" algn="l" defTabSz="914400" rtl="0" eaLnBrk="1" latinLnBrk="0" hangingPunct="1">
                <a:defRPr sz="1800" kern="1200">
                  <a:solidFill>
                    <a:srgbClr val="000000"/>
                  </a:solidFill>
                  <a:latin typeface="Segoe Sans Text"/>
                </a:defRPr>
              </a:lvl3pPr>
              <a:lvl4pPr marL="1371600" algn="l" defTabSz="914400" rtl="0" eaLnBrk="1" latinLnBrk="0" hangingPunct="1">
                <a:defRPr sz="1800" kern="1200">
                  <a:solidFill>
                    <a:srgbClr val="000000"/>
                  </a:solidFill>
                  <a:latin typeface="Segoe Sans Text"/>
                </a:defRPr>
              </a:lvl4pPr>
              <a:lvl5pPr marL="1828800" algn="l" defTabSz="914400" rtl="0" eaLnBrk="1" latinLnBrk="0" hangingPunct="1">
                <a:defRPr sz="1800" kern="1200">
                  <a:solidFill>
                    <a:srgbClr val="000000"/>
                  </a:solidFill>
                  <a:latin typeface="Segoe Sans Text"/>
                </a:defRPr>
              </a:lvl5pPr>
              <a:lvl6pPr marL="2286000" algn="l" defTabSz="914400" rtl="0" eaLnBrk="1" latinLnBrk="0" hangingPunct="1">
                <a:defRPr sz="1800" kern="1200">
                  <a:solidFill>
                    <a:srgbClr val="000000"/>
                  </a:solidFill>
                  <a:latin typeface="Segoe Sans Text"/>
                </a:defRPr>
              </a:lvl6pPr>
              <a:lvl7pPr marL="2743200" algn="l" defTabSz="914400" rtl="0" eaLnBrk="1" latinLnBrk="0" hangingPunct="1">
                <a:defRPr sz="1800" kern="1200">
                  <a:solidFill>
                    <a:srgbClr val="000000"/>
                  </a:solidFill>
                  <a:latin typeface="Segoe Sans Text"/>
                </a:defRPr>
              </a:lvl7pPr>
              <a:lvl8pPr marL="3200400" algn="l" defTabSz="914400" rtl="0" eaLnBrk="1" latinLnBrk="0" hangingPunct="1">
                <a:defRPr sz="1800" kern="1200">
                  <a:solidFill>
                    <a:srgbClr val="000000"/>
                  </a:solidFill>
                  <a:latin typeface="Segoe Sans Text"/>
                </a:defRPr>
              </a:lvl8pPr>
              <a:lvl9pPr marL="3657600" algn="l" defTabSz="914400" rtl="0" eaLnBrk="1" latinLnBrk="0" hangingPunct="1">
                <a:defRPr sz="1800" kern="1200">
                  <a:solidFill>
                    <a:srgbClr val="000000"/>
                  </a:solidFill>
                  <a:latin typeface="Segoe Sans Text"/>
                </a:defRPr>
              </a:lvl9p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bold"/>
                <a:cs typeface="Segoe UI" pitchFamily="34" charset="0"/>
              </a:endParaRPr>
            </a:p>
          </p:txBody>
        </p:sp>
        <p:pic>
          <p:nvPicPr>
            <p:cNvPr id="228" name="Graphic 623">
              <a:extLst>
                <a:ext uri="{FF2B5EF4-FFF2-40B4-BE49-F238E27FC236}">
                  <a16:creationId xmlns:a16="http://schemas.microsoft.com/office/drawing/2014/main" id="{433639F2-B813-D758-8E6F-05F50060B9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7527" y="1807544"/>
              <a:ext cx="251460" cy="251460"/>
            </a:xfrm>
            <a:prstGeom prst="rect">
              <a:avLst/>
            </a:prstGeom>
          </p:spPr>
        </p:pic>
      </p:grpSp>
      <p:sp>
        <p:nvSpPr>
          <p:cNvPr id="4" name="Rectangle 3">
            <a:extLst>
              <a:ext uri="{FF2B5EF4-FFF2-40B4-BE49-F238E27FC236}">
                <a16:creationId xmlns:a16="http://schemas.microsoft.com/office/drawing/2014/main" id="{59A0B791-86A5-2A2C-4CB6-43F0624C96D5}"/>
              </a:ext>
            </a:extLst>
          </p:cNvPr>
          <p:cNvSpPr/>
          <p:nvPr/>
        </p:nvSpPr>
        <p:spPr bwMode="auto">
          <a:xfrm>
            <a:off x="100013" y="5756698"/>
            <a:ext cx="11944350" cy="822960"/>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AF9C42BC-BAE3-6E4B-B4F7-E5C969E4A318}"/>
              </a:ext>
            </a:extLst>
          </p:cNvPr>
          <p:cNvSpPr/>
          <p:nvPr/>
        </p:nvSpPr>
        <p:spPr bwMode="auto">
          <a:xfrm>
            <a:off x="770688" y="1387875"/>
            <a:ext cx="10706050" cy="381271"/>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F5C6297-0B7A-FE4A-B9C9-36CDA8534D55}"/>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6" name="Table 2 Cell 1, 1 to Text">
              <a:extLst>
                <a:ext uri="{FF2B5EF4-FFF2-40B4-BE49-F238E27FC236}">
                  <a16:creationId xmlns:a16="http://schemas.microsoft.com/office/drawing/2014/main" id="{9F64D78D-A1C2-9C61-8517-3DA1CF331FE4}"/>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7" name="Table 2 Cell 2, 1 to Text">
              <a:extLst>
                <a:ext uri="{FF2B5EF4-FFF2-40B4-BE49-F238E27FC236}">
                  <a16:creationId xmlns:a16="http://schemas.microsoft.com/office/drawing/2014/main" id="{0C4394EA-05A0-5BB7-6A0E-369C755ECCEB}"/>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8" name="Table 2 Cell 3, 1 to Text">
              <a:extLst>
                <a:ext uri="{FF2B5EF4-FFF2-40B4-BE49-F238E27FC236}">
                  <a16:creationId xmlns:a16="http://schemas.microsoft.com/office/drawing/2014/main" id="{2561AA3D-5B8B-4A52-3A24-0E82E7D92BAA}"/>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45" name="Table 2 Cell 4, 1 to Text">
              <a:extLst>
                <a:ext uri="{FF2B5EF4-FFF2-40B4-BE49-F238E27FC236}">
                  <a16:creationId xmlns:a16="http://schemas.microsoft.com/office/drawing/2014/main" id="{D60DFC83-DAE9-BEF9-B131-7BDBD34623DF}"/>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6" name="Table 2 Cell 5, 1 to Text">
              <a:extLst>
                <a:ext uri="{FF2B5EF4-FFF2-40B4-BE49-F238E27FC236}">
                  <a16:creationId xmlns:a16="http://schemas.microsoft.com/office/drawing/2014/main" id="{619BA000-2922-C2CE-A242-61D2E2EFBE6F}"/>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47" name="Table 2 Cell 6, 1 to Text">
              <a:extLst>
                <a:ext uri="{FF2B5EF4-FFF2-40B4-BE49-F238E27FC236}">
                  <a16:creationId xmlns:a16="http://schemas.microsoft.com/office/drawing/2014/main" id="{54C597BB-4034-5228-32FF-9713F6289082}"/>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48" name="Table 2 Cell 7, 1 to Text">
              <a:extLst>
                <a:ext uri="{FF2B5EF4-FFF2-40B4-BE49-F238E27FC236}">
                  <a16:creationId xmlns:a16="http://schemas.microsoft.com/office/drawing/2014/main" id="{A00AF206-1EA2-175D-43C9-F6D613BB2A09}"/>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49" name="Table 2 Cell 1, 2 to Text">
              <a:extLst>
                <a:ext uri="{FF2B5EF4-FFF2-40B4-BE49-F238E27FC236}">
                  <a16:creationId xmlns:a16="http://schemas.microsoft.com/office/drawing/2014/main" id="{D25BCB45-611F-DF57-29DA-5689FA0FFCAF}"/>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50" name="Table 2 Cell 1, 3 to Text">
              <a:extLst>
                <a:ext uri="{FF2B5EF4-FFF2-40B4-BE49-F238E27FC236}">
                  <a16:creationId xmlns:a16="http://schemas.microsoft.com/office/drawing/2014/main" id="{B69C3D22-4D2C-8482-9A3C-19DFC51DB7EC}"/>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52" name="Table 2 Cell 1, 4 to Text">
              <a:extLst>
                <a:ext uri="{FF2B5EF4-FFF2-40B4-BE49-F238E27FC236}">
                  <a16:creationId xmlns:a16="http://schemas.microsoft.com/office/drawing/2014/main" id="{E12B34C1-5EB7-6EE9-58B7-9C76966269FC}"/>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53" name="Table 2 Cell 1, 5 to Text">
              <a:extLst>
                <a:ext uri="{FF2B5EF4-FFF2-40B4-BE49-F238E27FC236}">
                  <a16:creationId xmlns:a16="http://schemas.microsoft.com/office/drawing/2014/main" id="{9434F81D-3431-7688-BA17-36B82BECCB47}"/>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4 Sales Model &amp; Role Changes</a:t>
              </a:r>
            </a:p>
          </p:txBody>
        </p:sp>
        <p:sp>
          <p:nvSpPr>
            <p:cNvPr id="54" name="Table 2 Cell 1, 6 to Text">
              <a:extLst>
                <a:ext uri="{FF2B5EF4-FFF2-40B4-BE49-F238E27FC236}">
                  <a16:creationId xmlns:a16="http://schemas.microsoft.com/office/drawing/2014/main" id="{7D1F7737-378A-2251-BA44-8BC564ADACA5}"/>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56" name="Table 2 Cell 1, 7 to Text">
              <a:extLst>
                <a:ext uri="{FF2B5EF4-FFF2-40B4-BE49-F238E27FC236}">
                  <a16:creationId xmlns:a16="http://schemas.microsoft.com/office/drawing/2014/main" id="{C7A6640F-97FA-7447-DFA4-CED1EADCA57C}"/>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57" name="Table 2 Cell 1, 8 to Text">
              <a:extLst>
                <a:ext uri="{FF2B5EF4-FFF2-40B4-BE49-F238E27FC236}">
                  <a16:creationId xmlns:a16="http://schemas.microsoft.com/office/drawing/2014/main" id="{4380A507-4D5C-C1F9-8341-2DFF3F3FFB6D}"/>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
        <p:nvSpPr>
          <p:cNvPr id="60" name="Title 59">
            <a:extLst>
              <a:ext uri="{FF2B5EF4-FFF2-40B4-BE49-F238E27FC236}">
                <a16:creationId xmlns:a16="http://schemas.microsoft.com/office/drawing/2014/main" id="{26A57AE9-9F38-5448-AAE9-3D58BF851A64}"/>
              </a:ext>
            </a:extLst>
          </p:cNvPr>
          <p:cNvSpPr>
            <a:spLocks noGrp="1"/>
          </p:cNvSpPr>
          <p:nvPr>
            <p:ph type="title"/>
          </p:nvPr>
        </p:nvSpPr>
        <p:spPr>
          <a:xfrm>
            <a:off x="571500" y="457200"/>
            <a:ext cx="11049000" cy="369332"/>
          </a:xfrm>
        </p:spPr>
        <p:txBody>
          <a:bodyPr/>
          <a:lstStyle/>
          <a:p>
            <a:r>
              <a:rPr lang="en-US" sz="2400">
                <a:solidFill>
                  <a:srgbClr val="0078D4"/>
                </a:solidFill>
              </a:rPr>
              <a:t>Sales Model </a:t>
            </a:r>
            <a:r>
              <a:rPr lang="en-US" sz="2400"/>
              <a:t>| Enterprise</a:t>
            </a:r>
          </a:p>
        </p:txBody>
      </p:sp>
      <p:sp>
        <p:nvSpPr>
          <p:cNvPr id="2" name="TextBox 1">
            <a:extLst>
              <a:ext uri="{FF2B5EF4-FFF2-40B4-BE49-F238E27FC236}">
                <a16:creationId xmlns:a16="http://schemas.microsoft.com/office/drawing/2014/main" id="{7CE61DF9-62C9-BFE6-10D1-0A39BD4FBCEA}"/>
              </a:ext>
            </a:extLst>
          </p:cNvPr>
          <p:cNvSpPr txBox="1">
            <a:spLocks/>
          </p:cNvSpPr>
          <p:nvPr/>
        </p:nvSpPr>
        <p:spPr>
          <a:xfrm rot="10800000" flipV="1">
            <a:off x="7207301" y="6254294"/>
            <a:ext cx="4177135" cy="182424"/>
          </a:xfrm>
          <a:prstGeom prst="roundRect">
            <a:avLst/>
          </a:prstGeom>
          <a:solidFill>
            <a:srgbClr val="9C9E9E"/>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solidFill>
                <a:effectLst/>
                <a:uLnTx/>
                <a:uFillTx/>
                <a:latin typeface="Segoe UI Semibold"/>
                <a:cs typeface="Segoe UI" panose="020B0502040204020203" pitchFamily="34" charset="0"/>
              </a:rPr>
              <a:t>Cloud &amp; AI* CSA </a:t>
            </a:r>
          </a:p>
        </p:txBody>
      </p:sp>
    </p:spTree>
    <p:extLst>
      <p:ext uri="{BB962C8B-B14F-4D97-AF65-F5344CB8AC3E}">
        <p14:creationId xmlns:p14="http://schemas.microsoft.com/office/powerpoint/2010/main" val="8266283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EC920-B925-03A6-6F99-546114544589}"/>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BF3FBE7-1E6F-2FBF-E34E-8CE460DA6AA4}"/>
              </a:ext>
            </a:extLst>
          </p:cNvPr>
          <p:cNvSpPr>
            <a:spLocks noGrp="1"/>
          </p:cNvSpPr>
          <p:nvPr>
            <p:ph type="title"/>
          </p:nvPr>
        </p:nvSpPr>
        <p:spPr>
          <a:xfrm>
            <a:off x="571500" y="457200"/>
            <a:ext cx="11049000" cy="415498"/>
          </a:xfrm>
        </p:spPr>
        <p:txBody>
          <a:bodyPr/>
          <a:lstStyle/>
          <a:p>
            <a:r>
              <a:rPr lang="en-US" sz="2700">
                <a:solidFill>
                  <a:schemeClr val="accent1"/>
                </a:solidFill>
                <a:ea typeface="+mj-ea"/>
                <a:cs typeface="+mj-cs"/>
              </a:rPr>
              <a:t>Sales Model </a:t>
            </a:r>
            <a:r>
              <a:rPr lang="en-US" sz="2700">
                <a:ea typeface="+mj-ea"/>
                <a:cs typeface="+mj-cs"/>
              </a:rPr>
              <a:t>| Corporate</a:t>
            </a:r>
          </a:p>
        </p:txBody>
      </p:sp>
      <p:sp>
        <p:nvSpPr>
          <p:cNvPr id="3" name="Rectangle: Top Corners Rounded 2">
            <a:extLst>
              <a:ext uri="{FF2B5EF4-FFF2-40B4-BE49-F238E27FC236}">
                <a16:creationId xmlns:a16="http://schemas.microsoft.com/office/drawing/2014/main" id="{E0CECEE5-E0DA-F1BF-C8C2-CCBCE30DDEB3}"/>
              </a:ext>
            </a:extLst>
          </p:cNvPr>
          <p:cNvSpPr/>
          <p:nvPr/>
        </p:nvSpPr>
        <p:spPr bwMode="auto">
          <a:xfrm>
            <a:off x="1038070" y="1925174"/>
            <a:ext cx="4549383" cy="497607"/>
          </a:xfrm>
          <a:prstGeom prst="round2SameRect">
            <a:avLst/>
          </a:prstGeom>
          <a:gradFill flip="none" rotWithShape="1">
            <a:gsLst>
              <a:gs pos="67000">
                <a:srgbClr val="0078D4">
                  <a:lumMod val="30000"/>
                  <a:lumOff val="70000"/>
                </a:srgbClr>
              </a:gs>
              <a:gs pos="0">
                <a:srgbClr val="49C5B1">
                  <a:lumMod val="30000"/>
                  <a:lumOff val="70000"/>
                </a:srgbClr>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54142"/>
                </a:solidFill>
                <a:effectLst/>
                <a:uLnTx/>
                <a:uFillTx/>
                <a:latin typeface="Segoe UI Semibold"/>
                <a:ea typeface="+mn-ea"/>
                <a:cs typeface="+mn-cs"/>
              </a:rPr>
              <a:t>FY25</a:t>
            </a:r>
          </a:p>
        </p:txBody>
      </p:sp>
      <p:sp>
        <p:nvSpPr>
          <p:cNvPr id="4" name="Rectangle: Top Corners Rounded 3">
            <a:extLst>
              <a:ext uri="{FF2B5EF4-FFF2-40B4-BE49-F238E27FC236}">
                <a16:creationId xmlns:a16="http://schemas.microsoft.com/office/drawing/2014/main" id="{957FF5DA-19C1-8E04-B364-018AA79021AA}"/>
              </a:ext>
            </a:extLst>
          </p:cNvPr>
          <p:cNvSpPr/>
          <p:nvPr/>
        </p:nvSpPr>
        <p:spPr bwMode="auto">
          <a:xfrm>
            <a:off x="7105476" y="1927133"/>
            <a:ext cx="4515025" cy="351288"/>
          </a:xfrm>
          <a:prstGeom prst="round2SameRect">
            <a:avLst/>
          </a:prstGeom>
          <a:gradFill flip="none" rotWithShape="1">
            <a:gsLst>
              <a:gs pos="67000">
                <a:srgbClr val="0078D4"/>
              </a:gs>
              <a:gs pos="0">
                <a:srgbClr val="49C5B1"/>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FY2</a:t>
            </a:r>
            <a:r>
              <a:rPr kumimoji="0" lang="uk-UA" sz="1200" b="0" i="0" u="none" strike="noStrike" kern="0" cap="none" spc="0" normalizeH="0" baseline="0" noProof="0">
                <a:ln>
                  <a:noFill/>
                </a:ln>
                <a:solidFill>
                  <a:srgbClr val="FFFFFF"/>
                </a:solidFill>
                <a:effectLst/>
                <a:uLnTx/>
                <a:uFillTx/>
                <a:latin typeface="Segoe UI Semibold"/>
                <a:ea typeface="+mn-ea"/>
                <a:cs typeface="+mn-cs"/>
              </a:rPr>
              <a:t>6</a:t>
            </a:r>
            <a:endParaRPr kumimoji="0" lang="en-US"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 name="Rectangle: Rounded Corners 4">
            <a:extLst>
              <a:ext uri="{FF2B5EF4-FFF2-40B4-BE49-F238E27FC236}">
                <a16:creationId xmlns:a16="http://schemas.microsoft.com/office/drawing/2014/main" id="{2D1E6704-F925-B963-389E-D087A3D78DD7}"/>
              </a:ext>
            </a:extLst>
          </p:cNvPr>
          <p:cNvSpPr/>
          <p:nvPr/>
        </p:nvSpPr>
        <p:spPr bwMode="auto">
          <a:xfrm>
            <a:off x="1034209" y="2209048"/>
            <a:ext cx="10572573" cy="4417292"/>
          </a:xfrm>
          <a:prstGeom prst="roundRect">
            <a:avLst>
              <a:gd name="adj" fmla="val 2453"/>
            </a:avLst>
          </a:prstGeom>
          <a:solidFill>
            <a:srgbClr val="FFFFFF"/>
          </a:solidFill>
          <a:ln w="190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57813FE0-229A-FA11-B840-C20D148AC32F}"/>
              </a:ext>
            </a:extLst>
          </p:cNvPr>
          <p:cNvSpPr/>
          <p:nvPr/>
        </p:nvSpPr>
        <p:spPr>
          <a:xfrm>
            <a:off x="1171433" y="2669422"/>
            <a:ext cx="1295199" cy="313396"/>
          </a:xfrm>
          <a:prstGeom prst="roundRect">
            <a:avLst/>
          </a:prstGeom>
          <a:noFill/>
          <a:ln w="12700" cap="flat" cmpd="sng" algn="ctr">
            <a:solidFill>
              <a:srgbClr val="0078D4">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grate &amp; Secure</a:t>
            </a:r>
          </a:p>
        </p:txBody>
      </p:sp>
      <p:sp>
        <p:nvSpPr>
          <p:cNvPr id="7" name="Rectangle: Rounded Corners 6">
            <a:extLst>
              <a:ext uri="{FF2B5EF4-FFF2-40B4-BE49-F238E27FC236}">
                <a16:creationId xmlns:a16="http://schemas.microsoft.com/office/drawing/2014/main" id="{4E1A3AA7-596F-085A-65E1-C0F5F76C07D0}"/>
              </a:ext>
            </a:extLst>
          </p:cNvPr>
          <p:cNvSpPr/>
          <p:nvPr/>
        </p:nvSpPr>
        <p:spPr>
          <a:xfrm>
            <a:off x="4111127" y="3039665"/>
            <a:ext cx="1399592" cy="317133"/>
          </a:xfrm>
          <a:prstGeom prst="roundRect">
            <a:avLst/>
          </a:prstGeom>
          <a:noFill/>
          <a:ln w="12700" cap="flat" cmpd="sng" algn="ctr">
            <a:solidFill>
              <a:srgbClr val="49C5B1">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600"/>
              </a:spcAft>
              <a:buClrTx/>
              <a:buSzTx/>
              <a:buFont typeface="+mj-lt"/>
              <a:buNone/>
              <a:tabLst/>
              <a:defRPr/>
            </a:pPr>
            <a:r>
              <a:rPr kumimoji="0" lang="en-US" sz="1000" b="0" i="0"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novate with Azure AI Platform </a:t>
            </a:r>
            <a:endParaRPr kumimoji="0" lang="en-US" sz="1000" b="0" i="1"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8" name="Rectangle: Rounded Corners 7">
            <a:extLst>
              <a:ext uri="{FF2B5EF4-FFF2-40B4-BE49-F238E27FC236}">
                <a16:creationId xmlns:a16="http://schemas.microsoft.com/office/drawing/2014/main" id="{2318BD79-891D-35AF-A94A-FF62729AEAA7}"/>
              </a:ext>
            </a:extLst>
          </p:cNvPr>
          <p:cNvSpPr/>
          <p:nvPr/>
        </p:nvSpPr>
        <p:spPr>
          <a:xfrm>
            <a:off x="4116971" y="2669424"/>
            <a:ext cx="1401313" cy="317133"/>
          </a:xfrm>
          <a:prstGeom prst="roundRect">
            <a:avLst/>
          </a:prstGeom>
          <a:noFill/>
          <a:ln w="12700" cap="flat" cmpd="sng" algn="ctr">
            <a:solidFill>
              <a:srgbClr val="49C5B1">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60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Build &amp; Modernize AI Apps</a:t>
            </a:r>
            <a:endParaRPr kumimoji="0" lang="en-US" sz="1000" b="0" i="1"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1" name="Rectangle: Rounded Corners 10">
            <a:extLst>
              <a:ext uri="{FF2B5EF4-FFF2-40B4-BE49-F238E27FC236}">
                <a16:creationId xmlns:a16="http://schemas.microsoft.com/office/drawing/2014/main" id="{59887E03-CD1F-F1B3-6C50-1F5C49FF1CFD}"/>
              </a:ext>
            </a:extLst>
          </p:cNvPr>
          <p:cNvSpPr/>
          <p:nvPr/>
        </p:nvSpPr>
        <p:spPr>
          <a:xfrm>
            <a:off x="1171432" y="3043401"/>
            <a:ext cx="1295200" cy="313397"/>
          </a:xfrm>
          <a:prstGeom prst="roundRect">
            <a:avLst/>
          </a:prstGeom>
          <a:noFill/>
          <a:ln w="12700" cap="flat" cmpd="sng" algn="ctr">
            <a:solidFill>
              <a:srgbClr val="0078D4">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0"/>
              </a:spcAft>
              <a:buClrTx/>
              <a:buSzTx/>
              <a:buFont typeface="+mj-lt"/>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grate SAP</a:t>
            </a:r>
          </a:p>
        </p:txBody>
      </p:sp>
      <p:sp>
        <p:nvSpPr>
          <p:cNvPr id="12" name="Rectangle: Rounded Corners 11">
            <a:extLst>
              <a:ext uri="{FF2B5EF4-FFF2-40B4-BE49-F238E27FC236}">
                <a16:creationId xmlns:a16="http://schemas.microsoft.com/office/drawing/2014/main" id="{EFABD261-3ED6-352C-55A2-F82C822C6A9E}"/>
              </a:ext>
            </a:extLst>
          </p:cNvPr>
          <p:cNvSpPr/>
          <p:nvPr/>
        </p:nvSpPr>
        <p:spPr>
          <a:xfrm>
            <a:off x="7193715" y="2676450"/>
            <a:ext cx="1369733" cy="692822"/>
          </a:xfrm>
          <a:prstGeom prst="roundRect">
            <a:avLst>
              <a:gd name="adj" fmla="val 10634"/>
            </a:avLst>
          </a:prstGeom>
          <a:solidFill>
            <a:srgbClr val="2A446F">
              <a:lumMod val="20000"/>
              <a:lumOff val="80000"/>
              <a:alpha val="40000"/>
            </a:srgbClr>
          </a:solidFill>
          <a:ln w="12700" cap="flat" cmpd="sng" algn="ctr">
            <a:solidFill>
              <a:srgbClr val="0078D4">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grate &amp; Modernize Your Estate</a:t>
            </a:r>
          </a:p>
        </p:txBody>
      </p:sp>
      <p:sp>
        <p:nvSpPr>
          <p:cNvPr id="13" name="Rectangle: Rounded Corners 12">
            <a:extLst>
              <a:ext uri="{FF2B5EF4-FFF2-40B4-BE49-F238E27FC236}">
                <a16:creationId xmlns:a16="http://schemas.microsoft.com/office/drawing/2014/main" id="{B1CA7575-2C1A-02FA-9ACB-AD9C0F4B650A}"/>
              </a:ext>
            </a:extLst>
          </p:cNvPr>
          <p:cNvSpPr/>
          <p:nvPr/>
        </p:nvSpPr>
        <p:spPr>
          <a:xfrm>
            <a:off x="10104287" y="2676450"/>
            <a:ext cx="1369733" cy="692822"/>
          </a:xfrm>
          <a:prstGeom prst="roundRect">
            <a:avLst>
              <a:gd name="adj" fmla="val 11388"/>
            </a:avLst>
          </a:prstGeom>
          <a:solidFill>
            <a:srgbClr val="49C5B1">
              <a:lumMod val="20000"/>
              <a:lumOff val="80000"/>
            </a:srgbClr>
          </a:solidFill>
          <a:ln w="12700" cap="flat" cmpd="sng" algn="ctr">
            <a:solidFill>
              <a:srgbClr val="49C5B1">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ts val="600"/>
              </a:spcAft>
              <a:buClrTx/>
              <a:buSzTx/>
              <a:buFontTx/>
              <a:buNone/>
              <a:tabLst/>
              <a:defRPr/>
            </a:pPr>
            <a:r>
              <a:rPr kumimoji="0" lang="en-US" sz="1000" b="0" i="0"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novate with Azure AI Apps and Agents</a:t>
            </a:r>
          </a:p>
        </p:txBody>
      </p:sp>
      <p:sp>
        <p:nvSpPr>
          <p:cNvPr id="16" name="Rectangle: Rounded Corners 15">
            <a:extLst>
              <a:ext uri="{FF2B5EF4-FFF2-40B4-BE49-F238E27FC236}">
                <a16:creationId xmlns:a16="http://schemas.microsoft.com/office/drawing/2014/main" id="{59EC9D25-6800-FC5A-AA64-7E5419B0972F}"/>
              </a:ext>
            </a:extLst>
          </p:cNvPr>
          <p:cNvSpPr/>
          <p:nvPr/>
        </p:nvSpPr>
        <p:spPr>
          <a:xfrm>
            <a:off x="8657439" y="2676450"/>
            <a:ext cx="1358862" cy="692822"/>
          </a:xfrm>
          <a:prstGeom prst="roundRect">
            <a:avLst>
              <a:gd name="adj" fmla="val 10634"/>
            </a:avLst>
          </a:prstGeom>
          <a:solidFill>
            <a:srgbClr val="8DC8E8">
              <a:lumMod val="20000"/>
              <a:lumOff val="80000"/>
            </a:srgbClr>
          </a:solidFill>
          <a:ln w="12700" cap="flat" cmpd="sng" algn="ctr">
            <a:solidFill>
              <a:srgbClr val="8DC8E8">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nify Your Data Platform</a:t>
            </a:r>
          </a:p>
        </p:txBody>
      </p:sp>
      <p:sp>
        <p:nvSpPr>
          <p:cNvPr id="17" name="TextBox 16">
            <a:extLst>
              <a:ext uri="{FF2B5EF4-FFF2-40B4-BE49-F238E27FC236}">
                <a16:creationId xmlns:a16="http://schemas.microsoft.com/office/drawing/2014/main" id="{ED12E079-D4ED-902B-5B38-9A43F000F439}"/>
              </a:ext>
            </a:extLst>
          </p:cNvPr>
          <p:cNvSpPr txBox="1"/>
          <p:nvPr/>
        </p:nvSpPr>
        <p:spPr>
          <a:xfrm>
            <a:off x="1160863" y="3666752"/>
            <a:ext cx="1490151" cy="248338"/>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IO, CISO, CTO</a:t>
            </a:r>
          </a:p>
        </p:txBody>
      </p:sp>
      <p:sp>
        <p:nvSpPr>
          <p:cNvPr id="20" name="TextBox 19">
            <a:extLst>
              <a:ext uri="{FF2B5EF4-FFF2-40B4-BE49-F238E27FC236}">
                <a16:creationId xmlns:a16="http://schemas.microsoft.com/office/drawing/2014/main" id="{D8AD3D74-C498-71DE-AFB3-189D24D13CD0}"/>
              </a:ext>
            </a:extLst>
          </p:cNvPr>
          <p:cNvSpPr txBox="1"/>
          <p:nvPr/>
        </p:nvSpPr>
        <p:spPr>
          <a:xfrm>
            <a:off x="2729676" y="3666752"/>
            <a:ext cx="1369732" cy="248338"/>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DO   CIO, CFO</a:t>
            </a:r>
          </a:p>
        </p:txBody>
      </p:sp>
      <p:sp>
        <p:nvSpPr>
          <p:cNvPr id="25" name="TextBox 24">
            <a:extLst>
              <a:ext uri="{FF2B5EF4-FFF2-40B4-BE49-F238E27FC236}">
                <a16:creationId xmlns:a16="http://schemas.microsoft.com/office/drawing/2014/main" id="{8AC4A476-8E62-F5BA-AEDE-F68D5C3BB58F}"/>
              </a:ext>
            </a:extLst>
          </p:cNvPr>
          <p:cNvSpPr txBox="1"/>
          <p:nvPr/>
        </p:nvSpPr>
        <p:spPr>
          <a:xfrm>
            <a:off x="3768887" y="3665611"/>
            <a:ext cx="2001477" cy="248338"/>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AIO   CxO, Dev, BDM</a:t>
            </a:r>
          </a:p>
        </p:txBody>
      </p:sp>
      <p:sp>
        <p:nvSpPr>
          <p:cNvPr id="26" name="TextBox 25">
            <a:extLst>
              <a:ext uri="{FF2B5EF4-FFF2-40B4-BE49-F238E27FC236}">
                <a16:creationId xmlns:a16="http://schemas.microsoft.com/office/drawing/2014/main" id="{24EB80B0-8466-2F6B-AC6F-5021201C7B8D}"/>
              </a:ext>
            </a:extLst>
          </p:cNvPr>
          <p:cNvSpPr txBox="1"/>
          <p:nvPr/>
        </p:nvSpPr>
        <p:spPr>
          <a:xfrm>
            <a:off x="7066030" y="3658647"/>
            <a:ext cx="1597689" cy="232756"/>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IO, CISO, CTO</a:t>
            </a:r>
          </a:p>
        </p:txBody>
      </p:sp>
      <p:sp>
        <p:nvSpPr>
          <p:cNvPr id="27" name="TextBox 26">
            <a:extLst>
              <a:ext uri="{FF2B5EF4-FFF2-40B4-BE49-F238E27FC236}">
                <a16:creationId xmlns:a16="http://schemas.microsoft.com/office/drawing/2014/main" id="{3EECB6E8-FC63-BED7-5F78-D44D96B24276}"/>
              </a:ext>
            </a:extLst>
          </p:cNvPr>
          <p:cNvSpPr txBox="1"/>
          <p:nvPr/>
        </p:nvSpPr>
        <p:spPr>
          <a:xfrm>
            <a:off x="8539453" y="3675658"/>
            <a:ext cx="1647070" cy="232756"/>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DO   CIO, CFO</a:t>
            </a:r>
          </a:p>
        </p:txBody>
      </p:sp>
      <p:sp>
        <p:nvSpPr>
          <p:cNvPr id="28" name="TextBox 27">
            <a:extLst>
              <a:ext uri="{FF2B5EF4-FFF2-40B4-BE49-F238E27FC236}">
                <a16:creationId xmlns:a16="http://schemas.microsoft.com/office/drawing/2014/main" id="{12D23B65-9B07-40D4-53CB-457B30CA7CBF}"/>
              </a:ext>
            </a:extLst>
          </p:cNvPr>
          <p:cNvSpPr txBox="1"/>
          <p:nvPr/>
        </p:nvSpPr>
        <p:spPr>
          <a:xfrm>
            <a:off x="10003635" y="3675259"/>
            <a:ext cx="1571036" cy="232756"/>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AIO   </a:t>
            </a:r>
            <a:r>
              <a:rPr kumimoji="0" lang="en-US" sz="9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CxO</a:t>
            </a:r>
            <a:r>
              <a:rPr kumimoji="0" lang="en-US" sz="9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Dev, BDM</a:t>
            </a:r>
          </a:p>
        </p:txBody>
      </p:sp>
      <p:cxnSp>
        <p:nvCxnSpPr>
          <p:cNvPr id="29" name="Straight Connector 28">
            <a:extLst>
              <a:ext uri="{FF2B5EF4-FFF2-40B4-BE49-F238E27FC236}">
                <a16:creationId xmlns:a16="http://schemas.microsoft.com/office/drawing/2014/main" id="{6E3B87F4-B3B8-AFAC-551B-4DC93F6CF7B1}"/>
              </a:ext>
            </a:extLst>
          </p:cNvPr>
          <p:cNvCxnSpPr>
            <a:cxnSpLocks/>
          </p:cNvCxnSpPr>
          <p:nvPr/>
        </p:nvCxnSpPr>
        <p:spPr>
          <a:xfrm flipV="1">
            <a:off x="1038070" y="2545181"/>
            <a:ext cx="4542930" cy="6697"/>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35" name="Rectangle: Rounded Corners 34">
            <a:extLst>
              <a:ext uri="{FF2B5EF4-FFF2-40B4-BE49-F238E27FC236}">
                <a16:creationId xmlns:a16="http://schemas.microsoft.com/office/drawing/2014/main" id="{D1722938-DFE8-DC56-D689-6C87CACBC08B}"/>
              </a:ext>
            </a:extLst>
          </p:cNvPr>
          <p:cNvSpPr/>
          <p:nvPr/>
        </p:nvSpPr>
        <p:spPr bwMode="auto">
          <a:xfrm>
            <a:off x="588263" y="1082690"/>
            <a:ext cx="11031220" cy="709764"/>
          </a:xfrm>
          <a:prstGeom prst="roundRect">
            <a:avLst>
              <a:gd name="adj" fmla="val 9730"/>
            </a:avLst>
          </a:prstGeom>
          <a:no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39276C92-03C7-63D3-E81D-86978D8A15B5}"/>
              </a:ext>
            </a:extLst>
          </p:cNvPr>
          <p:cNvSpPr txBox="1"/>
          <p:nvPr/>
        </p:nvSpPr>
        <p:spPr>
          <a:xfrm>
            <a:off x="757098" y="979202"/>
            <a:ext cx="824523" cy="184666"/>
          </a:xfrm>
          <a:prstGeom prst="rect">
            <a:avLst/>
          </a:prstGeom>
          <a:solidFill>
            <a:srgbClr val="FFFFFF"/>
          </a:solidFill>
        </p:spPr>
        <p:txBody>
          <a:bodyPr wrap="square" lIns="0" tIns="0" rIns="0" bIns="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Summary</a:t>
            </a:r>
          </a:p>
        </p:txBody>
      </p:sp>
      <p:sp>
        <p:nvSpPr>
          <p:cNvPr id="37" name="Freeform 16">
            <a:extLst>
              <a:ext uri="{FF2B5EF4-FFF2-40B4-BE49-F238E27FC236}">
                <a16:creationId xmlns:a16="http://schemas.microsoft.com/office/drawing/2014/main" id="{D47114D8-8923-B62D-641B-AF455AF426F2}"/>
              </a:ext>
            </a:extLst>
          </p:cNvPr>
          <p:cNvSpPr/>
          <p:nvPr/>
        </p:nvSpPr>
        <p:spPr bwMode="auto">
          <a:xfrm rot="16200000">
            <a:off x="327556" y="2919945"/>
            <a:ext cx="689301"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 name="Rectangle: Rounded Corners 36">
            <a:extLst>
              <a:ext uri="{FF2B5EF4-FFF2-40B4-BE49-F238E27FC236}">
                <a16:creationId xmlns:a16="http://schemas.microsoft.com/office/drawing/2014/main" id="{957A6903-92FE-EAB5-E920-1DB5D831DA29}"/>
              </a:ext>
              <a:ext uri="{C183D7F6-B498-43B3-948B-1728B52AA6E4}">
                <adec:decorative xmlns:adec="http://schemas.microsoft.com/office/drawing/2017/decorative" val="1"/>
              </a:ext>
            </a:extLst>
          </p:cNvPr>
          <p:cNvSpPr/>
          <p:nvPr/>
        </p:nvSpPr>
        <p:spPr>
          <a:xfrm rot="16200000">
            <a:off x="369072" y="2850658"/>
            <a:ext cx="586103" cy="326244"/>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18288" numCol="1" spcCol="0" rtlCol="0" fromWordArt="0" anchor="ctr" anchorCtr="0" forceAA="0" compatLnSpc="1">
            <a:prstTxWarp prst="textNoShape">
              <a:avLst/>
            </a:prstTxWarp>
            <a:sp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0078D4"/>
                </a:solidFill>
                <a:effectLst/>
                <a:uLnTx/>
                <a:uFillTx/>
                <a:latin typeface="Segoe UI Semibold"/>
                <a:ea typeface="+mn-ea"/>
                <a:cs typeface="Segoe UI" pitchFamily="34" charset="0"/>
              </a:rPr>
              <a:t>Solution</a:t>
            </a:r>
          </a:p>
          <a:p>
            <a:pPr marL="0" marR="0" lvl="0" indent="0" algn="ctr" defTabSz="564085" rtl="0" eaLnBrk="1" fontAlgn="base" latinLnBrk="0" hangingPunct="1">
              <a:lnSpc>
                <a:spcPct val="100000"/>
              </a:lnSpc>
              <a:spcBef>
                <a:spcPct val="0"/>
              </a:spcBef>
              <a:spcAft>
                <a:spcPct val="0"/>
              </a:spcAft>
              <a:buClrTx/>
              <a:buSzTx/>
              <a:buFontTx/>
              <a:buNone/>
              <a:tabLst>
                <a:tab pos="173038" algn="l"/>
              </a:tabLst>
              <a:defRPr/>
            </a:pPr>
            <a:r>
              <a:rPr kumimoji="0" lang="en-GB" sz="1000" b="0" i="0" u="none" strike="noStrike" kern="0" cap="none" spc="0" normalizeH="0" baseline="0" noProof="0">
                <a:ln>
                  <a:noFill/>
                </a:ln>
                <a:solidFill>
                  <a:srgbClr val="0078D4"/>
                </a:solidFill>
                <a:effectLst/>
                <a:uLnTx/>
                <a:uFillTx/>
                <a:latin typeface="Segoe UI Semibold"/>
                <a:ea typeface="+mn-ea"/>
                <a:cs typeface="Segoe UI" pitchFamily="34" charset="0"/>
              </a:rPr>
              <a:t>Plays</a:t>
            </a:r>
          </a:p>
        </p:txBody>
      </p:sp>
      <p:cxnSp>
        <p:nvCxnSpPr>
          <p:cNvPr id="39" name="Straight Connector 38">
            <a:extLst>
              <a:ext uri="{FF2B5EF4-FFF2-40B4-BE49-F238E27FC236}">
                <a16:creationId xmlns:a16="http://schemas.microsoft.com/office/drawing/2014/main" id="{8BE35246-C7E9-E20F-167C-3FC0152EBD5E}"/>
              </a:ext>
            </a:extLst>
          </p:cNvPr>
          <p:cNvCxnSpPr>
            <a:cxnSpLocks/>
          </p:cNvCxnSpPr>
          <p:nvPr/>
        </p:nvCxnSpPr>
        <p:spPr>
          <a:xfrm>
            <a:off x="7105451" y="2571759"/>
            <a:ext cx="4510499" cy="0"/>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40" name="Freeform 16">
            <a:extLst>
              <a:ext uri="{FF2B5EF4-FFF2-40B4-BE49-F238E27FC236}">
                <a16:creationId xmlns:a16="http://schemas.microsoft.com/office/drawing/2014/main" id="{8952D267-7E65-EAAB-FCF1-393F7859C626}"/>
              </a:ext>
            </a:extLst>
          </p:cNvPr>
          <p:cNvSpPr/>
          <p:nvPr/>
        </p:nvSpPr>
        <p:spPr bwMode="auto">
          <a:xfrm rot="16200000">
            <a:off x="370658" y="3680527"/>
            <a:ext cx="603096"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Rectangle: Rounded Corners 36">
            <a:extLst>
              <a:ext uri="{FF2B5EF4-FFF2-40B4-BE49-F238E27FC236}">
                <a16:creationId xmlns:a16="http://schemas.microsoft.com/office/drawing/2014/main" id="{47A378AF-5573-2148-D6B3-FEE21515E734}"/>
              </a:ext>
              <a:ext uri="{C183D7F6-B498-43B3-948B-1728B52AA6E4}">
                <adec:decorative xmlns:adec="http://schemas.microsoft.com/office/drawing/2017/decorative" val="1"/>
              </a:ext>
            </a:extLst>
          </p:cNvPr>
          <p:cNvSpPr/>
          <p:nvPr/>
        </p:nvSpPr>
        <p:spPr>
          <a:xfrm rot="16200000">
            <a:off x="314608" y="3692715"/>
            <a:ext cx="556106" cy="172355"/>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18288" numCol="1" spcCol="0" rtlCol="0" fromWordArt="0" anchor="ctr" anchorCtr="0" forceAA="0" compatLnSpc="1">
            <a:prstTxWarp prst="textNoShape">
              <a:avLst/>
            </a:prstTxWarp>
            <a:sp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ea typeface="+mn-ea"/>
                <a:cs typeface="Segoe UI" pitchFamily="34" charset="0"/>
              </a:rPr>
              <a:t>Audience</a:t>
            </a:r>
          </a:p>
        </p:txBody>
      </p:sp>
      <p:cxnSp>
        <p:nvCxnSpPr>
          <p:cNvPr id="42" name="Straight Connector 41">
            <a:extLst>
              <a:ext uri="{FF2B5EF4-FFF2-40B4-BE49-F238E27FC236}">
                <a16:creationId xmlns:a16="http://schemas.microsoft.com/office/drawing/2014/main" id="{7B64CFD0-2A81-BC09-D37E-4F476CD68286}"/>
              </a:ext>
            </a:extLst>
          </p:cNvPr>
          <p:cNvCxnSpPr>
            <a:cxnSpLocks/>
          </p:cNvCxnSpPr>
          <p:nvPr/>
        </p:nvCxnSpPr>
        <p:spPr>
          <a:xfrm>
            <a:off x="1038070" y="3476098"/>
            <a:ext cx="4549383" cy="11566"/>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43" name="Straight Connector 42">
            <a:extLst>
              <a:ext uri="{FF2B5EF4-FFF2-40B4-BE49-F238E27FC236}">
                <a16:creationId xmlns:a16="http://schemas.microsoft.com/office/drawing/2014/main" id="{4B6AEFA2-E7FE-2828-19CA-9F1DF179107A}"/>
              </a:ext>
            </a:extLst>
          </p:cNvPr>
          <p:cNvCxnSpPr>
            <a:cxnSpLocks/>
          </p:cNvCxnSpPr>
          <p:nvPr/>
        </p:nvCxnSpPr>
        <p:spPr>
          <a:xfrm>
            <a:off x="7167239" y="3456523"/>
            <a:ext cx="4446675" cy="32191"/>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44" name="Straight Connector 43">
            <a:extLst>
              <a:ext uri="{FF2B5EF4-FFF2-40B4-BE49-F238E27FC236}">
                <a16:creationId xmlns:a16="http://schemas.microsoft.com/office/drawing/2014/main" id="{E545ABD5-17D5-B8A0-62BA-E3387E2E1F9D}"/>
              </a:ext>
            </a:extLst>
          </p:cNvPr>
          <p:cNvCxnSpPr>
            <a:cxnSpLocks/>
          </p:cNvCxnSpPr>
          <p:nvPr/>
        </p:nvCxnSpPr>
        <p:spPr>
          <a:xfrm flipV="1">
            <a:off x="1038070" y="4044915"/>
            <a:ext cx="4549383" cy="16548"/>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45" name="Straight Connector 44">
            <a:extLst>
              <a:ext uri="{FF2B5EF4-FFF2-40B4-BE49-F238E27FC236}">
                <a16:creationId xmlns:a16="http://schemas.microsoft.com/office/drawing/2014/main" id="{5617A3CF-AA02-EBBE-A1AE-C7C7310C6CF8}"/>
              </a:ext>
            </a:extLst>
          </p:cNvPr>
          <p:cNvCxnSpPr>
            <a:cxnSpLocks/>
          </p:cNvCxnSpPr>
          <p:nvPr/>
        </p:nvCxnSpPr>
        <p:spPr>
          <a:xfrm>
            <a:off x="7173825" y="4084537"/>
            <a:ext cx="4446675" cy="8612"/>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46" name="Freeform 16">
            <a:extLst>
              <a:ext uri="{FF2B5EF4-FFF2-40B4-BE49-F238E27FC236}">
                <a16:creationId xmlns:a16="http://schemas.microsoft.com/office/drawing/2014/main" id="{8D2A1845-345B-1189-7C72-7082CDB803C8}"/>
              </a:ext>
            </a:extLst>
          </p:cNvPr>
          <p:cNvSpPr/>
          <p:nvPr/>
        </p:nvSpPr>
        <p:spPr bwMode="auto">
          <a:xfrm rot="16200000">
            <a:off x="251892" y="4492796"/>
            <a:ext cx="840630"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Rectangle: Rounded Corners 36">
            <a:extLst>
              <a:ext uri="{FF2B5EF4-FFF2-40B4-BE49-F238E27FC236}">
                <a16:creationId xmlns:a16="http://schemas.microsoft.com/office/drawing/2014/main" id="{16020026-90D0-3217-4FA5-A065EEC726B9}"/>
              </a:ext>
              <a:ext uri="{C183D7F6-B498-43B3-948B-1728B52AA6E4}">
                <adec:decorative xmlns:adec="http://schemas.microsoft.com/office/drawing/2017/decorative" val="1"/>
              </a:ext>
            </a:extLst>
          </p:cNvPr>
          <p:cNvSpPr/>
          <p:nvPr/>
        </p:nvSpPr>
        <p:spPr>
          <a:xfrm rot="16200000">
            <a:off x="366668" y="4500738"/>
            <a:ext cx="440359" cy="172355"/>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72000" tIns="0" rIns="72000" bIns="18288" numCol="1" spcCol="0" rtlCol="0" fromWordArt="0" anchor="ctr" anchorCtr="0" forceAA="0" compatLnSpc="1">
            <a:prstTxWarp prst="textNoShape">
              <a:avLst/>
            </a:prstTxWarp>
            <a:sp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CA" sz="1000" b="0" i="0" u="none" strike="noStrike" kern="0" cap="none" spc="0" normalizeH="0" baseline="0" noProof="0">
                <a:ln>
                  <a:noFill/>
                </a:ln>
                <a:solidFill>
                  <a:srgbClr val="0078D4"/>
                </a:solidFill>
                <a:effectLst/>
                <a:uLnTx/>
                <a:uFillTx/>
                <a:latin typeface="Segoe UI Semibold"/>
                <a:ea typeface="+mn-ea"/>
                <a:cs typeface="Segoe UI" pitchFamily="34" charset="0"/>
              </a:rPr>
              <a:t>Sales</a:t>
            </a:r>
            <a:endParaRPr kumimoji="0" lang="en-GB" sz="1000" b="0" i="0" u="none" strike="noStrike" kern="0" cap="none" spc="0" normalizeH="0" baseline="0" noProof="0">
              <a:ln>
                <a:noFill/>
              </a:ln>
              <a:solidFill>
                <a:srgbClr val="0078D4"/>
              </a:solidFill>
              <a:effectLst/>
              <a:uLnTx/>
              <a:uFillTx/>
              <a:latin typeface="Segoe UI Semibold"/>
              <a:ea typeface="+mn-ea"/>
              <a:cs typeface="Segoe UI" pitchFamily="34" charset="0"/>
            </a:endParaRPr>
          </a:p>
        </p:txBody>
      </p:sp>
      <p:sp>
        <p:nvSpPr>
          <p:cNvPr id="48" name="Freeform 16">
            <a:extLst>
              <a:ext uri="{FF2B5EF4-FFF2-40B4-BE49-F238E27FC236}">
                <a16:creationId xmlns:a16="http://schemas.microsoft.com/office/drawing/2014/main" id="{996315B3-630A-F420-E3E7-CFED5E297CA3}"/>
              </a:ext>
            </a:extLst>
          </p:cNvPr>
          <p:cNvSpPr/>
          <p:nvPr/>
        </p:nvSpPr>
        <p:spPr bwMode="auto">
          <a:xfrm rot="16200000">
            <a:off x="271756" y="5421729"/>
            <a:ext cx="763429" cy="150767"/>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Rounded Corners 36">
            <a:extLst>
              <a:ext uri="{FF2B5EF4-FFF2-40B4-BE49-F238E27FC236}">
                <a16:creationId xmlns:a16="http://schemas.microsoft.com/office/drawing/2014/main" id="{83EA5214-F8B4-DD3E-0265-CB94528296FC}"/>
              </a:ext>
              <a:ext uri="{C183D7F6-B498-43B3-948B-1728B52AA6E4}">
                <adec:decorative xmlns:adec="http://schemas.microsoft.com/office/drawing/2017/decorative" val="1"/>
              </a:ext>
            </a:extLst>
          </p:cNvPr>
          <p:cNvSpPr/>
          <p:nvPr/>
        </p:nvSpPr>
        <p:spPr>
          <a:xfrm rot="16200000">
            <a:off x="330760" y="5343633"/>
            <a:ext cx="662725" cy="326244"/>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18288" numCol="1" spcCol="0" rtlCol="0" fromWordArt="0" anchor="ctr" anchorCtr="0" forceAA="0" compatLnSpc="1">
            <a:prstTxWarp prst="textNoShape">
              <a:avLst/>
            </a:prstTxWarp>
            <a:sp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ea typeface="+mn-ea"/>
                <a:cs typeface="Segoe UI" pitchFamily="34" charset="0"/>
              </a:rPr>
              <a:t>Technical sales</a:t>
            </a:r>
          </a:p>
        </p:txBody>
      </p:sp>
      <p:sp>
        <p:nvSpPr>
          <p:cNvPr id="50" name="Freeform 16">
            <a:extLst>
              <a:ext uri="{FF2B5EF4-FFF2-40B4-BE49-F238E27FC236}">
                <a16:creationId xmlns:a16="http://schemas.microsoft.com/office/drawing/2014/main" id="{FBD7FAC5-BB0D-DFC9-AA92-EA340B6FDC9B}"/>
              </a:ext>
            </a:extLst>
          </p:cNvPr>
          <p:cNvSpPr/>
          <p:nvPr/>
        </p:nvSpPr>
        <p:spPr bwMode="auto">
          <a:xfrm rot="16200000">
            <a:off x="349555" y="6145457"/>
            <a:ext cx="637583" cy="188240"/>
          </a:xfrm>
          <a:custGeom>
            <a:avLst/>
            <a:gdLst>
              <a:gd name="connsiteX0" fmla="*/ 0 w 3588443"/>
              <a:gd name="connsiteY0" fmla="*/ 184417 h 184417"/>
              <a:gd name="connsiteX1" fmla="*/ 0 w 3588443"/>
              <a:gd name="connsiteY1" fmla="*/ 0 h 184417"/>
              <a:gd name="connsiteX2" fmla="*/ 3588443 w 3588443"/>
              <a:gd name="connsiteY2" fmla="*/ 0 h 184417"/>
              <a:gd name="connsiteX3" fmla="*/ 3588443 w 3588443"/>
              <a:gd name="connsiteY3" fmla="*/ 169049 h 184417"/>
            </a:gdLst>
            <a:ahLst/>
            <a:cxnLst>
              <a:cxn ang="0">
                <a:pos x="connsiteX0" y="connsiteY0"/>
              </a:cxn>
              <a:cxn ang="0">
                <a:pos x="connsiteX1" y="connsiteY1"/>
              </a:cxn>
              <a:cxn ang="0">
                <a:pos x="connsiteX2" y="connsiteY2"/>
              </a:cxn>
              <a:cxn ang="0">
                <a:pos x="connsiteX3" y="connsiteY3"/>
              </a:cxn>
            </a:cxnLst>
            <a:rect l="l" t="t" r="r" b="b"/>
            <a:pathLst>
              <a:path w="3588443" h="184417">
                <a:moveTo>
                  <a:pt x="0" y="184417"/>
                </a:moveTo>
                <a:lnTo>
                  <a:pt x="0" y="0"/>
                </a:lnTo>
                <a:lnTo>
                  <a:pt x="3588443" y="0"/>
                </a:lnTo>
                <a:lnTo>
                  <a:pt x="3588443" y="169049"/>
                </a:lnTo>
              </a:path>
            </a:pathLst>
          </a:custGeom>
          <a:noFill/>
          <a:ln w="6350" cap="flat" cmpd="sng" algn="ctr">
            <a:gradFill flip="none" rotWithShape="1">
              <a:gsLst>
                <a:gs pos="0">
                  <a:srgbClr val="0078D4"/>
                </a:gs>
                <a:gs pos="100000">
                  <a:srgbClr val="0078D4">
                    <a:alpha val="0"/>
                  </a:srgbClr>
                </a:gs>
              </a:gsLst>
              <a:lin ang="5400000" scaled="1"/>
              <a:tileRect/>
            </a:gra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1" name="Rectangle: Rounded Corners 36">
            <a:extLst>
              <a:ext uri="{FF2B5EF4-FFF2-40B4-BE49-F238E27FC236}">
                <a16:creationId xmlns:a16="http://schemas.microsoft.com/office/drawing/2014/main" id="{CA6252DB-33B4-0967-F10A-A165E7A2490A}"/>
              </a:ext>
              <a:ext uri="{C183D7F6-B498-43B3-948B-1728B52AA6E4}">
                <adec:decorative xmlns:adec="http://schemas.microsoft.com/office/drawing/2017/decorative" val="1"/>
              </a:ext>
            </a:extLst>
          </p:cNvPr>
          <p:cNvSpPr/>
          <p:nvPr/>
        </p:nvSpPr>
        <p:spPr>
          <a:xfrm rot="16200000">
            <a:off x="358614" y="6076455"/>
            <a:ext cx="607020" cy="326243"/>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18288" numCol="1" spcCol="0" rtlCol="0" fromWordArt="0" anchor="ctr" anchorCtr="0" forceAA="0" compatLnSpc="1">
            <a:prstTxWarp prst="textNoShape">
              <a:avLst/>
            </a:prstTxWarp>
            <a:sp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GB" sz="1000" b="0" i="0" u="none" strike="noStrike" kern="0" cap="none" spc="-30" normalizeH="0" baseline="0" noProof="0">
                <a:ln>
                  <a:noFill/>
                </a:ln>
                <a:solidFill>
                  <a:srgbClr val="0078D4"/>
                </a:solidFill>
                <a:effectLst/>
                <a:uLnTx/>
                <a:uFillTx/>
                <a:latin typeface="Segoe UI Semibold"/>
                <a:ea typeface="+mn-ea"/>
                <a:cs typeface="Segoe UI" pitchFamily="34" charset="0"/>
              </a:rPr>
              <a:t>Customer success</a:t>
            </a:r>
          </a:p>
        </p:txBody>
      </p:sp>
      <p:cxnSp>
        <p:nvCxnSpPr>
          <p:cNvPr id="52" name="Straight Connector 51">
            <a:extLst>
              <a:ext uri="{FF2B5EF4-FFF2-40B4-BE49-F238E27FC236}">
                <a16:creationId xmlns:a16="http://schemas.microsoft.com/office/drawing/2014/main" id="{A95971E5-F07C-5556-2955-48D97FD6AA56}"/>
              </a:ext>
              <a:ext uri="{C183D7F6-B498-43B3-948B-1728B52AA6E4}">
                <adec:decorative xmlns:adec="http://schemas.microsoft.com/office/drawing/2017/decorative" val="1"/>
              </a:ext>
            </a:extLst>
          </p:cNvPr>
          <p:cNvCxnSpPr>
            <a:cxnSpLocks/>
          </p:cNvCxnSpPr>
          <p:nvPr/>
        </p:nvCxnSpPr>
        <p:spPr>
          <a:xfrm flipV="1">
            <a:off x="6320495" y="2404101"/>
            <a:ext cx="0" cy="4222239"/>
          </a:xfrm>
          <a:prstGeom prst="line">
            <a:avLst/>
          </a:prstGeom>
          <a:solidFill>
            <a:srgbClr val="FFFFFF"/>
          </a:solidFill>
          <a:ln w="19050" cap="flat" cmpd="sng" algn="ctr">
            <a:solidFill>
              <a:srgbClr val="FFFFFF">
                <a:lumMod val="75000"/>
              </a:srgbClr>
            </a:solidFill>
            <a:prstDash val="solid"/>
            <a:headEnd type="none" w="med" len="med"/>
            <a:tailEnd type="none" w="med" len="med"/>
          </a:ln>
          <a:effectLst/>
        </p:spPr>
      </p:cxnSp>
      <p:cxnSp>
        <p:nvCxnSpPr>
          <p:cNvPr id="53" name="Straight Arrow Connector 52">
            <a:extLst>
              <a:ext uri="{FF2B5EF4-FFF2-40B4-BE49-F238E27FC236}">
                <a16:creationId xmlns:a16="http://schemas.microsoft.com/office/drawing/2014/main" id="{5A36191E-7A30-5B5C-7064-4F75186184B0}"/>
              </a:ext>
            </a:extLst>
          </p:cNvPr>
          <p:cNvCxnSpPr>
            <a:cxnSpLocks/>
          </p:cNvCxnSpPr>
          <p:nvPr/>
        </p:nvCxnSpPr>
        <p:spPr>
          <a:xfrm>
            <a:off x="5720052" y="3029788"/>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54" name="TextBox 1055">
            <a:extLst>
              <a:ext uri="{FF2B5EF4-FFF2-40B4-BE49-F238E27FC236}">
                <a16:creationId xmlns:a16="http://schemas.microsoft.com/office/drawing/2014/main" id="{96D9BC34-F2A5-D37E-7D08-5EFE18692EB9}"/>
              </a:ext>
            </a:extLst>
          </p:cNvPr>
          <p:cNvSpPr txBox="1"/>
          <p:nvPr/>
        </p:nvSpPr>
        <p:spPr>
          <a:xfrm>
            <a:off x="5870495" y="2896861"/>
            <a:ext cx="900000" cy="252000"/>
          </a:xfrm>
          <a:prstGeom prst="roundRect">
            <a:avLst/>
          </a:prstGeom>
          <a:gradFill flip="none" rotWithShape="1">
            <a:gsLst>
              <a:gs pos="0">
                <a:srgbClr val="49C5B1"/>
              </a:gs>
              <a:gs pos="51000">
                <a:srgbClr val="0078D4"/>
              </a:gs>
            </a:gsLst>
            <a:path path="circle">
              <a:fillToRect l="100000" t="100000"/>
            </a:path>
            <a:tileRect r="-100000" b="-100000"/>
          </a:gradFill>
        </p:spPr>
        <p:txBody>
          <a:bodyPr wrap="square" lIns="0" tIns="0" rIns="0" bIns="0" rtlCol="0" anchor="ctr" anchorCtr="0">
            <a:noAutofit/>
          </a:bodyPr>
          <a:lstStyle>
            <a:defPPr>
              <a:defRPr lang="en-US"/>
            </a:defPPr>
            <a:lvl1pPr marL="0" algn="ctr" defTabSz="914400" rtl="0" eaLnBrk="1" latinLnBrk="0" hangingPunct="1">
              <a:defRPr sz="11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mn-cs"/>
              </a:rPr>
              <a:t> From 5 to 3</a:t>
            </a:r>
          </a:p>
        </p:txBody>
      </p:sp>
      <p:cxnSp>
        <p:nvCxnSpPr>
          <p:cNvPr id="55" name="Straight Arrow Connector 54">
            <a:extLst>
              <a:ext uri="{FF2B5EF4-FFF2-40B4-BE49-F238E27FC236}">
                <a16:creationId xmlns:a16="http://schemas.microsoft.com/office/drawing/2014/main" id="{CB46DFAC-4329-95AD-45AD-628F43B929DD}"/>
              </a:ext>
            </a:extLst>
          </p:cNvPr>
          <p:cNvCxnSpPr>
            <a:cxnSpLocks/>
          </p:cNvCxnSpPr>
          <p:nvPr/>
        </p:nvCxnSpPr>
        <p:spPr>
          <a:xfrm>
            <a:off x="5720052" y="4466695"/>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56" name="TextBox 1055">
            <a:extLst>
              <a:ext uri="{FF2B5EF4-FFF2-40B4-BE49-F238E27FC236}">
                <a16:creationId xmlns:a16="http://schemas.microsoft.com/office/drawing/2014/main" id="{B104068E-0890-4DE2-7C19-67F52C90589F}"/>
              </a:ext>
            </a:extLst>
          </p:cNvPr>
          <p:cNvSpPr txBox="1"/>
          <p:nvPr/>
        </p:nvSpPr>
        <p:spPr>
          <a:xfrm>
            <a:off x="5870495" y="4340695"/>
            <a:ext cx="900000" cy="252000"/>
          </a:xfrm>
          <a:prstGeom prst="roundRect">
            <a:avLst/>
          </a:prstGeom>
          <a:solidFill>
            <a:srgbClr val="49C5B1">
              <a:lumMod val="60000"/>
              <a:lumOff val="4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ea typeface="+mn-ea"/>
                <a:cs typeface="+mn-cs"/>
              </a:rPr>
              <a:t>From 4 to 1</a:t>
            </a:r>
          </a:p>
        </p:txBody>
      </p:sp>
      <p:cxnSp>
        <p:nvCxnSpPr>
          <p:cNvPr id="57" name="Straight Arrow Connector 56">
            <a:extLst>
              <a:ext uri="{FF2B5EF4-FFF2-40B4-BE49-F238E27FC236}">
                <a16:creationId xmlns:a16="http://schemas.microsoft.com/office/drawing/2014/main" id="{8EA779FC-16FB-353D-5126-17E5C84A6AEE}"/>
              </a:ext>
            </a:extLst>
          </p:cNvPr>
          <p:cNvCxnSpPr>
            <a:cxnSpLocks/>
          </p:cNvCxnSpPr>
          <p:nvPr/>
        </p:nvCxnSpPr>
        <p:spPr>
          <a:xfrm>
            <a:off x="5720052" y="5529464"/>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58" name="TextBox 1055">
            <a:extLst>
              <a:ext uri="{FF2B5EF4-FFF2-40B4-BE49-F238E27FC236}">
                <a16:creationId xmlns:a16="http://schemas.microsoft.com/office/drawing/2014/main" id="{2B407FE8-1320-EDCC-53EA-7482DF9D94D5}"/>
              </a:ext>
            </a:extLst>
          </p:cNvPr>
          <p:cNvSpPr txBox="1"/>
          <p:nvPr/>
        </p:nvSpPr>
        <p:spPr>
          <a:xfrm>
            <a:off x="5870495" y="5394531"/>
            <a:ext cx="900000" cy="241337"/>
          </a:xfrm>
          <a:prstGeom prst="roundRect">
            <a:avLst/>
          </a:prstGeom>
          <a:solidFill>
            <a:srgbClr val="0078D4">
              <a:lumMod val="60000"/>
              <a:lumOff val="4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ea typeface="+mn-ea"/>
                <a:cs typeface="+mn-cs"/>
              </a:rPr>
              <a:t>Investment</a:t>
            </a:r>
            <a:endParaRPr kumimoji="0" lang="en-US" sz="900" b="1" i="0" u="none" strike="noStrike" kern="1200" cap="none" spc="0" normalizeH="0" baseline="0" noProof="0">
              <a:ln>
                <a:noFill/>
              </a:ln>
              <a:solidFill>
                <a:srgbClr val="000000"/>
              </a:solidFill>
              <a:effectLst/>
              <a:uLnTx/>
              <a:uFillTx/>
              <a:latin typeface="Segoe UI Semibold"/>
              <a:ea typeface="+mn-ea"/>
              <a:cs typeface="+mn-cs"/>
            </a:endParaRPr>
          </a:p>
        </p:txBody>
      </p:sp>
      <p:cxnSp>
        <p:nvCxnSpPr>
          <p:cNvPr id="59" name="Straight Arrow Connector 58">
            <a:extLst>
              <a:ext uri="{FF2B5EF4-FFF2-40B4-BE49-F238E27FC236}">
                <a16:creationId xmlns:a16="http://schemas.microsoft.com/office/drawing/2014/main" id="{AD146860-203A-7AFB-3DD1-C0E3067A0378}"/>
              </a:ext>
            </a:extLst>
          </p:cNvPr>
          <p:cNvCxnSpPr>
            <a:cxnSpLocks/>
          </p:cNvCxnSpPr>
          <p:nvPr/>
        </p:nvCxnSpPr>
        <p:spPr>
          <a:xfrm>
            <a:off x="5720052" y="6216543"/>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60" name="TextBox 1055">
            <a:extLst>
              <a:ext uri="{FF2B5EF4-FFF2-40B4-BE49-F238E27FC236}">
                <a16:creationId xmlns:a16="http://schemas.microsoft.com/office/drawing/2014/main" id="{DC73A2F6-C30C-194D-5627-BC9C8502CE98}"/>
              </a:ext>
            </a:extLst>
          </p:cNvPr>
          <p:cNvSpPr txBox="1"/>
          <p:nvPr/>
        </p:nvSpPr>
        <p:spPr>
          <a:xfrm>
            <a:off x="5870495" y="6090543"/>
            <a:ext cx="900000" cy="252000"/>
          </a:xfrm>
          <a:prstGeom prst="roundRect">
            <a:avLst/>
          </a:prstGeom>
          <a:solidFill>
            <a:srgbClr val="D9D9D6">
              <a:lumMod val="90000"/>
            </a:srgbClr>
          </a:solidFill>
        </p:spPr>
        <p:txBody>
          <a:bodyPr wrap="square" lIns="0" tIns="0" rIns="0" bIns="0" rtlCol="0" anchor="ctr" anchorCtr="0">
            <a:noAutofit/>
          </a:bodyPr>
          <a:lstStyle>
            <a:defPPr>
              <a:defRPr lang="en-US"/>
            </a:defPPr>
            <a:lvl1pPr marL="0" algn="ctr" defTabSz="914400" rtl="0" eaLnBrk="1" latinLnBrk="0" hangingPunct="1">
              <a:defRPr sz="11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ea typeface="+mn-ea"/>
                <a:cs typeface="+mn-cs"/>
              </a:rPr>
              <a:t>Evolution</a:t>
            </a:r>
          </a:p>
        </p:txBody>
      </p:sp>
      <p:sp>
        <p:nvSpPr>
          <p:cNvPr id="61" name="TextBox 60">
            <a:extLst>
              <a:ext uri="{FF2B5EF4-FFF2-40B4-BE49-F238E27FC236}">
                <a16:creationId xmlns:a16="http://schemas.microsoft.com/office/drawing/2014/main" id="{ECF5DEF3-FBC8-FFFE-F79B-59A3DE98D103}"/>
              </a:ext>
            </a:extLst>
          </p:cNvPr>
          <p:cNvSpPr txBox="1"/>
          <p:nvPr/>
        </p:nvSpPr>
        <p:spPr>
          <a:xfrm>
            <a:off x="819444" y="1164931"/>
            <a:ext cx="3863394" cy="592470"/>
          </a:xfrm>
          <a:prstGeom prst="rect">
            <a:avLst/>
          </a:prstGeom>
          <a:noFill/>
        </p:spPr>
        <p:txBody>
          <a:bodyPr wrap="square" lIns="0" tIns="45720" rIns="91440" bIns="45720" numCol="1" rtlCol="0" anchor="t">
            <a:spAutoFit/>
          </a:bodyPr>
          <a:lstStyle/>
          <a:p>
            <a:pPr marL="115888" marR="0" lvl="0" indent="-115888" algn="l" defTabSz="84721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w="3175">
                  <a:noFill/>
                </a:ln>
                <a:solidFill>
                  <a:srgbClr val="49C5B1">
                    <a:lumMod val="75000"/>
                  </a:srgbClr>
                </a:solidFill>
                <a:effectLst/>
                <a:uLnTx/>
                <a:uFillTx/>
                <a:latin typeface="Segoe UI Semibold" panose="020B0702040204020203" pitchFamily="34" charset="0"/>
                <a:ea typeface="+mn-ea"/>
                <a:cs typeface="Segoe UI Semibold" panose="020B0702040204020203" pitchFamily="34" charset="0"/>
              </a:rPr>
              <a:t>Specialist: </a:t>
            </a:r>
            <a:r>
              <a:rPr kumimoji="0" lang="en-US" sz="1000" b="0" i="0" u="none" strike="noStrike" kern="1200" cap="none" spc="0" normalizeH="0" baseline="0" noProof="0">
                <a:ln w="3175">
                  <a:noFill/>
                </a:ln>
                <a:solidFill>
                  <a:prstClr val="black"/>
                </a:solidFill>
                <a:effectLst/>
                <a:uLnTx/>
                <a:uFillTx/>
                <a:latin typeface="Segoe UI"/>
                <a:ea typeface="+mn-ea"/>
                <a:cs typeface="Segoe UI Semilight" panose="020B0402040204020203" pitchFamily="34" charset="0"/>
              </a:rPr>
              <a:t>aligned to AEs, 1:1 Specialist to Territory in Corporate</a:t>
            </a:r>
          </a:p>
          <a:p>
            <a:pPr marL="115888" marR="0" lvl="0" indent="-115888" algn="l" defTabSz="84721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Solution Engineer (SE): </a:t>
            </a:r>
            <a:r>
              <a:rPr kumimoji="0" lang="en-US" sz="1000" b="0" i="0" u="none" strike="noStrike" kern="1200" cap="none" spc="0" normalizeH="0" baseline="0" noProof="0">
                <a:ln w="3175">
                  <a:noFill/>
                </a:ln>
                <a:solidFill>
                  <a:prstClr val="black"/>
                </a:solidFill>
                <a:effectLst/>
                <a:uLnTx/>
                <a:uFillTx/>
                <a:latin typeface="Segoe UI"/>
                <a:ea typeface="+mn-ea"/>
                <a:cs typeface="Segoe UI Semilight" panose="020B0402040204020203" pitchFamily="34" charset="0"/>
              </a:rPr>
              <a:t>designated by Infra, Data, AI Apps, with increased density of coverage </a:t>
            </a:r>
          </a:p>
        </p:txBody>
      </p:sp>
      <p:sp>
        <p:nvSpPr>
          <p:cNvPr id="62" name="TextBox 61">
            <a:extLst>
              <a:ext uri="{FF2B5EF4-FFF2-40B4-BE49-F238E27FC236}">
                <a16:creationId xmlns:a16="http://schemas.microsoft.com/office/drawing/2014/main" id="{ABB7C486-1A5D-C747-9312-DE08AA42E336}"/>
              </a:ext>
            </a:extLst>
          </p:cNvPr>
          <p:cNvSpPr txBox="1"/>
          <p:nvPr/>
        </p:nvSpPr>
        <p:spPr>
          <a:xfrm>
            <a:off x="5244037" y="1164931"/>
            <a:ext cx="6281457" cy="438582"/>
          </a:xfrm>
          <a:prstGeom prst="rect">
            <a:avLst/>
          </a:prstGeom>
          <a:noFill/>
        </p:spPr>
        <p:txBody>
          <a:bodyPr wrap="square" lIns="0" tIns="45720" rIns="91440" bIns="45720" numCol="1" rtlCol="0" anchor="t">
            <a:spAutoFit/>
          </a:bodyPr>
          <a:lstStyle/>
          <a:p>
            <a:pPr marL="115888" marR="0" lvl="0" indent="-115888" algn="l" defTabSz="84721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w="3175">
                  <a:noFill/>
                </a:ln>
                <a:solidFill>
                  <a:srgbClr val="000000">
                    <a:lumMod val="50000"/>
                    <a:lumOff val="50000"/>
                  </a:srgbClr>
                </a:solidFill>
                <a:effectLst/>
                <a:uLnTx/>
                <a:uFillTx/>
                <a:latin typeface="Segoe UI Semibold" panose="020B0702040204020203" pitchFamily="34" charset="0"/>
                <a:ea typeface="+mn-ea"/>
                <a:cs typeface="Segoe UI Semibold" panose="020B0702040204020203" pitchFamily="34" charset="0"/>
              </a:rPr>
              <a:t>Digital CSA (D-CSA) </a:t>
            </a:r>
            <a:r>
              <a:rPr kumimoji="0" lang="en-US" sz="1000" b="0" i="0" u="none" strike="noStrike" kern="1200" cap="none" spc="0" normalizeH="0" baseline="0" noProof="0">
                <a:ln w="3175">
                  <a:noFill/>
                </a:ln>
                <a:solidFill>
                  <a:prstClr val="black"/>
                </a:solidFill>
                <a:effectLst/>
                <a:uLnTx/>
                <a:uFillTx/>
                <a:latin typeface="Segoe UI"/>
                <a:ea typeface="+mn-ea"/>
                <a:cs typeface="Segoe UI Semilight" panose="020B0402040204020203" pitchFamily="34" charset="0"/>
              </a:rPr>
              <a:t>role alignment to SE for non Unified customers, coverage extended from 4 to all areas</a:t>
            </a:r>
          </a:p>
          <a:p>
            <a:pPr marL="115888" marR="0" lvl="0" indent="-115888" algn="l" defTabSz="84721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w="3175">
                  <a:noFill/>
                </a:ln>
                <a:solidFill>
                  <a:srgbClr val="000000">
                    <a:lumMod val="50000"/>
                    <a:lumOff val="50000"/>
                  </a:srgbClr>
                </a:solidFill>
                <a:effectLst/>
                <a:uLnTx/>
                <a:uFillTx/>
                <a:latin typeface="Segoe UI Semibold" panose="020B0702040204020203" pitchFamily="34" charset="0"/>
                <a:ea typeface="+mn-ea"/>
                <a:cs typeface="Segoe UI Semibold" panose="020B0702040204020203" pitchFamily="34" charset="0"/>
              </a:rPr>
              <a:t>CSAMs and CSAs supporting Unified customers in SME&amp;C </a:t>
            </a:r>
            <a:r>
              <a:rPr kumimoji="0" lang="en-US" sz="1000" b="0" i="0" u="none" strike="noStrike" kern="1200" cap="none" spc="0" normalizeH="0" baseline="0" noProof="0">
                <a:ln w="3175">
                  <a:noFill/>
                </a:ln>
                <a:solidFill>
                  <a:prstClr val="black"/>
                </a:solidFill>
                <a:effectLst/>
                <a:uLnTx/>
                <a:uFillTx/>
                <a:latin typeface="Segoe UI"/>
                <a:ea typeface="+mn-ea"/>
                <a:cs typeface="Segoe UI Semilight" panose="020B0402040204020203" pitchFamily="34" charset="0"/>
              </a:rPr>
              <a:t>closer integration into SME&amp;C organizationally</a:t>
            </a:r>
          </a:p>
        </p:txBody>
      </p:sp>
      <p:sp>
        <p:nvSpPr>
          <p:cNvPr id="63" name="TextBox 62">
            <a:extLst>
              <a:ext uri="{FF2B5EF4-FFF2-40B4-BE49-F238E27FC236}">
                <a16:creationId xmlns:a16="http://schemas.microsoft.com/office/drawing/2014/main" id="{D5EE837B-5C13-CEEF-DE42-DCD0986AC3C5}"/>
              </a:ext>
            </a:extLst>
          </p:cNvPr>
          <p:cNvSpPr txBox="1"/>
          <p:nvPr/>
        </p:nvSpPr>
        <p:spPr>
          <a:xfrm>
            <a:off x="7115331" y="2279435"/>
            <a:ext cx="4352742" cy="246221"/>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2 Specialists  </a:t>
            </a:r>
            <a:r>
              <a:rPr kumimoji="0" lang="en-GB" sz="900" b="0" i="0" u="none" strike="noStrike" kern="1200" cap="none" spc="0" normalizeH="0" baseline="0" noProof="0">
                <a:ln>
                  <a:noFill/>
                </a:ln>
                <a:solidFill>
                  <a:srgbClr val="0070C0"/>
                </a:solidFill>
                <a:effectLst/>
                <a:uLnTx/>
                <a:uFillTx/>
                <a:latin typeface="Segoe UI"/>
                <a:ea typeface="+mn-ea"/>
                <a:cs typeface="Segoe UI Semibold" panose="020B0702040204020203" pitchFamily="34" charset="0"/>
              </a:rPr>
              <a:t>•</a:t>
            </a:r>
            <a:r>
              <a:rPr kumimoji="0" lang="en-GB" sz="10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  PSS  </a:t>
            </a:r>
            <a:r>
              <a:rPr kumimoji="0" lang="en-GB" sz="1000" b="0" i="0" u="none" strike="noStrike" kern="1200" cap="none" spc="0" normalizeH="0" baseline="0" noProof="0">
                <a:ln>
                  <a:noFill/>
                </a:ln>
                <a:solidFill>
                  <a:srgbClr val="0070C0"/>
                </a:solidFill>
                <a:effectLst/>
                <a:uLnTx/>
                <a:uFillTx/>
                <a:latin typeface="Segoe UI"/>
                <a:ea typeface="+mn-ea"/>
                <a:cs typeface="Segoe UI Semibold" panose="020B0702040204020203" pitchFamily="34" charset="0"/>
              </a:rPr>
              <a:t>•</a:t>
            </a:r>
            <a:r>
              <a:rPr kumimoji="0" lang="en-GB" sz="10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  Solution Engineers (SE)</a:t>
            </a:r>
            <a:r>
              <a:rPr kumimoji="0" lang="en-GB" sz="1000" b="0" i="0" u="none" strike="noStrike" kern="1200" cap="none" spc="0" normalizeH="0" baseline="0" noProof="0">
                <a:ln>
                  <a:noFill/>
                </a:ln>
                <a:solidFill>
                  <a:srgbClr val="0070C0"/>
                </a:solidFill>
                <a:effectLst/>
                <a:uLnTx/>
                <a:uFillTx/>
                <a:latin typeface="Segoe UI"/>
                <a:ea typeface="+mn-ea"/>
                <a:cs typeface="Segoe UI Semibold" panose="020B0702040204020203" pitchFamily="34" charset="0"/>
              </a:rPr>
              <a:t>  •  </a:t>
            </a:r>
            <a:r>
              <a:rPr kumimoji="0" lang="en-GB" sz="10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CSA  </a:t>
            </a:r>
            <a:r>
              <a:rPr kumimoji="0" lang="en-GB" sz="1000" b="0" i="0" u="none" strike="noStrike" kern="1200" cap="none" spc="0" normalizeH="0" baseline="0" noProof="0">
                <a:ln>
                  <a:noFill/>
                </a:ln>
                <a:solidFill>
                  <a:srgbClr val="0070C0"/>
                </a:solidFill>
                <a:effectLst/>
                <a:uLnTx/>
                <a:uFillTx/>
                <a:latin typeface="Segoe UI"/>
                <a:ea typeface="+mn-ea"/>
                <a:cs typeface="Segoe UI Semibold" panose="020B0702040204020203" pitchFamily="34" charset="0"/>
              </a:rPr>
              <a:t>•  </a:t>
            </a:r>
            <a:r>
              <a:rPr kumimoji="0" lang="en-GB" sz="10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D-CSA</a:t>
            </a:r>
            <a:endParaRPr kumimoji="0" lang="en-US" sz="1000" b="0" i="0" u="none" strike="noStrike" kern="1200" cap="none" spc="0" normalizeH="0" baseline="0" noProof="0">
              <a:ln>
                <a:noFill/>
              </a:ln>
              <a:solidFill>
                <a:srgbClr val="0070C0"/>
              </a:solidFill>
              <a:effectLst/>
              <a:uLnTx/>
              <a:uFillTx/>
              <a:latin typeface="Segoe UI"/>
              <a:ea typeface="+mn-ea"/>
              <a:cs typeface="+mn-cs"/>
            </a:endParaRPr>
          </a:p>
        </p:txBody>
      </p:sp>
      <p:sp>
        <p:nvSpPr>
          <p:cNvPr id="512" name="TextBox 511">
            <a:extLst>
              <a:ext uri="{FF2B5EF4-FFF2-40B4-BE49-F238E27FC236}">
                <a16:creationId xmlns:a16="http://schemas.microsoft.com/office/drawing/2014/main" id="{8A7038EA-3980-D273-02D6-9D58BA88470D}"/>
              </a:ext>
            </a:extLst>
          </p:cNvPr>
          <p:cNvSpPr txBox="1"/>
          <p:nvPr/>
        </p:nvSpPr>
        <p:spPr>
          <a:xfrm>
            <a:off x="1034209" y="2279436"/>
            <a:ext cx="4403189" cy="246221"/>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3 </a:t>
            </a:r>
            <a:r>
              <a:rPr kumimoji="0" lang="en-GB" sz="1000" b="0" i="0" u="none" strike="noStrike" kern="1200" cap="none" spc="-1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Specialists</a:t>
            </a:r>
            <a:r>
              <a:rPr kumimoji="0" lang="en-GB" sz="1000" b="0" i="0" u="none" strike="noStrike" kern="1200" cap="none" spc="-10" normalizeH="0" baseline="0" noProof="0">
                <a:ln>
                  <a:noFill/>
                </a:ln>
                <a:solidFill>
                  <a:srgbClr val="FFFFFF">
                    <a:lumMod val="50000"/>
                  </a:srgbClr>
                </a:solidFill>
                <a:effectLst/>
                <a:uLnTx/>
                <a:uFillTx/>
                <a:latin typeface="Segoe UI"/>
                <a:ea typeface="+mn-ea"/>
                <a:cs typeface="Segoe UI Semibold" panose="020B0702040204020203" pitchFamily="34" charset="0"/>
              </a:rPr>
              <a:t>  •  </a:t>
            </a:r>
            <a:r>
              <a:rPr kumimoji="0" lang="en-GB" sz="1000" b="0" i="0" u="none" strike="noStrike" kern="1200" cap="none" spc="-1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1 PSS</a:t>
            </a:r>
            <a:r>
              <a:rPr kumimoji="0" lang="en-GB" sz="1000" b="0" i="0" u="none" strike="noStrike" kern="1200" cap="none" spc="-10" normalizeH="0" baseline="0" noProof="0">
                <a:ln>
                  <a:noFill/>
                </a:ln>
                <a:solidFill>
                  <a:srgbClr val="FFFFFF">
                    <a:lumMod val="50000"/>
                  </a:srgbClr>
                </a:solidFill>
                <a:effectLst/>
                <a:uLnTx/>
                <a:uFillTx/>
                <a:latin typeface="Segoe UI"/>
                <a:ea typeface="+mn-ea"/>
                <a:cs typeface="Segoe UI Semibold" panose="020B0702040204020203" pitchFamily="34" charset="0"/>
              </a:rPr>
              <a:t>  •  </a:t>
            </a:r>
            <a:r>
              <a:rPr kumimoji="0" lang="en-GB" sz="1000" b="0" i="0" u="none" strike="noStrike" kern="1200" cap="none" spc="-1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3 Tech. Specialists (TS)</a:t>
            </a:r>
            <a:r>
              <a:rPr kumimoji="0" lang="en-GB" sz="1000" b="0" i="0" u="none" strike="noStrike" kern="1200" cap="none" spc="-10" normalizeH="0" baseline="0" noProof="0">
                <a:ln>
                  <a:noFill/>
                </a:ln>
                <a:solidFill>
                  <a:srgbClr val="FFFFFF">
                    <a:lumMod val="50000"/>
                  </a:srgbClr>
                </a:solidFill>
                <a:effectLst/>
                <a:uLnTx/>
                <a:uFillTx/>
                <a:latin typeface="Segoe UI"/>
                <a:ea typeface="+mn-ea"/>
                <a:cs typeface="Segoe UI Semibold" panose="020B0702040204020203" pitchFamily="34" charset="0"/>
              </a:rPr>
              <a:t>  •  </a:t>
            </a:r>
            <a:r>
              <a:rPr kumimoji="0" lang="en-GB" sz="1000" b="0" i="0" u="none" strike="noStrike" kern="1200" cap="none" spc="-10" normalizeH="0" baseline="0" noProof="0">
                <a:ln>
                  <a:noFill/>
                </a:ln>
                <a:solidFill>
                  <a:srgbClr val="FFFFFF">
                    <a:lumMod val="50000"/>
                  </a:srgbClr>
                </a:solidFill>
                <a:effectLst/>
                <a:uLnTx/>
                <a:uFillTx/>
                <a:latin typeface="Segoe UI Semibold" panose="020B0702040204020203" pitchFamily="34" charset="0"/>
                <a:ea typeface="+mn-ea"/>
                <a:cs typeface="Segoe UI Semibold" panose="020B0702040204020203" pitchFamily="34" charset="0"/>
              </a:rPr>
              <a:t>1 Digital-CSA </a:t>
            </a:r>
            <a:endParaRPr kumimoji="0" lang="en-US" sz="1000" b="0" i="0" u="none" strike="noStrike" kern="1200" cap="none" spc="-10" normalizeH="0" baseline="0" noProof="0">
              <a:ln>
                <a:noFill/>
              </a:ln>
              <a:solidFill>
                <a:srgbClr val="FFFFFF">
                  <a:lumMod val="50000"/>
                </a:srgbClr>
              </a:solidFill>
              <a:effectLst/>
              <a:uLnTx/>
              <a:uFillTx/>
              <a:latin typeface="Segoe UI"/>
              <a:ea typeface="+mn-ea"/>
              <a:cs typeface="+mn-cs"/>
            </a:endParaRPr>
          </a:p>
        </p:txBody>
      </p:sp>
      <p:sp>
        <p:nvSpPr>
          <p:cNvPr id="513" name="Rectangle: Rounded Corners 512">
            <a:extLst>
              <a:ext uri="{FF2B5EF4-FFF2-40B4-BE49-F238E27FC236}">
                <a16:creationId xmlns:a16="http://schemas.microsoft.com/office/drawing/2014/main" id="{F37FF044-C7AA-802C-AF30-4BE84256D38D}"/>
              </a:ext>
            </a:extLst>
          </p:cNvPr>
          <p:cNvSpPr/>
          <p:nvPr/>
        </p:nvSpPr>
        <p:spPr bwMode="auto">
          <a:xfrm>
            <a:off x="7076585" y="5205453"/>
            <a:ext cx="4386563" cy="692822"/>
          </a:xfrm>
          <a:prstGeom prst="roundRect">
            <a:avLst>
              <a:gd name="adj" fmla="val 9007"/>
            </a:avLst>
          </a:prstGeom>
          <a:solidFill>
            <a:srgbClr val="FFFFFF"/>
          </a:solidFill>
          <a:ln w="9525" cap="rnd" cmpd="sng" algn="ctr">
            <a:solidFill>
              <a:srgbClr val="D9D9D6"/>
            </a:solidFill>
            <a:prstDash val="solid"/>
            <a:headEnd type="none" w="lg" len="med"/>
            <a:tailEnd type="none" w="lg" len="sm"/>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4" name="TextBox 513">
            <a:extLst>
              <a:ext uri="{FF2B5EF4-FFF2-40B4-BE49-F238E27FC236}">
                <a16:creationId xmlns:a16="http://schemas.microsoft.com/office/drawing/2014/main" id="{B00430C5-EF7C-5EE7-7C6B-97CC8C2807F9}"/>
              </a:ext>
            </a:extLst>
          </p:cNvPr>
          <p:cNvSpPr txBox="1"/>
          <p:nvPr/>
        </p:nvSpPr>
        <p:spPr>
          <a:xfrm>
            <a:off x="8113699" y="5081971"/>
            <a:ext cx="1708229" cy="232756"/>
          </a:xfrm>
          <a:prstGeom prst="rect">
            <a:avLst/>
          </a:prstGeom>
          <a:solidFill>
            <a:srgbClr val="FFFFFF"/>
          </a:solid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9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Solution Engineer Pod Model</a:t>
            </a:r>
          </a:p>
        </p:txBody>
      </p:sp>
      <p:sp>
        <p:nvSpPr>
          <p:cNvPr id="515" name="TextBox 514">
            <a:extLst>
              <a:ext uri="{FF2B5EF4-FFF2-40B4-BE49-F238E27FC236}">
                <a16:creationId xmlns:a16="http://schemas.microsoft.com/office/drawing/2014/main" id="{D6D2B326-8BD2-76AD-20A9-3C46B6F67E11}"/>
              </a:ext>
            </a:extLst>
          </p:cNvPr>
          <p:cNvSpPr txBox="1">
            <a:spLocks/>
          </p:cNvSpPr>
          <p:nvPr/>
        </p:nvSpPr>
        <p:spPr>
          <a:xfrm rot="10800000" flipV="1">
            <a:off x="1171421" y="4150269"/>
            <a:ext cx="1295211" cy="174465"/>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Infra Specialist </a:t>
            </a:r>
          </a:p>
        </p:txBody>
      </p:sp>
      <p:sp>
        <p:nvSpPr>
          <p:cNvPr id="516" name="TextBox 515">
            <a:extLst>
              <a:ext uri="{FF2B5EF4-FFF2-40B4-BE49-F238E27FC236}">
                <a16:creationId xmlns:a16="http://schemas.microsoft.com/office/drawing/2014/main" id="{73243FBE-247C-202A-DE76-66D95CB5B16B}"/>
              </a:ext>
            </a:extLst>
          </p:cNvPr>
          <p:cNvSpPr txBox="1">
            <a:spLocks/>
          </p:cNvSpPr>
          <p:nvPr/>
        </p:nvSpPr>
        <p:spPr>
          <a:xfrm rot="10800000" flipV="1">
            <a:off x="1172221" y="5331592"/>
            <a:ext cx="608594" cy="192030"/>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Infra TS</a:t>
            </a:r>
          </a:p>
        </p:txBody>
      </p:sp>
      <p:sp>
        <p:nvSpPr>
          <p:cNvPr id="517" name="TextBox 516">
            <a:extLst>
              <a:ext uri="{FF2B5EF4-FFF2-40B4-BE49-F238E27FC236}">
                <a16:creationId xmlns:a16="http://schemas.microsoft.com/office/drawing/2014/main" id="{55545400-C1AD-122A-39C5-996E0F81AC4E}"/>
              </a:ext>
            </a:extLst>
          </p:cNvPr>
          <p:cNvSpPr txBox="1">
            <a:spLocks/>
          </p:cNvSpPr>
          <p:nvPr/>
        </p:nvSpPr>
        <p:spPr>
          <a:xfrm rot="10800000" flipV="1">
            <a:off x="2556465" y="4150269"/>
            <a:ext cx="1359664" cy="192342"/>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Data App &amp; AI Specialist</a:t>
            </a:r>
          </a:p>
        </p:txBody>
      </p:sp>
      <p:sp>
        <p:nvSpPr>
          <p:cNvPr id="518" name="TextBox 517">
            <a:extLst>
              <a:ext uri="{FF2B5EF4-FFF2-40B4-BE49-F238E27FC236}">
                <a16:creationId xmlns:a16="http://schemas.microsoft.com/office/drawing/2014/main" id="{02AC4C18-7FA0-79AE-FD51-AB7E581E2225}"/>
              </a:ext>
            </a:extLst>
          </p:cNvPr>
          <p:cNvSpPr txBox="1">
            <a:spLocks/>
          </p:cNvSpPr>
          <p:nvPr/>
        </p:nvSpPr>
        <p:spPr>
          <a:xfrm rot="10800000" flipV="1">
            <a:off x="4115852" y="4150329"/>
            <a:ext cx="1402432" cy="172188"/>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Data App &amp; AI Specialist</a:t>
            </a:r>
          </a:p>
        </p:txBody>
      </p:sp>
      <p:sp>
        <p:nvSpPr>
          <p:cNvPr id="519" name="TextBox 518">
            <a:extLst>
              <a:ext uri="{FF2B5EF4-FFF2-40B4-BE49-F238E27FC236}">
                <a16:creationId xmlns:a16="http://schemas.microsoft.com/office/drawing/2014/main" id="{8B65793C-AEC8-732A-EF7B-C0C9996094C2}"/>
              </a:ext>
            </a:extLst>
          </p:cNvPr>
          <p:cNvSpPr txBox="1">
            <a:spLocks/>
          </p:cNvSpPr>
          <p:nvPr/>
        </p:nvSpPr>
        <p:spPr>
          <a:xfrm rot="10800000" flipV="1">
            <a:off x="1171420" y="4358853"/>
            <a:ext cx="1295212" cy="182720"/>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a:t>
            </a:r>
            <a:r>
              <a:rPr kumimoji="0" lang="en-US" sz="8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Data, App &amp; AI Specialist</a:t>
            </a:r>
          </a:p>
        </p:txBody>
      </p:sp>
      <p:sp>
        <p:nvSpPr>
          <p:cNvPr id="520" name="TextBox 519">
            <a:extLst>
              <a:ext uri="{FF2B5EF4-FFF2-40B4-BE49-F238E27FC236}">
                <a16:creationId xmlns:a16="http://schemas.microsoft.com/office/drawing/2014/main" id="{E604FE0A-F360-AE2B-0411-525FDAA5FA06}"/>
              </a:ext>
            </a:extLst>
          </p:cNvPr>
          <p:cNvSpPr txBox="1">
            <a:spLocks/>
          </p:cNvSpPr>
          <p:nvPr/>
        </p:nvSpPr>
        <p:spPr>
          <a:xfrm rot="10800000" flipV="1">
            <a:off x="1179798" y="4581136"/>
            <a:ext cx="4344888" cy="181322"/>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Azure Acquisition Specialist</a:t>
            </a:r>
          </a:p>
        </p:txBody>
      </p:sp>
      <p:sp>
        <p:nvSpPr>
          <p:cNvPr id="521" name="TextBox 520">
            <a:extLst>
              <a:ext uri="{FF2B5EF4-FFF2-40B4-BE49-F238E27FC236}">
                <a16:creationId xmlns:a16="http://schemas.microsoft.com/office/drawing/2014/main" id="{F92DC7A1-48B4-7B0E-6976-7CBD93B3C377}"/>
              </a:ext>
            </a:extLst>
          </p:cNvPr>
          <p:cNvSpPr txBox="1">
            <a:spLocks/>
          </p:cNvSpPr>
          <p:nvPr/>
        </p:nvSpPr>
        <p:spPr>
          <a:xfrm rot="10800000" flipV="1">
            <a:off x="1171420" y="4824778"/>
            <a:ext cx="4339297" cy="181322"/>
          </a:xfrm>
          <a:prstGeom prst="roundRect">
            <a:avLst/>
          </a:prstGeom>
          <a:solidFill>
            <a:srgbClr val="49C5B1">
              <a:lumMod val="60000"/>
              <a:lumOff val="4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Azure Partner Solution Specialist (PSS) – Americas only</a:t>
            </a:r>
          </a:p>
        </p:txBody>
      </p:sp>
      <p:sp>
        <p:nvSpPr>
          <p:cNvPr id="522" name="TextBox 521">
            <a:extLst>
              <a:ext uri="{FF2B5EF4-FFF2-40B4-BE49-F238E27FC236}">
                <a16:creationId xmlns:a16="http://schemas.microsoft.com/office/drawing/2014/main" id="{1F08E7C1-F41E-FE72-9096-FB1B101AB02D}"/>
              </a:ext>
            </a:extLst>
          </p:cNvPr>
          <p:cNvSpPr txBox="1">
            <a:spLocks/>
          </p:cNvSpPr>
          <p:nvPr/>
        </p:nvSpPr>
        <p:spPr>
          <a:xfrm rot="10800000" flipV="1">
            <a:off x="4115850" y="4358853"/>
            <a:ext cx="1394867" cy="168807"/>
          </a:xfrm>
          <a:prstGeom prst="roundRect">
            <a:avLst/>
          </a:prstGeom>
          <a:solidFill>
            <a:srgbClr val="49C5B1">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Infra Specialist</a:t>
            </a:r>
          </a:p>
        </p:txBody>
      </p:sp>
      <p:sp>
        <p:nvSpPr>
          <p:cNvPr id="523" name="TextBox 522">
            <a:extLst>
              <a:ext uri="{FF2B5EF4-FFF2-40B4-BE49-F238E27FC236}">
                <a16:creationId xmlns:a16="http://schemas.microsoft.com/office/drawing/2014/main" id="{632211C2-42D1-2231-38B1-EDD4519F12A4}"/>
              </a:ext>
            </a:extLst>
          </p:cNvPr>
          <p:cNvSpPr txBox="1">
            <a:spLocks/>
          </p:cNvSpPr>
          <p:nvPr/>
        </p:nvSpPr>
        <p:spPr>
          <a:xfrm rot="10800000" flipV="1">
            <a:off x="1819026" y="5331590"/>
            <a:ext cx="647439" cy="175683"/>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Apps TS </a:t>
            </a:r>
          </a:p>
        </p:txBody>
      </p:sp>
      <p:sp>
        <p:nvSpPr>
          <p:cNvPr id="524" name="TextBox 523">
            <a:extLst>
              <a:ext uri="{FF2B5EF4-FFF2-40B4-BE49-F238E27FC236}">
                <a16:creationId xmlns:a16="http://schemas.microsoft.com/office/drawing/2014/main" id="{453866EB-29B9-A409-1D88-CB4FD4B2AA53}"/>
              </a:ext>
            </a:extLst>
          </p:cNvPr>
          <p:cNvSpPr txBox="1">
            <a:spLocks/>
          </p:cNvSpPr>
          <p:nvPr/>
        </p:nvSpPr>
        <p:spPr>
          <a:xfrm rot="10800000" flipV="1">
            <a:off x="2544549" y="5331590"/>
            <a:ext cx="1374571" cy="182719"/>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Data &amp; AI TS</a:t>
            </a:r>
          </a:p>
        </p:txBody>
      </p:sp>
      <p:sp>
        <p:nvSpPr>
          <p:cNvPr id="525" name="TextBox 524">
            <a:extLst>
              <a:ext uri="{FF2B5EF4-FFF2-40B4-BE49-F238E27FC236}">
                <a16:creationId xmlns:a16="http://schemas.microsoft.com/office/drawing/2014/main" id="{4F022AB6-E02B-EC5F-C230-58182097C49C}"/>
              </a:ext>
            </a:extLst>
          </p:cNvPr>
          <p:cNvSpPr txBox="1">
            <a:spLocks/>
          </p:cNvSpPr>
          <p:nvPr/>
        </p:nvSpPr>
        <p:spPr>
          <a:xfrm rot="10800000" flipV="1">
            <a:off x="4115865" y="5324554"/>
            <a:ext cx="1419675" cy="175451"/>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Data &amp; AI TS</a:t>
            </a:r>
          </a:p>
        </p:txBody>
      </p:sp>
      <p:sp>
        <p:nvSpPr>
          <p:cNvPr id="526" name="TextBox 525">
            <a:extLst>
              <a:ext uri="{FF2B5EF4-FFF2-40B4-BE49-F238E27FC236}">
                <a16:creationId xmlns:a16="http://schemas.microsoft.com/office/drawing/2014/main" id="{B7184875-D9EE-F695-A287-92855226C134}"/>
              </a:ext>
            </a:extLst>
          </p:cNvPr>
          <p:cNvSpPr txBox="1">
            <a:spLocks/>
          </p:cNvSpPr>
          <p:nvPr/>
        </p:nvSpPr>
        <p:spPr>
          <a:xfrm rot="10800000" flipV="1">
            <a:off x="1169111" y="5547041"/>
            <a:ext cx="1297354" cy="180089"/>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Data &amp; AI TS</a:t>
            </a:r>
          </a:p>
        </p:txBody>
      </p:sp>
      <p:sp>
        <p:nvSpPr>
          <p:cNvPr id="527" name="TextBox 526">
            <a:extLst>
              <a:ext uri="{FF2B5EF4-FFF2-40B4-BE49-F238E27FC236}">
                <a16:creationId xmlns:a16="http://schemas.microsoft.com/office/drawing/2014/main" id="{255C2C0C-A5A9-B70F-C409-2259CBDEDC06}"/>
              </a:ext>
            </a:extLst>
          </p:cNvPr>
          <p:cNvSpPr txBox="1">
            <a:spLocks/>
          </p:cNvSpPr>
          <p:nvPr/>
        </p:nvSpPr>
        <p:spPr>
          <a:xfrm rot="10800000" flipV="1">
            <a:off x="1167314" y="6007966"/>
            <a:ext cx="4343403" cy="417154"/>
          </a:xfrm>
          <a:prstGeom prst="roundRect">
            <a:avLst/>
          </a:prstGeom>
          <a:solidFill>
            <a:srgbClr val="FFFFFF">
              <a:lumMod val="95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rgbClr val="454142"/>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Azure Digital CSA – 4 areas</a:t>
            </a:r>
          </a:p>
        </p:txBody>
      </p:sp>
      <p:cxnSp>
        <p:nvCxnSpPr>
          <p:cNvPr id="528" name="Straight Connector 527">
            <a:extLst>
              <a:ext uri="{FF2B5EF4-FFF2-40B4-BE49-F238E27FC236}">
                <a16:creationId xmlns:a16="http://schemas.microsoft.com/office/drawing/2014/main" id="{BC9926F9-2247-BD20-C793-1B7BDA42A050}"/>
              </a:ext>
            </a:extLst>
          </p:cNvPr>
          <p:cNvCxnSpPr>
            <a:cxnSpLocks/>
          </p:cNvCxnSpPr>
          <p:nvPr/>
        </p:nvCxnSpPr>
        <p:spPr>
          <a:xfrm>
            <a:off x="1038070" y="5136180"/>
            <a:ext cx="4542930" cy="10296"/>
          </a:xfrm>
          <a:prstGeom prst="line">
            <a:avLst/>
          </a:prstGeom>
          <a:solidFill>
            <a:srgbClr val="FFFFFF"/>
          </a:solidFill>
          <a:ln w="9525" cap="rnd" cmpd="sng" algn="ctr">
            <a:solidFill>
              <a:srgbClr val="D9D9D6"/>
            </a:solidFill>
            <a:prstDash val="solid"/>
            <a:headEnd type="none" w="lg" len="med"/>
            <a:tailEnd type="none" w="lg" len="sm"/>
          </a:ln>
          <a:effectLst/>
        </p:spPr>
      </p:cxnSp>
      <p:cxnSp>
        <p:nvCxnSpPr>
          <p:cNvPr id="529" name="Straight Connector 528">
            <a:extLst>
              <a:ext uri="{FF2B5EF4-FFF2-40B4-BE49-F238E27FC236}">
                <a16:creationId xmlns:a16="http://schemas.microsoft.com/office/drawing/2014/main" id="{0DE63D2F-F0A3-9837-0095-90EF3265BF45}"/>
              </a:ext>
            </a:extLst>
          </p:cNvPr>
          <p:cNvCxnSpPr>
            <a:cxnSpLocks/>
          </p:cNvCxnSpPr>
          <p:nvPr/>
        </p:nvCxnSpPr>
        <p:spPr>
          <a:xfrm>
            <a:off x="1038070" y="5883675"/>
            <a:ext cx="4536217" cy="9265"/>
          </a:xfrm>
          <a:prstGeom prst="line">
            <a:avLst/>
          </a:prstGeom>
          <a:solidFill>
            <a:srgbClr val="FFFFFF"/>
          </a:solidFill>
          <a:ln w="9525" cap="rnd" cmpd="sng" algn="ctr">
            <a:solidFill>
              <a:srgbClr val="D9D9D6"/>
            </a:solidFill>
            <a:prstDash val="solid"/>
            <a:headEnd type="none" w="lg" len="med"/>
            <a:tailEnd type="none" w="lg" len="sm"/>
          </a:ln>
          <a:effectLst/>
        </p:spPr>
      </p:cxnSp>
      <p:sp>
        <p:nvSpPr>
          <p:cNvPr id="530" name="TextBox 529">
            <a:extLst>
              <a:ext uri="{FF2B5EF4-FFF2-40B4-BE49-F238E27FC236}">
                <a16:creationId xmlns:a16="http://schemas.microsoft.com/office/drawing/2014/main" id="{A9F8D5A9-25B6-CE40-3675-9479E20A641A}"/>
              </a:ext>
            </a:extLst>
          </p:cNvPr>
          <p:cNvSpPr txBox="1">
            <a:spLocks/>
          </p:cNvSpPr>
          <p:nvPr/>
        </p:nvSpPr>
        <p:spPr>
          <a:xfrm rot="10800000" flipV="1">
            <a:off x="7180214" y="4254307"/>
            <a:ext cx="4326051" cy="424776"/>
          </a:xfrm>
          <a:prstGeom prst="roundRect">
            <a:avLst>
              <a:gd name="adj" fmla="val 19723"/>
            </a:avLst>
          </a:prstGeom>
          <a:solidFill>
            <a:srgbClr val="38B29E"/>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Cloud &amp; AI Specialist</a:t>
            </a:r>
          </a:p>
        </p:txBody>
      </p:sp>
      <p:sp>
        <p:nvSpPr>
          <p:cNvPr id="531" name="TextBox 530">
            <a:extLst>
              <a:ext uri="{FF2B5EF4-FFF2-40B4-BE49-F238E27FC236}">
                <a16:creationId xmlns:a16="http://schemas.microsoft.com/office/drawing/2014/main" id="{EF8C2609-BAE5-CDA9-B283-66EA25F628E2}"/>
              </a:ext>
            </a:extLst>
          </p:cNvPr>
          <p:cNvSpPr txBox="1">
            <a:spLocks/>
          </p:cNvSpPr>
          <p:nvPr/>
        </p:nvSpPr>
        <p:spPr>
          <a:xfrm rot="10800000" flipV="1">
            <a:off x="7193233" y="5325104"/>
            <a:ext cx="1374730" cy="487256"/>
          </a:xfrm>
          <a:prstGeom prst="roundRect">
            <a:avLst>
              <a:gd name="adj" fmla="val 14061"/>
            </a:avLst>
          </a:prstGeom>
          <a:solidFill>
            <a:srgbClr val="0078D4"/>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loud &amp; AI Infra SE </a:t>
            </a:r>
          </a:p>
        </p:txBody>
      </p:sp>
      <p:sp>
        <p:nvSpPr>
          <p:cNvPr id="532" name="TextBox 531">
            <a:extLst>
              <a:ext uri="{FF2B5EF4-FFF2-40B4-BE49-F238E27FC236}">
                <a16:creationId xmlns:a16="http://schemas.microsoft.com/office/drawing/2014/main" id="{903FB1A5-E2D7-7DB9-D894-8976E43A2085}"/>
              </a:ext>
            </a:extLst>
          </p:cNvPr>
          <p:cNvSpPr txBox="1">
            <a:spLocks/>
          </p:cNvSpPr>
          <p:nvPr/>
        </p:nvSpPr>
        <p:spPr>
          <a:xfrm rot="10800000" flipV="1">
            <a:off x="8657439" y="5318050"/>
            <a:ext cx="1358862" cy="487256"/>
          </a:xfrm>
          <a:prstGeom prst="roundRect">
            <a:avLst>
              <a:gd name="adj" fmla="val 12757"/>
            </a:avLst>
          </a:prstGeom>
          <a:solidFill>
            <a:srgbClr val="0078D4"/>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loud &amp; AI Data SE </a:t>
            </a:r>
          </a:p>
        </p:txBody>
      </p:sp>
      <p:sp>
        <p:nvSpPr>
          <p:cNvPr id="533" name="TextBox 532">
            <a:extLst>
              <a:ext uri="{FF2B5EF4-FFF2-40B4-BE49-F238E27FC236}">
                <a16:creationId xmlns:a16="http://schemas.microsoft.com/office/drawing/2014/main" id="{4039BD0C-171C-2CEE-5DDC-0487DB88DEDA}"/>
              </a:ext>
            </a:extLst>
          </p:cNvPr>
          <p:cNvSpPr txBox="1">
            <a:spLocks/>
          </p:cNvSpPr>
          <p:nvPr/>
        </p:nvSpPr>
        <p:spPr>
          <a:xfrm rot="10800000" flipV="1">
            <a:off x="10104286" y="5318050"/>
            <a:ext cx="1282988" cy="487256"/>
          </a:xfrm>
          <a:prstGeom prst="roundRect">
            <a:avLst>
              <a:gd name="adj" fmla="val 12757"/>
            </a:avLst>
          </a:prstGeom>
          <a:solidFill>
            <a:srgbClr val="0078D4"/>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loud &amp; AI Apps SE </a:t>
            </a:r>
          </a:p>
        </p:txBody>
      </p:sp>
      <p:sp>
        <p:nvSpPr>
          <p:cNvPr id="534" name="TextBox 533">
            <a:extLst>
              <a:ext uri="{FF2B5EF4-FFF2-40B4-BE49-F238E27FC236}">
                <a16:creationId xmlns:a16="http://schemas.microsoft.com/office/drawing/2014/main" id="{C5162DDD-030B-6196-5548-FBE2DA74C79D}"/>
              </a:ext>
            </a:extLst>
          </p:cNvPr>
          <p:cNvSpPr txBox="1">
            <a:spLocks/>
          </p:cNvSpPr>
          <p:nvPr/>
        </p:nvSpPr>
        <p:spPr>
          <a:xfrm rot="10800000" flipV="1">
            <a:off x="7132587" y="6041311"/>
            <a:ext cx="4330561" cy="222632"/>
          </a:xfrm>
          <a:prstGeom prst="roundRect">
            <a:avLst/>
          </a:prstGeom>
          <a:solidFill>
            <a:srgbClr val="9C9E9E"/>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loud &amp; AI Digital CSA (coverage in all Areas) </a:t>
            </a:r>
          </a:p>
        </p:txBody>
      </p:sp>
      <p:sp>
        <p:nvSpPr>
          <p:cNvPr id="535" name="TextBox 534">
            <a:extLst>
              <a:ext uri="{FF2B5EF4-FFF2-40B4-BE49-F238E27FC236}">
                <a16:creationId xmlns:a16="http://schemas.microsoft.com/office/drawing/2014/main" id="{3A1D27C4-B5BF-9D18-C3E4-EE2DD770AD3A}"/>
              </a:ext>
            </a:extLst>
          </p:cNvPr>
          <p:cNvSpPr txBox="1">
            <a:spLocks/>
          </p:cNvSpPr>
          <p:nvPr/>
        </p:nvSpPr>
        <p:spPr>
          <a:xfrm rot="10800000" flipV="1">
            <a:off x="7147961" y="4828716"/>
            <a:ext cx="4326051" cy="177386"/>
          </a:xfrm>
          <a:prstGeom prst="roundRect">
            <a:avLst>
              <a:gd name="adj" fmla="val 22436"/>
            </a:avLst>
          </a:prstGeom>
          <a:solidFill>
            <a:srgbClr val="49C5B1">
              <a:lumMod val="5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10000"/>
              </a:lnSpc>
              <a:spcBef>
                <a:spcPts val="0"/>
              </a:spcBef>
              <a:spcAft>
                <a:spcPts val="0"/>
              </a:spcAft>
              <a:buClrTx/>
              <a:buSzTx/>
              <a:buFontTx/>
              <a:buNone/>
              <a:tabLst/>
              <a:defRPr kumimoji="0" sz="900" b="0" i="0" u="none" strike="noStrike" kern="0" cap="none" spc="0" normalizeH="0" baseline="0">
                <a:ln>
                  <a:noFill/>
                </a:ln>
                <a:solidFill>
                  <a:srgbClr val="FFFFFF"/>
                </a:solidFill>
                <a:effectLst/>
                <a:uLnTx/>
                <a:uFillTx/>
                <a:latin typeface="Segoe UI Semibold"/>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Cloud &amp; AI PSS – ALL Areas</a:t>
            </a:r>
          </a:p>
        </p:txBody>
      </p:sp>
      <p:sp>
        <p:nvSpPr>
          <p:cNvPr id="536" name="TextBox 535">
            <a:extLst>
              <a:ext uri="{FF2B5EF4-FFF2-40B4-BE49-F238E27FC236}">
                <a16:creationId xmlns:a16="http://schemas.microsoft.com/office/drawing/2014/main" id="{E7AC2C85-BD77-FCCD-5695-A4532DEB5F9A}"/>
              </a:ext>
            </a:extLst>
          </p:cNvPr>
          <p:cNvSpPr txBox="1"/>
          <p:nvPr/>
        </p:nvSpPr>
        <p:spPr>
          <a:xfrm>
            <a:off x="7060465" y="6288699"/>
            <a:ext cx="4402683" cy="201530"/>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70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nified Accounts </a:t>
            </a:r>
            <a:r>
              <a:rPr kumimoji="0" lang="en-US" sz="700" i="0" u="none" strike="noStrike" kern="1200" cap="none" spc="0" normalizeH="0" baseline="0" noProof="0">
                <a:ln>
                  <a:noFill/>
                </a:ln>
                <a:solidFill>
                  <a:srgbClr val="000000"/>
                </a:solidFill>
                <a:effectLst/>
                <a:uLnTx/>
                <a:uFillTx/>
                <a:latin typeface="Segoe UI "/>
                <a:ea typeface="+mn-ea"/>
                <a:cs typeface="Segoe UI Semibold" panose="020B0702040204020203" pitchFamily="34" charset="0"/>
              </a:rPr>
              <a:t>will continue to have CSAM, CSA coverage with closer alignment to the SME&amp;C</a:t>
            </a:r>
          </a:p>
        </p:txBody>
      </p:sp>
      <p:sp>
        <p:nvSpPr>
          <p:cNvPr id="537" name="TextBox 536">
            <a:extLst>
              <a:ext uri="{FF2B5EF4-FFF2-40B4-BE49-F238E27FC236}">
                <a16:creationId xmlns:a16="http://schemas.microsoft.com/office/drawing/2014/main" id="{ED9A582F-E3AB-E665-F820-05018FA4D97D}"/>
              </a:ext>
            </a:extLst>
          </p:cNvPr>
          <p:cNvSpPr txBox="1">
            <a:spLocks/>
          </p:cNvSpPr>
          <p:nvPr/>
        </p:nvSpPr>
        <p:spPr>
          <a:xfrm rot="10800000" flipV="1">
            <a:off x="4124159" y="5547043"/>
            <a:ext cx="746673" cy="166176"/>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Infra TS</a:t>
            </a:r>
          </a:p>
        </p:txBody>
      </p:sp>
      <p:sp>
        <p:nvSpPr>
          <p:cNvPr id="625" name="TextBox 624">
            <a:extLst>
              <a:ext uri="{FF2B5EF4-FFF2-40B4-BE49-F238E27FC236}">
                <a16:creationId xmlns:a16="http://schemas.microsoft.com/office/drawing/2014/main" id="{E7A5B904-18D7-7C9C-C1A9-D19567306820}"/>
              </a:ext>
            </a:extLst>
          </p:cNvPr>
          <p:cNvSpPr txBox="1">
            <a:spLocks/>
          </p:cNvSpPr>
          <p:nvPr/>
        </p:nvSpPr>
        <p:spPr>
          <a:xfrm rot="10800000" flipV="1">
            <a:off x="4935664" y="5547041"/>
            <a:ext cx="582620" cy="163457"/>
          </a:xfrm>
          <a:prstGeom prst="roundRect">
            <a:avLst/>
          </a:prstGeom>
          <a:solidFill>
            <a:srgbClr val="0078D4">
              <a:lumMod val="20000"/>
              <a:lumOff val="80000"/>
            </a:srgbClr>
          </a:solidFill>
          <a:ln w="10795" cap="flat" cmpd="sng" algn="ctr">
            <a:noFill/>
            <a:prstDash val="solid"/>
          </a:ln>
          <a:effectLst/>
        </p:spPr>
        <p:txBody>
          <a:bodyPr vert="horz"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a:ln>
                  <a:noFill/>
                </a:ln>
                <a:solidFill>
                  <a:srgbClr val="454142"/>
                </a:solidFill>
                <a:effectLst/>
                <a:uLnTx/>
                <a:uFillTx/>
                <a:latin typeface="Segoe UI Semibold"/>
                <a:ea typeface="+mn-ea"/>
                <a:cs typeface="Segoe UI" panose="020B0502040204020203" pitchFamily="34" charset="0"/>
              </a:rPr>
              <a:t> Apps TS </a:t>
            </a:r>
          </a:p>
        </p:txBody>
      </p:sp>
      <p:cxnSp>
        <p:nvCxnSpPr>
          <p:cNvPr id="626" name="Straight Arrow Connector 625">
            <a:extLst>
              <a:ext uri="{FF2B5EF4-FFF2-40B4-BE49-F238E27FC236}">
                <a16:creationId xmlns:a16="http://schemas.microsoft.com/office/drawing/2014/main" id="{85C2B4BD-84C3-03F9-097C-41E136846C4B}"/>
              </a:ext>
            </a:extLst>
          </p:cNvPr>
          <p:cNvCxnSpPr>
            <a:cxnSpLocks/>
          </p:cNvCxnSpPr>
          <p:nvPr/>
        </p:nvCxnSpPr>
        <p:spPr>
          <a:xfrm>
            <a:off x="5720052" y="4917409"/>
            <a:ext cx="1200887" cy="0"/>
          </a:xfrm>
          <a:prstGeom prst="straightConnector1">
            <a:avLst/>
          </a:prstGeom>
          <a:noFill/>
          <a:ln w="12700" cap="flat" cmpd="sng" algn="ctr">
            <a:solidFill>
              <a:srgbClr val="FFFFFF">
                <a:lumMod val="75000"/>
              </a:srgbClr>
            </a:solidFill>
            <a:prstDash val="solid"/>
            <a:headEnd type="none" w="lg" len="med"/>
            <a:tailEnd type="arrow" w="lg" len="sm"/>
          </a:ln>
          <a:effectLst/>
        </p:spPr>
      </p:cxnSp>
      <p:sp>
        <p:nvSpPr>
          <p:cNvPr id="627" name="TextBox 1055">
            <a:extLst>
              <a:ext uri="{FF2B5EF4-FFF2-40B4-BE49-F238E27FC236}">
                <a16:creationId xmlns:a16="http://schemas.microsoft.com/office/drawing/2014/main" id="{85782A81-BFF8-BF22-7000-29D70F2B8631}"/>
              </a:ext>
            </a:extLst>
          </p:cNvPr>
          <p:cNvSpPr txBox="1"/>
          <p:nvPr/>
        </p:nvSpPr>
        <p:spPr>
          <a:xfrm>
            <a:off x="5870495" y="4802736"/>
            <a:ext cx="900000" cy="229346"/>
          </a:xfrm>
          <a:prstGeom prst="roundRect">
            <a:avLst/>
          </a:prstGeom>
          <a:solidFill>
            <a:srgbClr val="49C5B1"/>
          </a:solidFill>
        </p:spPr>
        <p:txBody>
          <a:bodyPr wrap="square" lIns="0" tIns="0" rIns="0" bIns="0" rtlCol="0" anchor="ctr" anchorCtr="0">
            <a:noAutofit/>
          </a:bodyPr>
          <a:lstStyle>
            <a:defPPr>
              <a:defRPr lang="en-US"/>
            </a:defPPr>
            <a:lvl1pPr marL="0" algn="ctr" defTabSz="914400" rtl="0" eaLnBrk="1" latinLnBrk="0" hangingPunct="1">
              <a:defRPr sz="11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a:ea typeface="+mn-ea"/>
                <a:cs typeface="+mn-cs"/>
              </a:rPr>
              <a:t>Hydration</a:t>
            </a:r>
          </a:p>
        </p:txBody>
      </p:sp>
      <p:sp>
        <p:nvSpPr>
          <p:cNvPr id="628" name="Rectangle: Rounded Corners 627">
            <a:extLst>
              <a:ext uri="{FF2B5EF4-FFF2-40B4-BE49-F238E27FC236}">
                <a16:creationId xmlns:a16="http://schemas.microsoft.com/office/drawing/2014/main" id="{8664C064-62E1-4339-5D0C-103C5918A48F}"/>
              </a:ext>
            </a:extLst>
          </p:cNvPr>
          <p:cNvSpPr/>
          <p:nvPr/>
        </p:nvSpPr>
        <p:spPr>
          <a:xfrm>
            <a:off x="2603855" y="2670550"/>
            <a:ext cx="1369733" cy="688166"/>
          </a:xfrm>
          <a:prstGeom prst="roundRect">
            <a:avLst>
              <a:gd name="adj" fmla="val 11012"/>
            </a:avLst>
          </a:prstGeom>
          <a:noFill/>
          <a:ln w="12700" cap="flat" cmpd="sng" algn="ctr">
            <a:solidFill>
              <a:srgbClr val="8DC8E8">
                <a:lumMod val="75000"/>
              </a:srgbClr>
            </a:solidFill>
            <a:prstDash val="solid"/>
          </a:ln>
          <a:effectLst/>
        </p:spPr>
        <p:txBody>
          <a:bodyPr rtlCol="0" anchor="ctr"/>
          <a:lstStyle/>
          <a:p>
            <a:pPr marL="0" marR="0" lvl="0" indent="0" algn="ctr" defTabSz="914400" rtl="0" eaLnBrk="1" fontAlgn="ctr" latinLnBrk="0" hangingPunct="1">
              <a:lnSpc>
                <a:spcPct val="100000"/>
              </a:lnSpc>
              <a:spcBef>
                <a:spcPts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nify Your Intelligent Data &amp; Analytics Platform            </a:t>
            </a:r>
          </a:p>
        </p:txBody>
      </p:sp>
      <p:grpSp>
        <p:nvGrpSpPr>
          <p:cNvPr id="629" name="Group 628">
            <a:extLst>
              <a:ext uri="{FF2B5EF4-FFF2-40B4-BE49-F238E27FC236}">
                <a16:creationId xmlns:a16="http://schemas.microsoft.com/office/drawing/2014/main" id="{FBB763E7-4F7E-5B82-E40B-FBB08CA4F94B}"/>
              </a:ext>
            </a:extLst>
          </p:cNvPr>
          <p:cNvGrpSpPr/>
          <p:nvPr/>
        </p:nvGrpSpPr>
        <p:grpSpPr>
          <a:xfrm>
            <a:off x="6131495" y="2026705"/>
            <a:ext cx="378000" cy="377396"/>
            <a:chOff x="6148714" y="1744576"/>
            <a:chExt cx="378000" cy="377396"/>
          </a:xfrm>
        </p:grpSpPr>
        <p:sp>
          <p:nvSpPr>
            <p:cNvPr id="630" name="Oval 629">
              <a:extLst>
                <a:ext uri="{FF2B5EF4-FFF2-40B4-BE49-F238E27FC236}">
                  <a16:creationId xmlns:a16="http://schemas.microsoft.com/office/drawing/2014/main" id="{B59AB092-7713-023D-FFAD-1B6A130633FD}"/>
                </a:ext>
              </a:extLst>
            </p:cNvPr>
            <p:cNvSpPr/>
            <p:nvPr/>
          </p:nvSpPr>
          <p:spPr bwMode="auto">
            <a:xfrm>
              <a:off x="6148714" y="1744576"/>
              <a:ext cx="378000" cy="377396"/>
            </a:xfrm>
            <a:prstGeom prst="ellipse">
              <a:avLst/>
            </a:prstGeom>
            <a:solidFill>
              <a:srgbClr val="FFFFFF"/>
            </a:solidFill>
            <a:ln w="19050" cap="flat" cmpd="sng" algn="ctr">
              <a:solidFill>
                <a:srgbClr val="2A446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pic>
          <p:nvPicPr>
            <p:cNvPr id="631" name="Graphic 630">
              <a:extLst>
                <a:ext uri="{FF2B5EF4-FFF2-40B4-BE49-F238E27FC236}">
                  <a16:creationId xmlns:a16="http://schemas.microsoft.com/office/drawing/2014/main" id="{BFECE21C-09AE-8E99-DE59-A34477057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7527" y="1807544"/>
              <a:ext cx="251460" cy="251460"/>
            </a:xfrm>
            <a:prstGeom prst="rect">
              <a:avLst/>
            </a:prstGeom>
          </p:spPr>
        </p:pic>
      </p:grpSp>
      <p:sp>
        <p:nvSpPr>
          <p:cNvPr id="538" name="Rectangle 537">
            <a:extLst>
              <a:ext uri="{FF2B5EF4-FFF2-40B4-BE49-F238E27FC236}">
                <a16:creationId xmlns:a16="http://schemas.microsoft.com/office/drawing/2014/main" id="{9DE5E1E4-D38C-A14B-7358-1B0D34368324}"/>
              </a:ext>
            </a:extLst>
          </p:cNvPr>
          <p:cNvSpPr/>
          <p:nvPr/>
        </p:nvSpPr>
        <p:spPr bwMode="auto">
          <a:xfrm>
            <a:off x="100013" y="5873622"/>
            <a:ext cx="11944350" cy="706036"/>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9" name="Rectangle 538">
            <a:extLst>
              <a:ext uri="{FF2B5EF4-FFF2-40B4-BE49-F238E27FC236}">
                <a16:creationId xmlns:a16="http://schemas.microsoft.com/office/drawing/2014/main" id="{FB162B3D-FF73-BE08-8F75-2752598A4106}"/>
              </a:ext>
            </a:extLst>
          </p:cNvPr>
          <p:cNvSpPr/>
          <p:nvPr/>
        </p:nvSpPr>
        <p:spPr bwMode="auto">
          <a:xfrm>
            <a:off x="5150048" y="1367923"/>
            <a:ext cx="6326690" cy="259861"/>
          </a:xfrm>
          <a:prstGeom prst="rect">
            <a:avLst/>
          </a:prstGeom>
          <a:noFill/>
          <a:ln w="57150">
            <a:solidFill>
              <a:srgbClr val="C03B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40" name="Group 539">
            <a:extLst>
              <a:ext uri="{FF2B5EF4-FFF2-40B4-BE49-F238E27FC236}">
                <a16:creationId xmlns:a16="http://schemas.microsoft.com/office/drawing/2014/main" id="{C2A49C00-CACB-E116-D590-9BD6EBBB9A04}"/>
              </a:ext>
              <a:ext uri="{C183D7F6-B498-43B3-948B-1728B52AA6E4}">
                <adec:decorative xmlns:adec="http://schemas.microsoft.com/office/drawing/2017/decorative" val="1"/>
              </a:ext>
            </a:extLst>
          </p:cNvPr>
          <p:cNvGrpSpPr/>
          <p:nvPr/>
        </p:nvGrpSpPr>
        <p:grpSpPr>
          <a:xfrm>
            <a:off x="59315" y="20009"/>
            <a:ext cx="12073370" cy="348643"/>
            <a:chOff x="59315" y="1786404"/>
            <a:chExt cx="12073370" cy="348643"/>
          </a:xfrm>
        </p:grpSpPr>
        <p:sp>
          <p:nvSpPr>
            <p:cNvPr id="541" name="Table 2 Cell 1, 1 to Text">
              <a:extLst>
                <a:ext uri="{FF2B5EF4-FFF2-40B4-BE49-F238E27FC236}">
                  <a16:creationId xmlns:a16="http://schemas.microsoft.com/office/drawing/2014/main" id="{6104342A-9299-25A1-54CF-2987E07274A6}"/>
                </a:ext>
              </a:extLst>
            </p:cNvPr>
            <p:cNvSpPr txBox="1"/>
            <p:nvPr/>
          </p:nvSpPr>
          <p:spPr>
            <a:xfrm>
              <a:off x="59315"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a:solidFill>
                    <a:srgbClr val="7F7F7F"/>
                  </a:solidFill>
                  <a:latin typeface="Segoe Sans Text"/>
                </a:rPr>
                <a:t>1. Welcome</a:t>
              </a:r>
            </a:p>
          </p:txBody>
        </p:sp>
        <p:sp>
          <p:nvSpPr>
            <p:cNvPr id="542" name="Table 2 Cell 2, 1 to Text">
              <a:extLst>
                <a:ext uri="{FF2B5EF4-FFF2-40B4-BE49-F238E27FC236}">
                  <a16:creationId xmlns:a16="http://schemas.microsoft.com/office/drawing/2014/main" id="{B2A7EF27-FEAF-157D-68CB-0CEC71FC223C}"/>
                </a:ext>
                <a:ext uri="{C183D7F6-B498-43B3-948B-1728B52AA6E4}">
                  <adec:decorative xmlns:adec="http://schemas.microsoft.com/office/drawing/2017/decorative" val="1"/>
                </a:ext>
              </a:extLst>
            </p:cNvPr>
            <p:cNvSpPr txBox="1"/>
            <p:nvPr/>
          </p:nvSpPr>
          <p:spPr>
            <a:xfrm>
              <a:off x="1786669" y="1786404"/>
              <a:ext cx="1709244" cy="167926"/>
            </a:xfrm>
            <a:prstGeom prst="round2SameRect">
              <a:avLst>
                <a:gd name="adj1" fmla="val 0"/>
                <a:gd name="adj2" fmla="val 155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ea typeface="+mj-ea"/>
                  <a:cs typeface="+mj-cs"/>
                </a:rPr>
                <a:t>2. What’s New</a:t>
              </a:r>
            </a:p>
          </p:txBody>
        </p:sp>
        <p:sp>
          <p:nvSpPr>
            <p:cNvPr id="543" name="Table 2 Cell 3, 1 to Text">
              <a:extLst>
                <a:ext uri="{FF2B5EF4-FFF2-40B4-BE49-F238E27FC236}">
                  <a16:creationId xmlns:a16="http://schemas.microsoft.com/office/drawing/2014/main" id="{D3BF385F-0D2F-632D-8C47-16EB91DB0938}"/>
                </a:ext>
                <a:ext uri="{C183D7F6-B498-43B3-948B-1728B52AA6E4}">
                  <adec:decorative xmlns:adec="http://schemas.microsoft.com/office/drawing/2017/decorative" val="1"/>
                </a:ext>
              </a:extLst>
            </p:cNvPr>
            <p:cNvSpPr txBox="1"/>
            <p:nvPr/>
          </p:nvSpPr>
          <p:spPr>
            <a:xfrm>
              <a:off x="3514024"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lang="en-US" sz="100">
                  <a:solidFill>
                    <a:srgbClr val="7F7F7F"/>
                  </a:solidFill>
                  <a:latin typeface="Segoe Sans Text"/>
                </a:rPr>
                <a:t>4. </a:t>
              </a:r>
              <a:r>
                <a:rPr lang="en-US">
                  <a:solidFill>
                    <a:srgbClr val="7F7F7F"/>
                  </a:solidFill>
                  <a:latin typeface="Segoe Sans Text"/>
                </a:rPr>
                <a:t>Cloud &amp; AI Infra CSA</a:t>
              </a:r>
              <a:endParaRPr lang="en-US" sz="100">
                <a:solidFill>
                  <a:srgbClr val="7F7F7F"/>
                </a:solidFill>
                <a:latin typeface="Segoe Sans Text"/>
              </a:endParaRPr>
            </a:p>
          </p:txBody>
        </p:sp>
        <p:sp>
          <p:nvSpPr>
            <p:cNvPr id="544" name="Table 2 Cell 4, 1 to Text">
              <a:extLst>
                <a:ext uri="{FF2B5EF4-FFF2-40B4-BE49-F238E27FC236}">
                  <a16:creationId xmlns:a16="http://schemas.microsoft.com/office/drawing/2014/main" id="{006AA861-89B4-0C9B-372C-0CAFF1EF73D0}"/>
                </a:ext>
                <a:ext uri="{C183D7F6-B498-43B3-948B-1728B52AA6E4}">
                  <adec:decorative xmlns:adec="http://schemas.microsoft.com/office/drawing/2017/decorative" val="1"/>
                </a:ext>
              </a:extLst>
            </p:cNvPr>
            <p:cNvSpPr txBox="1"/>
            <p:nvPr/>
          </p:nvSpPr>
          <p:spPr>
            <a:xfrm>
              <a:off x="5241378"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4. </a:t>
              </a:r>
              <a:r>
                <a:rPr lang="en-US">
                  <a:solidFill>
                    <a:srgbClr val="7F7F7F"/>
                  </a:solidFill>
                  <a:latin typeface="Segoe Sans Text"/>
                </a:rPr>
                <a:t>Cloud &amp; AI Apps C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45" name="Table 2 Cell 5, 1 to Text">
              <a:extLst>
                <a:ext uri="{FF2B5EF4-FFF2-40B4-BE49-F238E27FC236}">
                  <a16:creationId xmlns:a16="http://schemas.microsoft.com/office/drawing/2014/main" id="{0E4AB409-C505-2999-6CBB-6E500088F578}"/>
                </a:ext>
                <a:ext uri="{C183D7F6-B498-43B3-948B-1728B52AA6E4}">
                  <adec:decorative xmlns:adec="http://schemas.microsoft.com/office/drawing/2017/decorative" val="1"/>
                </a:ext>
              </a:extLst>
            </p:cNvPr>
            <p:cNvSpPr txBox="1"/>
            <p:nvPr/>
          </p:nvSpPr>
          <p:spPr>
            <a:xfrm>
              <a:off x="6968733"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5. Cloud &amp; AI Data CSA</a:t>
              </a:r>
            </a:p>
          </p:txBody>
        </p:sp>
        <p:sp>
          <p:nvSpPr>
            <p:cNvPr id="546" name="Table 2 Cell 6, 1 to Text">
              <a:extLst>
                <a:ext uri="{FF2B5EF4-FFF2-40B4-BE49-F238E27FC236}">
                  <a16:creationId xmlns:a16="http://schemas.microsoft.com/office/drawing/2014/main" id="{1BBB36DC-7219-9128-4FA5-9FF95C21FCD9}"/>
                </a:ext>
                <a:ext uri="{C183D7F6-B498-43B3-948B-1728B52AA6E4}">
                  <adec:decorative xmlns:adec="http://schemas.microsoft.com/office/drawing/2017/decorative" val="1"/>
                </a:ext>
              </a:extLst>
            </p:cNvPr>
            <p:cNvSpPr txBox="1"/>
            <p:nvPr/>
          </p:nvSpPr>
          <p:spPr>
            <a:xfrm>
              <a:off x="8696087"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tx2">
                      <a:lumMod val="60000"/>
                      <a:lumOff val="4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a:ln>
                    <a:noFill/>
                  </a:ln>
                  <a:solidFill>
                    <a:srgbClr val="7F7F7F"/>
                  </a:solidFill>
                  <a:effectLst/>
                  <a:uLnTx/>
                  <a:uFillTx/>
                  <a:latin typeface="Segoe Sans Text"/>
                  <a:ea typeface="+mj-ea"/>
                  <a:cs typeface="+mj-cs"/>
                </a:rPr>
                <a:t>6. Cloud &amp; AI CSA &amp; GSA</a:t>
              </a:r>
              <a:endParaRPr kumimoji="0" lang="en-US" sz="700" b="0" i="0" u="none" strike="noStrike" kern="1200" cap="none" spc="0" normalizeH="0" baseline="0" noProof="0">
                <a:ln>
                  <a:noFill/>
                </a:ln>
                <a:solidFill>
                  <a:srgbClr val="7F7F7F"/>
                </a:solidFill>
                <a:effectLst/>
                <a:uLnTx/>
                <a:uFillTx/>
                <a:latin typeface="Segoe Sans Text"/>
                <a:ea typeface="+mj-ea"/>
                <a:cs typeface="+mj-cs"/>
              </a:endParaRPr>
            </a:p>
          </p:txBody>
        </p:sp>
        <p:sp>
          <p:nvSpPr>
            <p:cNvPr id="547" name="Table 2 Cell 7, 1 to Text">
              <a:extLst>
                <a:ext uri="{FF2B5EF4-FFF2-40B4-BE49-F238E27FC236}">
                  <a16:creationId xmlns:a16="http://schemas.microsoft.com/office/drawing/2014/main" id="{77C9CDA9-3B5E-3566-47BA-49D45C0BD2AD}"/>
                </a:ext>
                <a:ext uri="{C183D7F6-B498-43B3-948B-1728B52AA6E4}">
                  <adec:decorative xmlns:adec="http://schemas.microsoft.com/office/drawing/2017/decorative" val="1"/>
                </a:ext>
              </a:extLst>
            </p:cNvPr>
            <p:cNvSpPr txBox="1"/>
            <p:nvPr/>
          </p:nvSpPr>
          <p:spPr>
            <a:xfrm>
              <a:off x="10423441" y="1786404"/>
              <a:ext cx="1709244" cy="167926"/>
            </a:xfrm>
            <a:prstGeom prst="round2SameRect">
              <a:avLst>
                <a:gd name="adj1" fmla="val 0"/>
                <a:gd name="adj2" fmla="val 15599"/>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2">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Segoe Sans Text"/>
                  <a:ea typeface="+mj-ea"/>
                  <a:cs typeface="+mj-cs"/>
                </a:rPr>
                <a:t>7. 30/60/90 Day Actions</a:t>
              </a:r>
            </a:p>
          </p:txBody>
        </p:sp>
        <p:sp>
          <p:nvSpPr>
            <p:cNvPr id="548" name="Table 2 Cell 1, 2 to Text">
              <a:extLst>
                <a:ext uri="{FF2B5EF4-FFF2-40B4-BE49-F238E27FC236}">
                  <a16:creationId xmlns:a16="http://schemas.microsoft.com/office/drawing/2014/main" id="{89EF82AF-1329-9EB9-2D5F-E2B52FED0B5B}"/>
                </a:ext>
              </a:extLst>
            </p:cNvPr>
            <p:cNvSpPr txBox="1"/>
            <p:nvPr/>
          </p:nvSpPr>
          <p:spPr>
            <a:xfrm>
              <a:off x="59315"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rgbClr val="FFFFFF">
                      <a:lumMod val="65000"/>
                    </a:srgbClr>
                  </a:solidFill>
                  <a:latin typeface="Segoe Sans Text"/>
                </a:rPr>
                <a:t>2.1 Cloud &amp; AI Platforms Key Changes</a:t>
              </a:r>
            </a:p>
          </p:txBody>
        </p:sp>
        <p:sp>
          <p:nvSpPr>
            <p:cNvPr id="549" name="Table 2 Cell 1, 3 to Text">
              <a:extLst>
                <a:ext uri="{FF2B5EF4-FFF2-40B4-BE49-F238E27FC236}">
                  <a16:creationId xmlns:a16="http://schemas.microsoft.com/office/drawing/2014/main" id="{154A5541-57D7-2B7C-24CF-1CB51226799A}"/>
                </a:ext>
                <a:ext uri="{C183D7F6-B498-43B3-948B-1728B52AA6E4}">
                  <adec:decorative xmlns:adec="http://schemas.microsoft.com/office/drawing/2017/decorative" val="1"/>
                </a:ext>
              </a:extLst>
            </p:cNvPr>
            <p:cNvSpPr txBox="1"/>
            <p:nvPr/>
          </p:nvSpPr>
          <p:spPr>
            <a:xfrm>
              <a:off x="1786669"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tabLst>
                  <a:tab pos="1260475" algn="l"/>
                </a:tabLst>
                <a:defRPr/>
              </a:pPr>
              <a:r>
                <a:rPr lang="en-US">
                  <a:solidFill>
                    <a:srgbClr val="FFFFFF">
                      <a:lumMod val="65000"/>
                    </a:srgbClr>
                  </a:solidFill>
                  <a:latin typeface="Segoe Sans Text"/>
                </a:rPr>
                <a:t>2.2 Cloud &amp; AI Platforms Strategy</a:t>
              </a:r>
            </a:p>
          </p:txBody>
        </p:sp>
        <p:sp>
          <p:nvSpPr>
            <p:cNvPr id="550" name="Table 2 Cell 1, 4 to Text">
              <a:extLst>
                <a:ext uri="{FF2B5EF4-FFF2-40B4-BE49-F238E27FC236}">
                  <a16:creationId xmlns:a16="http://schemas.microsoft.com/office/drawing/2014/main" id="{3956A24C-B531-AEEF-DC27-F7F4A60E892B}"/>
                </a:ext>
                <a:ext uri="{C183D7F6-B498-43B3-948B-1728B52AA6E4}">
                  <adec:decorative xmlns:adec="http://schemas.microsoft.com/office/drawing/2017/decorative" val="1"/>
                </a:ext>
              </a:extLst>
            </p:cNvPr>
            <p:cNvSpPr txBox="1"/>
            <p:nvPr/>
          </p:nvSpPr>
          <p:spPr>
            <a:xfrm>
              <a:off x="3514024"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100000"/>
                </a:lnSpc>
                <a:tabLst>
                  <a:tab pos="1260475" algn="l"/>
                </a:tabLst>
                <a:defRPr/>
              </a:pPr>
              <a:r>
                <a:rPr lang="en-US">
                  <a:solidFill>
                    <a:srgbClr val="FFFFFF">
                      <a:lumMod val="65000"/>
                    </a:srgbClr>
                  </a:solidFill>
                  <a:latin typeface="Segoe Sans Text"/>
                </a:rPr>
                <a:t>2.3 CSU Delivery Strategy</a:t>
              </a:r>
            </a:p>
          </p:txBody>
        </p:sp>
        <p:sp>
          <p:nvSpPr>
            <p:cNvPr id="551" name="Table 2 Cell 1, 5 to Text">
              <a:extLst>
                <a:ext uri="{FF2B5EF4-FFF2-40B4-BE49-F238E27FC236}">
                  <a16:creationId xmlns:a16="http://schemas.microsoft.com/office/drawing/2014/main" id="{CF49DA3F-08E3-6916-29CE-2F9191A21149}"/>
                </a:ext>
                <a:ext uri="{C183D7F6-B498-43B3-948B-1728B52AA6E4}">
                  <adec:decorative xmlns:adec="http://schemas.microsoft.com/office/drawing/2017/decorative" val="1"/>
                </a:ext>
              </a:extLst>
            </p:cNvPr>
            <p:cNvSpPr txBox="1"/>
            <p:nvPr/>
          </p:nvSpPr>
          <p:spPr>
            <a:xfrm>
              <a:off x="5241378" y="1967121"/>
              <a:ext cx="1709244" cy="16792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solidFill>
                    <a:schemeClr val="bg1"/>
                  </a:solidFill>
                </a:rPr>
                <a:t>2.4 Sales Model &amp; Role Changes</a:t>
              </a:r>
            </a:p>
          </p:txBody>
        </p:sp>
        <p:sp>
          <p:nvSpPr>
            <p:cNvPr id="552" name="Table 2 Cell 1, 6 to Text">
              <a:extLst>
                <a:ext uri="{FF2B5EF4-FFF2-40B4-BE49-F238E27FC236}">
                  <a16:creationId xmlns:a16="http://schemas.microsoft.com/office/drawing/2014/main" id="{CCD09E5D-FDC9-441B-08B8-FAFE8CC233F8}"/>
                </a:ext>
                <a:ext uri="{C183D7F6-B498-43B3-948B-1728B52AA6E4}">
                  <adec:decorative xmlns:adec="http://schemas.microsoft.com/office/drawing/2017/decorative" val="1"/>
                </a:ext>
              </a:extLst>
            </p:cNvPr>
            <p:cNvSpPr txBox="1"/>
            <p:nvPr/>
          </p:nvSpPr>
          <p:spPr>
            <a:xfrm>
              <a:off x="6968733"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5 Key Offerings </a:t>
              </a:r>
            </a:p>
          </p:txBody>
        </p:sp>
        <p:sp>
          <p:nvSpPr>
            <p:cNvPr id="553" name="Table 2 Cell 1, 7 to Text">
              <a:extLst>
                <a:ext uri="{FF2B5EF4-FFF2-40B4-BE49-F238E27FC236}">
                  <a16:creationId xmlns:a16="http://schemas.microsoft.com/office/drawing/2014/main" id="{463C92E7-6DBE-5148-D77D-B352DA2023E8}"/>
                </a:ext>
                <a:ext uri="{C183D7F6-B498-43B3-948B-1728B52AA6E4}">
                  <adec:decorative xmlns:adec="http://schemas.microsoft.com/office/drawing/2017/decorative" val="1"/>
                </a:ext>
              </a:extLst>
            </p:cNvPr>
            <p:cNvSpPr txBox="1"/>
            <p:nvPr/>
          </p:nvSpPr>
          <p:spPr>
            <a:xfrm>
              <a:off x="8696087"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50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6 KPIs &amp; Outcomes</a:t>
              </a:r>
            </a:p>
          </p:txBody>
        </p:sp>
        <p:sp>
          <p:nvSpPr>
            <p:cNvPr id="554" name="Table 2 Cell 1, 8 to Text">
              <a:extLst>
                <a:ext uri="{FF2B5EF4-FFF2-40B4-BE49-F238E27FC236}">
                  <a16:creationId xmlns:a16="http://schemas.microsoft.com/office/drawing/2014/main" id="{702A5B31-4F85-5B3E-BED8-7595FCA2571C}"/>
                </a:ext>
                <a:ext uri="{C183D7F6-B498-43B3-948B-1728B52AA6E4}">
                  <adec:decorative xmlns:adec="http://schemas.microsoft.com/office/drawing/2017/decorative" val="1"/>
                </a:ext>
              </a:extLst>
            </p:cNvPr>
            <p:cNvSpPr txBox="1"/>
            <p:nvPr/>
          </p:nvSpPr>
          <p:spPr>
            <a:xfrm>
              <a:off x="10423441" y="1967121"/>
              <a:ext cx="1709244" cy="167926"/>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45720" rIns="73152" bIns="45720" numCol="1" spcCol="0" rtlCol="0" fromWordArt="0" anchor="ctr" anchorCtr="0" forceAA="0" compatLnSpc="1">
              <a:prstTxWarp prst="textNoShape">
                <a:avLst/>
              </a:prstTxWarp>
              <a:noAutofit/>
            </a:bodyPr>
            <a:lstStyle>
              <a:defPPr>
                <a:defRPr lang="en-US"/>
              </a:defPPr>
              <a:lvl1pPr marR="0" lvl="0" indent="0" defTabSz="932742" fontAlgn="auto">
                <a:spcBef>
                  <a:spcPts val="0"/>
                </a:spcBef>
                <a:spcAft>
                  <a:spcPts val="0"/>
                </a:spcAft>
                <a:buClrTx/>
                <a:buSzTx/>
                <a:buFontTx/>
                <a:buNone/>
                <a:tabLst/>
                <a:defRPr kumimoji="0" sz="700" i="0" u="none" strike="noStrike" cap="none" spc="0" normalizeH="0" baseline="0">
                  <a:ln>
                    <a:noFill/>
                  </a:ln>
                  <a:solidFill>
                    <a:schemeClr val="bg1">
                      <a:lumMod val="65000"/>
                    </a:schemeClr>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Sans Text"/>
                  <a:ea typeface="+mj-ea"/>
                  <a:cs typeface="+mj-cs"/>
                </a:rPr>
                <a:t>2.7 Orchestration</a:t>
              </a:r>
            </a:p>
          </p:txBody>
        </p:sp>
      </p:grpSp>
    </p:spTree>
    <p:extLst>
      <p:ext uri="{BB962C8B-B14F-4D97-AF65-F5344CB8AC3E}">
        <p14:creationId xmlns:p14="http://schemas.microsoft.com/office/powerpoint/2010/main" val="1126228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4.16667E-7 -2.22222E-6 L 4.16667E-7 0.03542 " pathEditMode="relative" rAng="0" ptsTypes="AA">
                                      <p:cBhvr>
                                        <p:cTn id="9" dur="700" spd="-100000" fill="hold"/>
                                        <p:tgtEl>
                                          <p:spTgt spid="9"/>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4.16667E-7 -2.22222E-6 L 4.16667E-7 0.03542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grpId="1" nodeType="withEffect">
                                  <p:stCondLst>
                                    <p:cond delay="100"/>
                                  </p:stCondLst>
                                  <p:childTnLst>
                                    <p:animMotion origin="layout" path="M 4.16667E-7 -2.22222E-6 L 4.16667E-7 0.03542 " pathEditMode="relative" rAng="0" ptsTypes="AA">
                                      <p:cBhvr>
                                        <p:cTn id="19" dur="700" spd="-100000" fill="hold"/>
                                        <p:tgtEl>
                                          <p:spTgt spid="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42" presetClass="path" presetSubtype="0" decel="100000" fill="hold" grpId="1" nodeType="withEffect">
                                  <p:stCondLst>
                                    <p:cond delay="100"/>
                                  </p:stCondLst>
                                  <p:childTnLst>
                                    <p:animMotion origin="layout" path="M 4.16667E-7 -2.22222E-6 L 4.16667E-7 0.03542 " pathEditMode="relative" rAng="0" ptsTypes="AA">
                                      <p:cBhvr>
                                        <p:cTn id="24" dur="700" spd="-100000" fill="hold"/>
                                        <p:tgtEl>
                                          <p:spTgt spid="5"/>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grpId="1" nodeType="withEffect">
                                  <p:stCondLst>
                                    <p:cond delay="100"/>
                                  </p:stCondLst>
                                  <p:childTnLst>
                                    <p:animMotion origin="layout" path="M 4.16667E-7 -2.22222E-6 L 4.16667E-7 0.03542 " pathEditMode="relative" rAng="0" ptsTypes="AA">
                                      <p:cBhvr>
                                        <p:cTn id="29" dur="700" spd="-100000" fill="hold"/>
                                        <p:tgtEl>
                                          <p:spTgt spid="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42" presetClass="path" presetSubtype="0" decel="100000" fill="hold" grpId="1" nodeType="withEffect">
                                  <p:stCondLst>
                                    <p:cond delay="100"/>
                                  </p:stCondLst>
                                  <p:childTnLst>
                                    <p:animMotion origin="layout" path="M 4.16667E-7 -2.22222E-6 L 4.16667E-7 0.03542 " pathEditMode="relative" rAng="0" ptsTypes="AA">
                                      <p:cBhvr>
                                        <p:cTn id="34" dur="700" spd="-100000" fill="hold"/>
                                        <p:tgtEl>
                                          <p:spTgt spid="7"/>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grpId="1" nodeType="withEffect">
                                  <p:stCondLst>
                                    <p:cond delay="100"/>
                                  </p:stCondLst>
                                  <p:childTnLst>
                                    <p:animMotion origin="layout" path="M 4.16667E-7 -2.22222E-6 L 4.16667E-7 0.03542 " pathEditMode="relative" rAng="0" ptsTypes="AA">
                                      <p:cBhvr>
                                        <p:cTn id="39" dur="700" spd="-100000" fill="hold"/>
                                        <p:tgtEl>
                                          <p:spTgt spid="8"/>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42" presetClass="path" presetSubtype="0" decel="100000" fill="hold" grpId="1" nodeType="withEffect">
                                  <p:stCondLst>
                                    <p:cond delay="100"/>
                                  </p:stCondLst>
                                  <p:childTnLst>
                                    <p:animMotion origin="layout" path="M 4.16667E-7 -2.22222E-6 L 4.16667E-7 0.03542 " pathEditMode="relative" rAng="0" ptsTypes="AA">
                                      <p:cBhvr>
                                        <p:cTn id="44" dur="700" spd="-100000" fill="hold"/>
                                        <p:tgtEl>
                                          <p:spTgt spid="11"/>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42" presetClass="path" presetSubtype="0" decel="100000" fill="hold" grpId="1" nodeType="withEffect">
                                  <p:stCondLst>
                                    <p:cond delay="100"/>
                                  </p:stCondLst>
                                  <p:childTnLst>
                                    <p:animMotion origin="layout" path="M 4.16667E-7 -2.22222E-6 L 4.16667E-7 0.03542 " pathEditMode="relative" rAng="0" ptsTypes="AA">
                                      <p:cBhvr>
                                        <p:cTn id="49" dur="700" spd="-100000" fill="hold"/>
                                        <p:tgtEl>
                                          <p:spTgt spid="12"/>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grpId="1" nodeType="withEffect">
                                  <p:stCondLst>
                                    <p:cond delay="100"/>
                                  </p:stCondLst>
                                  <p:childTnLst>
                                    <p:animMotion origin="layout" path="M 4.16667E-7 -2.22222E-6 L 4.16667E-7 0.03542 " pathEditMode="relative" rAng="0" ptsTypes="AA">
                                      <p:cBhvr>
                                        <p:cTn id="54" dur="700" spd="-100000" fill="hold"/>
                                        <p:tgtEl>
                                          <p:spTgt spid="13"/>
                                        </p:tgtEl>
                                        <p:attrNameLst>
                                          <p:attrName>ppt_x</p:attrName>
                                          <p:attrName>ppt_y</p:attrName>
                                        </p:attrNameLst>
                                      </p:cBhvr>
                                      <p:rCtr x="0" y="1759"/>
                                    </p:animMotion>
                                  </p:childTnLst>
                                </p:cTn>
                              </p:par>
                              <p:par>
                                <p:cTn id="55" presetID="10" presetClass="entr" presetSubtype="0" fill="hold" grpId="0" nodeType="withEffect">
                                  <p:stCondLst>
                                    <p:cond delay="10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par>
                                <p:cTn id="58" presetID="42" presetClass="path" presetSubtype="0" decel="100000" fill="hold" grpId="1" nodeType="withEffect">
                                  <p:stCondLst>
                                    <p:cond delay="100"/>
                                  </p:stCondLst>
                                  <p:childTnLst>
                                    <p:animMotion origin="layout" path="M 4.16667E-7 -2.22222E-6 L 4.16667E-7 0.03542 " pathEditMode="relative" rAng="0" ptsTypes="AA">
                                      <p:cBhvr>
                                        <p:cTn id="59" dur="700" spd="-100000" fill="hold"/>
                                        <p:tgtEl>
                                          <p:spTgt spid="16"/>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par>
                                <p:cTn id="63" presetID="42" presetClass="path" presetSubtype="0" decel="100000" fill="hold" grpId="1" nodeType="withEffect">
                                  <p:stCondLst>
                                    <p:cond delay="100"/>
                                  </p:stCondLst>
                                  <p:childTnLst>
                                    <p:animMotion origin="layout" path="M 4.16667E-7 -2.22222E-6 L 4.16667E-7 0.03542 " pathEditMode="relative" rAng="0" ptsTypes="AA">
                                      <p:cBhvr>
                                        <p:cTn id="64" dur="700" spd="-100000" fill="hold"/>
                                        <p:tgtEl>
                                          <p:spTgt spid="17"/>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20"/>
                                        </p:tgtEl>
                                        <p:attrNameLst>
                                          <p:attrName>style.visibility</p:attrName>
                                        </p:attrNameLst>
                                      </p:cBhvr>
                                      <p:to>
                                        <p:strVal val="visible"/>
                                      </p:to>
                                    </p:set>
                                    <p:animEffect transition="in" filter="fade">
                                      <p:cBhvr>
                                        <p:cTn id="67" dur="500"/>
                                        <p:tgtEl>
                                          <p:spTgt spid="20"/>
                                        </p:tgtEl>
                                      </p:cBhvr>
                                    </p:animEffect>
                                  </p:childTnLst>
                                </p:cTn>
                              </p:par>
                              <p:par>
                                <p:cTn id="68" presetID="42" presetClass="path" presetSubtype="0" decel="100000" fill="hold" grpId="1" nodeType="withEffect">
                                  <p:stCondLst>
                                    <p:cond delay="100"/>
                                  </p:stCondLst>
                                  <p:childTnLst>
                                    <p:animMotion origin="layout" path="M 4.16667E-7 -2.22222E-6 L 4.16667E-7 0.03542 " pathEditMode="relative" rAng="0" ptsTypes="AA">
                                      <p:cBhvr>
                                        <p:cTn id="69" dur="700" spd="-100000" fill="hold"/>
                                        <p:tgtEl>
                                          <p:spTgt spid="20"/>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42" presetClass="path" presetSubtype="0" decel="100000" fill="hold" grpId="1" nodeType="withEffect">
                                  <p:stCondLst>
                                    <p:cond delay="100"/>
                                  </p:stCondLst>
                                  <p:childTnLst>
                                    <p:animMotion origin="layout" path="M 4.16667E-7 -2.22222E-6 L 4.16667E-7 0.03542 " pathEditMode="relative" rAng="0" ptsTypes="AA">
                                      <p:cBhvr>
                                        <p:cTn id="74" dur="700" spd="-100000" fill="hold"/>
                                        <p:tgtEl>
                                          <p:spTgt spid="25"/>
                                        </p:tgtEl>
                                        <p:attrNameLst>
                                          <p:attrName>ppt_x</p:attrName>
                                          <p:attrName>ppt_y</p:attrName>
                                        </p:attrNameLst>
                                      </p:cBhvr>
                                      <p:rCtr x="0" y="1759"/>
                                    </p:animMotion>
                                  </p:childTnLst>
                                </p:cTn>
                              </p:par>
                              <p:par>
                                <p:cTn id="75" presetID="10" presetClass="entr" presetSubtype="0" fill="hold" grpId="0" nodeType="withEffect">
                                  <p:stCondLst>
                                    <p:cond delay="10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500"/>
                                        <p:tgtEl>
                                          <p:spTgt spid="26"/>
                                        </p:tgtEl>
                                      </p:cBhvr>
                                    </p:animEffect>
                                  </p:childTnLst>
                                </p:cTn>
                              </p:par>
                              <p:par>
                                <p:cTn id="78" presetID="42" presetClass="path" presetSubtype="0" decel="100000" fill="hold" grpId="1" nodeType="withEffect">
                                  <p:stCondLst>
                                    <p:cond delay="100"/>
                                  </p:stCondLst>
                                  <p:childTnLst>
                                    <p:animMotion origin="layout" path="M 4.16667E-7 -2.22222E-6 L 4.16667E-7 0.03542 " pathEditMode="relative" rAng="0" ptsTypes="AA">
                                      <p:cBhvr>
                                        <p:cTn id="79" dur="700" spd="-100000" fill="hold"/>
                                        <p:tgtEl>
                                          <p:spTgt spid="26"/>
                                        </p:tgtEl>
                                        <p:attrNameLst>
                                          <p:attrName>ppt_x</p:attrName>
                                          <p:attrName>ppt_y</p:attrName>
                                        </p:attrNameLst>
                                      </p:cBhvr>
                                      <p:rCtr x="0" y="1759"/>
                                    </p:animMotion>
                                  </p:childTnLst>
                                </p:cTn>
                              </p:par>
                              <p:par>
                                <p:cTn id="80" presetID="10" presetClass="entr" presetSubtype="0" fill="hold" grpId="0" nodeType="withEffect">
                                  <p:stCondLst>
                                    <p:cond delay="100"/>
                                  </p:stCondLst>
                                  <p:childTnLst>
                                    <p:set>
                                      <p:cBhvr>
                                        <p:cTn id="81" dur="1" fill="hold">
                                          <p:stCondLst>
                                            <p:cond delay="0"/>
                                          </p:stCondLst>
                                        </p:cTn>
                                        <p:tgtEl>
                                          <p:spTgt spid="27"/>
                                        </p:tgtEl>
                                        <p:attrNameLst>
                                          <p:attrName>style.visibility</p:attrName>
                                        </p:attrNameLst>
                                      </p:cBhvr>
                                      <p:to>
                                        <p:strVal val="visible"/>
                                      </p:to>
                                    </p:set>
                                    <p:animEffect transition="in" filter="fade">
                                      <p:cBhvr>
                                        <p:cTn id="82" dur="500"/>
                                        <p:tgtEl>
                                          <p:spTgt spid="27"/>
                                        </p:tgtEl>
                                      </p:cBhvr>
                                    </p:animEffect>
                                  </p:childTnLst>
                                </p:cTn>
                              </p:par>
                              <p:par>
                                <p:cTn id="83" presetID="42" presetClass="path" presetSubtype="0" decel="100000" fill="hold" grpId="1" nodeType="withEffect">
                                  <p:stCondLst>
                                    <p:cond delay="100"/>
                                  </p:stCondLst>
                                  <p:childTnLst>
                                    <p:animMotion origin="layout" path="M 4.16667E-7 -2.22222E-6 L 4.16667E-7 0.03542 " pathEditMode="relative" rAng="0" ptsTypes="AA">
                                      <p:cBhvr>
                                        <p:cTn id="84" dur="700" spd="-100000" fill="hold"/>
                                        <p:tgtEl>
                                          <p:spTgt spid="27"/>
                                        </p:tgtEl>
                                        <p:attrNameLst>
                                          <p:attrName>ppt_x</p:attrName>
                                          <p:attrName>ppt_y</p:attrName>
                                        </p:attrNameLst>
                                      </p:cBhvr>
                                      <p:rCtr x="0" y="1759"/>
                                    </p:animMotion>
                                  </p:childTnLst>
                                </p:cTn>
                              </p:par>
                              <p:par>
                                <p:cTn id="85" presetID="10" presetClass="entr" presetSubtype="0" fill="hold" grpId="0" nodeType="withEffect">
                                  <p:stCondLst>
                                    <p:cond delay="10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42" presetClass="path" presetSubtype="0" decel="100000" fill="hold" grpId="1" nodeType="withEffect">
                                  <p:stCondLst>
                                    <p:cond delay="100"/>
                                  </p:stCondLst>
                                  <p:childTnLst>
                                    <p:animMotion origin="layout" path="M 4.16667E-7 -2.22222E-6 L 4.16667E-7 0.03542 " pathEditMode="relative" rAng="0" ptsTypes="AA">
                                      <p:cBhvr>
                                        <p:cTn id="89" dur="700" spd="-100000" fill="hold"/>
                                        <p:tgtEl>
                                          <p:spTgt spid="28"/>
                                        </p:tgtEl>
                                        <p:attrNameLst>
                                          <p:attrName>ppt_x</p:attrName>
                                          <p:attrName>ppt_y</p:attrName>
                                        </p:attrNameLst>
                                      </p:cBhvr>
                                      <p:rCtr x="0" y="1759"/>
                                    </p:animMotion>
                                  </p:childTnLst>
                                </p:cTn>
                              </p:par>
                              <p:par>
                                <p:cTn id="90" presetID="10" presetClass="entr" presetSubtype="0" fill="hold" nodeType="withEffect">
                                  <p:stCondLst>
                                    <p:cond delay="100"/>
                                  </p:stCondLst>
                                  <p:childTnLst>
                                    <p:set>
                                      <p:cBhvr>
                                        <p:cTn id="91" dur="1" fill="hold">
                                          <p:stCondLst>
                                            <p:cond delay="0"/>
                                          </p:stCondLst>
                                        </p:cTn>
                                        <p:tgtEl>
                                          <p:spTgt spid="29"/>
                                        </p:tgtEl>
                                        <p:attrNameLst>
                                          <p:attrName>style.visibility</p:attrName>
                                        </p:attrNameLst>
                                      </p:cBhvr>
                                      <p:to>
                                        <p:strVal val="visible"/>
                                      </p:to>
                                    </p:set>
                                    <p:animEffect transition="in" filter="fade">
                                      <p:cBhvr>
                                        <p:cTn id="92" dur="500"/>
                                        <p:tgtEl>
                                          <p:spTgt spid="29"/>
                                        </p:tgtEl>
                                      </p:cBhvr>
                                    </p:animEffect>
                                  </p:childTnLst>
                                </p:cTn>
                              </p:par>
                              <p:par>
                                <p:cTn id="93" presetID="42" presetClass="path" presetSubtype="0" decel="100000" fill="hold" nodeType="withEffect">
                                  <p:stCondLst>
                                    <p:cond delay="100"/>
                                  </p:stCondLst>
                                  <p:childTnLst>
                                    <p:animMotion origin="layout" path="M 4.16667E-7 -2.22222E-6 L 4.16667E-7 0.03542 " pathEditMode="relative" rAng="0" ptsTypes="AA">
                                      <p:cBhvr>
                                        <p:cTn id="94" dur="700" spd="-100000" fill="hold"/>
                                        <p:tgtEl>
                                          <p:spTgt spid="29"/>
                                        </p:tgtEl>
                                        <p:attrNameLst>
                                          <p:attrName>ppt_x</p:attrName>
                                          <p:attrName>ppt_y</p:attrName>
                                        </p:attrNameLst>
                                      </p:cBhvr>
                                      <p:rCtr x="0" y="1759"/>
                                    </p:animMotion>
                                  </p:childTnLst>
                                </p:cTn>
                              </p:par>
                              <p:par>
                                <p:cTn id="95" presetID="10" presetClass="entr" presetSubtype="0" fill="hold" grpId="0" nodeType="withEffect">
                                  <p:stCondLst>
                                    <p:cond delay="100"/>
                                  </p:stCondLst>
                                  <p:childTnLst>
                                    <p:set>
                                      <p:cBhvr>
                                        <p:cTn id="96" dur="1" fill="hold">
                                          <p:stCondLst>
                                            <p:cond delay="0"/>
                                          </p:stCondLst>
                                        </p:cTn>
                                        <p:tgtEl>
                                          <p:spTgt spid="35"/>
                                        </p:tgtEl>
                                        <p:attrNameLst>
                                          <p:attrName>style.visibility</p:attrName>
                                        </p:attrNameLst>
                                      </p:cBhvr>
                                      <p:to>
                                        <p:strVal val="visible"/>
                                      </p:to>
                                    </p:set>
                                    <p:animEffect transition="in" filter="fade">
                                      <p:cBhvr>
                                        <p:cTn id="97" dur="500"/>
                                        <p:tgtEl>
                                          <p:spTgt spid="35"/>
                                        </p:tgtEl>
                                      </p:cBhvr>
                                    </p:animEffect>
                                  </p:childTnLst>
                                </p:cTn>
                              </p:par>
                              <p:par>
                                <p:cTn id="98" presetID="42" presetClass="path" presetSubtype="0" decel="100000" fill="hold" grpId="1" nodeType="withEffect">
                                  <p:stCondLst>
                                    <p:cond delay="100"/>
                                  </p:stCondLst>
                                  <p:childTnLst>
                                    <p:animMotion origin="layout" path="M 4.16667E-7 -2.22222E-6 L 4.16667E-7 0.03542 " pathEditMode="relative" rAng="0" ptsTypes="AA">
                                      <p:cBhvr>
                                        <p:cTn id="99" dur="700" spd="-100000" fill="hold"/>
                                        <p:tgtEl>
                                          <p:spTgt spid="35"/>
                                        </p:tgtEl>
                                        <p:attrNameLst>
                                          <p:attrName>ppt_x</p:attrName>
                                          <p:attrName>ppt_y</p:attrName>
                                        </p:attrNameLst>
                                      </p:cBhvr>
                                      <p:rCtr x="0" y="1759"/>
                                    </p:animMotion>
                                  </p:childTnLst>
                                </p:cTn>
                              </p:par>
                              <p:par>
                                <p:cTn id="100" presetID="10" presetClass="entr" presetSubtype="0" fill="hold" grpId="0" nodeType="withEffect">
                                  <p:stCondLst>
                                    <p:cond delay="100"/>
                                  </p:stCondLst>
                                  <p:childTnLst>
                                    <p:set>
                                      <p:cBhvr>
                                        <p:cTn id="101" dur="1" fill="hold">
                                          <p:stCondLst>
                                            <p:cond delay="0"/>
                                          </p:stCondLst>
                                        </p:cTn>
                                        <p:tgtEl>
                                          <p:spTgt spid="36"/>
                                        </p:tgtEl>
                                        <p:attrNameLst>
                                          <p:attrName>style.visibility</p:attrName>
                                        </p:attrNameLst>
                                      </p:cBhvr>
                                      <p:to>
                                        <p:strVal val="visible"/>
                                      </p:to>
                                    </p:set>
                                    <p:animEffect transition="in" filter="fade">
                                      <p:cBhvr>
                                        <p:cTn id="102" dur="500"/>
                                        <p:tgtEl>
                                          <p:spTgt spid="36"/>
                                        </p:tgtEl>
                                      </p:cBhvr>
                                    </p:animEffect>
                                  </p:childTnLst>
                                </p:cTn>
                              </p:par>
                              <p:par>
                                <p:cTn id="103" presetID="42" presetClass="path" presetSubtype="0" decel="100000" fill="hold" grpId="1" nodeType="withEffect">
                                  <p:stCondLst>
                                    <p:cond delay="100"/>
                                  </p:stCondLst>
                                  <p:childTnLst>
                                    <p:animMotion origin="layout" path="M 4.16667E-7 -2.22222E-6 L 4.16667E-7 0.03542 " pathEditMode="relative" rAng="0" ptsTypes="AA">
                                      <p:cBhvr>
                                        <p:cTn id="104" dur="700" spd="-100000" fill="hold"/>
                                        <p:tgtEl>
                                          <p:spTgt spid="36"/>
                                        </p:tgtEl>
                                        <p:attrNameLst>
                                          <p:attrName>ppt_x</p:attrName>
                                          <p:attrName>ppt_y</p:attrName>
                                        </p:attrNameLst>
                                      </p:cBhvr>
                                      <p:rCtr x="0" y="1759"/>
                                    </p:animMotion>
                                  </p:childTnLst>
                                </p:cTn>
                              </p:par>
                              <p:par>
                                <p:cTn id="105" presetID="10" presetClass="entr" presetSubtype="0" fill="hold" grpId="0" nodeType="withEffect">
                                  <p:stCondLst>
                                    <p:cond delay="100"/>
                                  </p:stCondLst>
                                  <p:childTnLst>
                                    <p:set>
                                      <p:cBhvr>
                                        <p:cTn id="106" dur="1" fill="hold">
                                          <p:stCondLst>
                                            <p:cond delay="0"/>
                                          </p:stCondLst>
                                        </p:cTn>
                                        <p:tgtEl>
                                          <p:spTgt spid="37"/>
                                        </p:tgtEl>
                                        <p:attrNameLst>
                                          <p:attrName>style.visibility</p:attrName>
                                        </p:attrNameLst>
                                      </p:cBhvr>
                                      <p:to>
                                        <p:strVal val="visible"/>
                                      </p:to>
                                    </p:set>
                                    <p:animEffect transition="in" filter="fade">
                                      <p:cBhvr>
                                        <p:cTn id="107" dur="500"/>
                                        <p:tgtEl>
                                          <p:spTgt spid="37"/>
                                        </p:tgtEl>
                                      </p:cBhvr>
                                    </p:animEffect>
                                  </p:childTnLst>
                                </p:cTn>
                              </p:par>
                              <p:par>
                                <p:cTn id="108" presetID="42" presetClass="path" presetSubtype="0" decel="100000" fill="hold" grpId="1" nodeType="withEffect">
                                  <p:stCondLst>
                                    <p:cond delay="100"/>
                                  </p:stCondLst>
                                  <p:childTnLst>
                                    <p:animMotion origin="layout" path="M 4.16667E-7 -2.22222E-6 L 4.16667E-7 0.03542 " pathEditMode="relative" rAng="0" ptsTypes="AA">
                                      <p:cBhvr>
                                        <p:cTn id="109" dur="700" spd="-100000" fill="hold"/>
                                        <p:tgtEl>
                                          <p:spTgt spid="37"/>
                                        </p:tgtEl>
                                        <p:attrNameLst>
                                          <p:attrName>ppt_x</p:attrName>
                                          <p:attrName>ppt_y</p:attrName>
                                        </p:attrNameLst>
                                      </p:cBhvr>
                                      <p:rCtr x="0" y="1759"/>
                                    </p:animMotion>
                                  </p:childTnLst>
                                </p:cTn>
                              </p:par>
                              <p:par>
                                <p:cTn id="110" presetID="10" presetClass="entr" presetSubtype="0" fill="hold" grpId="0" nodeType="withEffect">
                                  <p:stCondLst>
                                    <p:cond delay="100"/>
                                  </p:stCondLst>
                                  <p:childTnLst>
                                    <p:set>
                                      <p:cBhvr>
                                        <p:cTn id="111" dur="1" fill="hold">
                                          <p:stCondLst>
                                            <p:cond delay="0"/>
                                          </p:stCondLst>
                                        </p:cTn>
                                        <p:tgtEl>
                                          <p:spTgt spid="38"/>
                                        </p:tgtEl>
                                        <p:attrNameLst>
                                          <p:attrName>style.visibility</p:attrName>
                                        </p:attrNameLst>
                                      </p:cBhvr>
                                      <p:to>
                                        <p:strVal val="visible"/>
                                      </p:to>
                                    </p:set>
                                    <p:animEffect transition="in" filter="fade">
                                      <p:cBhvr>
                                        <p:cTn id="112" dur="500"/>
                                        <p:tgtEl>
                                          <p:spTgt spid="38"/>
                                        </p:tgtEl>
                                      </p:cBhvr>
                                    </p:animEffect>
                                  </p:childTnLst>
                                </p:cTn>
                              </p:par>
                              <p:par>
                                <p:cTn id="113" presetID="42" presetClass="path" presetSubtype="0" decel="100000" fill="hold" grpId="1" nodeType="withEffect">
                                  <p:stCondLst>
                                    <p:cond delay="100"/>
                                  </p:stCondLst>
                                  <p:childTnLst>
                                    <p:animMotion origin="layout" path="M 4.16667E-7 -2.22222E-6 L 4.16667E-7 0.03542 " pathEditMode="relative" rAng="0" ptsTypes="AA">
                                      <p:cBhvr>
                                        <p:cTn id="114" dur="700" spd="-100000" fill="hold"/>
                                        <p:tgtEl>
                                          <p:spTgt spid="38"/>
                                        </p:tgtEl>
                                        <p:attrNameLst>
                                          <p:attrName>ppt_x</p:attrName>
                                          <p:attrName>ppt_y</p:attrName>
                                        </p:attrNameLst>
                                      </p:cBhvr>
                                      <p:rCtr x="0" y="1759"/>
                                    </p:animMotion>
                                  </p:childTnLst>
                                </p:cTn>
                              </p:par>
                              <p:par>
                                <p:cTn id="115" presetID="10" presetClass="entr" presetSubtype="0" fill="hold" nodeType="withEffect">
                                  <p:stCondLst>
                                    <p:cond delay="100"/>
                                  </p:stCondLst>
                                  <p:childTnLst>
                                    <p:set>
                                      <p:cBhvr>
                                        <p:cTn id="116" dur="1" fill="hold">
                                          <p:stCondLst>
                                            <p:cond delay="0"/>
                                          </p:stCondLst>
                                        </p:cTn>
                                        <p:tgtEl>
                                          <p:spTgt spid="39"/>
                                        </p:tgtEl>
                                        <p:attrNameLst>
                                          <p:attrName>style.visibility</p:attrName>
                                        </p:attrNameLst>
                                      </p:cBhvr>
                                      <p:to>
                                        <p:strVal val="visible"/>
                                      </p:to>
                                    </p:set>
                                    <p:animEffect transition="in" filter="fade">
                                      <p:cBhvr>
                                        <p:cTn id="117" dur="500"/>
                                        <p:tgtEl>
                                          <p:spTgt spid="39"/>
                                        </p:tgtEl>
                                      </p:cBhvr>
                                    </p:animEffect>
                                  </p:childTnLst>
                                </p:cTn>
                              </p:par>
                              <p:par>
                                <p:cTn id="118" presetID="42" presetClass="path" presetSubtype="0" decel="100000" fill="hold" nodeType="withEffect">
                                  <p:stCondLst>
                                    <p:cond delay="100"/>
                                  </p:stCondLst>
                                  <p:childTnLst>
                                    <p:animMotion origin="layout" path="M 4.16667E-7 -2.22222E-6 L 4.16667E-7 0.03542 " pathEditMode="relative" rAng="0" ptsTypes="AA">
                                      <p:cBhvr>
                                        <p:cTn id="119" dur="700" spd="-100000" fill="hold"/>
                                        <p:tgtEl>
                                          <p:spTgt spid="39"/>
                                        </p:tgtEl>
                                        <p:attrNameLst>
                                          <p:attrName>ppt_x</p:attrName>
                                          <p:attrName>ppt_y</p:attrName>
                                        </p:attrNameLst>
                                      </p:cBhvr>
                                      <p:rCtr x="0" y="1759"/>
                                    </p:animMotion>
                                  </p:childTnLst>
                                </p:cTn>
                              </p:par>
                              <p:par>
                                <p:cTn id="120" presetID="10" presetClass="entr" presetSubtype="0" fill="hold" grpId="0" nodeType="withEffect">
                                  <p:stCondLst>
                                    <p:cond delay="100"/>
                                  </p:stCondLst>
                                  <p:childTnLst>
                                    <p:set>
                                      <p:cBhvr>
                                        <p:cTn id="121" dur="1" fill="hold">
                                          <p:stCondLst>
                                            <p:cond delay="0"/>
                                          </p:stCondLst>
                                        </p:cTn>
                                        <p:tgtEl>
                                          <p:spTgt spid="40"/>
                                        </p:tgtEl>
                                        <p:attrNameLst>
                                          <p:attrName>style.visibility</p:attrName>
                                        </p:attrNameLst>
                                      </p:cBhvr>
                                      <p:to>
                                        <p:strVal val="visible"/>
                                      </p:to>
                                    </p:set>
                                    <p:animEffect transition="in" filter="fade">
                                      <p:cBhvr>
                                        <p:cTn id="122" dur="500"/>
                                        <p:tgtEl>
                                          <p:spTgt spid="40"/>
                                        </p:tgtEl>
                                      </p:cBhvr>
                                    </p:animEffect>
                                  </p:childTnLst>
                                </p:cTn>
                              </p:par>
                              <p:par>
                                <p:cTn id="123" presetID="42" presetClass="path" presetSubtype="0" decel="100000" fill="hold" grpId="1" nodeType="withEffect">
                                  <p:stCondLst>
                                    <p:cond delay="100"/>
                                  </p:stCondLst>
                                  <p:childTnLst>
                                    <p:animMotion origin="layout" path="M 4.16667E-7 -2.22222E-6 L 4.16667E-7 0.03542 " pathEditMode="relative" rAng="0" ptsTypes="AA">
                                      <p:cBhvr>
                                        <p:cTn id="124" dur="700" spd="-100000" fill="hold"/>
                                        <p:tgtEl>
                                          <p:spTgt spid="40"/>
                                        </p:tgtEl>
                                        <p:attrNameLst>
                                          <p:attrName>ppt_x</p:attrName>
                                          <p:attrName>ppt_y</p:attrName>
                                        </p:attrNameLst>
                                      </p:cBhvr>
                                      <p:rCtr x="0" y="1759"/>
                                    </p:animMotion>
                                  </p:childTnLst>
                                </p:cTn>
                              </p:par>
                              <p:par>
                                <p:cTn id="125" presetID="10" presetClass="entr" presetSubtype="0" fill="hold" grpId="0" nodeType="withEffect">
                                  <p:stCondLst>
                                    <p:cond delay="100"/>
                                  </p:stCondLst>
                                  <p:childTnLst>
                                    <p:set>
                                      <p:cBhvr>
                                        <p:cTn id="126" dur="1" fill="hold">
                                          <p:stCondLst>
                                            <p:cond delay="0"/>
                                          </p:stCondLst>
                                        </p:cTn>
                                        <p:tgtEl>
                                          <p:spTgt spid="41"/>
                                        </p:tgtEl>
                                        <p:attrNameLst>
                                          <p:attrName>style.visibility</p:attrName>
                                        </p:attrNameLst>
                                      </p:cBhvr>
                                      <p:to>
                                        <p:strVal val="visible"/>
                                      </p:to>
                                    </p:set>
                                    <p:animEffect transition="in" filter="fade">
                                      <p:cBhvr>
                                        <p:cTn id="127" dur="500"/>
                                        <p:tgtEl>
                                          <p:spTgt spid="41"/>
                                        </p:tgtEl>
                                      </p:cBhvr>
                                    </p:animEffect>
                                  </p:childTnLst>
                                </p:cTn>
                              </p:par>
                              <p:par>
                                <p:cTn id="128" presetID="42" presetClass="path" presetSubtype="0" decel="100000" fill="hold" grpId="1" nodeType="withEffect">
                                  <p:stCondLst>
                                    <p:cond delay="100"/>
                                  </p:stCondLst>
                                  <p:childTnLst>
                                    <p:animMotion origin="layout" path="M 4.16667E-7 -2.22222E-6 L 4.16667E-7 0.03542 " pathEditMode="relative" rAng="0" ptsTypes="AA">
                                      <p:cBhvr>
                                        <p:cTn id="129" dur="700" spd="-100000" fill="hold"/>
                                        <p:tgtEl>
                                          <p:spTgt spid="41"/>
                                        </p:tgtEl>
                                        <p:attrNameLst>
                                          <p:attrName>ppt_x</p:attrName>
                                          <p:attrName>ppt_y</p:attrName>
                                        </p:attrNameLst>
                                      </p:cBhvr>
                                      <p:rCtr x="0" y="1759"/>
                                    </p:animMotion>
                                  </p:childTnLst>
                                </p:cTn>
                              </p:par>
                              <p:par>
                                <p:cTn id="130" presetID="10" presetClass="entr" presetSubtype="0" fill="hold" nodeType="withEffect">
                                  <p:stCondLst>
                                    <p:cond delay="100"/>
                                  </p:stCondLst>
                                  <p:childTnLst>
                                    <p:set>
                                      <p:cBhvr>
                                        <p:cTn id="131" dur="1" fill="hold">
                                          <p:stCondLst>
                                            <p:cond delay="0"/>
                                          </p:stCondLst>
                                        </p:cTn>
                                        <p:tgtEl>
                                          <p:spTgt spid="42"/>
                                        </p:tgtEl>
                                        <p:attrNameLst>
                                          <p:attrName>style.visibility</p:attrName>
                                        </p:attrNameLst>
                                      </p:cBhvr>
                                      <p:to>
                                        <p:strVal val="visible"/>
                                      </p:to>
                                    </p:set>
                                    <p:animEffect transition="in" filter="fade">
                                      <p:cBhvr>
                                        <p:cTn id="132" dur="500"/>
                                        <p:tgtEl>
                                          <p:spTgt spid="42"/>
                                        </p:tgtEl>
                                      </p:cBhvr>
                                    </p:animEffect>
                                  </p:childTnLst>
                                </p:cTn>
                              </p:par>
                              <p:par>
                                <p:cTn id="133" presetID="42" presetClass="path" presetSubtype="0" decel="100000" fill="hold" nodeType="withEffect">
                                  <p:stCondLst>
                                    <p:cond delay="100"/>
                                  </p:stCondLst>
                                  <p:childTnLst>
                                    <p:animMotion origin="layout" path="M 4.16667E-7 -2.22222E-6 L 4.16667E-7 0.03542 " pathEditMode="relative" rAng="0" ptsTypes="AA">
                                      <p:cBhvr>
                                        <p:cTn id="134" dur="700" spd="-100000" fill="hold"/>
                                        <p:tgtEl>
                                          <p:spTgt spid="42"/>
                                        </p:tgtEl>
                                        <p:attrNameLst>
                                          <p:attrName>ppt_x</p:attrName>
                                          <p:attrName>ppt_y</p:attrName>
                                        </p:attrNameLst>
                                      </p:cBhvr>
                                      <p:rCtr x="0" y="1759"/>
                                    </p:animMotion>
                                  </p:childTnLst>
                                </p:cTn>
                              </p:par>
                              <p:par>
                                <p:cTn id="135" presetID="10" presetClass="entr" presetSubtype="0" fill="hold" nodeType="withEffect">
                                  <p:stCondLst>
                                    <p:cond delay="100"/>
                                  </p:stCondLst>
                                  <p:childTnLst>
                                    <p:set>
                                      <p:cBhvr>
                                        <p:cTn id="136" dur="1" fill="hold">
                                          <p:stCondLst>
                                            <p:cond delay="0"/>
                                          </p:stCondLst>
                                        </p:cTn>
                                        <p:tgtEl>
                                          <p:spTgt spid="43"/>
                                        </p:tgtEl>
                                        <p:attrNameLst>
                                          <p:attrName>style.visibility</p:attrName>
                                        </p:attrNameLst>
                                      </p:cBhvr>
                                      <p:to>
                                        <p:strVal val="visible"/>
                                      </p:to>
                                    </p:set>
                                    <p:animEffect transition="in" filter="fade">
                                      <p:cBhvr>
                                        <p:cTn id="137" dur="500"/>
                                        <p:tgtEl>
                                          <p:spTgt spid="43"/>
                                        </p:tgtEl>
                                      </p:cBhvr>
                                    </p:animEffect>
                                  </p:childTnLst>
                                </p:cTn>
                              </p:par>
                              <p:par>
                                <p:cTn id="138" presetID="42" presetClass="path" presetSubtype="0" decel="100000" fill="hold" nodeType="withEffect">
                                  <p:stCondLst>
                                    <p:cond delay="100"/>
                                  </p:stCondLst>
                                  <p:childTnLst>
                                    <p:animMotion origin="layout" path="M 4.16667E-7 -2.22222E-6 L 4.16667E-7 0.03542 " pathEditMode="relative" rAng="0" ptsTypes="AA">
                                      <p:cBhvr>
                                        <p:cTn id="139" dur="700" spd="-100000" fill="hold"/>
                                        <p:tgtEl>
                                          <p:spTgt spid="43"/>
                                        </p:tgtEl>
                                        <p:attrNameLst>
                                          <p:attrName>ppt_x</p:attrName>
                                          <p:attrName>ppt_y</p:attrName>
                                        </p:attrNameLst>
                                      </p:cBhvr>
                                      <p:rCtr x="0" y="1759"/>
                                    </p:animMotion>
                                  </p:childTnLst>
                                </p:cTn>
                              </p:par>
                              <p:par>
                                <p:cTn id="140" presetID="10" presetClass="entr" presetSubtype="0" fill="hold" nodeType="withEffect">
                                  <p:stCondLst>
                                    <p:cond delay="100"/>
                                  </p:stCondLst>
                                  <p:childTnLst>
                                    <p:set>
                                      <p:cBhvr>
                                        <p:cTn id="141" dur="1" fill="hold">
                                          <p:stCondLst>
                                            <p:cond delay="0"/>
                                          </p:stCondLst>
                                        </p:cTn>
                                        <p:tgtEl>
                                          <p:spTgt spid="44"/>
                                        </p:tgtEl>
                                        <p:attrNameLst>
                                          <p:attrName>style.visibility</p:attrName>
                                        </p:attrNameLst>
                                      </p:cBhvr>
                                      <p:to>
                                        <p:strVal val="visible"/>
                                      </p:to>
                                    </p:set>
                                    <p:animEffect transition="in" filter="fade">
                                      <p:cBhvr>
                                        <p:cTn id="142" dur="500"/>
                                        <p:tgtEl>
                                          <p:spTgt spid="44"/>
                                        </p:tgtEl>
                                      </p:cBhvr>
                                    </p:animEffect>
                                  </p:childTnLst>
                                </p:cTn>
                              </p:par>
                              <p:par>
                                <p:cTn id="143" presetID="42" presetClass="path" presetSubtype="0" decel="100000" fill="hold" nodeType="withEffect">
                                  <p:stCondLst>
                                    <p:cond delay="100"/>
                                  </p:stCondLst>
                                  <p:childTnLst>
                                    <p:animMotion origin="layout" path="M 4.16667E-7 -2.22222E-6 L 4.16667E-7 0.03542 " pathEditMode="relative" rAng="0" ptsTypes="AA">
                                      <p:cBhvr>
                                        <p:cTn id="144" dur="700" spd="-100000" fill="hold"/>
                                        <p:tgtEl>
                                          <p:spTgt spid="44"/>
                                        </p:tgtEl>
                                        <p:attrNameLst>
                                          <p:attrName>ppt_x</p:attrName>
                                          <p:attrName>ppt_y</p:attrName>
                                        </p:attrNameLst>
                                      </p:cBhvr>
                                      <p:rCtr x="0" y="1759"/>
                                    </p:animMotion>
                                  </p:childTnLst>
                                </p:cTn>
                              </p:par>
                              <p:par>
                                <p:cTn id="145" presetID="10" presetClass="entr" presetSubtype="0" fill="hold" nodeType="withEffect">
                                  <p:stCondLst>
                                    <p:cond delay="100"/>
                                  </p:stCondLst>
                                  <p:childTnLst>
                                    <p:set>
                                      <p:cBhvr>
                                        <p:cTn id="146" dur="1" fill="hold">
                                          <p:stCondLst>
                                            <p:cond delay="0"/>
                                          </p:stCondLst>
                                        </p:cTn>
                                        <p:tgtEl>
                                          <p:spTgt spid="45"/>
                                        </p:tgtEl>
                                        <p:attrNameLst>
                                          <p:attrName>style.visibility</p:attrName>
                                        </p:attrNameLst>
                                      </p:cBhvr>
                                      <p:to>
                                        <p:strVal val="visible"/>
                                      </p:to>
                                    </p:set>
                                    <p:animEffect transition="in" filter="fade">
                                      <p:cBhvr>
                                        <p:cTn id="147" dur="500"/>
                                        <p:tgtEl>
                                          <p:spTgt spid="45"/>
                                        </p:tgtEl>
                                      </p:cBhvr>
                                    </p:animEffect>
                                  </p:childTnLst>
                                </p:cTn>
                              </p:par>
                              <p:par>
                                <p:cTn id="148" presetID="42" presetClass="path" presetSubtype="0" decel="100000" fill="hold" nodeType="withEffect">
                                  <p:stCondLst>
                                    <p:cond delay="100"/>
                                  </p:stCondLst>
                                  <p:childTnLst>
                                    <p:animMotion origin="layout" path="M 4.16667E-7 -2.22222E-6 L 4.16667E-7 0.03542 " pathEditMode="relative" rAng="0" ptsTypes="AA">
                                      <p:cBhvr>
                                        <p:cTn id="149" dur="700" spd="-100000" fill="hold"/>
                                        <p:tgtEl>
                                          <p:spTgt spid="45"/>
                                        </p:tgtEl>
                                        <p:attrNameLst>
                                          <p:attrName>ppt_x</p:attrName>
                                          <p:attrName>ppt_y</p:attrName>
                                        </p:attrNameLst>
                                      </p:cBhvr>
                                      <p:rCtr x="0" y="1759"/>
                                    </p:animMotion>
                                  </p:childTnLst>
                                </p:cTn>
                              </p:par>
                              <p:par>
                                <p:cTn id="150" presetID="10" presetClass="entr" presetSubtype="0" fill="hold" grpId="0" nodeType="withEffect">
                                  <p:stCondLst>
                                    <p:cond delay="100"/>
                                  </p:stCondLst>
                                  <p:childTnLst>
                                    <p:set>
                                      <p:cBhvr>
                                        <p:cTn id="151" dur="1" fill="hold">
                                          <p:stCondLst>
                                            <p:cond delay="0"/>
                                          </p:stCondLst>
                                        </p:cTn>
                                        <p:tgtEl>
                                          <p:spTgt spid="46"/>
                                        </p:tgtEl>
                                        <p:attrNameLst>
                                          <p:attrName>style.visibility</p:attrName>
                                        </p:attrNameLst>
                                      </p:cBhvr>
                                      <p:to>
                                        <p:strVal val="visible"/>
                                      </p:to>
                                    </p:set>
                                    <p:animEffect transition="in" filter="fade">
                                      <p:cBhvr>
                                        <p:cTn id="152" dur="500"/>
                                        <p:tgtEl>
                                          <p:spTgt spid="46"/>
                                        </p:tgtEl>
                                      </p:cBhvr>
                                    </p:animEffect>
                                  </p:childTnLst>
                                </p:cTn>
                              </p:par>
                              <p:par>
                                <p:cTn id="153" presetID="42" presetClass="path" presetSubtype="0" decel="100000" fill="hold" grpId="1" nodeType="withEffect">
                                  <p:stCondLst>
                                    <p:cond delay="100"/>
                                  </p:stCondLst>
                                  <p:childTnLst>
                                    <p:animMotion origin="layout" path="M 4.16667E-7 -2.22222E-6 L 4.16667E-7 0.03542 " pathEditMode="relative" rAng="0" ptsTypes="AA">
                                      <p:cBhvr>
                                        <p:cTn id="154" dur="700" spd="-100000" fill="hold"/>
                                        <p:tgtEl>
                                          <p:spTgt spid="46"/>
                                        </p:tgtEl>
                                        <p:attrNameLst>
                                          <p:attrName>ppt_x</p:attrName>
                                          <p:attrName>ppt_y</p:attrName>
                                        </p:attrNameLst>
                                      </p:cBhvr>
                                      <p:rCtr x="0" y="1759"/>
                                    </p:animMotion>
                                  </p:childTnLst>
                                </p:cTn>
                              </p:par>
                              <p:par>
                                <p:cTn id="155" presetID="10" presetClass="entr" presetSubtype="0" fill="hold" grpId="0" nodeType="withEffect">
                                  <p:stCondLst>
                                    <p:cond delay="100"/>
                                  </p:stCondLst>
                                  <p:childTnLst>
                                    <p:set>
                                      <p:cBhvr>
                                        <p:cTn id="156" dur="1" fill="hold">
                                          <p:stCondLst>
                                            <p:cond delay="0"/>
                                          </p:stCondLst>
                                        </p:cTn>
                                        <p:tgtEl>
                                          <p:spTgt spid="47"/>
                                        </p:tgtEl>
                                        <p:attrNameLst>
                                          <p:attrName>style.visibility</p:attrName>
                                        </p:attrNameLst>
                                      </p:cBhvr>
                                      <p:to>
                                        <p:strVal val="visible"/>
                                      </p:to>
                                    </p:set>
                                    <p:animEffect transition="in" filter="fade">
                                      <p:cBhvr>
                                        <p:cTn id="157" dur="500"/>
                                        <p:tgtEl>
                                          <p:spTgt spid="47"/>
                                        </p:tgtEl>
                                      </p:cBhvr>
                                    </p:animEffect>
                                  </p:childTnLst>
                                </p:cTn>
                              </p:par>
                              <p:par>
                                <p:cTn id="158" presetID="42" presetClass="path" presetSubtype="0" decel="100000" fill="hold" grpId="1" nodeType="withEffect">
                                  <p:stCondLst>
                                    <p:cond delay="100"/>
                                  </p:stCondLst>
                                  <p:childTnLst>
                                    <p:animMotion origin="layout" path="M 4.16667E-7 -2.22222E-6 L 4.16667E-7 0.03542 " pathEditMode="relative" rAng="0" ptsTypes="AA">
                                      <p:cBhvr>
                                        <p:cTn id="159" dur="700" spd="-100000" fill="hold"/>
                                        <p:tgtEl>
                                          <p:spTgt spid="47"/>
                                        </p:tgtEl>
                                        <p:attrNameLst>
                                          <p:attrName>ppt_x</p:attrName>
                                          <p:attrName>ppt_y</p:attrName>
                                        </p:attrNameLst>
                                      </p:cBhvr>
                                      <p:rCtr x="0" y="1759"/>
                                    </p:animMotion>
                                  </p:childTnLst>
                                </p:cTn>
                              </p:par>
                              <p:par>
                                <p:cTn id="160" presetID="10" presetClass="entr" presetSubtype="0" fill="hold" grpId="0" nodeType="withEffect">
                                  <p:stCondLst>
                                    <p:cond delay="100"/>
                                  </p:stCondLst>
                                  <p:childTnLst>
                                    <p:set>
                                      <p:cBhvr>
                                        <p:cTn id="161" dur="1" fill="hold">
                                          <p:stCondLst>
                                            <p:cond delay="0"/>
                                          </p:stCondLst>
                                        </p:cTn>
                                        <p:tgtEl>
                                          <p:spTgt spid="48"/>
                                        </p:tgtEl>
                                        <p:attrNameLst>
                                          <p:attrName>style.visibility</p:attrName>
                                        </p:attrNameLst>
                                      </p:cBhvr>
                                      <p:to>
                                        <p:strVal val="visible"/>
                                      </p:to>
                                    </p:set>
                                    <p:animEffect transition="in" filter="fade">
                                      <p:cBhvr>
                                        <p:cTn id="162" dur="500"/>
                                        <p:tgtEl>
                                          <p:spTgt spid="48"/>
                                        </p:tgtEl>
                                      </p:cBhvr>
                                    </p:animEffect>
                                  </p:childTnLst>
                                </p:cTn>
                              </p:par>
                              <p:par>
                                <p:cTn id="163" presetID="42" presetClass="path" presetSubtype="0" decel="100000" fill="hold" grpId="1" nodeType="withEffect">
                                  <p:stCondLst>
                                    <p:cond delay="100"/>
                                  </p:stCondLst>
                                  <p:childTnLst>
                                    <p:animMotion origin="layout" path="M 4.16667E-7 -2.22222E-6 L 4.16667E-7 0.03542 " pathEditMode="relative" rAng="0" ptsTypes="AA">
                                      <p:cBhvr>
                                        <p:cTn id="164" dur="700" spd="-100000" fill="hold"/>
                                        <p:tgtEl>
                                          <p:spTgt spid="48"/>
                                        </p:tgtEl>
                                        <p:attrNameLst>
                                          <p:attrName>ppt_x</p:attrName>
                                          <p:attrName>ppt_y</p:attrName>
                                        </p:attrNameLst>
                                      </p:cBhvr>
                                      <p:rCtr x="0" y="1759"/>
                                    </p:animMotion>
                                  </p:childTnLst>
                                </p:cTn>
                              </p:par>
                              <p:par>
                                <p:cTn id="165" presetID="10" presetClass="entr" presetSubtype="0" fill="hold" grpId="0" nodeType="withEffect">
                                  <p:stCondLst>
                                    <p:cond delay="100"/>
                                  </p:stCondLst>
                                  <p:childTnLst>
                                    <p:set>
                                      <p:cBhvr>
                                        <p:cTn id="166" dur="1" fill="hold">
                                          <p:stCondLst>
                                            <p:cond delay="0"/>
                                          </p:stCondLst>
                                        </p:cTn>
                                        <p:tgtEl>
                                          <p:spTgt spid="49"/>
                                        </p:tgtEl>
                                        <p:attrNameLst>
                                          <p:attrName>style.visibility</p:attrName>
                                        </p:attrNameLst>
                                      </p:cBhvr>
                                      <p:to>
                                        <p:strVal val="visible"/>
                                      </p:to>
                                    </p:set>
                                    <p:animEffect transition="in" filter="fade">
                                      <p:cBhvr>
                                        <p:cTn id="167" dur="500"/>
                                        <p:tgtEl>
                                          <p:spTgt spid="49"/>
                                        </p:tgtEl>
                                      </p:cBhvr>
                                    </p:animEffect>
                                  </p:childTnLst>
                                </p:cTn>
                              </p:par>
                              <p:par>
                                <p:cTn id="168" presetID="42" presetClass="path" presetSubtype="0" decel="100000" fill="hold" grpId="1" nodeType="withEffect">
                                  <p:stCondLst>
                                    <p:cond delay="100"/>
                                  </p:stCondLst>
                                  <p:childTnLst>
                                    <p:animMotion origin="layout" path="M 4.16667E-7 -2.22222E-6 L 4.16667E-7 0.03542 " pathEditMode="relative" rAng="0" ptsTypes="AA">
                                      <p:cBhvr>
                                        <p:cTn id="169" dur="700" spd="-100000" fill="hold"/>
                                        <p:tgtEl>
                                          <p:spTgt spid="49"/>
                                        </p:tgtEl>
                                        <p:attrNameLst>
                                          <p:attrName>ppt_x</p:attrName>
                                          <p:attrName>ppt_y</p:attrName>
                                        </p:attrNameLst>
                                      </p:cBhvr>
                                      <p:rCtr x="0" y="1759"/>
                                    </p:animMotion>
                                  </p:childTnLst>
                                </p:cTn>
                              </p:par>
                              <p:par>
                                <p:cTn id="170" presetID="10" presetClass="entr" presetSubtype="0" fill="hold" grpId="0" nodeType="withEffect">
                                  <p:stCondLst>
                                    <p:cond delay="100"/>
                                  </p:stCondLst>
                                  <p:childTnLst>
                                    <p:set>
                                      <p:cBhvr>
                                        <p:cTn id="171" dur="1" fill="hold">
                                          <p:stCondLst>
                                            <p:cond delay="0"/>
                                          </p:stCondLst>
                                        </p:cTn>
                                        <p:tgtEl>
                                          <p:spTgt spid="50"/>
                                        </p:tgtEl>
                                        <p:attrNameLst>
                                          <p:attrName>style.visibility</p:attrName>
                                        </p:attrNameLst>
                                      </p:cBhvr>
                                      <p:to>
                                        <p:strVal val="visible"/>
                                      </p:to>
                                    </p:set>
                                    <p:animEffect transition="in" filter="fade">
                                      <p:cBhvr>
                                        <p:cTn id="172" dur="500"/>
                                        <p:tgtEl>
                                          <p:spTgt spid="50"/>
                                        </p:tgtEl>
                                      </p:cBhvr>
                                    </p:animEffect>
                                  </p:childTnLst>
                                </p:cTn>
                              </p:par>
                              <p:par>
                                <p:cTn id="173" presetID="42" presetClass="path" presetSubtype="0" decel="100000" fill="hold" grpId="1" nodeType="withEffect">
                                  <p:stCondLst>
                                    <p:cond delay="100"/>
                                  </p:stCondLst>
                                  <p:childTnLst>
                                    <p:animMotion origin="layout" path="M 4.16667E-7 -2.22222E-6 L 4.16667E-7 0.03542 " pathEditMode="relative" rAng="0" ptsTypes="AA">
                                      <p:cBhvr>
                                        <p:cTn id="174" dur="700" spd="-100000" fill="hold"/>
                                        <p:tgtEl>
                                          <p:spTgt spid="50"/>
                                        </p:tgtEl>
                                        <p:attrNameLst>
                                          <p:attrName>ppt_x</p:attrName>
                                          <p:attrName>ppt_y</p:attrName>
                                        </p:attrNameLst>
                                      </p:cBhvr>
                                      <p:rCtr x="0" y="1759"/>
                                    </p:animMotion>
                                  </p:childTnLst>
                                </p:cTn>
                              </p:par>
                              <p:par>
                                <p:cTn id="175" presetID="10" presetClass="entr" presetSubtype="0" fill="hold" grpId="0" nodeType="withEffect">
                                  <p:stCondLst>
                                    <p:cond delay="100"/>
                                  </p:stCondLst>
                                  <p:childTnLst>
                                    <p:set>
                                      <p:cBhvr>
                                        <p:cTn id="176" dur="1" fill="hold">
                                          <p:stCondLst>
                                            <p:cond delay="0"/>
                                          </p:stCondLst>
                                        </p:cTn>
                                        <p:tgtEl>
                                          <p:spTgt spid="51"/>
                                        </p:tgtEl>
                                        <p:attrNameLst>
                                          <p:attrName>style.visibility</p:attrName>
                                        </p:attrNameLst>
                                      </p:cBhvr>
                                      <p:to>
                                        <p:strVal val="visible"/>
                                      </p:to>
                                    </p:set>
                                    <p:animEffect transition="in" filter="fade">
                                      <p:cBhvr>
                                        <p:cTn id="177" dur="500"/>
                                        <p:tgtEl>
                                          <p:spTgt spid="51"/>
                                        </p:tgtEl>
                                      </p:cBhvr>
                                    </p:animEffect>
                                  </p:childTnLst>
                                </p:cTn>
                              </p:par>
                              <p:par>
                                <p:cTn id="178" presetID="42" presetClass="path" presetSubtype="0" decel="100000" fill="hold" grpId="1" nodeType="withEffect">
                                  <p:stCondLst>
                                    <p:cond delay="100"/>
                                  </p:stCondLst>
                                  <p:childTnLst>
                                    <p:animMotion origin="layout" path="M 4.16667E-7 -2.22222E-6 L 4.16667E-7 0.03542 " pathEditMode="relative" rAng="0" ptsTypes="AA">
                                      <p:cBhvr>
                                        <p:cTn id="179" dur="700" spd="-100000" fill="hold"/>
                                        <p:tgtEl>
                                          <p:spTgt spid="51"/>
                                        </p:tgtEl>
                                        <p:attrNameLst>
                                          <p:attrName>ppt_x</p:attrName>
                                          <p:attrName>ppt_y</p:attrName>
                                        </p:attrNameLst>
                                      </p:cBhvr>
                                      <p:rCtr x="0" y="1759"/>
                                    </p:animMotion>
                                  </p:childTnLst>
                                </p:cTn>
                              </p:par>
                              <p:par>
                                <p:cTn id="180" presetID="10" presetClass="entr" presetSubtype="0" fill="hold" nodeType="withEffect">
                                  <p:stCondLst>
                                    <p:cond delay="100"/>
                                  </p:stCondLst>
                                  <p:childTnLst>
                                    <p:set>
                                      <p:cBhvr>
                                        <p:cTn id="181" dur="1" fill="hold">
                                          <p:stCondLst>
                                            <p:cond delay="0"/>
                                          </p:stCondLst>
                                        </p:cTn>
                                        <p:tgtEl>
                                          <p:spTgt spid="52"/>
                                        </p:tgtEl>
                                        <p:attrNameLst>
                                          <p:attrName>style.visibility</p:attrName>
                                        </p:attrNameLst>
                                      </p:cBhvr>
                                      <p:to>
                                        <p:strVal val="visible"/>
                                      </p:to>
                                    </p:set>
                                    <p:animEffect transition="in" filter="fade">
                                      <p:cBhvr>
                                        <p:cTn id="182" dur="500"/>
                                        <p:tgtEl>
                                          <p:spTgt spid="52"/>
                                        </p:tgtEl>
                                      </p:cBhvr>
                                    </p:animEffect>
                                  </p:childTnLst>
                                </p:cTn>
                              </p:par>
                              <p:par>
                                <p:cTn id="183" presetID="42" presetClass="path" presetSubtype="0" decel="100000" fill="hold" nodeType="withEffect">
                                  <p:stCondLst>
                                    <p:cond delay="100"/>
                                  </p:stCondLst>
                                  <p:childTnLst>
                                    <p:animMotion origin="layout" path="M 4.16667E-7 -2.22222E-6 L 4.16667E-7 0.03542 " pathEditMode="relative" rAng="0" ptsTypes="AA">
                                      <p:cBhvr>
                                        <p:cTn id="184" dur="700" spd="-100000" fill="hold"/>
                                        <p:tgtEl>
                                          <p:spTgt spid="52"/>
                                        </p:tgtEl>
                                        <p:attrNameLst>
                                          <p:attrName>ppt_x</p:attrName>
                                          <p:attrName>ppt_y</p:attrName>
                                        </p:attrNameLst>
                                      </p:cBhvr>
                                      <p:rCtr x="0" y="1759"/>
                                    </p:animMotion>
                                  </p:childTnLst>
                                </p:cTn>
                              </p:par>
                              <p:par>
                                <p:cTn id="185" presetID="10" presetClass="entr" presetSubtype="0" fill="hold" nodeType="withEffect">
                                  <p:stCondLst>
                                    <p:cond delay="100"/>
                                  </p:stCondLst>
                                  <p:childTnLst>
                                    <p:set>
                                      <p:cBhvr>
                                        <p:cTn id="186" dur="1" fill="hold">
                                          <p:stCondLst>
                                            <p:cond delay="0"/>
                                          </p:stCondLst>
                                        </p:cTn>
                                        <p:tgtEl>
                                          <p:spTgt spid="53"/>
                                        </p:tgtEl>
                                        <p:attrNameLst>
                                          <p:attrName>style.visibility</p:attrName>
                                        </p:attrNameLst>
                                      </p:cBhvr>
                                      <p:to>
                                        <p:strVal val="visible"/>
                                      </p:to>
                                    </p:set>
                                    <p:animEffect transition="in" filter="fade">
                                      <p:cBhvr>
                                        <p:cTn id="187" dur="500"/>
                                        <p:tgtEl>
                                          <p:spTgt spid="53"/>
                                        </p:tgtEl>
                                      </p:cBhvr>
                                    </p:animEffect>
                                  </p:childTnLst>
                                </p:cTn>
                              </p:par>
                              <p:par>
                                <p:cTn id="188" presetID="42" presetClass="path" presetSubtype="0" decel="100000" fill="hold" nodeType="withEffect">
                                  <p:stCondLst>
                                    <p:cond delay="100"/>
                                  </p:stCondLst>
                                  <p:childTnLst>
                                    <p:animMotion origin="layout" path="M 4.16667E-7 -2.22222E-6 L 4.16667E-7 0.03542 " pathEditMode="relative" rAng="0" ptsTypes="AA">
                                      <p:cBhvr>
                                        <p:cTn id="189" dur="700" spd="-100000" fill="hold"/>
                                        <p:tgtEl>
                                          <p:spTgt spid="53"/>
                                        </p:tgtEl>
                                        <p:attrNameLst>
                                          <p:attrName>ppt_x</p:attrName>
                                          <p:attrName>ppt_y</p:attrName>
                                        </p:attrNameLst>
                                      </p:cBhvr>
                                      <p:rCtr x="0" y="1759"/>
                                    </p:animMotion>
                                  </p:childTnLst>
                                </p:cTn>
                              </p:par>
                              <p:par>
                                <p:cTn id="190" presetID="10" presetClass="entr" presetSubtype="0" fill="hold" grpId="0" nodeType="withEffect">
                                  <p:stCondLst>
                                    <p:cond delay="100"/>
                                  </p:stCondLst>
                                  <p:childTnLst>
                                    <p:set>
                                      <p:cBhvr>
                                        <p:cTn id="191" dur="1" fill="hold">
                                          <p:stCondLst>
                                            <p:cond delay="0"/>
                                          </p:stCondLst>
                                        </p:cTn>
                                        <p:tgtEl>
                                          <p:spTgt spid="54"/>
                                        </p:tgtEl>
                                        <p:attrNameLst>
                                          <p:attrName>style.visibility</p:attrName>
                                        </p:attrNameLst>
                                      </p:cBhvr>
                                      <p:to>
                                        <p:strVal val="visible"/>
                                      </p:to>
                                    </p:set>
                                    <p:animEffect transition="in" filter="fade">
                                      <p:cBhvr>
                                        <p:cTn id="192" dur="500"/>
                                        <p:tgtEl>
                                          <p:spTgt spid="54"/>
                                        </p:tgtEl>
                                      </p:cBhvr>
                                    </p:animEffect>
                                  </p:childTnLst>
                                </p:cTn>
                              </p:par>
                              <p:par>
                                <p:cTn id="193" presetID="42" presetClass="path" presetSubtype="0" decel="100000" fill="hold" grpId="1" nodeType="withEffect">
                                  <p:stCondLst>
                                    <p:cond delay="100"/>
                                  </p:stCondLst>
                                  <p:childTnLst>
                                    <p:animMotion origin="layout" path="M 4.16667E-7 -2.22222E-6 L 4.16667E-7 0.03542 " pathEditMode="relative" rAng="0" ptsTypes="AA">
                                      <p:cBhvr>
                                        <p:cTn id="194" dur="700" spd="-100000" fill="hold"/>
                                        <p:tgtEl>
                                          <p:spTgt spid="54"/>
                                        </p:tgtEl>
                                        <p:attrNameLst>
                                          <p:attrName>ppt_x</p:attrName>
                                          <p:attrName>ppt_y</p:attrName>
                                        </p:attrNameLst>
                                      </p:cBhvr>
                                      <p:rCtr x="0" y="1759"/>
                                    </p:animMotion>
                                  </p:childTnLst>
                                </p:cTn>
                              </p:par>
                              <p:par>
                                <p:cTn id="195" presetID="10" presetClass="entr" presetSubtype="0" fill="hold" nodeType="withEffect">
                                  <p:stCondLst>
                                    <p:cond delay="100"/>
                                  </p:stCondLst>
                                  <p:childTnLst>
                                    <p:set>
                                      <p:cBhvr>
                                        <p:cTn id="196" dur="1" fill="hold">
                                          <p:stCondLst>
                                            <p:cond delay="0"/>
                                          </p:stCondLst>
                                        </p:cTn>
                                        <p:tgtEl>
                                          <p:spTgt spid="55"/>
                                        </p:tgtEl>
                                        <p:attrNameLst>
                                          <p:attrName>style.visibility</p:attrName>
                                        </p:attrNameLst>
                                      </p:cBhvr>
                                      <p:to>
                                        <p:strVal val="visible"/>
                                      </p:to>
                                    </p:set>
                                    <p:animEffect transition="in" filter="fade">
                                      <p:cBhvr>
                                        <p:cTn id="197" dur="500"/>
                                        <p:tgtEl>
                                          <p:spTgt spid="55"/>
                                        </p:tgtEl>
                                      </p:cBhvr>
                                    </p:animEffect>
                                  </p:childTnLst>
                                </p:cTn>
                              </p:par>
                              <p:par>
                                <p:cTn id="198" presetID="42" presetClass="path" presetSubtype="0" decel="100000" fill="hold" nodeType="withEffect">
                                  <p:stCondLst>
                                    <p:cond delay="100"/>
                                  </p:stCondLst>
                                  <p:childTnLst>
                                    <p:animMotion origin="layout" path="M 4.16667E-7 -2.22222E-6 L 4.16667E-7 0.03542 " pathEditMode="relative" rAng="0" ptsTypes="AA">
                                      <p:cBhvr>
                                        <p:cTn id="199" dur="700" spd="-100000" fill="hold"/>
                                        <p:tgtEl>
                                          <p:spTgt spid="55"/>
                                        </p:tgtEl>
                                        <p:attrNameLst>
                                          <p:attrName>ppt_x</p:attrName>
                                          <p:attrName>ppt_y</p:attrName>
                                        </p:attrNameLst>
                                      </p:cBhvr>
                                      <p:rCtr x="0" y="1759"/>
                                    </p:animMotion>
                                  </p:childTnLst>
                                </p:cTn>
                              </p:par>
                              <p:par>
                                <p:cTn id="200" presetID="10" presetClass="entr" presetSubtype="0" fill="hold" grpId="0" nodeType="withEffect">
                                  <p:stCondLst>
                                    <p:cond delay="100"/>
                                  </p:stCondLst>
                                  <p:childTnLst>
                                    <p:set>
                                      <p:cBhvr>
                                        <p:cTn id="201" dur="1" fill="hold">
                                          <p:stCondLst>
                                            <p:cond delay="0"/>
                                          </p:stCondLst>
                                        </p:cTn>
                                        <p:tgtEl>
                                          <p:spTgt spid="56"/>
                                        </p:tgtEl>
                                        <p:attrNameLst>
                                          <p:attrName>style.visibility</p:attrName>
                                        </p:attrNameLst>
                                      </p:cBhvr>
                                      <p:to>
                                        <p:strVal val="visible"/>
                                      </p:to>
                                    </p:set>
                                    <p:animEffect transition="in" filter="fade">
                                      <p:cBhvr>
                                        <p:cTn id="202" dur="500"/>
                                        <p:tgtEl>
                                          <p:spTgt spid="56"/>
                                        </p:tgtEl>
                                      </p:cBhvr>
                                    </p:animEffect>
                                  </p:childTnLst>
                                </p:cTn>
                              </p:par>
                              <p:par>
                                <p:cTn id="203" presetID="42" presetClass="path" presetSubtype="0" decel="100000" fill="hold" grpId="1" nodeType="withEffect">
                                  <p:stCondLst>
                                    <p:cond delay="100"/>
                                  </p:stCondLst>
                                  <p:childTnLst>
                                    <p:animMotion origin="layout" path="M 4.16667E-7 -2.22222E-6 L 4.16667E-7 0.03542 " pathEditMode="relative" rAng="0" ptsTypes="AA">
                                      <p:cBhvr>
                                        <p:cTn id="204" dur="700" spd="-100000" fill="hold"/>
                                        <p:tgtEl>
                                          <p:spTgt spid="56"/>
                                        </p:tgtEl>
                                        <p:attrNameLst>
                                          <p:attrName>ppt_x</p:attrName>
                                          <p:attrName>ppt_y</p:attrName>
                                        </p:attrNameLst>
                                      </p:cBhvr>
                                      <p:rCtr x="0" y="1759"/>
                                    </p:animMotion>
                                  </p:childTnLst>
                                </p:cTn>
                              </p:par>
                              <p:par>
                                <p:cTn id="205" presetID="10" presetClass="entr" presetSubtype="0" fill="hold" nodeType="withEffect">
                                  <p:stCondLst>
                                    <p:cond delay="100"/>
                                  </p:stCondLst>
                                  <p:childTnLst>
                                    <p:set>
                                      <p:cBhvr>
                                        <p:cTn id="206" dur="1" fill="hold">
                                          <p:stCondLst>
                                            <p:cond delay="0"/>
                                          </p:stCondLst>
                                        </p:cTn>
                                        <p:tgtEl>
                                          <p:spTgt spid="57"/>
                                        </p:tgtEl>
                                        <p:attrNameLst>
                                          <p:attrName>style.visibility</p:attrName>
                                        </p:attrNameLst>
                                      </p:cBhvr>
                                      <p:to>
                                        <p:strVal val="visible"/>
                                      </p:to>
                                    </p:set>
                                    <p:animEffect transition="in" filter="fade">
                                      <p:cBhvr>
                                        <p:cTn id="207" dur="500"/>
                                        <p:tgtEl>
                                          <p:spTgt spid="57"/>
                                        </p:tgtEl>
                                      </p:cBhvr>
                                    </p:animEffect>
                                  </p:childTnLst>
                                </p:cTn>
                              </p:par>
                              <p:par>
                                <p:cTn id="208" presetID="42" presetClass="path" presetSubtype="0" decel="100000" fill="hold" nodeType="withEffect">
                                  <p:stCondLst>
                                    <p:cond delay="100"/>
                                  </p:stCondLst>
                                  <p:childTnLst>
                                    <p:animMotion origin="layout" path="M 4.16667E-7 -2.22222E-6 L 4.16667E-7 0.03542 " pathEditMode="relative" rAng="0" ptsTypes="AA">
                                      <p:cBhvr>
                                        <p:cTn id="209" dur="700" spd="-100000" fill="hold"/>
                                        <p:tgtEl>
                                          <p:spTgt spid="57"/>
                                        </p:tgtEl>
                                        <p:attrNameLst>
                                          <p:attrName>ppt_x</p:attrName>
                                          <p:attrName>ppt_y</p:attrName>
                                        </p:attrNameLst>
                                      </p:cBhvr>
                                      <p:rCtr x="0" y="1759"/>
                                    </p:animMotion>
                                  </p:childTnLst>
                                </p:cTn>
                              </p:par>
                              <p:par>
                                <p:cTn id="210" presetID="10" presetClass="entr" presetSubtype="0" fill="hold" grpId="0" nodeType="withEffect">
                                  <p:stCondLst>
                                    <p:cond delay="100"/>
                                  </p:stCondLst>
                                  <p:childTnLst>
                                    <p:set>
                                      <p:cBhvr>
                                        <p:cTn id="211" dur="1" fill="hold">
                                          <p:stCondLst>
                                            <p:cond delay="0"/>
                                          </p:stCondLst>
                                        </p:cTn>
                                        <p:tgtEl>
                                          <p:spTgt spid="58"/>
                                        </p:tgtEl>
                                        <p:attrNameLst>
                                          <p:attrName>style.visibility</p:attrName>
                                        </p:attrNameLst>
                                      </p:cBhvr>
                                      <p:to>
                                        <p:strVal val="visible"/>
                                      </p:to>
                                    </p:set>
                                    <p:animEffect transition="in" filter="fade">
                                      <p:cBhvr>
                                        <p:cTn id="212" dur="500"/>
                                        <p:tgtEl>
                                          <p:spTgt spid="58"/>
                                        </p:tgtEl>
                                      </p:cBhvr>
                                    </p:animEffect>
                                  </p:childTnLst>
                                </p:cTn>
                              </p:par>
                              <p:par>
                                <p:cTn id="213" presetID="42" presetClass="path" presetSubtype="0" decel="100000" fill="hold" grpId="1" nodeType="withEffect">
                                  <p:stCondLst>
                                    <p:cond delay="100"/>
                                  </p:stCondLst>
                                  <p:childTnLst>
                                    <p:animMotion origin="layout" path="M 4.16667E-7 -2.22222E-6 L 4.16667E-7 0.03542 " pathEditMode="relative" rAng="0" ptsTypes="AA">
                                      <p:cBhvr>
                                        <p:cTn id="214" dur="700" spd="-100000" fill="hold"/>
                                        <p:tgtEl>
                                          <p:spTgt spid="58"/>
                                        </p:tgtEl>
                                        <p:attrNameLst>
                                          <p:attrName>ppt_x</p:attrName>
                                          <p:attrName>ppt_y</p:attrName>
                                        </p:attrNameLst>
                                      </p:cBhvr>
                                      <p:rCtr x="0" y="1759"/>
                                    </p:animMotion>
                                  </p:childTnLst>
                                </p:cTn>
                              </p:par>
                              <p:par>
                                <p:cTn id="215" presetID="10" presetClass="entr" presetSubtype="0" fill="hold" nodeType="withEffect">
                                  <p:stCondLst>
                                    <p:cond delay="100"/>
                                  </p:stCondLst>
                                  <p:childTnLst>
                                    <p:set>
                                      <p:cBhvr>
                                        <p:cTn id="216" dur="1" fill="hold">
                                          <p:stCondLst>
                                            <p:cond delay="0"/>
                                          </p:stCondLst>
                                        </p:cTn>
                                        <p:tgtEl>
                                          <p:spTgt spid="59"/>
                                        </p:tgtEl>
                                        <p:attrNameLst>
                                          <p:attrName>style.visibility</p:attrName>
                                        </p:attrNameLst>
                                      </p:cBhvr>
                                      <p:to>
                                        <p:strVal val="visible"/>
                                      </p:to>
                                    </p:set>
                                    <p:animEffect transition="in" filter="fade">
                                      <p:cBhvr>
                                        <p:cTn id="217" dur="500"/>
                                        <p:tgtEl>
                                          <p:spTgt spid="59"/>
                                        </p:tgtEl>
                                      </p:cBhvr>
                                    </p:animEffect>
                                  </p:childTnLst>
                                </p:cTn>
                              </p:par>
                              <p:par>
                                <p:cTn id="218" presetID="42" presetClass="path" presetSubtype="0" decel="100000" fill="hold" nodeType="withEffect">
                                  <p:stCondLst>
                                    <p:cond delay="100"/>
                                  </p:stCondLst>
                                  <p:childTnLst>
                                    <p:animMotion origin="layout" path="M 4.16667E-7 -2.22222E-6 L 4.16667E-7 0.03542 " pathEditMode="relative" rAng="0" ptsTypes="AA">
                                      <p:cBhvr>
                                        <p:cTn id="219" dur="700" spd="-100000" fill="hold"/>
                                        <p:tgtEl>
                                          <p:spTgt spid="59"/>
                                        </p:tgtEl>
                                        <p:attrNameLst>
                                          <p:attrName>ppt_x</p:attrName>
                                          <p:attrName>ppt_y</p:attrName>
                                        </p:attrNameLst>
                                      </p:cBhvr>
                                      <p:rCtr x="0" y="1759"/>
                                    </p:animMotion>
                                  </p:childTnLst>
                                </p:cTn>
                              </p:par>
                              <p:par>
                                <p:cTn id="220" presetID="10" presetClass="entr" presetSubtype="0" fill="hold" grpId="0" nodeType="withEffect">
                                  <p:stCondLst>
                                    <p:cond delay="100"/>
                                  </p:stCondLst>
                                  <p:childTnLst>
                                    <p:set>
                                      <p:cBhvr>
                                        <p:cTn id="221" dur="1" fill="hold">
                                          <p:stCondLst>
                                            <p:cond delay="0"/>
                                          </p:stCondLst>
                                        </p:cTn>
                                        <p:tgtEl>
                                          <p:spTgt spid="60"/>
                                        </p:tgtEl>
                                        <p:attrNameLst>
                                          <p:attrName>style.visibility</p:attrName>
                                        </p:attrNameLst>
                                      </p:cBhvr>
                                      <p:to>
                                        <p:strVal val="visible"/>
                                      </p:to>
                                    </p:set>
                                    <p:animEffect transition="in" filter="fade">
                                      <p:cBhvr>
                                        <p:cTn id="222" dur="500"/>
                                        <p:tgtEl>
                                          <p:spTgt spid="60"/>
                                        </p:tgtEl>
                                      </p:cBhvr>
                                    </p:animEffect>
                                  </p:childTnLst>
                                </p:cTn>
                              </p:par>
                              <p:par>
                                <p:cTn id="223" presetID="42" presetClass="path" presetSubtype="0" decel="100000" fill="hold" grpId="1" nodeType="withEffect">
                                  <p:stCondLst>
                                    <p:cond delay="100"/>
                                  </p:stCondLst>
                                  <p:childTnLst>
                                    <p:animMotion origin="layout" path="M 4.16667E-7 -2.22222E-6 L 4.16667E-7 0.03542 " pathEditMode="relative" rAng="0" ptsTypes="AA">
                                      <p:cBhvr>
                                        <p:cTn id="224" dur="700" spd="-100000" fill="hold"/>
                                        <p:tgtEl>
                                          <p:spTgt spid="60"/>
                                        </p:tgtEl>
                                        <p:attrNameLst>
                                          <p:attrName>ppt_x</p:attrName>
                                          <p:attrName>ppt_y</p:attrName>
                                        </p:attrNameLst>
                                      </p:cBhvr>
                                      <p:rCtr x="0" y="1759"/>
                                    </p:animMotion>
                                  </p:childTnLst>
                                </p:cTn>
                              </p:par>
                              <p:par>
                                <p:cTn id="225" presetID="10" presetClass="entr" presetSubtype="0" fill="hold" grpId="0" nodeType="withEffect">
                                  <p:stCondLst>
                                    <p:cond delay="100"/>
                                  </p:stCondLst>
                                  <p:childTnLst>
                                    <p:set>
                                      <p:cBhvr>
                                        <p:cTn id="226" dur="1" fill="hold">
                                          <p:stCondLst>
                                            <p:cond delay="0"/>
                                          </p:stCondLst>
                                        </p:cTn>
                                        <p:tgtEl>
                                          <p:spTgt spid="61"/>
                                        </p:tgtEl>
                                        <p:attrNameLst>
                                          <p:attrName>style.visibility</p:attrName>
                                        </p:attrNameLst>
                                      </p:cBhvr>
                                      <p:to>
                                        <p:strVal val="visible"/>
                                      </p:to>
                                    </p:set>
                                    <p:animEffect transition="in" filter="fade">
                                      <p:cBhvr>
                                        <p:cTn id="227" dur="500"/>
                                        <p:tgtEl>
                                          <p:spTgt spid="61"/>
                                        </p:tgtEl>
                                      </p:cBhvr>
                                    </p:animEffect>
                                  </p:childTnLst>
                                </p:cTn>
                              </p:par>
                              <p:par>
                                <p:cTn id="228" presetID="42" presetClass="path" presetSubtype="0" decel="100000" fill="hold" grpId="1" nodeType="withEffect">
                                  <p:stCondLst>
                                    <p:cond delay="100"/>
                                  </p:stCondLst>
                                  <p:childTnLst>
                                    <p:animMotion origin="layout" path="M 4.16667E-7 -2.22222E-6 L 4.16667E-7 0.03542 " pathEditMode="relative" rAng="0" ptsTypes="AA">
                                      <p:cBhvr>
                                        <p:cTn id="229" dur="700" spd="-100000" fill="hold"/>
                                        <p:tgtEl>
                                          <p:spTgt spid="61"/>
                                        </p:tgtEl>
                                        <p:attrNameLst>
                                          <p:attrName>ppt_x</p:attrName>
                                          <p:attrName>ppt_y</p:attrName>
                                        </p:attrNameLst>
                                      </p:cBhvr>
                                      <p:rCtr x="0" y="1759"/>
                                    </p:animMotion>
                                  </p:childTnLst>
                                </p:cTn>
                              </p:par>
                              <p:par>
                                <p:cTn id="230" presetID="10" presetClass="entr" presetSubtype="0" fill="hold" grpId="0" nodeType="withEffect">
                                  <p:stCondLst>
                                    <p:cond delay="100"/>
                                  </p:stCondLst>
                                  <p:childTnLst>
                                    <p:set>
                                      <p:cBhvr>
                                        <p:cTn id="231" dur="1" fill="hold">
                                          <p:stCondLst>
                                            <p:cond delay="0"/>
                                          </p:stCondLst>
                                        </p:cTn>
                                        <p:tgtEl>
                                          <p:spTgt spid="62"/>
                                        </p:tgtEl>
                                        <p:attrNameLst>
                                          <p:attrName>style.visibility</p:attrName>
                                        </p:attrNameLst>
                                      </p:cBhvr>
                                      <p:to>
                                        <p:strVal val="visible"/>
                                      </p:to>
                                    </p:set>
                                    <p:animEffect transition="in" filter="fade">
                                      <p:cBhvr>
                                        <p:cTn id="232" dur="500"/>
                                        <p:tgtEl>
                                          <p:spTgt spid="62"/>
                                        </p:tgtEl>
                                      </p:cBhvr>
                                    </p:animEffect>
                                  </p:childTnLst>
                                </p:cTn>
                              </p:par>
                              <p:par>
                                <p:cTn id="233" presetID="42" presetClass="path" presetSubtype="0" decel="100000" fill="hold" grpId="1" nodeType="withEffect">
                                  <p:stCondLst>
                                    <p:cond delay="100"/>
                                  </p:stCondLst>
                                  <p:childTnLst>
                                    <p:animMotion origin="layout" path="M 4.16667E-7 -2.22222E-6 L 4.16667E-7 0.03542 " pathEditMode="relative" rAng="0" ptsTypes="AA">
                                      <p:cBhvr>
                                        <p:cTn id="234" dur="700" spd="-100000" fill="hold"/>
                                        <p:tgtEl>
                                          <p:spTgt spid="62"/>
                                        </p:tgtEl>
                                        <p:attrNameLst>
                                          <p:attrName>ppt_x</p:attrName>
                                          <p:attrName>ppt_y</p:attrName>
                                        </p:attrNameLst>
                                      </p:cBhvr>
                                      <p:rCtr x="0" y="1759"/>
                                    </p:animMotion>
                                  </p:childTnLst>
                                </p:cTn>
                              </p:par>
                              <p:par>
                                <p:cTn id="235" presetID="10" presetClass="entr" presetSubtype="0" fill="hold" grpId="0" nodeType="withEffect">
                                  <p:stCondLst>
                                    <p:cond delay="100"/>
                                  </p:stCondLst>
                                  <p:childTnLst>
                                    <p:set>
                                      <p:cBhvr>
                                        <p:cTn id="236" dur="1" fill="hold">
                                          <p:stCondLst>
                                            <p:cond delay="0"/>
                                          </p:stCondLst>
                                        </p:cTn>
                                        <p:tgtEl>
                                          <p:spTgt spid="63"/>
                                        </p:tgtEl>
                                        <p:attrNameLst>
                                          <p:attrName>style.visibility</p:attrName>
                                        </p:attrNameLst>
                                      </p:cBhvr>
                                      <p:to>
                                        <p:strVal val="visible"/>
                                      </p:to>
                                    </p:set>
                                    <p:animEffect transition="in" filter="fade">
                                      <p:cBhvr>
                                        <p:cTn id="237" dur="500"/>
                                        <p:tgtEl>
                                          <p:spTgt spid="63"/>
                                        </p:tgtEl>
                                      </p:cBhvr>
                                    </p:animEffect>
                                  </p:childTnLst>
                                </p:cTn>
                              </p:par>
                              <p:par>
                                <p:cTn id="238" presetID="42" presetClass="path" presetSubtype="0" decel="100000" fill="hold" grpId="1" nodeType="withEffect">
                                  <p:stCondLst>
                                    <p:cond delay="100"/>
                                  </p:stCondLst>
                                  <p:childTnLst>
                                    <p:animMotion origin="layout" path="M 4.16667E-7 -2.22222E-6 L 4.16667E-7 0.03542 " pathEditMode="relative" rAng="0" ptsTypes="AA">
                                      <p:cBhvr>
                                        <p:cTn id="239" dur="700" spd="-100000" fill="hold"/>
                                        <p:tgtEl>
                                          <p:spTgt spid="63"/>
                                        </p:tgtEl>
                                        <p:attrNameLst>
                                          <p:attrName>ppt_x</p:attrName>
                                          <p:attrName>ppt_y</p:attrName>
                                        </p:attrNameLst>
                                      </p:cBhvr>
                                      <p:rCtr x="0" y="1759"/>
                                    </p:animMotion>
                                  </p:childTnLst>
                                </p:cTn>
                              </p:par>
                              <p:par>
                                <p:cTn id="240" presetID="10" presetClass="entr" presetSubtype="0" fill="hold" grpId="0" nodeType="withEffect">
                                  <p:stCondLst>
                                    <p:cond delay="100"/>
                                  </p:stCondLst>
                                  <p:childTnLst>
                                    <p:set>
                                      <p:cBhvr>
                                        <p:cTn id="241" dur="1" fill="hold">
                                          <p:stCondLst>
                                            <p:cond delay="0"/>
                                          </p:stCondLst>
                                        </p:cTn>
                                        <p:tgtEl>
                                          <p:spTgt spid="512"/>
                                        </p:tgtEl>
                                        <p:attrNameLst>
                                          <p:attrName>style.visibility</p:attrName>
                                        </p:attrNameLst>
                                      </p:cBhvr>
                                      <p:to>
                                        <p:strVal val="visible"/>
                                      </p:to>
                                    </p:set>
                                    <p:animEffect transition="in" filter="fade">
                                      <p:cBhvr>
                                        <p:cTn id="242" dur="500"/>
                                        <p:tgtEl>
                                          <p:spTgt spid="512"/>
                                        </p:tgtEl>
                                      </p:cBhvr>
                                    </p:animEffect>
                                  </p:childTnLst>
                                </p:cTn>
                              </p:par>
                              <p:par>
                                <p:cTn id="243" presetID="42" presetClass="path" presetSubtype="0" decel="100000" fill="hold" grpId="1" nodeType="withEffect">
                                  <p:stCondLst>
                                    <p:cond delay="100"/>
                                  </p:stCondLst>
                                  <p:childTnLst>
                                    <p:animMotion origin="layout" path="M 4.16667E-7 -2.22222E-6 L 4.16667E-7 0.03542 " pathEditMode="relative" rAng="0" ptsTypes="AA">
                                      <p:cBhvr>
                                        <p:cTn id="244" dur="700" spd="-100000" fill="hold"/>
                                        <p:tgtEl>
                                          <p:spTgt spid="512"/>
                                        </p:tgtEl>
                                        <p:attrNameLst>
                                          <p:attrName>ppt_x</p:attrName>
                                          <p:attrName>ppt_y</p:attrName>
                                        </p:attrNameLst>
                                      </p:cBhvr>
                                      <p:rCtr x="0" y="1759"/>
                                    </p:animMotion>
                                  </p:childTnLst>
                                </p:cTn>
                              </p:par>
                              <p:par>
                                <p:cTn id="245" presetID="10" presetClass="entr" presetSubtype="0" fill="hold" grpId="0" nodeType="withEffect">
                                  <p:stCondLst>
                                    <p:cond delay="100"/>
                                  </p:stCondLst>
                                  <p:childTnLst>
                                    <p:set>
                                      <p:cBhvr>
                                        <p:cTn id="246" dur="1" fill="hold">
                                          <p:stCondLst>
                                            <p:cond delay="0"/>
                                          </p:stCondLst>
                                        </p:cTn>
                                        <p:tgtEl>
                                          <p:spTgt spid="513"/>
                                        </p:tgtEl>
                                        <p:attrNameLst>
                                          <p:attrName>style.visibility</p:attrName>
                                        </p:attrNameLst>
                                      </p:cBhvr>
                                      <p:to>
                                        <p:strVal val="visible"/>
                                      </p:to>
                                    </p:set>
                                    <p:animEffect transition="in" filter="fade">
                                      <p:cBhvr>
                                        <p:cTn id="247" dur="500"/>
                                        <p:tgtEl>
                                          <p:spTgt spid="513"/>
                                        </p:tgtEl>
                                      </p:cBhvr>
                                    </p:animEffect>
                                  </p:childTnLst>
                                </p:cTn>
                              </p:par>
                              <p:par>
                                <p:cTn id="248" presetID="42" presetClass="path" presetSubtype="0" decel="100000" fill="hold" grpId="1" nodeType="withEffect">
                                  <p:stCondLst>
                                    <p:cond delay="100"/>
                                  </p:stCondLst>
                                  <p:childTnLst>
                                    <p:animMotion origin="layout" path="M 4.16667E-7 -2.22222E-6 L 4.16667E-7 0.03542 " pathEditMode="relative" rAng="0" ptsTypes="AA">
                                      <p:cBhvr>
                                        <p:cTn id="249" dur="700" spd="-100000" fill="hold"/>
                                        <p:tgtEl>
                                          <p:spTgt spid="513"/>
                                        </p:tgtEl>
                                        <p:attrNameLst>
                                          <p:attrName>ppt_x</p:attrName>
                                          <p:attrName>ppt_y</p:attrName>
                                        </p:attrNameLst>
                                      </p:cBhvr>
                                      <p:rCtr x="0" y="1759"/>
                                    </p:animMotion>
                                  </p:childTnLst>
                                </p:cTn>
                              </p:par>
                              <p:par>
                                <p:cTn id="250" presetID="10" presetClass="entr" presetSubtype="0" fill="hold" grpId="0" nodeType="withEffect">
                                  <p:stCondLst>
                                    <p:cond delay="100"/>
                                  </p:stCondLst>
                                  <p:childTnLst>
                                    <p:set>
                                      <p:cBhvr>
                                        <p:cTn id="251" dur="1" fill="hold">
                                          <p:stCondLst>
                                            <p:cond delay="0"/>
                                          </p:stCondLst>
                                        </p:cTn>
                                        <p:tgtEl>
                                          <p:spTgt spid="514"/>
                                        </p:tgtEl>
                                        <p:attrNameLst>
                                          <p:attrName>style.visibility</p:attrName>
                                        </p:attrNameLst>
                                      </p:cBhvr>
                                      <p:to>
                                        <p:strVal val="visible"/>
                                      </p:to>
                                    </p:set>
                                    <p:animEffect transition="in" filter="fade">
                                      <p:cBhvr>
                                        <p:cTn id="252" dur="500"/>
                                        <p:tgtEl>
                                          <p:spTgt spid="514"/>
                                        </p:tgtEl>
                                      </p:cBhvr>
                                    </p:animEffect>
                                  </p:childTnLst>
                                </p:cTn>
                              </p:par>
                              <p:par>
                                <p:cTn id="253" presetID="42" presetClass="path" presetSubtype="0" decel="100000" fill="hold" grpId="1" nodeType="withEffect">
                                  <p:stCondLst>
                                    <p:cond delay="100"/>
                                  </p:stCondLst>
                                  <p:childTnLst>
                                    <p:animMotion origin="layout" path="M 4.16667E-7 -2.22222E-6 L 4.16667E-7 0.03542 " pathEditMode="relative" rAng="0" ptsTypes="AA">
                                      <p:cBhvr>
                                        <p:cTn id="254" dur="700" spd="-100000" fill="hold"/>
                                        <p:tgtEl>
                                          <p:spTgt spid="514"/>
                                        </p:tgtEl>
                                        <p:attrNameLst>
                                          <p:attrName>ppt_x</p:attrName>
                                          <p:attrName>ppt_y</p:attrName>
                                        </p:attrNameLst>
                                      </p:cBhvr>
                                      <p:rCtr x="0" y="1759"/>
                                    </p:animMotion>
                                  </p:childTnLst>
                                </p:cTn>
                              </p:par>
                              <p:par>
                                <p:cTn id="255" presetID="10" presetClass="entr" presetSubtype="0" fill="hold" grpId="0" nodeType="withEffect">
                                  <p:stCondLst>
                                    <p:cond delay="100"/>
                                  </p:stCondLst>
                                  <p:childTnLst>
                                    <p:set>
                                      <p:cBhvr>
                                        <p:cTn id="256" dur="1" fill="hold">
                                          <p:stCondLst>
                                            <p:cond delay="0"/>
                                          </p:stCondLst>
                                        </p:cTn>
                                        <p:tgtEl>
                                          <p:spTgt spid="515"/>
                                        </p:tgtEl>
                                        <p:attrNameLst>
                                          <p:attrName>style.visibility</p:attrName>
                                        </p:attrNameLst>
                                      </p:cBhvr>
                                      <p:to>
                                        <p:strVal val="visible"/>
                                      </p:to>
                                    </p:set>
                                    <p:animEffect transition="in" filter="fade">
                                      <p:cBhvr>
                                        <p:cTn id="257" dur="500"/>
                                        <p:tgtEl>
                                          <p:spTgt spid="515"/>
                                        </p:tgtEl>
                                      </p:cBhvr>
                                    </p:animEffect>
                                  </p:childTnLst>
                                </p:cTn>
                              </p:par>
                              <p:par>
                                <p:cTn id="258" presetID="42" presetClass="path" presetSubtype="0" decel="100000" fill="hold" grpId="1" nodeType="withEffect">
                                  <p:stCondLst>
                                    <p:cond delay="100"/>
                                  </p:stCondLst>
                                  <p:childTnLst>
                                    <p:animMotion origin="layout" path="M 4.16667E-7 -2.22222E-6 L 4.16667E-7 0.03542 " pathEditMode="relative" rAng="0" ptsTypes="AA">
                                      <p:cBhvr>
                                        <p:cTn id="259" dur="700" spd="-100000" fill="hold"/>
                                        <p:tgtEl>
                                          <p:spTgt spid="515"/>
                                        </p:tgtEl>
                                        <p:attrNameLst>
                                          <p:attrName>ppt_x</p:attrName>
                                          <p:attrName>ppt_y</p:attrName>
                                        </p:attrNameLst>
                                      </p:cBhvr>
                                      <p:rCtr x="0" y="1759"/>
                                    </p:animMotion>
                                  </p:childTnLst>
                                </p:cTn>
                              </p:par>
                              <p:par>
                                <p:cTn id="260" presetID="10" presetClass="entr" presetSubtype="0" fill="hold" grpId="0" nodeType="withEffect">
                                  <p:stCondLst>
                                    <p:cond delay="100"/>
                                  </p:stCondLst>
                                  <p:childTnLst>
                                    <p:set>
                                      <p:cBhvr>
                                        <p:cTn id="261" dur="1" fill="hold">
                                          <p:stCondLst>
                                            <p:cond delay="0"/>
                                          </p:stCondLst>
                                        </p:cTn>
                                        <p:tgtEl>
                                          <p:spTgt spid="516"/>
                                        </p:tgtEl>
                                        <p:attrNameLst>
                                          <p:attrName>style.visibility</p:attrName>
                                        </p:attrNameLst>
                                      </p:cBhvr>
                                      <p:to>
                                        <p:strVal val="visible"/>
                                      </p:to>
                                    </p:set>
                                    <p:animEffect transition="in" filter="fade">
                                      <p:cBhvr>
                                        <p:cTn id="262" dur="500"/>
                                        <p:tgtEl>
                                          <p:spTgt spid="516"/>
                                        </p:tgtEl>
                                      </p:cBhvr>
                                    </p:animEffect>
                                  </p:childTnLst>
                                </p:cTn>
                              </p:par>
                              <p:par>
                                <p:cTn id="263" presetID="42" presetClass="path" presetSubtype="0" decel="100000" fill="hold" grpId="1" nodeType="withEffect">
                                  <p:stCondLst>
                                    <p:cond delay="100"/>
                                  </p:stCondLst>
                                  <p:childTnLst>
                                    <p:animMotion origin="layout" path="M 4.16667E-7 -2.22222E-6 L 4.16667E-7 0.03542 " pathEditMode="relative" rAng="0" ptsTypes="AA">
                                      <p:cBhvr>
                                        <p:cTn id="264" dur="700" spd="-100000" fill="hold"/>
                                        <p:tgtEl>
                                          <p:spTgt spid="516"/>
                                        </p:tgtEl>
                                        <p:attrNameLst>
                                          <p:attrName>ppt_x</p:attrName>
                                          <p:attrName>ppt_y</p:attrName>
                                        </p:attrNameLst>
                                      </p:cBhvr>
                                      <p:rCtr x="0" y="1759"/>
                                    </p:animMotion>
                                  </p:childTnLst>
                                </p:cTn>
                              </p:par>
                              <p:par>
                                <p:cTn id="265" presetID="10" presetClass="entr" presetSubtype="0" fill="hold" grpId="0" nodeType="withEffect">
                                  <p:stCondLst>
                                    <p:cond delay="100"/>
                                  </p:stCondLst>
                                  <p:childTnLst>
                                    <p:set>
                                      <p:cBhvr>
                                        <p:cTn id="266" dur="1" fill="hold">
                                          <p:stCondLst>
                                            <p:cond delay="0"/>
                                          </p:stCondLst>
                                        </p:cTn>
                                        <p:tgtEl>
                                          <p:spTgt spid="517"/>
                                        </p:tgtEl>
                                        <p:attrNameLst>
                                          <p:attrName>style.visibility</p:attrName>
                                        </p:attrNameLst>
                                      </p:cBhvr>
                                      <p:to>
                                        <p:strVal val="visible"/>
                                      </p:to>
                                    </p:set>
                                    <p:animEffect transition="in" filter="fade">
                                      <p:cBhvr>
                                        <p:cTn id="267" dur="500"/>
                                        <p:tgtEl>
                                          <p:spTgt spid="517"/>
                                        </p:tgtEl>
                                      </p:cBhvr>
                                    </p:animEffect>
                                  </p:childTnLst>
                                </p:cTn>
                              </p:par>
                              <p:par>
                                <p:cTn id="268" presetID="42" presetClass="path" presetSubtype="0" decel="100000" fill="hold" grpId="1" nodeType="withEffect">
                                  <p:stCondLst>
                                    <p:cond delay="100"/>
                                  </p:stCondLst>
                                  <p:childTnLst>
                                    <p:animMotion origin="layout" path="M 4.16667E-7 -2.22222E-6 L 4.16667E-7 0.03542 " pathEditMode="relative" rAng="0" ptsTypes="AA">
                                      <p:cBhvr>
                                        <p:cTn id="269" dur="700" spd="-100000" fill="hold"/>
                                        <p:tgtEl>
                                          <p:spTgt spid="517"/>
                                        </p:tgtEl>
                                        <p:attrNameLst>
                                          <p:attrName>ppt_x</p:attrName>
                                          <p:attrName>ppt_y</p:attrName>
                                        </p:attrNameLst>
                                      </p:cBhvr>
                                      <p:rCtr x="0" y="1759"/>
                                    </p:animMotion>
                                  </p:childTnLst>
                                </p:cTn>
                              </p:par>
                              <p:par>
                                <p:cTn id="270" presetID="10" presetClass="entr" presetSubtype="0" fill="hold" grpId="0" nodeType="withEffect">
                                  <p:stCondLst>
                                    <p:cond delay="100"/>
                                  </p:stCondLst>
                                  <p:childTnLst>
                                    <p:set>
                                      <p:cBhvr>
                                        <p:cTn id="271" dur="1" fill="hold">
                                          <p:stCondLst>
                                            <p:cond delay="0"/>
                                          </p:stCondLst>
                                        </p:cTn>
                                        <p:tgtEl>
                                          <p:spTgt spid="518"/>
                                        </p:tgtEl>
                                        <p:attrNameLst>
                                          <p:attrName>style.visibility</p:attrName>
                                        </p:attrNameLst>
                                      </p:cBhvr>
                                      <p:to>
                                        <p:strVal val="visible"/>
                                      </p:to>
                                    </p:set>
                                    <p:animEffect transition="in" filter="fade">
                                      <p:cBhvr>
                                        <p:cTn id="272" dur="500"/>
                                        <p:tgtEl>
                                          <p:spTgt spid="518"/>
                                        </p:tgtEl>
                                      </p:cBhvr>
                                    </p:animEffect>
                                  </p:childTnLst>
                                </p:cTn>
                              </p:par>
                              <p:par>
                                <p:cTn id="273" presetID="42" presetClass="path" presetSubtype="0" decel="100000" fill="hold" grpId="1" nodeType="withEffect">
                                  <p:stCondLst>
                                    <p:cond delay="100"/>
                                  </p:stCondLst>
                                  <p:childTnLst>
                                    <p:animMotion origin="layout" path="M 4.16667E-7 -2.22222E-6 L 4.16667E-7 0.03542 " pathEditMode="relative" rAng="0" ptsTypes="AA">
                                      <p:cBhvr>
                                        <p:cTn id="274" dur="700" spd="-100000" fill="hold"/>
                                        <p:tgtEl>
                                          <p:spTgt spid="518"/>
                                        </p:tgtEl>
                                        <p:attrNameLst>
                                          <p:attrName>ppt_x</p:attrName>
                                          <p:attrName>ppt_y</p:attrName>
                                        </p:attrNameLst>
                                      </p:cBhvr>
                                      <p:rCtr x="0" y="1759"/>
                                    </p:animMotion>
                                  </p:childTnLst>
                                </p:cTn>
                              </p:par>
                              <p:par>
                                <p:cTn id="275" presetID="10" presetClass="entr" presetSubtype="0" fill="hold" grpId="0" nodeType="withEffect">
                                  <p:stCondLst>
                                    <p:cond delay="100"/>
                                  </p:stCondLst>
                                  <p:childTnLst>
                                    <p:set>
                                      <p:cBhvr>
                                        <p:cTn id="276" dur="1" fill="hold">
                                          <p:stCondLst>
                                            <p:cond delay="0"/>
                                          </p:stCondLst>
                                        </p:cTn>
                                        <p:tgtEl>
                                          <p:spTgt spid="519"/>
                                        </p:tgtEl>
                                        <p:attrNameLst>
                                          <p:attrName>style.visibility</p:attrName>
                                        </p:attrNameLst>
                                      </p:cBhvr>
                                      <p:to>
                                        <p:strVal val="visible"/>
                                      </p:to>
                                    </p:set>
                                    <p:animEffect transition="in" filter="fade">
                                      <p:cBhvr>
                                        <p:cTn id="277" dur="500"/>
                                        <p:tgtEl>
                                          <p:spTgt spid="519"/>
                                        </p:tgtEl>
                                      </p:cBhvr>
                                    </p:animEffect>
                                  </p:childTnLst>
                                </p:cTn>
                              </p:par>
                              <p:par>
                                <p:cTn id="278" presetID="42" presetClass="path" presetSubtype="0" decel="100000" fill="hold" grpId="1" nodeType="withEffect">
                                  <p:stCondLst>
                                    <p:cond delay="100"/>
                                  </p:stCondLst>
                                  <p:childTnLst>
                                    <p:animMotion origin="layout" path="M 4.16667E-7 -2.22222E-6 L 4.16667E-7 0.03542 " pathEditMode="relative" rAng="0" ptsTypes="AA">
                                      <p:cBhvr>
                                        <p:cTn id="279" dur="700" spd="-100000" fill="hold"/>
                                        <p:tgtEl>
                                          <p:spTgt spid="519"/>
                                        </p:tgtEl>
                                        <p:attrNameLst>
                                          <p:attrName>ppt_x</p:attrName>
                                          <p:attrName>ppt_y</p:attrName>
                                        </p:attrNameLst>
                                      </p:cBhvr>
                                      <p:rCtr x="0" y="1759"/>
                                    </p:animMotion>
                                  </p:childTnLst>
                                </p:cTn>
                              </p:par>
                              <p:par>
                                <p:cTn id="280" presetID="10" presetClass="entr" presetSubtype="0" fill="hold" grpId="0" nodeType="withEffect">
                                  <p:stCondLst>
                                    <p:cond delay="100"/>
                                  </p:stCondLst>
                                  <p:childTnLst>
                                    <p:set>
                                      <p:cBhvr>
                                        <p:cTn id="281" dur="1" fill="hold">
                                          <p:stCondLst>
                                            <p:cond delay="0"/>
                                          </p:stCondLst>
                                        </p:cTn>
                                        <p:tgtEl>
                                          <p:spTgt spid="520"/>
                                        </p:tgtEl>
                                        <p:attrNameLst>
                                          <p:attrName>style.visibility</p:attrName>
                                        </p:attrNameLst>
                                      </p:cBhvr>
                                      <p:to>
                                        <p:strVal val="visible"/>
                                      </p:to>
                                    </p:set>
                                    <p:animEffect transition="in" filter="fade">
                                      <p:cBhvr>
                                        <p:cTn id="282" dur="500"/>
                                        <p:tgtEl>
                                          <p:spTgt spid="520"/>
                                        </p:tgtEl>
                                      </p:cBhvr>
                                    </p:animEffect>
                                  </p:childTnLst>
                                </p:cTn>
                              </p:par>
                              <p:par>
                                <p:cTn id="283" presetID="42" presetClass="path" presetSubtype="0" decel="100000" fill="hold" grpId="1" nodeType="withEffect">
                                  <p:stCondLst>
                                    <p:cond delay="100"/>
                                  </p:stCondLst>
                                  <p:childTnLst>
                                    <p:animMotion origin="layout" path="M 4.16667E-7 -2.22222E-6 L 4.16667E-7 0.03542 " pathEditMode="relative" rAng="0" ptsTypes="AA">
                                      <p:cBhvr>
                                        <p:cTn id="284" dur="700" spd="-100000" fill="hold"/>
                                        <p:tgtEl>
                                          <p:spTgt spid="520"/>
                                        </p:tgtEl>
                                        <p:attrNameLst>
                                          <p:attrName>ppt_x</p:attrName>
                                          <p:attrName>ppt_y</p:attrName>
                                        </p:attrNameLst>
                                      </p:cBhvr>
                                      <p:rCtr x="0" y="1759"/>
                                    </p:animMotion>
                                  </p:childTnLst>
                                </p:cTn>
                              </p:par>
                              <p:par>
                                <p:cTn id="285" presetID="10" presetClass="entr" presetSubtype="0" fill="hold" grpId="0" nodeType="withEffect">
                                  <p:stCondLst>
                                    <p:cond delay="100"/>
                                  </p:stCondLst>
                                  <p:childTnLst>
                                    <p:set>
                                      <p:cBhvr>
                                        <p:cTn id="286" dur="1" fill="hold">
                                          <p:stCondLst>
                                            <p:cond delay="0"/>
                                          </p:stCondLst>
                                        </p:cTn>
                                        <p:tgtEl>
                                          <p:spTgt spid="521"/>
                                        </p:tgtEl>
                                        <p:attrNameLst>
                                          <p:attrName>style.visibility</p:attrName>
                                        </p:attrNameLst>
                                      </p:cBhvr>
                                      <p:to>
                                        <p:strVal val="visible"/>
                                      </p:to>
                                    </p:set>
                                    <p:animEffect transition="in" filter="fade">
                                      <p:cBhvr>
                                        <p:cTn id="287" dur="500"/>
                                        <p:tgtEl>
                                          <p:spTgt spid="521"/>
                                        </p:tgtEl>
                                      </p:cBhvr>
                                    </p:animEffect>
                                  </p:childTnLst>
                                </p:cTn>
                              </p:par>
                              <p:par>
                                <p:cTn id="288" presetID="42" presetClass="path" presetSubtype="0" decel="100000" fill="hold" grpId="1" nodeType="withEffect">
                                  <p:stCondLst>
                                    <p:cond delay="100"/>
                                  </p:stCondLst>
                                  <p:childTnLst>
                                    <p:animMotion origin="layout" path="M 4.16667E-7 -2.22222E-6 L 4.16667E-7 0.03542 " pathEditMode="relative" rAng="0" ptsTypes="AA">
                                      <p:cBhvr>
                                        <p:cTn id="289" dur="700" spd="-100000" fill="hold"/>
                                        <p:tgtEl>
                                          <p:spTgt spid="521"/>
                                        </p:tgtEl>
                                        <p:attrNameLst>
                                          <p:attrName>ppt_x</p:attrName>
                                          <p:attrName>ppt_y</p:attrName>
                                        </p:attrNameLst>
                                      </p:cBhvr>
                                      <p:rCtr x="0" y="1759"/>
                                    </p:animMotion>
                                  </p:childTnLst>
                                </p:cTn>
                              </p:par>
                              <p:par>
                                <p:cTn id="290" presetID="10" presetClass="entr" presetSubtype="0" fill="hold" grpId="0" nodeType="withEffect">
                                  <p:stCondLst>
                                    <p:cond delay="100"/>
                                  </p:stCondLst>
                                  <p:childTnLst>
                                    <p:set>
                                      <p:cBhvr>
                                        <p:cTn id="291" dur="1" fill="hold">
                                          <p:stCondLst>
                                            <p:cond delay="0"/>
                                          </p:stCondLst>
                                        </p:cTn>
                                        <p:tgtEl>
                                          <p:spTgt spid="522"/>
                                        </p:tgtEl>
                                        <p:attrNameLst>
                                          <p:attrName>style.visibility</p:attrName>
                                        </p:attrNameLst>
                                      </p:cBhvr>
                                      <p:to>
                                        <p:strVal val="visible"/>
                                      </p:to>
                                    </p:set>
                                    <p:animEffect transition="in" filter="fade">
                                      <p:cBhvr>
                                        <p:cTn id="292" dur="500"/>
                                        <p:tgtEl>
                                          <p:spTgt spid="522"/>
                                        </p:tgtEl>
                                      </p:cBhvr>
                                    </p:animEffect>
                                  </p:childTnLst>
                                </p:cTn>
                              </p:par>
                              <p:par>
                                <p:cTn id="293" presetID="42" presetClass="path" presetSubtype="0" decel="100000" fill="hold" grpId="1" nodeType="withEffect">
                                  <p:stCondLst>
                                    <p:cond delay="100"/>
                                  </p:stCondLst>
                                  <p:childTnLst>
                                    <p:animMotion origin="layout" path="M 4.16667E-7 -2.22222E-6 L 4.16667E-7 0.03542 " pathEditMode="relative" rAng="0" ptsTypes="AA">
                                      <p:cBhvr>
                                        <p:cTn id="294" dur="700" spd="-100000" fill="hold"/>
                                        <p:tgtEl>
                                          <p:spTgt spid="522"/>
                                        </p:tgtEl>
                                        <p:attrNameLst>
                                          <p:attrName>ppt_x</p:attrName>
                                          <p:attrName>ppt_y</p:attrName>
                                        </p:attrNameLst>
                                      </p:cBhvr>
                                      <p:rCtr x="0" y="1759"/>
                                    </p:animMotion>
                                  </p:childTnLst>
                                </p:cTn>
                              </p:par>
                              <p:par>
                                <p:cTn id="295" presetID="10" presetClass="entr" presetSubtype="0" fill="hold" grpId="0" nodeType="withEffect">
                                  <p:stCondLst>
                                    <p:cond delay="100"/>
                                  </p:stCondLst>
                                  <p:childTnLst>
                                    <p:set>
                                      <p:cBhvr>
                                        <p:cTn id="296" dur="1" fill="hold">
                                          <p:stCondLst>
                                            <p:cond delay="0"/>
                                          </p:stCondLst>
                                        </p:cTn>
                                        <p:tgtEl>
                                          <p:spTgt spid="523"/>
                                        </p:tgtEl>
                                        <p:attrNameLst>
                                          <p:attrName>style.visibility</p:attrName>
                                        </p:attrNameLst>
                                      </p:cBhvr>
                                      <p:to>
                                        <p:strVal val="visible"/>
                                      </p:to>
                                    </p:set>
                                    <p:animEffect transition="in" filter="fade">
                                      <p:cBhvr>
                                        <p:cTn id="297" dur="500"/>
                                        <p:tgtEl>
                                          <p:spTgt spid="523"/>
                                        </p:tgtEl>
                                      </p:cBhvr>
                                    </p:animEffect>
                                  </p:childTnLst>
                                </p:cTn>
                              </p:par>
                              <p:par>
                                <p:cTn id="298" presetID="42" presetClass="path" presetSubtype="0" decel="100000" fill="hold" grpId="1" nodeType="withEffect">
                                  <p:stCondLst>
                                    <p:cond delay="100"/>
                                  </p:stCondLst>
                                  <p:childTnLst>
                                    <p:animMotion origin="layout" path="M 4.16667E-7 -2.22222E-6 L 4.16667E-7 0.03542 " pathEditMode="relative" rAng="0" ptsTypes="AA">
                                      <p:cBhvr>
                                        <p:cTn id="299" dur="700" spd="-100000" fill="hold"/>
                                        <p:tgtEl>
                                          <p:spTgt spid="523"/>
                                        </p:tgtEl>
                                        <p:attrNameLst>
                                          <p:attrName>ppt_x</p:attrName>
                                          <p:attrName>ppt_y</p:attrName>
                                        </p:attrNameLst>
                                      </p:cBhvr>
                                      <p:rCtr x="0" y="1759"/>
                                    </p:animMotion>
                                  </p:childTnLst>
                                </p:cTn>
                              </p:par>
                              <p:par>
                                <p:cTn id="300" presetID="10" presetClass="entr" presetSubtype="0" fill="hold" grpId="0" nodeType="withEffect">
                                  <p:stCondLst>
                                    <p:cond delay="100"/>
                                  </p:stCondLst>
                                  <p:childTnLst>
                                    <p:set>
                                      <p:cBhvr>
                                        <p:cTn id="301" dur="1" fill="hold">
                                          <p:stCondLst>
                                            <p:cond delay="0"/>
                                          </p:stCondLst>
                                        </p:cTn>
                                        <p:tgtEl>
                                          <p:spTgt spid="524"/>
                                        </p:tgtEl>
                                        <p:attrNameLst>
                                          <p:attrName>style.visibility</p:attrName>
                                        </p:attrNameLst>
                                      </p:cBhvr>
                                      <p:to>
                                        <p:strVal val="visible"/>
                                      </p:to>
                                    </p:set>
                                    <p:animEffect transition="in" filter="fade">
                                      <p:cBhvr>
                                        <p:cTn id="302" dur="500"/>
                                        <p:tgtEl>
                                          <p:spTgt spid="524"/>
                                        </p:tgtEl>
                                      </p:cBhvr>
                                    </p:animEffect>
                                  </p:childTnLst>
                                </p:cTn>
                              </p:par>
                              <p:par>
                                <p:cTn id="303" presetID="42" presetClass="path" presetSubtype="0" decel="100000" fill="hold" grpId="1" nodeType="withEffect">
                                  <p:stCondLst>
                                    <p:cond delay="100"/>
                                  </p:stCondLst>
                                  <p:childTnLst>
                                    <p:animMotion origin="layout" path="M 4.16667E-7 -2.22222E-6 L 4.16667E-7 0.03542 " pathEditMode="relative" rAng="0" ptsTypes="AA">
                                      <p:cBhvr>
                                        <p:cTn id="304" dur="700" spd="-100000" fill="hold"/>
                                        <p:tgtEl>
                                          <p:spTgt spid="524"/>
                                        </p:tgtEl>
                                        <p:attrNameLst>
                                          <p:attrName>ppt_x</p:attrName>
                                          <p:attrName>ppt_y</p:attrName>
                                        </p:attrNameLst>
                                      </p:cBhvr>
                                      <p:rCtr x="0" y="1759"/>
                                    </p:animMotion>
                                  </p:childTnLst>
                                </p:cTn>
                              </p:par>
                              <p:par>
                                <p:cTn id="305" presetID="10" presetClass="entr" presetSubtype="0" fill="hold" grpId="0" nodeType="withEffect">
                                  <p:stCondLst>
                                    <p:cond delay="100"/>
                                  </p:stCondLst>
                                  <p:childTnLst>
                                    <p:set>
                                      <p:cBhvr>
                                        <p:cTn id="306" dur="1" fill="hold">
                                          <p:stCondLst>
                                            <p:cond delay="0"/>
                                          </p:stCondLst>
                                        </p:cTn>
                                        <p:tgtEl>
                                          <p:spTgt spid="525"/>
                                        </p:tgtEl>
                                        <p:attrNameLst>
                                          <p:attrName>style.visibility</p:attrName>
                                        </p:attrNameLst>
                                      </p:cBhvr>
                                      <p:to>
                                        <p:strVal val="visible"/>
                                      </p:to>
                                    </p:set>
                                    <p:animEffect transition="in" filter="fade">
                                      <p:cBhvr>
                                        <p:cTn id="307" dur="500"/>
                                        <p:tgtEl>
                                          <p:spTgt spid="525"/>
                                        </p:tgtEl>
                                      </p:cBhvr>
                                    </p:animEffect>
                                  </p:childTnLst>
                                </p:cTn>
                              </p:par>
                              <p:par>
                                <p:cTn id="308" presetID="42" presetClass="path" presetSubtype="0" decel="100000" fill="hold" grpId="1" nodeType="withEffect">
                                  <p:stCondLst>
                                    <p:cond delay="100"/>
                                  </p:stCondLst>
                                  <p:childTnLst>
                                    <p:animMotion origin="layout" path="M 4.16667E-7 -2.22222E-6 L 4.16667E-7 0.03542 " pathEditMode="relative" rAng="0" ptsTypes="AA">
                                      <p:cBhvr>
                                        <p:cTn id="309" dur="700" spd="-100000" fill="hold"/>
                                        <p:tgtEl>
                                          <p:spTgt spid="525"/>
                                        </p:tgtEl>
                                        <p:attrNameLst>
                                          <p:attrName>ppt_x</p:attrName>
                                          <p:attrName>ppt_y</p:attrName>
                                        </p:attrNameLst>
                                      </p:cBhvr>
                                      <p:rCtr x="0" y="1759"/>
                                    </p:animMotion>
                                  </p:childTnLst>
                                </p:cTn>
                              </p:par>
                              <p:par>
                                <p:cTn id="310" presetID="10" presetClass="entr" presetSubtype="0" fill="hold" grpId="0" nodeType="withEffect">
                                  <p:stCondLst>
                                    <p:cond delay="100"/>
                                  </p:stCondLst>
                                  <p:childTnLst>
                                    <p:set>
                                      <p:cBhvr>
                                        <p:cTn id="311" dur="1" fill="hold">
                                          <p:stCondLst>
                                            <p:cond delay="0"/>
                                          </p:stCondLst>
                                        </p:cTn>
                                        <p:tgtEl>
                                          <p:spTgt spid="526"/>
                                        </p:tgtEl>
                                        <p:attrNameLst>
                                          <p:attrName>style.visibility</p:attrName>
                                        </p:attrNameLst>
                                      </p:cBhvr>
                                      <p:to>
                                        <p:strVal val="visible"/>
                                      </p:to>
                                    </p:set>
                                    <p:animEffect transition="in" filter="fade">
                                      <p:cBhvr>
                                        <p:cTn id="312" dur="500"/>
                                        <p:tgtEl>
                                          <p:spTgt spid="526"/>
                                        </p:tgtEl>
                                      </p:cBhvr>
                                    </p:animEffect>
                                  </p:childTnLst>
                                </p:cTn>
                              </p:par>
                              <p:par>
                                <p:cTn id="313" presetID="42" presetClass="path" presetSubtype="0" decel="100000" fill="hold" grpId="1" nodeType="withEffect">
                                  <p:stCondLst>
                                    <p:cond delay="100"/>
                                  </p:stCondLst>
                                  <p:childTnLst>
                                    <p:animMotion origin="layout" path="M 4.16667E-7 -2.22222E-6 L 4.16667E-7 0.03542 " pathEditMode="relative" rAng="0" ptsTypes="AA">
                                      <p:cBhvr>
                                        <p:cTn id="314" dur="700" spd="-100000" fill="hold"/>
                                        <p:tgtEl>
                                          <p:spTgt spid="526"/>
                                        </p:tgtEl>
                                        <p:attrNameLst>
                                          <p:attrName>ppt_x</p:attrName>
                                          <p:attrName>ppt_y</p:attrName>
                                        </p:attrNameLst>
                                      </p:cBhvr>
                                      <p:rCtr x="0" y="1759"/>
                                    </p:animMotion>
                                  </p:childTnLst>
                                </p:cTn>
                              </p:par>
                              <p:par>
                                <p:cTn id="315" presetID="10" presetClass="entr" presetSubtype="0" fill="hold" grpId="0" nodeType="withEffect">
                                  <p:stCondLst>
                                    <p:cond delay="100"/>
                                  </p:stCondLst>
                                  <p:childTnLst>
                                    <p:set>
                                      <p:cBhvr>
                                        <p:cTn id="316" dur="1" fill="hold">
                                          <p:stCondLst>
                                            <p:cond delay="0"/>
                                          </p:stCondLst>
                                        </p:cTn>
                                        <p:tgtEl>
                                          <p:spTgt spid="527"/>
                                        </p:tgtEl>
                                        <p:attrNameLst>
                                          <p:attrName>style.visibility</p:attrName>
                                        </p:attrNameLst>
                                      </p:cBhvr>
                                      <p:to>
                                        <p:strVal val="visible"/>
                                      </p:to>
                                    </p:set>
                                    <p:animEffect transition="in" filter="fade">
                                      <p:cBhvr>
                                        <p:cTn id="317" dur="500"/>
                                        <p:tgtEl>
                                          <p:spTgt spid="527"/>
                                        </p:tgtEl>
                                      </p:cBhvr>
                                    </p:animEffect>
                                  </p:childTnLst>
                                </p:cTn>
                              </p:par>
                              <p:par>
                                <p:cTn id="318" presetID="42" presetClass="path" presetSubtype="0" decel="100000" fill="hold" grpId="1" nodeType="withEffect">
                                  <p:stCondLst>
                                    <p:cond delay="100"/>
                                  </p:stCondLst>
                                  <p:childTnLst>
                                    <p:animMotion origin="layout" path="M 4.16667E-7 -2.22222E-6 L 4.16667E-7 0.03542 " pathEditMode="relative" rAng="0" ptsTypes="AA">
                                      <p:cBhvr>
                                        <p:cTn id="319" dur="700" spd="-100000" fill="hold"/>
                                        <p:tgtEl>
                                          <p:spTgt spid="527"/>
                                        </p:tgtEl>
                                        <p:attrNameLst>
                                          <p:attrName>ppt_x</p:attrName>
                                          <p:attrName>ppt_y</p:attrName>
                                        </p:attrNameLst>
                                      </p:cBhvr>
                                      <p:rCtr x="0" y="1759"/>
                                    </p:animMotion>
                                  </p:childTnLst>
                                </p:cTn>
                              </p:par>
                              <p:par>
                                <p:cTn id="320" presetID="10" presetClass="entr" presetSubtype="0" fill="hold" nodeType="withEffect">
                                  <p:stCondLst>
                                    <p:cond delay="100"/>
                                  </p:stCondLst>
                                  <p:childTnLst>
                                    <p:set>
                                      <p:cBhvr>
                                        <p:cTn id="321" dur="1" fill="hold">
                                          <p:stCondLst>
                                            <p:cond delay="0"/>
                                          </p:stCondLst>
                                        </p:cTn>
                                        <p:tgtEl>
                                          <p:spTgt spid="528"/>
                                        </p:tgtEl>
                                        <p:attrNameLst>
                                          <p:attrName>style.visibility</p:attrName>
                                        </p:attrNameLst>
                                      </p:cBhvr>
                                      <p:to>
                                        <p:strVal val="visible"/>
                                      </p:to>
                                    </p:set>
                                    <p:animEffect transition="in" filter="fade">
                                      <p:cBhvr>
                                        <p:cTn id="322" dur="500"/>
                                        <p:tgtEl>
                                          <p:spTgt spid="528"/>
                                        </p:tgtEl>
                                      </p:cBhvr>
                                    </p:animEffect>
                                  </p:childTnLst>
                                </p:cTn>
                              </p:par>
                              <p:par>
                                <p:cTn id="323" presetID="42" presetClass="path" presetSubtype="0" decel="100000" fill="hold" nodeType="withEffect">
                                  <p:stCondLst>
                                    <p:cond delay="100"/>
                                  </p:stCondLst>
                                  <p:childTnLst>
                                    <p:animMotion origin="layout" path="M 4.16667E-7 -2.22222E-6 L 4.16667E-7 0.03542 " pathEditMode="relative" rAng="0" ptsTypes="AA">
                                      <p:cBhvr>
                                        <p:cTn id="324" dur="700" spd="-100000" fill="hold"/>
                                        <p:tgtEl>
                                          <p:spTgt spid="528"/>
                                        </p:tgtEl>
                                        <p:attrNameLst>
                                          <p:attrName>ppt_x</p:attrName>
                                          <p:attrName>ppt_y</p:attrName>
                                        </p:attrNameLst>
                                      </p:cBhvr>
                                      <p:rCtr x="0" y="1759"/>
                                    </p:animMotion>
                                  </p:childTnLst>
                                </p:cTn>
                              </p:par>
                              <p:par>
                                <p:cTn id="325" presetID="10" presetClass="entr" presetSubtype="0" fill="hold" nodeType="withEffect">
                                  <p:stCondLst>
                                    <p:cond delay="100"/>
                                  </p:stCondLst>
                                  <p:childTnLst>
                                    <p:set>
                                      <p:cBhvr>
                                        <p:cTn id="326" dur="1" fill="hold">
                                          <p:stCondLst>
                                            <p:cond delay="0"/>
                                          </p:stCondLst>
                                        </p:cTn>
                                        <p:tgtEl>
                                          <p:spTgt spid="529"/>
                                        </p:tgtEl>
                                        <p:attrNameLst>
                                          <p:attrName>style.visibility</p:attrName>
                                        </p:attrNameLst>
                                      </p:cBhvr>
                                      <p:to>
                                        <p:strVal val="visible"/>
                                      </p:to>
                                    </p:set>
                                    <p:animEffect transition="in" filter="fade">
                                      <p:cBhvr>
                                        <p:cTn id="327" dur="500"/>
                                        <p:tgtEl>
                                          <p:spTgt spid="529"/>
                                        </p:tgtEl>
                                      </p:cBhvr>
                                    </p:animEffect>
                                  </p:childTnLst>
                                </p:cTn>
                              </p:par>
                              <p:par>
                                <p:cTn id="328" presetID="42" presetClass="path" presetSubtype="0" decel="100000" fill="hold" nodeType="withEffect">
                                  <p:stCondLst>
                                    <p:cond delay="100"/>
                                  </p:stCondLst>
                                  <p:childTnLst>
                                    <p:animMotion origin="layout" path="M 4.16667E-7 -2.22222E-6 L 4.16667E-7 0.03542 " pathEditMode="relative" rAng="0" ptsTypes="AA">
                                      <p:cBhvr>
                                        <p:cTn id="329" dur="700" spd="-100000" fill="hold"/>
                                        <p:tgtEl>
                                          <p:spTgt spid="529"/>
                                        </p:tgtEl>
                                        <p:attrNameLst>
                                          <p:attrName>ppt_x</p:attrName>
                                          <p:attrName>ppt_y</p:attrName>
                                        </p:attrNameLst>
                                      </p:cBhvr>
                                      <p:rCtr x="0" y="1759"/>
                                    </p:animMotion>
                                  </p:childTnLst>
                                </p:cTn>
                              </p:par>
                              <p:par>
                                <p:cTn id="330" presetID="10" presetClass="entr" presetSubtype="0" fill="hold" grpId="0" nodeType="withEffect">
                                  <p:stCondLst>
                                    <p:cond delay="100"/>
                                  </p:stCondLst>
                                  <p:childTnLst>
                                    <p:set>
                                      <p:cBhvr>
                                        <p:cTn id="331" dur="1" fill="hold">
                                          <p:stCondLst>
                                            <p:cond delay="0"/>
                                          </p:stCondLst>
                                        </p:cTn>
                                        <p:tgtEl>
                                          <p:spTgt spid="530"/>
                                        </p:tgtEl>
                                        <p:attrNameLst>
                                          <p:attrName>style.visibility</p:attrName>
                                        </p:attrNameLst>
                                      </p:cBhvr>
                                      <p:to>
                                        <p:strVal val="visible"/>
                                      </p:to>
                                    </p:set>
                                    <p:animEffect transition="in" filter="fade">
                                      <p:cBhvr>
                                        <p:cTn id="332" dur="500"/>
                                        <p:tgtEl>
                                          <p:spTgt spid="530"/>
                                        </p:tgtEl>
                                      </p:cBhvr>
                                    </p:animEffect>
                                  </p:childTnLst>
                                </p:cTn>
                              </p:par>
                              <p:par>
                                <p:cTn id="333" presetID="42" presetClass="path" presetSubtype="0" decel="100000" fill="hold" grpId="1" nodeType="withEffect">
                                  <p:stCondLst>
                                    <p:cond delay="100"/>
                                  </p:stCondLst>
                                  <p:childTnLst>
                                    <p:animMotion origin="layout" path="M 4.16667E-7 -2.22222E-6 L 4.16667E-7 0.03542 " pathEditMode="relative" rAng="0" ptsTypes="AA">
                                      <p:cBhvr>
                                        <p:cTn id="334" dur="700" spd="-100000" fill="hold"/>
                                        <p:tgtEl>
                                          <p:spTgt spid="530"/>
                                        </p:tgtEl>
                                        <p:attrNameLst>
                                          <p:attrName>ppt_x</p:attrName>
                                          <p:attrName>ppt_y</p:attrName>
                                        </p:attrNameLst>
                                      </p:cBhvr>
                                      <p:rCtr x="0" y="1759"/>
                                    </p:animMotion>
                                  </p:childTnLst>
                                </p:cTn>
                              </p:par>
                              <p:par>
                                <p:cTn id="335" presetID="10" presetClass="entr" presetSubtype="0" fill="hold" grpId="0" nodeType="withEffect">
                                  <p:stCondLst>
                                    <p:cond delay="100"/>
                                  </p:stCondLst>
                                  <p:childTnLst>
                                    <p:set>
                                      <p:cBhvr>
                                        <p:cTn id="336" dur="1" fill="hold">
                                          <p:stCondLst>
                                            <p:cond delay="0"/>
                                          </p:stCondLst>
                                        </p:cTn>
                                        <p:tgtEl>
                                          <p:spTgt spid="531"/>
                                        </p:tgtEl>
                                        <p:attrNameLst>
                                          <p:attrName>style.visibility</p:attrName>
                                        </p:attrNameLst>
                                      </p:cBhvr>
                                      <p:to>
                                        <p:strVal val="visible"/>
                                      </p:to>
                                    </p:set>
                                    <p:animEffect transition="in" filter="fade">
                                      <p:cBhvr>
                                        <p:cTn id="337" dur="500"/>
                                        <p:tgtEl>
                                          <p:spTgt spid="531"/>
                                        </p:tgtEl>
                                      </p:cBhvr>
                                    </p:animEffect>
                                  </p:childTnLst>
                                </p:cTn>
                              </p:par>
                              <p:par>
                                <p:cTn id="338" presetID="42" presetClass="path" presetSubtype="0" decel="100000" fill="hold" grpId="1" nodeType="withEffect">
                                  <p:stCondLst>
                                    <p:cond delay="100"/>
                                  </p:stCondLst>
                                  <p:childTnLst>
                                    <p:animMotion origin="layout" path="M 4.16667E-7 -2.22222E-6 L 4.16667E-7 0.03542 " pathEditMode="relative" rAng="0" ptsTypes="AA">
                                      <p:cBhvr>
                                        <p:cTn id="339" dur="700" spd="-100000" fill="hold"/>
                                        <p:tgtEl>
                                          <p:spTgt spid="531"/>
                                        </p:tgtEl>
                                        <p:attrNameLst>
                                          <p:attrName>ppt_x</p:attrName>
                                          <p:attrName>ppt_y</p:attrName>
                                        </p:attrNameLst>
                                      </p:cBhvr>
                                      <p:rCtr x="0" y="1759"/>
                                    </p:animMotion>
                                  </p:childTnLst>
                                </p:cTn>
                              </p:par>
                              <p:par>
                                <p:cTn id="340" presetID="10" presetClass="entr" presetSubtype="0" fill="hold" grpId="0" nodeType="withEffect">
                                  <p:stCondLst>
                                    <p:cond delay="100"/>
                                  </p:stCondLst>
                                  <p:childTnLst>
                                    <p:set>
                                      <p:cBhvr>
                                        <p:cTn id="341" dur="1" fill="hold">
                                          <p:stCondLst>
                                            <p:cond delay="0"/>
                                          </p:stCondLst>
                                        </p:cTn>
                                        <p:tgtEl>
                                          <p:spTgt spid="532"/>
                                        </p:tgtEl>
                                        <p:attrNameLst>
                                          <p:attrName>style.visibility</p:attrName>
                                        </p:attrNameLst>
                                      </p:cBhvr>
                                      <p:to>
                                        <p:strVal val="visible"/>
                                      </p:to>
                                    </p:set>
                                    <p:animEffect transition="in" filter="fade">
                                      <p:cBhvr>
                                        <p:cTn id="342" dur="500"/>
                                        <p:tgtEl>
                                          <p:spTgt spid="532"/>
                                        </p:tgtEl>
                                      </p:cBhvr>
                                    </p:animEffect>
                                  </p:childTnLst>
                                </p:cTn>
                              </p:par>
                              <p:par>
                                <p:cTn id="343" presetID="42" presetClass="path" presetSubtype="0" decel="100000" fill="hold" grpId="1" nodeType="withEffect">
                                  <p:stCondLst>
                                    <p:cond delay="100"/>
                                  </p:stCondLst>
                                  <p:childTnLst>
                                    <p:animMotion origin="layout" path="M 4.16667E-7 -2.22222E-6 L 4.16667E-7 0.03542 " pathEditMode="relative" rAng="0" ptsTypes="AA">
                                      <p:cBhvr>
                                        <p:cTn id="344" dur="700" spd="-100000" fill="hold"/>
                                        <p:tgtEl>
                                          <p:spTgt spid="532"/>
                                        </p:tgtEl>
                                        <p:attrNameLst>
                                          <p:attrName>ppt_x</p:attrName>
                                          <p:attrName>ppt_y</p:attrName>
                                        </p:attrNameLst>
                                      </p:cBhvr>
                                      <p:rCtr x="0" y="1759"/>
                                    </p:animMotion>
                                  </p:childTnLst>
                                </p:cTn>
                              </p:par>
                              <p:par>
                                <p:cTn id="345" presetID="10" presetClass="entr" presetSubtype="0" fill="hold" grpId="0" nodeType="withEffect">
                                  <p:stCondLst>
                                    <p:cond delay="100"/>
                                  </p:stCondLst>
                                  <p:childTnLst>
                                    <p:set>
                                      <p:cBhvr>
                                        <p:cTn id="346" dur="1" fill="hold">
                                          <p:stCondLst>
                                            <p:cond delay="0"/>
                                          </p:stCondLst>
                                        </p:cTn>
                                        <p:tgtEl>
                                          <p:spTgt spid="533"/>
                                        </p:tgtEl>
                                        <p:attrNameLst>
                                          <p:attrName>style.visibility</p:attrName>
                                        </p:attrNameLst>
                                      </p:cBhvr>
                                      <p:to>
                                        <p:strVal val="visible"/>
                                      </p:to>
                                    </p:set>
                                    <p:animEffect transition="in" filter="fade">
                                      <p:cBhvr>
                                        <p:cTn id="347" dur="500"/>
                                        <p:tgtEl>
                                          <p:spTgt spid="533"/>
                                        </p:tgtEl>
                                      </p:cBhvr>
                                    </p:animEffect>
                                  </p:childTnLst>
                                </p:cTn>
                              </p:par>
                              <p:par>
                                <p:cTn id="348" presetID="42" presetClass="path" presetSubtype="0" decel="100000" fill="hold" grpId="1" nodeType="withEffect">
                                  <p:stCondLst>
                                    <p:cond delay="100"/>
                                  </p:stCondLst>
                                  <p:childTnLst>
                                    <p:animMotion origin="layout" path="M 4.16667E-7 -2.22222E-6 L 4.16667E-7 0.03542 " pathEditMode="relative" rAng="0" ptsTypes="AA">
                                      <p:cBhvr>
                                        <p:cTn id="349" dur="700" spd="-100000" fill="hold"/>
                                        <p:tgtEl>
                                          <p:spTgt spid="533"/>
                                        </p:tgtEl>
                                        <p:attrNameLst>
                                          <p:attrName>ppt_x</p:attrName>
                                          <p:attrName>ppt_y</p:attrName>
                                        </p:attrNameLst>
                                      </p:cBhvr>
                                      <p:rCtr x="0" y="1759"/>
                                    </p:animMotion>
                                  </p:childTnLst>
                                </p:cTn>
                              </p:par>
                              <p:par>
                                <p:cTn id="350" presetID="10" presetClass="entr" presetSubtype="0" fill="hold" grpId="0" nodeType="withEffect">
                                  <p:stCondLst>
                                    <p:cond delay="100"/>
                                  </p:stCondLst>
                                  <p:childTnLst>
                                    <p:set>
                                      <p:cBhvr>
                                        <p:cTn id="351" dur="1" fill="hold">
                                          <p:stCondLst>
                                            <p:cond delay="0"/>
                                          </p:stCondLst>
                                        </p:cTn>
                                        <p:tgtEl>
                                          <p:spTgt spid="534"/>
                                        </p:tgtEl>
                                        <p:attrNameLst>
                                          <p:attrName>style.visibility</p:attrName>
                                        </p:attrNameLst>
                                      </p:cBhvr>
                                      <p:to>
                                        <p:strVal val="visible"/>
                                      </p:to>
                                    </p:set>
                                    <p:animEffect transition="in" filter="fade">
                                      <p:cBhvr>
                                        <p:cTn id="352" dur="500"/>
                                        <p:tgtEl>
                                          <p:spTgt spid="534"/>
                                        </p:tgtEl>
                                      </p:cBhvr>
                                    </p:animEffect>
                                  </p:childTnLst>
                                </p:cTn>
                              </p:par>
                              <p:par>
                                <p:cTn id="353" presetID="42" presetClass="path" presetSubtype="0" decel="100000" fill="hold" grpId="1" nodeType="withEffect">
                                  <p:stCondLst>
                                    <p:cond delay="100"/>
                                  </p:stCondLst>
                                  <p:childTnLst>
                                    <p:animMotion origin="layout" path="M 4.16667E-7 -2.22222E-6 L 4.16667E-7 0.03542 " pathEditMode="relative" rAng="0" ptsTypes="AA">
                                      <p:cBhvr>
                                        <p:cTn id="354" dur="700" spd="-100000" fill="hold"/>
                                        <p:tgtEl>
                                          <p:spTgt spid="534"/>
                                        </p:tgtEl>
                                        <p:attrNameLst>
                                          <p:attrName>ppt_x</p:attrName>
                                          <p:attrName>ppt_y</p:attrName>
                                        </p:attrNameLst>
                                      </p:cBhvr>
                                      <p:rCtr x="0" y="1759"/>
                                    </p:animMotion>
                                  </p:childTnLst>
                                </p:cTn>
                              </p:par>
                              <p:par>
                                <p:cTn id="355" presetID="10" presetClass="entr" presetSubtype="0" fill="hold" grpId="0" nodeType="withEffect">
                                  <p:stCondLst>
                                    <p:cond delay="100"/>
                                  </p:stCondLst>
                                  <p:childTnLst>
                                    <p:set>
                                      <p:cBhvr>
                                        <p:cTn id="356" dur="1" fill="hold">
                                          <p:stCondLst>
                                            <p:cond delay="0"/>
                                          </p:stCondLst>
                                        </p:cTn>
                                        <p:tgtEl>
                                          <p:spTgt spid="535"/>
                                        </p:tgtEl>
                                        <p:attrNameLst>
                                          <p:attrName>style.visibility</p:attrName>
                                        </p:attrNameLst>
                                      </p:cBhvr>
                                      <p:to>
                                        <p:strVal val="visible"/>
                                      </p:to>
                                    </p:set>
                                    <p:animEffect transition="in" filter="fade">
                                      <p:cBhvr>
                                        <p:cTn id="357" dur="500"/>
                                        <p:tgtEl>
                                          <p:spTgt spid="535"/>
                                        </p:tgtEl>
                                      </p:cBhvr>
                                    </p:animEffect>
                                  </p:childTnLst>
                                </p:cTn>
                              </p:par>
                              <p:par>
                                <p:cTn id="358" presetID="42" presetClass="path" presetSubtype="0" decel="100000" fill="hold" grpId="1" nodeType="withEffect">
                                  <p:stCondLst>
                                    <p:cond delay="100"/>
                                  </p:stCondLst>
                                  <p:childTnLst>
                                    <p:animMotion origin="layout" path="M 4.16667E-7 -2.22222E-6 L 4.16667E-7 0.03542 " pathEditMode="relative" rAng="0" ptsTypes="AA">
                                      <p:cBhvr>
                                        <p:cTn id="359" dur="700" spd="-100000" fill="hold"/>
                                        <p:tgtEl>
                                          <p:spTgt spid="535"/>
                                        </p:tgtEl>
                                        <p:attrNameLst>
                                          <p:attrName>ppt_x</p:attrName>
                                          <p:attrName>ppt_y</p:attrName>
                                        </p:attrNameLst>
                                      </p:cBhvr>
                                      <p:rCtr x="0" y="1759"/>
                                    </p:animMotion>
                                  </p:childTnLst>
                                </p:cTn>
                              </p:par>
                              <p:par>
                                <p:cTn id="360" presetID="10" presetClass="entr" presetSubtype="0" fill="hold" grpId="0" nodeType="withEffect">
                                  <p:stCondLst>
                                    <p:cond delay="100"/>
                                  </p:stCondLst>
                                  <p:childTnLst>
                                    <p:set>
                                      <p:cBhvr>
                                        <p:cTn id="361" dur="1" fill="hold">
                                          <p:stCondLst>
                                            <p:cond delay="0"/>
                                          </p:stCondLst>
                                        </p:cTn>
                                        <p:tgtEl>
                                          <p:spTgt spid="536"/>
                                        </p:tgtEl>
                                        <p:attrNameLst>
                                          <p:attrName>style.visibility</p:attrName>
                                        </p:attrNameLst>
                                      </p:cBhvr>
                                      <p:to>
                                        <p:strVal val="visible"/>
                                      </p:to>
                                    </p:set>
                                    <p:animEffect transition="in" filter="fade">
                                      <p:cBhvr>
                                        <p:cTn id="362" dur="500"/>
                                        <p:tgtEl>
                                          <p:spTgt spid="536"/>
                                        </p:tgtEl>
                                      </p:cBhvr>
                                    </p:animEffect>
                                  </p:childTnLst>
                                </p:cTn>
                              </p:par>
                              <p:par>
                                <p:cTn id="363" presetID="42" presetClass="path" presetSubtype="0" decel="100000" fill="hold" grpId="1" nodeType="withEffect">
                                  <p:stCondLst>
                                    <p:cond delay="100"/>
                                  </p:stCondLst>
                                  <p:childTnLst>
                                    <p:animMotion origin="layout" path="M 4.58333E-6 -1.48148E-6 L 4.58333E-6 0.03542 " pathEditMode="relative" rAng="0" ptsTypes="AA">
                                      <p:cBhvr>
                                        <p:cTn id="364" dur="700" spd="-100000" fill="hold"/>
                                        <p:tgtEl>
                                          <p:spTgt spid="536"/>
                                        </p:tgtEl>
                                        <p:attrNameLst>
                                          <p:attrName>ppt_x</p:attrName>
                                          <p:attrName>ppt_y</p:attrName>
                                        </p:attrNameLst>
                                      </p:cBhvr>
                                      <p:rCtr x="0" y="1759"/>
                                    </p:animMotion>
                                  </p:childTnLst>
                                </p:cTn>
                              </p:par>
                              <p:par>
                                <p:cTn id="365" presetID="10" presetClass="entr" presetSubtype="0" fill="hold" grpId="0" nodeType="withEffect">
                                  <p:stCondLst>
                                    <p:cond delay="100"/>
                                  </p:stCondLst>
                                  <p:childTnLst>
                                    <p:set>
                                      <p:cBhvr>
                                        <p:cTn id="366" dur="1" fill="hold">
                                          <p:stCondLst>
                                            <p:cond delay="0"/>
                                          </p:stCondLst>
                                        </p:cTn>
                                        <p:tgtEl>
                                          <p:spTgt spid="537"/>
                                        </p:tgtEl>
                                        <p:attrNameLst>
                                          <p:attrName>style.visibility</p:attrName>
                                        </p:attrNameLst>
                                      </p:cBhvr>
                                      <p:to>
                                        <p:strVal val="visible"/>
                                      </p:to>
                                    </p:set>
                                    <p:animEffect transition="in" filter="fade">
                                      <p:cBhvr>
                                        <p:cTn id="367" dur="500"/>
                                        <p:tgtEl>
                                          <p:spTgt spid="537"/>
                                        </p:tgtEl>
                                      </p:cBhvr>
                                    </p:animEffect>
                                  </p:childTnLst>
                                </p:cTn>
                              </p:par>
                              <p:par>
                                <p:cTn id="368" presetID="42" presetClass="path" presetSubtype="0" decel="100000" fill="hold" grpId="1" nodeType="withEffect">
                                  <p:stCondLst>
                                    <p:cond delay="100"/>
                                  </p:stCondLst>
                                  <p:childTnLst>
                                    <p:animMotion origin="layout" path="M 4.16667E-7 -2.22222E-6 L 4.16667E-7 0.03542 " pathEditMode="relative" rAng="0" ptsTypes="AA">
                                      <p:cBhvr>
                                        <p:cTn id="369" dur="700" spd="-100000" fill="hold"/>
                                        <p:tgtEl>
                                          <p:spTgt spid="537"/>
                                        </p:tgtEl>
                                        <p:attrNameLst>
                                          <p:attrName>ppt_x</p:attrName>
                                          <p:attrName>ppt_y</p:attrName>
                                        </p:attrNameLst>
                                      </p:cBhvr>
                                      <p:rCtr x="0" y="1759"/>
                                    </p:animMotion>
                                  </p:childTnLst>
                                </p:cTn>
                              </p:par>
                              <p:par>
                                <p:cTn id="370" presetID="10" presetClass="entr" presetSubtype="0" fill="hold" grpId="0" nodeType="withEffect">
                                  <p:stCondLst>
                                    <p:cond delay="100"/>
                                  </p:stCondLst>
                                  <p:childTnLst>
                                    <p:set>
                                      <p:cBhvr>
                                        <p:cTn id="371" dur="1" fill="hold">
                                          <p:stCondLst>
                                            <p:cond delay="0"/>
                                          </p:stCondLst>
                                        </p:cTn>
                                        <p:tgtEl>
                                          <p:spTgt spid="625"/>
                                        </p:tgtEl>
                                        <p:attrNameLst>
                                          <p:attrName>style.visibility</p:attrName>
                                        </p:attrNameLst>
                                      </p:cBhvr>
                                      <p:to>
                                        <p:strVal val="visible"/>
                                      </p:to>
                                    </p:set>
                                    <p:animEffect transition="in" filter="fade">
                                      <p:cBhvr>
                                        <p:cTn id="372" dur="500"/>
                                        <p:tgtEl>
                                          <p:spTgt spid="625"/>
                                        </p:tgtEl>
                                      </p:cBhvr>
                                    </p:animEffect>
                                  </p:childTnLst>
                                </p:cTn>
                              </p:par>
                              <p:par>
                                <p:cTn id="373" presetID="42" presetClass="path" presetSubtype="0" decel="100000" fill="hold" grpId="1" nodeType="withEffect">
                                  <p:stCondLst>
                                    <p:cond delay="100"/>
                                  </p:stCondLst>
                                  <p:childTnLst>
                                    <p:animMotion origin="layout" path="M 4.16667E-7 -2.22222E-6 L 4.16667E-7 0.03542 " pathEditMode="relative" rAng="0" ptsTypes="AA">
                                      <p:cBhvr>
                                        <p:cTn id="374" dur="700" spd="-100000" fill="hold"/>
                                        <p:tgtEl>
                                          <p:spTgt spid="625"/>
                                        </p:tgtEl>
                                        <p:attrNameLst>
                                          <p:attrName>ppt_x</p:attrName>
                                          <p:attrName>ppt_y</p:attrName>
                                        </p:attrNameLst>
                                      </p:cBhvr>
                                      <p:rCtr x="0" y="1759"/>
                                    </p:animMotion>
                                  </p:childTnLst>
                                </p:cTn>
                              </p:par>
                              <p:par>
                                <p:cTn id="375" presetID="10" presetClass="entr" presetSubtype="0" fill="hold" nodeType="withEffect">
                                  <p:stCondLst>
                                    <p:cond delay="100"/>
                                  </p:stCondLst>
                                  <p:childTnLst>
                                    <p:set>
                                      <p:cBhvr>
                                        <p:cTn id="376" dur="1" fill="hold">
                                          <p:stCondLst>
                                            <p:cond delay="0"/>
                                          </p:stCondLst>
                                        </p:cTn>
                                        <p:tgtEl>
                                          <p:spTgt spid="626"/>
                                        </p:tgtEl>
                                        <p:attrNameLst>
                                          <p:attrName>style.visibility</p:attrName>
                                        </p:attrNameLst>
                                      </p:cBhvr>
                                      <p:to>
                                        <p:strVal val="visible"/>
                                      </p:to>
                                    </p:set>
                                    <p:animEffect transition="in" filter="fade">
                                      <p:cBhvr>
                                        <p:cTn id="377" dur="500"/>
                                        <p:tgtEl>
                                          <p:spTgt spid="626"/>
                                        </p:tgtEl>
                                      </p:cBhvr>
                                    </p:animEffect>
                                  </p:childTnLst>
                                </p:cTn>
                              </p:par>
                              <p:par>
                                <p:cTn id="378" presetID="42" presetClass="path" presetSubtype="0" decel="100000" fill="hold" nodeType="withEffect">
                                  <p:stCondLst>
                                    <p:cond delay="100"/>
                                  </p:stCondLst>
                                  <p:childTnLst>
                                    <p:animMotion origin="layout" path="M 4.16667E-7 -2.22222E-6 L 4.16667E-7 0.03542 " pathEditMode="relative" rAng="0" ptsTypes="AA">
                                      <p:cBhvr>
                                        <p:cTn id="379" dur="700" spd="-100000" fill="hold"/>
                                        <p:tgtEl>
                                          <p:spTgt spid="626"/>
                                        </p:tgtEl>
                                        <p:attrNameLst>
                                          <p:attrName>ppt_x</p:attrName>
                                          <p:attrName>ppt_y</p:attrName>
                                        </p:attrNameLst>
                                      </p:cBhvr>
                                      <p:rCtr x="0" y="1759"/>
                                    </p:animMotion>
                                  </p:childTnLst>
                                </p:cTn>
                              </p:par>
                              <p:par>
                                <p:cTn id="380" presetID="10" presetClass="entr" presetSubtype="0" fill="hold" grpId="0" nodeType="withEffect">
                                  <p:stCondLst>
                                    <p:cond delay="100"/>
                                  </p:stCondLst>
                                  <p:childTnLst>
                                    <p:set>
                                      <p:cBhvr>
                                        <p:cTn id="381" dur="1" fill="hold">
                                          <p:stCondLst>
                                            <p:cond delay="0"/>
                                          </p:stCondLst>
                                        </p:cTn>
                                        <p:tgtEl>
                                          <p:spTgt spid="627"/>
                                        </p:tgtEl>
                                        <p:attrNameLst>
                                          <p:attrName>style.visibility</p:attrName>
                                        </p:attrNameLst>
                                      </p:cBhvr>
                                      <p:to>
                                        <p:strVal val="visible"/>
                                      </p:to>
                                    </p:set>
                                    <p:animEffect transition="in" filter="fade">
                                      <p:cBhvr>
                                        <p:cTn id="382" dur="500"/>
                                        <p:tgtEl>
                                          <p:spTgt spid="627"/>
                                        </p:tgtEl>
                                      </p:cBhvr>
                                    </p:animEffect>
                                  </p:childTnLst>
                                </p:cTn>
                              </p:par>
                              <p:par>
                                <p:cTn id="383" presetID="42" presetClass="path" presetSubtype="0" decel="100000" fill="hold" grpId="1" nodeType="withEffect">
                                  <p:stCondLst>
                                    <p:cond delay="100"/>
                                  </p:stCondLst>
                                  <p:childTnLst>
                                    <p:animMotion origin="layout" path="M 4.16667E-7 -2.22222E-6 L 4.16667E-7 0.03542 " pathEditMode="relative" rAng="0" ptsTypes="AA">
                                      <p:cBhvr>
                                        <p:cTn id="384" dur="700" spd="-100000" fill="hold"/>
                                        <p:tgtEl>
                                          <p:spTgt spid="627"/>
                                        </p:tgtEl>
                                        <p:attrNameLst>
                                          <p:attrName>ppt_x</p:attrName>
                                          <p:attrName>ppt_y</p:attrName>
                                        </p:attrNameLst>
                                      </p:cBhvr>
                                      <p:rCtr x="0" y="1759"/>
                                    </p:animMotion>
                                  </p:childTnLst>
                                </p:cTn>
                              </p:par>
                              <p:par>
                                <p:cTn id="385" presetID="10" presetClass="entr" presetSubtype="0" fill="hold" grpId="0" nodeType="withEffect">
                                  <p:stCondLst>
                                    <p:cond delay="100"/>
                                  </p:stCondLst>
                                  <p:childTnLst>
                                    <p:set>
                                      <p:cBhvr>
                                        <p:cTn id="386" dur="1" fill="hold">
                                          <p:stCondLst>
                                            <p:cond delay="0"/>
                                          </p:stCondLst>
                                        </p:cTn>
                                        <p:tgtEl>
                                          <p:spTgt spid="628"/>
                                        </p:tgtEl>
                                        <p:attrNameLst>
                                          <p:attrName>style.visibility</p:attrName>
                                        </p:attrNameLst>
                                      </p:cBhvr>
                                      <p:to>
                                        <p:strVal val="visible"/>
                                      </p:to>
                                    </p:set>
                                    <p:animEffect transition="in" filter="fade">
                                      <p:cBhvr>
                                        <p:cTn id="387" dur="500"/>
                                        <p:tgtEl>
                                          <p:spTgt spid="628"/>
                                        </p:tgtEl>
                                      </p:cBhvr>
                                    </p:animEffect>
                                  </p:childTnLst>
                                </p:cTn>
                              </p:par>
                              <p:par>
                                <p:cTn id="388" presetID="42" presetClass="path" presetSubtype="0" decel="100000" fill="hold" grpId="1" nodeType="withEffect">
                                  <p:stCondLst>
                                    <p:cond delay="100"/>
                                  </p:stCondLst>
                                  <p:childTnLst>
                                    <p:animMotion origin="layout" path="M 4.16667E-7 -2.22222E-6 L 4.16667E-7 0.03542 " pathEditMode="relative" rAng="0" ptsTypes="AA">
                                      <p:cBhvr>
                                        <p:cTn id="389" dur="700" spd="-100000" fill="hold"/>
                                        <p:tgtEl>
                                          <p:spTgt spid="628"/>
                                        </p:tgtEl>
                                        <p:attrNameLst>
                                          <p:attrName>ppt_x</p:attrName>
                                          <p:attrName>ppt_y</p:attrName>
                                        </p:attrNameLst>
                                      </p:cBhvr>
                                      <p:rCtr x="0" y="1759"/>
                                    </p:animMotion>
                                  </p:childTnLst>
                                </p:cTn>
                              </p:par>
                              <p:par>
                                <p:cTn id="390" presetID="10" presetClass="entr" presetSubtype="0" fill="hold" nodeType="withEffect">
                                  <p:stCondLst>
                                    <p:cond delay="100"/>
                                  </p:stCondLst>
                                  <p:childTnLst>
                                    <p:set>
                                      <p:cBhvr>
                                        <p:cTn id="391" dur="1" fill="hold">
                                          <p:stCondLst>
                                            <p:cond delay="0"/>
                                          </p:stCondLst>
                                        </p:cTn>
                                        <p:tgtEl>
                                          <p:spTgt spid="629"/>
                                        </p:tgtEl>
                                        <p:attrNameLst>
                                          <p:attrName>style.visibility</p:attrName>
                                        </p:attrNameLst>
                                      </p:cBhvr>
                                      <p:to>
                                        <p:strVal val="visible"/>
                                      </p:to>
                                    </p:set>
                                    <p:animEffect transition="in" filter="fade">
                                      <p:cBhvr>
                                        <p:cTn id="392" dur="500"/>
                                        <p:tgtEl>
                                          <p:spTgt spid="629"/>
                                        </p:tgtEl>
                                      </p:cBhvr>
                                    </p:animEffect>
                                  </p:childTnLst>
                                </p:cTn>
                              </p:par>
                              <p:par>
                                <p:cTn id="393" presetID="42" presetClass="path" presetSubtype="0" decel="100000" fill="hold" nodeType="withEffect">
                                  <p:stCondLst>
                                    <p:cond delay="100"/>
                                  </p:stCondLst>
                                  <p:childTnLst>
                                    <p:animMotion origin="layout" path="M 4.16667E-7 -2.22222E-6 L 4.16667E-7 0.03542 " pathEditMode="relative" rAng="0" ptsTypes="AA">
                                      <p:cBhvr>
                                        <p:cTn id="394" dur="700" spd="-100000" fill="hold"/>
                                        <p:tgtEl>
                                          <p:spTgt spid="62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3" grpId="0" animBg="1"/>
      <p:bldP spid="3" grpId="1" animBg="1"/>
      <p:bldP spid="4" grpId="0" animBg="1"/>
      <p:bldP spid="4" grpId="1" animBg="1"/>
      <p:bldP spid="5" grpId="0" animBg="1"/>
      <p:bldP spid="5" grpId="1" animBg="1"/>
      <p:bldP spid="6" grpId="0" animBg="1"/>
      <p:bldP spid="6" grpId="1" animBg="1"/>
      <p:bldP spid="7" grpId="0" animBg="1"/>
      <p:bldP spid="7" grpId="1" animBg="1"/>
      <p:bldP spid="8" grpId="0" animBg="1"/>
      <p:bldP spid="8" grpId="1" animBg="1"/>
      <p:bldP spid="11" grpId="0" animBg="1"/>
      <p:bldP spid="11" grpId="1" animBg="1"/>
      <p:bldP spid="12" grpId="0" animBg="1"/>
      <p:bldP spid="12" grpId="1" animBg="1"/>
      <p:bldP spid="13" grpId="0" animBg="1"/>
      <p:bldP spid="13" grpId="1" animBg="1"/>
      <p:bldP spid="16" grpId="0" animBg="1"/>
      <p:bldP spid="16" grpId="1" animBg="1"/>
      <p:bldP spid="17" grpId="0"/>
      <p:bldP spid="17" grpId="1"/>
      <p:bldP spid="20" grpId="0"/>
      <p:bldP spid="20" grpId="1"/>
      <p:bldP spid="25" grpId="0"/>
      <p:bldP spid="25" grpId="1"/>
      <p:bldP spid="26" grpId="0"/>
      <p:bldP spid="26" grpId="1"/>
      <p:bldP spid="27" grpId="0"/>
      <p:bldP spid="27" grpId="1"/>
      <p:bldP spid="28" grpId="0"/>
      <p:bldP spid="28" grpId="1"/>
      <p:bldP spid="35" grpId="0" animBg="1"/>
      <p:bldP spid="35" grpId="1" animBg="1"/>
      <p:bldP spid="36" grpId="0" animBg="1"/>
      <p:bldP spid="36" grpId="1" animBg="1"/>
      <p:bldP spid="37" grpId="0" animBg="1"/>
      <p:bldP spid="37" grpId="1" animBg="1"/>
      <p:bldP spid="38" grpId="0" animBg="1"/>
      <p:bldP spid="38" grpId="1" animBg="1"/>
      <p:bldP spid="40" grpId="0" animBg="1"/>
      <p:bldP spid="40" grpId="1" animBg="1"/>
      <p:bldP spid="41" grpId="0" animBg="1"/>
      <p:bldP spid="41"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4" grpId="0" animBg="1"/>
      <p:bldP spid="54" grpId="1" animBg="1"/>
      <p:bldP spid="56" grpId="0" animBg="1"/>
      <p:bldP spid="56" grpId="1" animBg="1"/>
      <p:bldP spid="58" grpId="0" animBg="1"/>
      <p:bldP spid="58" grpId="1" animBg="1"/>
      <p:bldP spid="60" grpId="0" animBg="1"/>
      <p:bldP spid="60" grpId="1" animBg="1"/>
      <p:bldP spid="61" grpId="0"/>
      <p:bldP spid="61" grpId="1"/>
      <p:bldP spid="62" grpId="0"/>
      <p:bldP spid="62" grpId="1"/>
      <p:bldP spid="63" grpId="0"/>
      <p:bldP spid="63" grpId="1"/>
      <p:bldP spid="512" grpId="0"/>
      <p:bldP spid="512" grpId="1"/>
      <p:bldP spid="513" grpId="0" animBg="1"/>
      <p:bldP spid="513" grpId="1" animBg="1"/>
      <p:bldP spid="514" grpId="0" animBg="1"/>
      <p:bldP spid="514" grpId="1" animBg="1"/>
      <p:bldP spid="515" grpId="0" animBg="1"/>
      <p:bldP spid="515" grpId="1" animBg="1"/>
      <p:bldP spid="516" grpId="0" animBg="1"/>
      <p:bldP spid="516" grpId="1" animBg="1"/>
      <p:bldP spid="517" grpId="0" animBg="1"/>
      <p:bldP spid="517" grpId="1" animBg="1"/>
      <p:bldP spid="518" grpId="0" animBg="1"/>
      <p:bldP spid="518" grpId="1" animBg="1"/>
      <p:bldP spid="519" grpId="0" animBg="1"/>
      <p:bldP spid="519" grpId="1" animBg="1"/>
      <p:bldP spid="520" grpId="0" animBg="1"/>
      <p:bldP spid="520" grpId="1" animBg="1"/>
      <p:bldP spid="521" grpId="0" animBg="1"/>
      <p:bldP spid="521" grpId="1" animBg="1"/>
      <p:bldP spid="522" grpId="0" animBg="1"/>
      <p:bldP spid="522" grpId="1" animBg="1"/>
      <p:bldP spid="523" grpId="0" animBg="1"/>
      <p:bldP spid="523" grpId="1" animBg="1"/>
      <p:bldP spid="524" grpId="0" animBg="1"/>
      <p:bldP spid="524" grpId="1" animBg="1"/>
      <p:bldP spid="525" grpId="0" animBg="1"/>
      <p:bldP spid="525" grpId="1" animBg="1"/>
      <p:bldP spid="526" grpId="0" animBg="1"/>
      <p:bldP spid="526" grpId="1" animBg="1"/>
      <p:bldP spid="527" grpId="0" animBg="1"/>
      <p:bldP spid="527" grpId="1" animBg="1"/>
      <p:bldP spid="530" grpId="0" animBg="1"/>
      <p:bldP spid="530" grpId="1" animBg="1"/>
      <p:bldP spid="531" grpId="0" animBg="1"/>
      <p:bldP spid="531" grpId="1" animBg="1"/>
      <p:bldP spid="532" grpId="0" animBg="1"/>
      <p:bldP spid="532" grpId="1" animBg="1"/>
      <p:bldP spid="533" grpId="0" animBg="1"/>
      <p:bldP spid="533" grpId="1" animBg="1"/>
      <p:bldP spid="534" grpId="0" animBg="1"/>
      <p:bldP spid="534" grpId="1" animBg="1"/>
      <p:bldP spid="535" grpId="0" animBg="1"/>
      <p:bldP spid="535" grpId="1" animBg="1"/>
      <p:bldP spid="536" grpId="0"/>
      <p:bldP spid="536" grpId="1"/>
      <p:bldP spid="537" grpId="0" animBg="1"/>
      <p:bldP spid="537" grpId="1" animBg="1"/>
      <p:bldP spid="625" grpId="0" animBg="1"/>
      <p:bldP spid="625" grpId="1" animBg="1"/>
      <p:bldP spid="627" grpId="0" animBg="1"/>
      <p:bldP spid="627" grpId="1" animBg="1"/>
      <p:bldP spid="628" grpId="0" animBg="1"/>
      <p:bldP spid="62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2"/>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12.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TTABLE" val="Cell"/>
  <p:tag name="MTNUMBER" val="0.739627709956666"/>
  <p:tag name="LEFT" val="9.375039"/>
  <p:tag name="WIDTH" val="304.25"/>
  <p:tag name="TOP" val="109.3875"/>
  <p:tag name="HEIGHT" val="113.53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6.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ags/tag9.xml><?xml version="1.0" encoding="utf-8"?>
<p:tagLst xmlns:a="http://schemas.openxmlformats.org/drawingml/2006/main" xmlns:r="http://schemas.openxmlformats.org/officeDocument/2006/relationships" xmlns:p="http://schemas.openxmlformats.org/presentationml/2006/main">
  <p:tag name="APLORISLIBID" val="L0ed35218-2f9b-4aab-ad83-689112cdc7d4.1.gM2ElQ=="/>
  <p:tag name="APLORISLIBHASH" val="1.162_sgFL0JfWq5/A6pxh8crfAnLIiME="/>
</p:tagLst>
</file>

<file path=ppt/theme/theme1.xml><?xml version="1.0" encoding="utf-8"?>
<a:theme xmlns:a="http://schemas.openxmlformats.org/drawingml/2006/main" name="1_Test">
  <a:themeElements>
    <a:clrScheme name="Azure Infra">
      <a:dk1>
        <a:srgbClr val="000000"/>
      </a:dk1>
      <a:lt1>
        <a:srgbClr val="FFFFFF"/>
      </a:lt1>
      <a:dk2>
        <a:srgbClr val="2A446F"/>
      </a:dk2>
      <a:lt2>
        <a:srgbClr val="F2F2F2"/>
      </a:lt2>
      <a:accent1>
        <a:srgbClr val="0078D4"/>
      </a:accent1>
      <a:accent2>
        <a:srgbClr val="2A446F"/>
      </a:accent2>
      <a:accent3>
        <a:srgbClr val="8DC8E8"/>
      </a:accent3>
      <a:accent4>
        <a:srgbClr val="49C5B1"/>
      </a:accent4>
      <a:accent5>
        <a:srgbClr val="225B62"/>
      </a:accent5>
      <a:accent6>
        <a:srgbClr val="7F7F7F"/>
      </a:accent6>
      <a:hlink>
        <a:srgbClr val="0078D4"/>
      </a:hlink>
      <a:folHlink>
        <a:srgbClr val="7F7F7F"/>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 id="{B38E21A1-05B2-A847-8CE5-912BE242CBEA}" vid="{97AB0D23-C1F5-B240-AC54-237E023CD11A}"/>
    </a:ext>
  </a:extLst>
</a:theme>
</file>

<file path=ppt/theme/theme2.xml><?xml version="1.0" encoding="utf-8"?>
<a:theme xmlns:a="http://schemas.openxmlformats.org/drawingml/2006/main" name="USE THIS_FY24 MCAPS Standard">
  <a:themeElements>
    <a:clrScheme name="MCAPS Standard">
      <a:dk1>
        <a:srgbClr val="000000"/>
      </a:dk1>
      <a:lt1>
        <a:srgbClr val="FFFFFF"/>
      </a:lt1>
      <a:dk2>
        <a:srgbClr val="2A446F"/>
      </a:dk2>
      <a:lt2>
        <a:srgbClr val="F2F2F2"/>
      </a:lt2>
      <a:accent1>
        <a:srgbClr val="0078D4"/>
      </a:accent1>
      <a:accent2>
        <a:srgbClr val="2A446F"/>
      </a:accent2>
      <a:accent3>
        <a:srgbClr val="8DC8E8"/>
      </a:accent3>
      <a:accent4>
        <a:srgbClr val="49C5B1"/>
      </a:accent4>
      <a:accent5>
        <a:srgbClr val="225B62"/>
      </a:accent5>
      <a:accent6>
        <a:srgbClr val="7F7F7F"/>
      </a:accent6>
      <a:hlink>
        <a:srgbClr val="0078D4"/>
      </a:hlink>
      <a:folHlink>
        <a:srgbClr val="7F7F7F"/>
      </a:folHlink>
    </a:clrScheme>
    <a:fontScheme name="Segoe Sans">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2.potx" id="{9DE343BB-684C-4E39-9ABE-CA20EBB6B8E9}" vid="{9935AA06-83FC-4F49-986F-263BF3DDCCF2}"/>
    </a:ext>
  </a:extLst>
</a:theme>
</file>

<file path=ppt/theme/theme3.xml><?xml version="1.0" encoding="utf-8"?>
<a:theme xmlns:a="http://schemas.openxmlformats.org/drawingml/2006/main" name="11_White Template">
  <a:themeElements>
    <a:clrScheme name="Custom 3">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3d9c5aff-e2e6-447d-9e28-bc026086f159">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DD4CC15E5D074DA75E3EF55DB71016" ma:contentTypeVersion="15" ma:contentTypeDescription="Create a new document." ma:contentTypeScope="" ma:versionID="b96d849ee8a07f692c91c9a006b55fd8">
  <xsd:schema xmlns:xsd="http://www.w3.org/2001/XMLSchema" xmlns:xs="http://www.w3.org/2001/XMLSchema" xmlns:p="http://schemas.microsoft.com/office/2006/metadata/properties" xmlns:ns1="http://schemas.microsoft.com/sharepoint/v3" xmlns:ns2="3d9c5aff-e2e6-447d-9e28-bc026086f159" xmlns:ns3="230e9df3-be65-4c73-a93b-d1236ebd677e" targetNamespace="http://schemas.microsoft.com/office/2006/metadata/properties" ma:root="true" ma:fieldsID="979e79e0a8d90e5f49e3f55d2e4c5dde" ns1:_="" ns2:_="" ns3:_="">
    <xsd:import namespace="http://schemas.microsoft.com/sharepoint/v3"/>
    <xsd:import namespace="3d9c5aff-e2e6-447d-9e28-bc026086f159"/>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9c5aff-e2e6-447d-9e28-bc026086f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BillingMetadata" ma:index="12" nillable="true" ma:displayName="MediaServiceBillingMetadata" ma:hidden="true" ma:internalName="MediaServiceBilling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386951b-1007-4612-9f66-4117e0c888a2}" ma:internalName="TaxCatchAll" ma:showField="CatchAllData" ma:web="8ff38b84-d42b-4441-9f73-48ac5c2fd5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ADD77E-3D75-4B6B-8F06-99C9A74CD80B}">
  <ds:schemaRefs>
    <ds:schemaRef ds:uri="3d9c5aff-e2e6-447d-9e28-bc026086f15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230e9df3-be65-4c73-a93b-d1236ebd677e"/>
  </ds:schemaRefs>
</ds:datastoreItem>
</file>

<file path=customXml/itemProps2.xml><?xml version="1.0" encoding="utf-8"?>
<ds:datastoreItem xmlns:ds="http://schemas.openxmlformats.org/officeDocument/2006/customXml" ds:itemID="{657967C3-FB54-462E-9A7C-50D91EC8A5B4}">
  <ds:schemaRefs>
    <ds:schemaRef ds:uri="http://schemas.microsoft.com/sharepoint/v3/contenttype/forms"/>
  </ds:schemaRefs>
</ds:datastoreItem>
</file>

<file path=customXml/itemProps3.xml><?xml version="1.0" encoding="utf-8"?>
<ds:datastoreItem xmlns:ds="http://schemas.openxmlformats.org/officeDocument/2006/customXml" ds:itemID="{54A407A5-288B-4801-A978-FD84C7728F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d9c5aff-e2e6-447d-9e28-bc026086f159"/>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62</Slides>
  <Notes>53</Notes>
  <HiddenSlides>0</HiddenSlides>
  <ScaleCrop>false</ScaleCrop>
  <HeadingPairs>
    <vt:vector size="4" baseType="variant">
      <vt:variant>
        <vt:lpstr>Theme</vt:lpstr>
      </vt:variant>
      <vt:variant>
        <vt:i4>3</vt:i4>
      </vt:variant>
      <vt:variant>
        <vt:lpstr>Slide Titles</vt:lpstr>
      </vt:variant>
      <vt:variant>
        <vt:i4>62</vt:i4>
      </vt:variant>
    </vt:vector>
  </HeadingPairs>
  <TitlesOfParts>
    <vt:vector size="65" baseType="lpstr">
      <vt:lpstr>1_Test</vt:lpstr>
      <vt:lpstr>USE THIS_FY24 MCAPS Standard</vt:lpstr>
      <vt:lpstr>11_White Template</vt:lpstr>
      <vt:lpstr>Welcome to your new role! </vt:lpstr>
      <vt:lpstr>You are here in the Cloud &amp; AI CSU Skilling Journey</vt:lpstr>
      <vt:lpstr>FY26 Cloud &amp; AI Platforms Key Changes</vt:lpstr>
      <vt:lpstr>Cloud &amp; AI Platforms FY26 Strategy</vt:lpstr>
      <vt:lpstr>FY26 | Evolution of CSU Delivery Strategy </vt:lpstr>
      <vt:lpstr>Delivery Order of Operations – How we deliver</vt:lpstr>
      <vt:lpstr>FY26 CSA Delivery Model | Focus on Driving Growth and Efficiency CSA Delivery strategy grounded in Segment alignment and Technical Maturity Model </vt:lpstr>
      <vt:lpstr>Sales Model | Enterprise</vt:lpstr>
      <vt:lpstr>Sales Model | Corporate</vt:lpstr>
      <vt:lpstr>FY26 Cloud + AI CSU | Role &amp; Sales Model Design</vt:lpstr>
      <vt:lpstr>Unified, Factory, and ISD Offers | Cloud &amp; AI Platforms</vt:lpstr>
      <vt:lpstr>FY26 Cloud + AI CSU | KPIs &amp; Outcomes</vt:lpstr>
      <vt:lpstr>Cloud &amp; AI Platforms Orchestration</vt:lpstr>
      <vt:lpstr>MACC Orchestration – Classic Accounts (MACC + Unified)</vt:lpstr>
      <vt:lpstr>Unified vs Non-Unified – CSU Orchestration &amp; Coverage</vt:lpstr>
      <vt:lpstr>Security Everywhere – Cloud &amp; AI &amp; Security Joint Orchestration</vt:lpstr>
      <vt:lpstr>Connecting with GitHub to win developers across the 3 Azure Solution Plays</vt:lpstr>
      <vt:lpstr>FY26 Role Summary: Cloud &amp; AI Infra  Cloud Solution Architect</vt:lpstr>
      <vt:lpstr>FY26 Role Summary: Cloud &amp; AI Infra  Cloud Solution Architect (SME&amp;C)</vt:lpstr>
      <vt:lpstr>FY26 Core Priorities Final– CSA IC – RSG Name: Cloud Solution Architecture IC – Qual 1: All; Qual 2: Cloud &amp; AI Infrastructure | Role Owner: Samantha Wilder</vt:lpstr>
      <vt:lpstr>Your key habits for success</vt:lpstr>
      <vt:lpstr>FY26 Cloud &amp; AI CSU | Technical Expectations</vt:lpstr>
      <vt:lpstr>Cloud &amp; AI Infra CSA | Impact Assessment</vt:lpstr>
      <vt:lpstr>Solution Play Overview – Migrate &amp; Modernize Your Estate</vt:lpstr>
      <vt:lpstr>Delivery &amp; Success | Migrate &amp; Modernize Your Estate</vt:lpstr>
      <vt:lpstr>FY26 J2 Cloud + AI: Migrate and Modernize Your Estate </vt:lpstr>
      <vt:lpstr>FY26 Role Summary: Cloud &amp; AI Apps Cloud Solution Architect</vt:lpstr>
      <vt:lpstr>FY26 Role Summary: Cloud &amp; AI Apps Cloud Solution Architect (SME&amp;C)</vt:lpstr>
      <vt:lpstr>CSA IC – RSG Name: Cloud Solution Architecture IC – Qual 1: All; Qual 2: Cloud &amp; AI Apps | Role Owner: Samantha Wilder, Pradeep Raman</vt:lpstr>
      <vt:lpstr>Your key habits for success</vt:lpstr>
      <vt:lpstr>FY26 Cloud &amp; AI CSU | Technical Expectations</vt:lpstr>
      <vt:lpstr>Cloud &amp; AI Apps CSA Impact Assessment</vt:lpstr>
      <vt:lpstr>Solution Play Overview – Innovate with Azure AI Apps and Agents</vt:lpstr>
      <vt:lpstr>Delivery &amp; Success – Innovate with Azure AI Apps and Agents</vt:lpstr>
      <vt:lpstr>FY26 J2 Cloud + AI:  Innovate with Azure AI Apps and Agents </vt:lpstr>
      <vt:lpstr>FY26 Role Summary: Cloud &amp; AI Data Cloud Solution Architect</vt:lpstr>
      <vt:lpstr>FY26 Role Summary: Cloud &amp; AI Data Cloud Solution Architect (SME&amp;C)</vt:lpstr>
      <vt:lpstr>FY26 Core Priorities Final– CSA IC – RSG Name: Cloud Solution Architecture IC – Qual 1: All; Qual 2: Cloud &amp; AI Data | Role Owner: Samantha Wilder</vt:lpstr>
      <vt:lpstr>Your key habits for success</vt:lpstr>
      <vt:lpstr>FY26 Cloud &amp; AI CSU | Technical Expectations</vt:lpstr>
      <vt:lpstr>Cloud &amp; AI Data CSA Impact Assessment</vt:lpstr>
      <vt:lpstr>Solution Play Overview – Unify Your Data Platform</vt:lpstr>
      <vt:lpstr>Delivery &amp; Success – Unify your Data Platform</vt:lpstr>
      <vt:lpstr>FY26 J2 Cloud + AI: Unify your Data Platform  </vt:lpstr>
      <vt:lpstr>FY26 Role Summary: Cloud &amp; AI Cloud Solution Architect</vt:lpstr>
      <vt:lpstr>FY26 Core Priorities FINAL – CSA IC – RSG Name: Cloud Solution Architecture IC; Qual 1: N/A Qual 2: Cloud &amp; AI | Role Owner: Samantha Wilder</vt:lpstr>
      <vt:lpstr>Your key habits for success</vt:lpstr>
      <vt:lpstr>FY26 Cloud &amp; AI CSA - IC | Technical Expectations</vt:lpstr>
      <vt:lpstr>Cloud &amp; AI CSA Impact Assessment</vt:lpstr>
      <vt:lpstr>FY26 Solution Play List | Azure</vt:lpstr>
      <vt:lpstr>FY26 J2 Cloud + AI Guidance </vt:lpstr>
      <vt:lpstr>FY26 Role Summary: Cloud &amp; AI –  Global Solutions Cloud Solution Architect</vt:lpstr>
      <vt:lpstr>Core Priorities: Cloud &amp; AI - Cloud Solution Architect – Core CE&amp;S Global Solutions</vt:lpstr>
      <vt:lpstr>FY26 Core CE&amp;S Global Solutions Cloud &amp; AI CSA – IC | Technical Expectations</vt:lpstr>
      <vt:lpstr>Core CE&amp;S Global Solutions Cloud &amp; AI CSA Impact Assessment</vt:lpstr>
      <vt:lpstr>Your 30 days in role </vt:lpstr>
      <vt:lpstr>Your 60 days in role </vt:lpstr>
      <vt:lpstr>Your 90 days in role </vt:lpstr>
      <vt:lpstr>Cloud &amp; AI Platforms FY26 Skilling Priorities &amp; Strategy</vt:lpstr>
      <vt:lpstr>Community Key Changes | Cloud &amp; AI CSU</vt:lpstr>
      <vt:lpstr>FY26 gloss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26 Cloud &amp; AI Welcome Kit - CSA</dc:title>
  <dc:creator>Samantha Wilder</dc:creator>
  <cp:revision>14</cp:revision>
  <dcterms:created xsi:type="dcterms:W3CDTF">2025-05-27T20:35:13Z</dcterms:created>
  <dcterms:modified xsi:type="dcterms:W3CDTF">2025-09-18T13:5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1ca5186-e6f0-4b42-9168-a198d3dd86b1_Enabled">
    <vt:lpwstr>true</vt:lpwstr>
  </property>
  <property fmtid="{D5CDD505-2E9C-101B-9397-08002B2CF9AE}" pid="3" name="MSIP_Label_01ca5186-e6f0-4b42-9168-a198d3dd86b1_SetDate">
    <vt:lpwstr>2025-05-27T20:35:17Z</vt:lpwstr>
  </property>
  <property fmtid="{D5CDD505-2E9C-101B-9397-08002B2CF9AE}" pid="4" name="MSIP_Label_01ca5186-e6f0-4b42-9168-a198d3dd86b1_Method">
    <vt:lpwstr>Standard</vt:lpwstr>
  </property>
  <property fmtid="{D5CDD505-2E9C-101B-9397-08002B2CF9AE}" pid="5" name="MSIP_Label_01ca5186-e6f0-4b42-9168-a198d3dd86b1_Name">
    <vt:lpwstr>General</vt:lpwstr>
  </property>
  <property fmtid="{D5CDD505-2E9C-101B-9397-08002B2CF9AE}" pid="6" name="MSIP_Label_01ca5186-e6f0-4b42-9168-a198d3dd86b1_SiteId">
    <vt:lpwstr>726b3645-62ce-4199-83d6-613c80fd88c0</vt:lpwstr>
  </property>
  <property fmtid="{D5CDD505-2E9C-101B-9397-08002B2CF9AE}" pid="7" name="MSIP_Label_01ca5186-e6f0-4b42-9168-a198d3dd86b1_ActionId">
    <vt:lpwstr>8e5e644b-8079-4b98-b1f1-1169c5782364</vt:lpwstr>
  </property>
  <property fmtid="{D5CDD505-2E9C-101B-9397-08002B2CF9AE}" pid="8" name="MSIP_Label_01ca5186-e6f0-4b42-9168-a198d3dd86b1_ContentBits">
    <vt:lpwstr>0</vt:lpwstr>
  </property>
  <property fmtid="{D5CDD505-2E9C-101B-9397-08002B2CF9AE}" pid="9" name="MSIP_Label_01ca5186-e6f0-4b42-9168-a198d3dd86b1_Tag">
    <vt:lpwstr>10, 3, 0, 1</vt:lpwstr>
  </property>
  <property fmtid="{D5CDD505-2E9C-101B-9397-08002B2CF9AE}" pid="10" name="_dlc_policyId">
    <vt:lpwstr>0x01010070AB3889E58DB141A6E1281B02136174|-369733750</vt:lpwstr>
  </property>
  <property fmtid="{D5CDD505-2E9C-101B-9397-08002B2CF9AE}" pid="11" name="MediaServiceImageTags">
    <vt:lpwstr/>
  </property>
  <property fmtid="{D5CDD505-2E9C-101B-9397-08002B2CF9AE}" pid="12" name="ContentTypeId">
    <vt:lpwstr>0x01010045DD4CC15E5D074DA75E3EF55DB71016</vt:lpwstr>
  </property>
  <property fmtid="{D5CDD505-2E9C-101B-9397-08002B2CF9AE}" pid="13" name="ArticulatePath">
    <vt:lpwstr>https://microsoft.sharepoint.com/teams/Startyourjourney2/Shared Documents/SYJ Team Project Files/Onboarding Experiences/FY26 Immersions/Landing/Welcome Kits/Welcome kit template slides</vt:lpwstr>
  </property>
  <property fmtid="{D5CDD505-2E9C-101B-9397-08002B2CF9AE}" pid="14" name="ArticulateGUID">
    <vt:lpwstr>51E1FD7C-3C67-40F1-A9C5-8B697C532BC3</vt:lpwstr>
  </property>
  <property fmtid="{D5CDD505-2E9C-101B-9397-08002B2CF9AE}" pid="1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16" name="Order">
    <vt:r8>500</vt:r8>
  </property>
  <property fmtid="{D5CDD505-2E9C-101B-9397-08002B2CF9AE}" pid="17" name="xd_ProgID">
    <vt:lpwstr/>
  </property>
  <property fmtid="{D5CDD505-2E9C-101B-9397-08002B2CF9AE}" pid="18" name="ComplianceAssetId">
    <vt:lpwstr/>
  </property>
  <property fmtid="{D5CDD505-2E9C-101B-9397-08002B2CF9AE}" pid="19" name="TemplateUrl">
    <vt:lpwstr/>
  </property>
  <property fmtid="{D5CDD505-2E9C-101B-9397-08002B2CF9AE}" pid="20" name="_ExtendedDescription">
    <vt:lpwstr/>
  </property>
  <property fmtid="{D5CDD505-2E9C-101B-9397-08002B2CF9AE}" pid="21" name="TriggerFlowInfo">
    <vt:lpwstr/>
  </property>
  <property fmtid="{D5CDD505-2E9C-101B-9397-08002B2CF9AE}" pid="22" name="xd_Signature">
    <vt:bool>false</vt:bool>
  </property>
</Properties>
</file>